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1"/>
    <p:sldMasterId id="2147484324" r:id="rId2"/>
  </p:sldMasterIdLst>
  <p:notesMasterIdLst>
    <p:notesMasterId r:id="rId35"/>
  </p:notesMasterIdLst>
  <p:handoutMasterIdLst>
    <p:handoutMasterId r:id="rId36"/>
  </p:handoutMasterIdLst>
  <p:sldIdLst>
    <p:sldId id="2145705560" r:id="rId3"/>
    <p:sldId id="2147483606" r:id="rId4"/>
    <p:sldId id="2147483610" r:id="rId5"/>
    <p:sldId id="2147483607" r:id="rId6"/>
    <p:sldId id="2147483615" r:id="rId7"/>
    <p:sldId id="2147483613" r:id="rId8"/>
    <p:sldId id="2147483616" r:id="rId9"/>
    <p:sldId id="2147483608" r:id="rId10"/>
    <p:sldId id="2147483609" r:id="rId11"/>
    <p:sldId id="2147483611" r:id="rId12"/>
    <p:sldId id="2147483612" r:id="rId13"/>
    <p:sldId id="2147483617" r:id="rId14"/>
    <p:sldId id="2147483614" r:id="rId15"/>
    <p:sldId id="2147472235" r:id="rId16"/>
    <p:sldId id="2147374196" r:id="rId17"/>
    <p:sldId id="2147479277" r:id="rId18"/>
    <p:sldId id="2076138582" r:id="rId19"/>
    <p:sldId id="2147481243" r:id="rId20"/>
    <p:sldId id="2147472181" r:id="rId21"/>
    <p:sldId id="2147481242" r:id="rId22"/>
    <p:sldId id="2147483584" r:id="rId23"/>
    <p:sldId id="2147483605" r:id="rId24"/>
    <p:sldId id="2147483597" r:id="rId25"/>
    <p:sldId id="2147483598" r:id="rId26"/>
    <p:sldId id="2147483587" r:id="rId27"/>
    <p:sldId id="2147479270" r:id="rId28"/>
    <p:sldId id="2147483603" r:id="rId29"/>
    <p:sldId id="2147483590" r:id="rId30"/>
    <p:sldId id="2147483591" r:id="rId31"/>
    <p:sldId id="2147483592" r:id="rId32"/>
    <p:sldId id="2147483593" r:id="rId33"/>
    <p:sldId id="2147479275" r:id="rId34"/>
  </p:sldIdLst>
  <p:sldSz cx="12192000" cy="6858000"/>
  <p:notesSz cx="7010400" cy="9296400"/>
  <p:embeddedFontLst>
    <p:embeddedFont>
      <p:font typeface="PTCRaleway" panose="020B0503030101060003" pitchFamily="34" charset="0"/>
      <p:regular r:id="rId37"/>
      <p:bold r:id="rId38"/>
      <p:italic r:id="rId39"/>
      <p:boldItalic r:id="rId40"/>
    </p:embeddedFont>
    <p:embeddedFont>
      <p:font typeface="Roboto" panose="02000000000000000000" pitchFamily="2" charset="0"/>
      <p:regular r:id="rId41"/>
      <p:bold r:id="rId42"/>
      <p:italic r:id="rId43"/>
      <p:boldItalic r:id="rId44"/>
    </p:embeddedFont>
  </p:embeddedFontLst>
  <p:defaultText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defaultTextStyle>
  <p:extLst>
    <p:ext uri="{521415D9-36F7-43E2-AB2F-B90AF26B5E84}">
      <p14:sectionLst xmlns:p14="http://schemas.microsoft.com/office/powerpoint/2010/main">
        <p14:section name="PTC Corporate Template" id="{968B0C30-3275-47FA-ACFC-CCC146521E0C}">
          <p14:sldIdLst>
            <p14:sldId id="2145705560"/>
            <p14:sldId id="2147483606"/>
            <p14:sldId id="2147483610"/>
            <p14:sldId id="2147483607"/>
            <p14:sldId id="2147483615"/>
            <p14:sldId id="2147483613"/>
            <p14:sldId id="2147483616"/>
            <p14:sldId id="2147483608"/>
            <p14:sldId id="2147483609"/>
            <p14:sldId id="2147483611"/>
            <p14:sldId id="2147483612"/>
            <p14:sldId id="2147483617"/>
            <p14:sldId id="2147483614"/>
            <p14:sldId id="2147472235"/>
            <p14:sldId id="2147374196"/>
            <p14:sldId id="2147479277"/>
            <p14:sldId id="2076138582"/>
            <p14:sldId id="2147481243"/>
            <p14:sldId id="2147472181"/>
            <p14:sldId id="2147481242"/>
            <p14:sldId id="2147483584"/>
            <p14:sldId id="2147483605"/>
            <p14:sldId id="2147483597"/>
            <p14:sldId id="2147483598"/>
            <p14:sldId id="2147483587"/>
            <p14:sldId id="2147479270"/>
            <p14:sldId id="2147483603"/>
            <p14:sldId id="2147483590"/>
            <p14:sldId id="2147483591"/>
            <p14:sldId id="2147483592"/>
            <p14:sldId id="2147483593"/>
            <p14:sldId id="214747927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9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BDBD"/>
    <a:srgbClr val="002B43"/>
    <a:srgbClr val="E034D2"/>
    <a:srgbClr val="D12C3A"/>
    <a:srgbClr val="595F60"/>
    <a:srgbClr val="C9C9C9"/>
    <a:srgbClr val="C37729"/>
    <a:srgbClr val="EB6D00"/>
    <a:srgbClr val="3D4647"/>
    <a:srgbClr val="197BC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41DA21-B727-4004-9CCC-AE21DEB596FC}" v="7" dt="2025-05-28T12:21:47.8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018" autoAdjust="0"/>
    <p:restoredTop sz="93349" autoAdjust="0"/>
  </p:normalViewPr>
  <p:slideViewPr>
    <p:cSldViewPr snapToGrid="0" showGuides="1">
      <p:cViewPr varScale="1">
        <p:scale>
          <a:sx n="94" d="100"/>
          <a:sy n="94" d="100"/>
        </p:scale>
        <p:origin x="86" y="269"/>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784"/>
    </p:cViewPr>
  </p:sorterViewPr>
  <p:notesViewPr>
    <p:cSldViewPr snapToGrid="0" showGuides="1">
      <p:cViewPr varScale="1">
        <p:scale>
          <a:sx n="65" d="100"/>
          <a:sy n="65" d="100"/>
        </p:scale>
        <p:origin x="3048"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font" Target="fonts/font3.fntdata"/><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font" Target="fonts/font6.fntdata"/><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handoutMaster" Target="handoutMasters/handoutMaster1.xml"/><Relationship Id="rId49"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font" Target="fonts/font8.fntdata"/><Relationship Id="rId52" Type="http://schemas.microsoft.com/office/2018/10/relationships/authors" Targe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 Id="rId43" Type="http://schemas.openxmlformats.org/officeDocument/2006/relationships/font" Target="fonts/font7.fntdata"/><Relationship Id="rId48" Type="http://schemas.openxmlformats.org/officeDocument/2006/relationships/theme" Target="theme/theme1.xml"/><Relationship Id="rId8" Type="http://schemas.openxmlformats.org/officeDocument/2006/relationships/slide" Target="slides/slide6.xml"/><Relationship Id="rId51" Type="http://schemas.microsoft.com/office/2015/10/relationships/revisionInfo" Target="revisionInfo.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font" Target="fonts/font2.fntdata"/><Relationship Id="rId46"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font" Target="fonts/font5.fntdata"/><Relationship Id="rId1" Type="http://schemas.openxmlformats.org/officeDocument/2006/relationships/slideMaster" Target="slideMasters/slideMaster1.xml"/><Relationship Id="rId6"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lly, Tanupreet" userId="2b9284cd-fe3f-4ab0-9d74-7ba141bd15e9" providerId="ADAL" clId="{C441DA21-B727-4004-9CCC-AE21DEB596FC}"/>
    <pc:docChg chg="undo redo custSel addSld modSld modSection">
      <pc:chgData name="Jolly, Tanupreet" userId="2b9284cd-fe3f-4ab0-9d74-7ba141bd15e9" providerId="ADAL" clId="{C441DA21-B727-4004-9CCC-AE21DEB596FC}" dt="2025-05-28T12:35:06.029" v="1638" actId="20577"/>
      <pc:docMkLst>
        <pc:docMk/>
      </pc:docMkLst>
      <pc:sldChg chg="modSp mod">
        <pc:chgData name="Jolly, Tanupreet" userId="2b9284cd-fe3f-4ab0-9d74-7ba141bd15e9" providerId="ADAL" clId="{C441DA21-B727-4004-9CCC-AE21DEB596FC}" dt="2025-05-14T14:11:28.080" v="863" actId="20577"/>
        <pc:sldMkLst>
          <pc:docMk/>
          <pc:sldMk cId="2875806713" sldId="2147483606"/>
        </pc:sldMkLst>
        <pc:spChg chg="mod">
          <ac:chgData name="Jolly, Tanupreet" userId="2b9284cd-fe3f-4ab0-9d74-7ba141bd15e9" providerId="ADAL" clId="{C441DA21-B727-4004-9CCC-AE21DEB596FC}" dt="2025-05-14T14:11:28.080" v="863" actId="20577"/>
          <ac:spMkLst>
            <pc:docMk/>
            <pc:sldMk cId="2875806713" sldId="2147483606"/>
            <ac:spMk id="2" creationId="{29957C06-B313-FA37-81E7-928FAA828457}"/>
          </ac:spMkLst>
        </pc:spChg>
      </pc:sldChg>
      <pc:sldChg chg="modSp mod">
        <pc:chgData name="Jolly, Tanupreet" userId="2b9284cd-fe3f-4ab0-9d74-7ba141bd15e9" providerId="ADAL" clId="{C441DA21-B727-4004-9CCC-AE21DEB596FC}" dt="2025-05-28T12:22:22.507" v="1284" actId="21"/>
        <pc:sldMkLst>
          <pc:docMk/>
          <pc:sldMk cId="3339887532" sldId="2147483607"/>
        </pc:sldMkLst>
        <pc:spChg chg="mod">
          <ac:chgData name="Jolly, Tanupreet" userId="2b9284cd-fe3f-4ab0-9d74-7ba141bd15e9" providerId="ADAL" clId="{C441DA21-B727-4004-9CCC-AE21DEB596FC}" dt="2025-05-28T12:22:22.507" v="1284" actId="21"/>
          <ac:spMkLst>
            <pc:docMk/>
            <pc:sldMk cId="3339887532" sldId="2147483607"/>
            <ac:spMk id="2" creationId="{CFBD0CFD-1D7A-1172-1796-66C116DD1EC0}"/>
          </ac:spMkLst>
        </pc:spChg>
      </pc:sldChg>
      <pc:sldChg chg="modSp mod">
        <pc:chgData name="Jolly, Tanupreet" userId="2b9284cd-fe3f-4ab0-9d74-7ba141bd15e9" providerId="ADAL" clId="{C441DA21-B727-4004-9CCC-AE21DEB596FC}" dt="2025-05-14T14:23:55.697" v="1045" actId="20577"/>
        <pc:sldMkLst>
          <pc:docMk/>
          <pc:sldMk cId="3921029287" sldId="2147483608"/>
        </pc:sldMkLst>
        <pc:spChg chg="mod">
          <ac:chgData name="Jolly, Tanupreet" userId="2b9284cd-fe3f-4ab0-9d74-7ba141bd15e9" providerId="ADAL" clId="{C441DA21-B727-4004-9CCC-AE21DEB596FC}" dt="2025-05-14T14:23:55.697" v="1045" actId="20577"/>
          <ac:spMkLst>
            <pc:docMk/>
            <pc:sldMk cId="3921029287" sldId="2147483608"/>
            <ac:spMk id="2" creationId="{06E71E6C-F7D7-5C00-76FA-21C853314437}"/>
          </ac:spMkLst>
        </pc:spChg>
      </pc:sldChg>
      <pc:sldChg chg="modSp mod">
        <pc:chgData name="Jolly, Tanupreet" userId="2b9284cd-fe3f-4ab0-9d74-7ba141bd15e9" providerId="ADAL" clId="{C441DA21-B727-4004-9CCC-AE21DEB596FC}" dt="2025-05-14T14:30:30.913" v="1120" actId="20577"/>
        <pc:sldMkLst>
          <pc:docMk/>
          <pc:sldMk cId="3568341082" sldId="2147483609"/>
        </pc:sldMkLst>
        <pc:spChg chg="mod">
          <ac:chgData name="Jolly, Tanupreet" userId="2b9284cd-fe3f-4ab0-9d74-7ba141bd15e9" providerId="ADAL" clId="{C441DA21-B727-4004-9CCC-AE21DEB596FC}" dt="2025-05-14T14:30:30.913" v="1120" actId="20577"/>
          <ac:spMkLst>
            <pc:docMk/>
            <pc:sldMk cId="3568341082" sldId="2147483609"/>
            <ac:spMk id="2" creationId="{D74C1819-E366-82E4-2D67-25726E014141}"/>
          </ac:spMkLst>
        </pc:spChg>
      </pc:sldChg>
      <pc:sldChg chg="modSp mod">
        <pc:chgData name="Jolly, Tanupreet" userId="2b9284cd-fe3f-4ab0-9d74-7ba141bd15e9" providerId="ADAL" clId="{C441DA21-B727-4004-9CCC-AE21DEB596FC}" dt="2025-05-13T14:45:38.251" v="858" actId="20577"/>
        <pc:sldMkLst>
          <pc:docMk/>
          <pc:sldMk cId="3026787946" sldId="2147483611"/>
        </pc:sldMkLst>
        <pc:spChg chg="mod">
          <ac:chgData name="Jolly, Tanupreet" userId="2b9284cd-fe3f-4ab0-9d74-7ba141bd15e9" providerId="ADAL" clId="{C441DA21-B727-4004-9CCC-AE21DEB596FC}" dt="2025-05-13T14:45:38.251" v="858" actId="20577"/>
          <ac:spMkLst>
            <pc:docMk/>
            <pc:sldMk cId="3026787946" sldId="2147483611"/>
            <ac:spMk id="2" creationId="{C6E7155B-749B-1A63-36F9-1E496DDBB16E}"/>
          </ac:spMkLst>
        </pc:spChg>
      </pc:sldChg>
      <pc:sldChg chg="modSp mod">
        <pc:chgData name="Jolly, Tanupreet" userId="2b9284cd-fe3f-4ab0-9d74-7ba141bd15e9" providerId="ADAL" clId="{C441DA21-B727-4004-9CCC-AE21DEB596FC}" dt="2025-05-14T14:45:59.139" v="1235" actId="13926"/>
        <pc:sldMkLst>
          <pc:docMk/>
          <pc:sldMk cId="2304501904" sldId="2147483612"/>
        </pc:sldMkLst>
        <pc:spChg chg="mod">
          <ac:chgData name="Jolly, Tanupreet" userId="2b9284cd-fe3f-4ab0-9d74-7ba141bd15e9" providerId="ADAL" clId="{C441DA21-B727-4004-9CCC-AE21DEB596FC}" dt="2025-05-14T14:45:59.139" v="1235" actId="13926"/>
          <ac:spMkLst>
            <pc:docMk/>
            <pc:sldMk cId="2304501904" sldId="2147483612"/>
            <ac:spMk id="2" creationId="{391606AD-AC4C-90E4-F3BF-DC26277667F2}"/>
          </ac:spMkLst>
        </pc:spChg>
      </pc:sldChg>
      <pc:sldChg chg="modSp mod">
        <pc:chgData name="Jolly, Tanupreet" userId="2b9284cd-fe3f-4ab0-9d74-7ba141bd15e9" providerId="ADAL" clId="{C441DA21-B727-4004-9CCC-AE21DEB596FC}" dt="2025-05-14T14:21:37.853" v="1032" actId="20577"/>
        <pc:sldMkLst>
          <pc:docMk/>
          <pc:sldMk cId="88966657" sldId="2147483613"/>
        </pc:sldMkLst>
        <pc:spChg chg="mod">
          <ac:chgData name="Jolly, Tanupreet" userId="2b9284cd-fe3f-4ab0-9d74-7ba141bd15e9" providerId="ADAL" clId="{C441DA21-B727-4004-9CCC-AE21DEB596FC}" dt="2025-05-14T14:21:37.853" v="1032" actId="20577"/>
          <ac:spMkLst>
            <pc:docMk/>
            <pc:sldMk cId="88966657" sldId="2147483613"/>
            <ac:spMk id="2" creationId="{6E4FC00D-CE51-12AF-EF00-20E5F8FEA780}"/>
          </ac:spMkLst>
        </pc:spChg>
      </pc:sldChg>
      <pc:sldChg chg="addSp delSp modSp new mod">
        <pc:chgData name="Jolly, Tanupreet" userId="2b9284cd-fe3f-4ab0-9d74-7ba141bd15e9" providerId="ADAL" clId="{C441DA21-B727-4004-9CCC-AE21DEB596FC}" dt="2025-05-13T14:21:37.239" v="843" actId="692"/>
        <pc:sldMkLst>
          <pc:docMk/>
          <pc:sldMk cId="970863119" sldId="2147483614"/>
        </pc:sldMkLst>
        <pc:spChg chg="add mod">
          <ac:chgData name="Jolly, Tanupreet" userId="2b9284cd-fe3f-4ab0-9d74-7ba141bd15e9" providerId="ADAL" clId="{C441DA21-B727-4004-9CCC-AE21DEB596FC}" dt="2025-05-13T14:21:22.474" v="837" actId="14100"/>
          <ac:spMkLst>
            <pc:docMk/>
            <pc:sldMk cId="970863119" sldId="2147483614"/>
            <ac:spMk id="6" creationId="{FE6E485F-F022-2591-BC56-01DDB386B2E2}"/>
          </ac:spMkLst>
        </pc:spChg>
        <pc:picChg chg="add mod ord">
          <ac:chgData name="Jolly, Tanupreet" userId="2b9284cd-fe3f-4ab0-9d74-7ba141bd15e9" providerId="ADAL" clId="{C441DA21-B727-4004-9CCC-AE21DEB596FC}" dt="2025-05-13T14:21:37.239" v="843" actId="692"/>
          <ac:picMkLst>
            <pc:docMk/>
            <pc:sldMk cId="970863119" sldId="2147483614"/>
            <ac:picMk id="5" creationId="{971FA28B-03CF-7820-C168-97F281FA9CD6}"/>
          </ac:picMkLst>
        </pc:picChg>
      </pc:sldChg>
      <pc:sldChg chg="addSp modSp new mod">
        <pc:chgData name="Jolly, Tanupreet" userId="2b9284cd-fe3f-4ab0-9d74-7ba141bd15e9" providerId="ADAL" clId="{C441DA21-B727-4004-9CCC-AE21DEB596FC}" dt="2025-05-28T12:26:02.837" v="1463" actId="20577"/>
        <pc:sldMkLst>
          <pc:docMk/>
          <pc:sldMk cId="2003867102" sldId="2147483615"/>
        </pc:sldMkLst>
        <pc:spChg chg="mod">
          <ac:chgData name="Jolly, Tanupreet" userId="2b9284cd-fe3f-4ab0-9d74-7ba141bd15e9" providerId="ADAL" clId="{C441DA21-B727-4004-9CCC-AE21DEB596FC}" dt="2025-05-28T12:25:57.528" v="1450" actId="20577"/>
          <ac:spMkLst>
            <pc:docMk/>
            <pc:sldMk cId="2003867102" sldId="2147483615"/>
            <ac:spMk id="2" creationId="{E5D46CF8-D837-9E2C-233E-EF9A782B0546}"/>
          </ac:spMkLst>
        </pc:spChg>
        <pc:spChg chg="mod">
          <ac:chgData name="Jolly, Tanupreet" userId="2b9284cd-fe3f-4ab0-9d74-7ba141bd15e9" providerId="ADAL" clId="{C441DA21-B727-4004-9CCC-AE21DEB596FC}" dt="2025-05-28T12:26:02.837" v="1463" actId="20577"/>
          <ac:spMkLst>
            <pc:docMk/>
            <pc:sldMk cId="2003867102" sldId="2147483615"/>
            <ac:spMk id="3" creationId="{3465EB9B-F6FF-95C7-A5D5-44911D0372C6}"/>
          </ac:spMkLst>
        </pc:spChg>
        <pc:spChg chg="add mod">
          <ac:chgData name="Jolly, Tanupreet" userId="2b9284cd-fe3f-4ab0-9d74-7ba141bd15e9" providerId="ADAL" clId="{C441DA21-B727-4004-9CCC-AE21DEB596FC}" dt="2025-05-28T12:21:46.901" v="1249" actId="1076"/>
          <ac:spMkLst>
            <pc:docMk/>
            <pc:sldMk cId="2003867102" sldId="2147483615"/>
            <ac:spMk id="4" creationId="{0238F307-4573-EDB6-ABF0-990EF34FF071}"/>
          </ac:spMkLst>
        </pc:spChg>
        <pc:picChg chg="add">
          <ac:chgData name="Jolly, Tanupreet" userId="2b9284cd-fe3f-4ab0-9d74-7ba141bd15e9" providerId="ADAL" clId="{C441DA21-B727-4004-9CCC-AE21DEB596FC}" dt="2025-05-28T12:21:34.534" v="1247"/>
          <ac:picMkLst>
            <pc:docMk/>
            <pc:sldMk cId="2003867102" sldId="2147483615"/>
            <ac:picMk id="1026" creationId="{D126BF8F-FC1F-F827-0A37-20A3E24F2F29}"/>
          </ac:picMkLst>
        </pc:picChg>
      </pc:sldChg>
      <pc:sldChg chg="modSp new mod">
        <pc:chgData name="Jolly, Tanupreet" userId="2b9284cd-fe3f-4ab0-9d74-7ba141bd15e9" providerId="ADAL" clId="{C441DA21-B727-4004-9CCC-AE21DEB596FC}" dt="2025-05-28T12:28:16.562" v="1531" actId="313"/>
        <pc:sldMkLst>
          <pc:docMk/>
          <pc:sldMk cId="3406507208" sldId="2147483616"/>
        </pc:sldMkLst>
        <pc:spChg chg="mod">
          <ac:chgData name="Jolly, Tanupreet" userId="2b9284cd-fe3f-4ab0-9d74-7ba141bd15e9" providerId="ADAL" clId="{C441DA21-B727-4004-9CCC-AE21DEB596FC}" dt="2025-05-28T12:28:16.562" v="1531" actId="313"/>
          <ac:spMkLst>
            <pc:docMk/>
            <pc:sldMk cId="3406507208" sldId="2147483616"/>
            <ac:spMk id="2" creationId="{70D6C8F4-36D0-2741-4562-C8CF8F676142}"/>
          </ac:spMkLst>
        </pc:spChg>
        <pc:spChg chg="mod">
          <ac:chgData name="Jolly, Tanupreet" userId="2b9284cd-fe3f-4ab0-9d74-7ba141bd15e9" providerId="ADAL" clId="{C441DA21-B727-4004-9CCC-AE21DEB596FC}" dt="2025-05-28T12:26:27.385" v="1481" actId="20577"/>
          <ac:spMkLst>
            <pc:docMk/>
            <pc:sldMk cId="3406507208" sldId="2147483616"/>
            <ac:spMk id="3" creationId="{B2057B3C-B937-06D2-E7F2-D16499789C9A}"/>
          </ac:spMkLst>
        </pc:spChg>
      </pc:sldChg>
      <pc:sldChg chg="modSp new mod">
        <pc:chgData name="Jolly, Tanupreet" userId="2b9284cd-fe3f-4ab0-9d74-7ba141bd15e9" providerId="ADAL" clId="{C441DA21-B727-4004-9CCC-AE21DEB596FC}" dt="2025-05-28T12:35:06.029" v="1638" actId="20577"/>
        <pc:sldMkLst>
          <pc:docMk/>
          <pc:sldMk cId="3183142007" sldId="2147483617"/>
        </pc:sldMkLst>
        <pc:spChg chg="mod">
          <ac:chgData name="Jolly, Tanupreet" userId="2b9284cd-fe3f-4ab0-9d74-7ba141bd15e9" providerId="ADAL" clId="{C441DA21-B727-4004-9CCC-AE21DEB596FC}" dt="2025-05-28T12:32:04.041" v="1619" actId="20577"/>
          <ac:spMkLst>
            <pc:docMk/>
            <pc:sldMk cId="3183142007" sldId="2147483617"/>
            <ac:spMk id="2" creationId="{E127FCAA-BA4B-2ABF-280F-1E157A6ED66A}"/>
          </ac:spMkLst>
        </pc:spChg>
        <pc:spChg chg="mod">
          <ac:chgData name="Jolly, Tanupreet" userId="2b9284cd-fe3f-4ab0-9d74-7ba141bd15e9" providerId="ADAL" clId="{C441DA21-B727-4004-9CCC-AE21DEB596FC}" dt="2025-05-28T12:35:06.029" v="1638" actId="20577"/>
          <ac:spMkLst>
            <pc:docMk/>
            <pc:sldMk cId="3183142007" sldId="2147483617"/>
            <ac:spMk id="3" creationId="{F12A09C3-981D-FA3C-6268-5A78F3E17D37}"/>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224B0B-B14D-40AC-82DF-F3306E84CD2D}"/>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s-PE" dirty="0">
              <a:latin typeface="PTCRaleway" panose="020B0503030101060003" pitchFamily="34" charset="0"/>
            </a:endParaRPr>
          </a:p>
        </p:txBody>
      </p:sp>
      <p:sp>
        <p:nvSpPr>
          <p:cNvPr id="3" name="Date Placeholder 2">
            <a:extLst>
              <a:ext uri="{FF2B5EF4-FFF2-40B4-BE49-F238E27FC236}">
                <a16:creationId xmlns:a16="http://schemas.microsoft.com/office/drawing/2014/main" id="{5F87035F-7A70-47F4-BE9C-22A896CD40FA}"/>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44D8EA7-7DA4-4945-AC0B-1C137F860C15}" type="datetimeFigureOut">
              <a:rPr lang="es-PE" smtClean="0">
                <a:latin typeface="PTCRaleway" panose="020B0503030101060003" pitchFamily="34" charset="0"/>
              </a:rPr>
              <a:t>28/05/2025</a:t>
            </a:fld>
            <a:endParaRPr lang="es-PE" dirty="0">
              <a:latin typeface="PTCRaleway" panose="020B0503030101060003" pitchFamily="34" charset="0"/>
            </a:endParaRPr>
          </a:p>
        </p:txBody>
      </p:sp>
      <p:sp>
        <p:nvSpPr>
          <p:cNvPr id="4" name="Footer Placeholder 3">
            <a:extLst>
              <a:ext uri="{FF2B5EF4-FFF2-40B4-BE49-F238E27FC236}">
                <a16:creationId xmlns:a16="http://schemas.microsoft.com/office/drawing/2014/main" id="{B411217F-1BC1-4AA5-8B2B-5ECC481CC313}"/>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s-PE" dirty="0">
              <a:latin typeface="PTCRaleway" panose="020B0503030101060003" pitchFamily="34" charset="0"/>
            </a:endParaRPr>
          </a:p>
        </p:txBody>
      </p:sp>
      <p:sp>
        <p:nvSpPr>
          <p:cNvPr id="5" name="Slide Number Placeholder 4">
            <a:extLst>
              <a:ext uri="{FF2B5EF4-FFF2-40B4-BE49-F238E27FC236}">
                <a16:creationId xmlns:a16="http://schemas.microsoft.com/office/drawing/2014/main" id="{FCF08F94-7F82-4A63-917E-74383B6A0A59}"/>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B276B9F4-9710-4869-B60C-B0B61D2780E4}" type="slidenum">
              <a:rPr lang="es-PE" smtClean="0">
                <a:latin typeface="PTCRaleway" panose="020B0503030101060003" pitchFamily="34" charset="0"/>
              </a:rPr>
              <a:t>‹#›</a:t>
            </a:fld>
            <a:endParaRPr lang="es-PE" dirty="0">
              <a:latin typeface="PTCRaleway" panose="020B0503030101060003" pitchFamily="34" charset="0"/>
            </a:endParaRPr>
          </a:p>
        </p:txBody>
      </p:sp>
    </p:spTree>
    <p:extLst>
      <p:ext uri="{BB962C8B-B14F-4D97-AF65-F5344CB8AC3E}">
        <p14:creationId xmlns:p14="http://schemas.microsoft.com/office/powerpoint/2010/main" val="60246535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atin typeface="+mn-lt"/>
              </a:defRPr>
            </a:lvl1pPr>
          </a:lstStyle>
          <a:p>
            <a:endParaRPr lang="en-US" dirty="0"/>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atin typeface="+mn-lt"/>
              </a:defRPr>
            </a:lvl1pPr>
          </a:lstStyle>
          <a:p>
            <a:fld id="{AC5DD82D-684E-4FFB-8320-B8CCB1AF24EB}" type="datetimeFigureOut">
              <a:rPr lang="en-US" smtClean="0"/>
              <a:pPr/>
              <a:t>5/28/2025</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atin typeface="+mn-lt"/>
              </a:defRPr>
            </a:lvl1pPr>
          </a:lstStyle>
          <a:p>
            <a:endParaRPr lang="en-US" dirty="0"/>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atin typeface="+mn-lt"/>
              </a:defRPr>
            </a:lvl1pPr>
          </a:lstStyle>
          <a:p>
            <a:fld id="{D1F37E36-7D7C-4671-B3B8-2BFBF9F6F7FB}" type="slidenum">
              <a:rPr lang="en-US" smtClean="0"/>
              <a:pPr/>
              <a:t>‹#›</a:t>
            </a:fld>
            <a:endParaRPr lang="en-US" dirty="0"/>
          </a:p>
        </p:txBody>
      </p:sp>
    </p:spTree>
    <p:extLst>
      <p:ext uri="{BB962C8B-B14F-4D97-AF65-F5344CB8AC3E}">
        <p14:creationId xmlns:p14="http://schemas.microsoft.com/office/powerpoint/2010/main" val="3701644338"/>
      </p:ext>
    </p:extLst>
  </p:cSld>
  <p:clrMap bg1="lt1" tx1="dk1" bg2="lt2" tx2="dk2" accent1="accent1" accent2="accent2" accent3="accent3" accent4="accent4" accent5="accent5" accent6="accent6" hlink="hlink" folHlink="folHlink"/>
  <p:notesStyle>
    <a:lvl1pPr marL="182880" indent="-182880" algn="l" defTabSz="914400" rtl="0" eaLnBrk="1" latinLnBrk="0" hangingPunct="1">
      <a:buFont typeface="Wingdings" panose="05000000000000000000" pitchFamily="2" charset="2"/>
      <a:buChar char="§"/>
      <a:defRPr sz="1200" kern="1200">
        <a:solidFill>
          <a:schemeClr val="tx1"/>
        </a:solidFill>
        <a:latin typeface="+mj-lt"/>
        <a:ea typeface="+mn-ea"/>
        <a:cs typeface="+mn-cs"/>
      </a:defRPr>
    </a:lvl1pPr>
    <a:lvl2pPr marL="365760" indent="-182880" algn="l" defTabSz="914400" rtl="0" eaLnBrk="1" latinLnBrk="0" hangingPunct="1">
      <a:buFont typeface="Calibri Light" panose="020F0302020204030204" pitchFamily="34" charset="0"/>
      <a:buChar char="–"/>
      <a:defRPr sz="1200" kern="1200">
        <a:solidFill>
          <a:schemeClr val="tx1"/>
        </a:solidFill>
        <a:latin typeface="+mj-lt"/>
        <a:ea typeface="+mn-ea"/>
        <a:cs typeface="+mn-cs"/>
      </a:defRPr>
    </a:lvl2pPr>
    <a:lvl3pPr marL="548640" indent="-182880" algn="l" defTabSz="914400" rtl="0" eaLnBrk="1" latinLnBrk="0" hangingPunct="1">
      <a:buFont typeface="Wingdings" panose="05000000000000000000" pitchFamily="2" charset="2"/>
      <a:buChar char="§"/>
      <a:defRPr sz="1200" kern="1200">
        <a:solidFill>
          <a:schemeClr val="tx1"/>
        </a:solidFill>
        <a:latin typeface="+mj-lt"/>
        <a:ea typeface="+mn-ea"/>
        <a:cs typeface="+mn-cs"/>
      </a:defRPr>
    </a:lvl3pPr>
    <a:lvl4pPr marL="731520" indent="-182880" algn="l" defTabSz="914400" rtl="0" eaLnBrk="1" latinLnBrk="0" hangingPunct="1">
      <a:buFont typeface="Calibri Light" panose="020F0302020204030204" pitchFamily="34" charset="0"/>
      <a:buChar char="–"/>
      <a:defRPr sz="1200" kern="1200">
        <a:solidFill>
          <a:schemeClr val="tx1"/>
        </a:solidFill>
        <a:latin typeface="+mj-lt"/>
        <a:ea typeface="+mn-ea"/>
        <a:cs typeface="+mn-cs"/>
      </a:defRPr>
    </a:lvl4pPr>
    <a:lvl5pPr marL="914400" indent="-182880" algn="l" defTabSz="914400" rtl="0" eaLnBrk="1" latinLnBrk="0" hangingPunct="1">
      <a:buFont typeface="Wingdings" panose="05000000000000000000" pitchFamily="2" charset="2"/>
      <a:buChar char="§"/>
      <a:defRPr sz="1200" kern="1200">
        <a:solidFill>
          <a:schemeClr val="tx1"/>
        </a:solidFill>
        <a:latin typeface="+mj-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a:t>
            </a:fld>
            <a:endParaRPr lang="en-US" dirty="0"/>
          </a:p>
        </p:txBody>
      </p:sp>
    </p:spTree>
    <p:extLst>
      <p:ext uri="{BB962C8B-B14F-4D97-AF65-F5344CB8AC3E}">
        <p14:creationId xmlns:p14="http://schemas.microsoft.com/office/powerpoint/2010/main" val="41409872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23</a:t>
            </a:fld>
            <a:endParaRPr lang="en-US" dirty="0"/>
          </a:p>
        </p:txBody>
      </p:sp>
    </p:spTree>
    <p:extLst>
      <p:ext uri="{BB962C8B-B14F-4D97-AF65-F5344CB8AC3E}">
        <p14:creationId xmlns:p14="http://schemas.microsoft.com/office/powerpoint/2010/main" val="1341594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24</a:t>
            </a:fld>
            <a:endParaRPr lang="en-US" dirty="0"/>
          </a:p>
        </p:txBody>
      </p:sp>
    </p:spTree>
    <p:extLst>
      <p:ext uri="{BB962C8B-B14F-4D97-AF65-F5344CB8AC3E}">
        <p14:creationId xmlns:p14="http://schemas.microsoft.com/office/powerpoint/2010/main" val="4004589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25</a:t>
            </a:fld>
            <a:endParaRPr lang="en-US" dirty="0"/>
          </a:p>
        </p:txBody>
      </p:sp>
    </p:spTree>
    <p:extLst>
      <p:ext uri="{BB962C8B-B14F-4D97-AF65-F5344CB8AC3E}">
        <p14:creationId xmlns:p14="http://schemas.microsoft.com/office/powerpoint/2010/main" val="26872827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26</a:t>
            </a:fld>
            <a:endParaRPr lang="en-US" dirty="0"/>
          </a:p>
        </p:txBody>
      </p:sp>
    </p:spTree>
    <p:extLst>
      <p:ext uri="{BB962C8B-B14F-4D97-AF65-F5344CB8AC3E}">
        <p14:creationId xmlns:p14="http://schemas.microsoft.com/office/powerpoint/2010/main" val="36089987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27</a:t>
            </a:fld>
            <a:endParaRPr lang="en-US" dirty="0"/>
          </a:p>
        </p:txBody>
      </p:sp>
    </p:spTree>
    <p:extLst>
      <p:ext uri="{BB962C8B-B14F-4D97-AF65-F5344CB8AC3E}">
        <p14:creationId xmlns:p14="http://schemas.microsoft.com/office/powerpoint/2010/main" val="16984495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28</a:t>
            </a:fld>
            <a:endParaRPr lang="en-US" dirty="0"/>
          </a:p>
        </p:txBody>
      </p:sp>
    </p:spTree>
    <p:extLst>
      <p:ext uri="{BB962C8B-B14F-4D97-AF65-F5344CB8AC3E}">
        <p14:creationId xmlns:p14="http://schemas.microsoft.com/office/powerpoint/2010/main" val="12128475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24790138-71D5-48AF-995D-39D4BC255CBF}" type="slidenum">
              <a:rPr lang="en-US" smtClean="0"/>
              <a:t>29</a:t>
            </a:fld>
            <a:endParaRPr lang="en-US" dirty="0"/>
          </a:p>
        </p:txBody>
      </p:sp>
    </p:spTree>
    <p:extLst>
      <p:ext uri="{BB962C8B-B14F-4D97-AF65-F5344CB8AC3E}">
        <p14:creationId xmlns:p14="http://schemas.microsoft.com/office/powerpoint/2010/main" val="42900997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30</a:t>
            </a:fld>
            <a:endParaRPr lang="en-US" dirty="0"/>
          </a:p>
        </p:txBody>
      </p:sp>
    </p:spTree>
    <p:extLst>
      <p:ext uri="{BB962C8B-B14F-4D97-AF65-F5344CB8AC3E}">
        <p14:creationId xmlns:p14="http://schemas.microsoft.com/office/powerpoint/2010/main" val="9603177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31</a:t>
            </a:fld>
            <a:endParaRPr lang="en-US" dirty="0"/>
          </a:p>
        </p:txBody>
      </p:sp>
    </p:spTree>
    <p:extLst>
      <p:ext uri="{BB962C8B-B14F-4D97-AF65-F5344CB8AC3E}">
        <p14:creationId xmlns:p14="http://schemas.microsoft.com/office/powerpoint/2010/main" val="201795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24790138-71D5-48AF-995D-39D4BC255CBF}" type="slidenum">
              <a:rPr lang="en-US" smtClean="0"/>
              <a:t>32</a:t>
            </a:fld>
            <a:endParaRPr lang="en-US" dirty="0"/>
          </a:p>
        </p:txBody>
      </p:sp>
    </p:spTree>
    <p:extLst>
      <p:ext uri="{BB962C8B-B14F-4D97-AF65-F5344CB8AC3E}">
        <p14:creationId xmlns:p14="http://schemas.microsoft.com/office/powerpoint/2010/main" val="19605001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790138-71D5-48AF-995D-39D4BC255CBF}" type="slidenum">
              <a:rPr lang="en-US" smtClean="0"/>
              <a:t>14</a:t>
            </a:fld>
            <a:endParaRPr lang="en-US" dirty="0"/>
          </a:p>
        </p:txBody>
      </p:sp>
    </p:spTree>
    <p:extLst>
      <p:ext uri="{BB962C8B-B14F-4D97-AF65-F5344CB8AC3E}">
        <p14:creationId xmlns:p14="http://schemas.microsoft.com/office/powerpoint/2010/main" val="20558211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790138-71D5-48AF-995D-39D4BC255CBF}" type="slidenum">
              <a:rPr lang="en-US" smtClean="0"/>
              <a:t>15</a:t>
            </a:fld>
            <a:endParaRPr lang="en-US" dirty="0"/>
          </a:p>
        </p:txBody>
      </p:sp>
    </p:spTree>
    <p:extLst>
      <p:ext uri="{BB962C8B-B14F-4D97-AF65-F5344CB8AC3E}">
        <p14:creationId xmlns:p14="http://schemas.microsoft.com/office/powerpoint/2010/main" val="1899935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6</a:t>
            </a:fld>
            <a:endParaRPr lang="en-US" dirty="0"/>
          </a:p>
        </p:txBody>
      </p:sp>
    </p:spTree>
    <p:extLst>
      <p:ext uri="{BB962C8B-B14F-4D97-AF65-F5344CB8AC3E}">
        <p14:creationId xmlns:p14="http://schemas.microsoft.com/office/powerpoint/2010/main" val="116090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24790138-71D5-48AF-995D-39D4BC255CBF}" type="slidenum">
              <a:rPr lang="en-US" smtClean="0"/>
              <a:t>17</a:t>
            </a:fld>
            <a:endParaRPr lang="en-US" dirty="0"/>
          </a:p>
        </p:txBody>
      </p:sp>
    </p:spTree>
    <p:extLst>
      <p:ext uri="{BB962C8B-B14F-4D97-AF65-F5344CB8AC3E}">
        <p14:creationId xmlns:p14="http://schemas.microsoft.com/office/powerpoint/2010/main" val="37307255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8700A18-2924-4866-AEE0-EE5597083A5F}" type="slidenum">
              <a:rPr lang="en-US" smtClean="0"/>
              <a:t>19</a:t>
            </a:fld>
            <a:endParaRPr lang="en-US" dirty="0"/>
          </a:p>
        </p:txBody>
      </p:sp>
    </p:spTree>
    <p:extLst>
      <p:ext uri="{BB962C8B-B14F-4D97-AF65-F5344CB8AC3E}">
        <p14:creationId xmlns:p14="http://schemas.microsoft.com/office/powerpoint/2010/main" val="2580352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20</a:t>
            </a:fld>
            <a:endParaRPr lang="en-US" dirty="0"/>
          </a:p>
        </p:txBody>
      </p:sp>
    </p:spTree>
    <p:extLst>
      <p:ext uri="{BB962C8B-B14F-4D97-AF65-F5344CB8AC3E}">
        <p14:creationId xmlns:p14="http://schemas.microsoft.com/office/powerpoint/2010/main" val="10910002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F2F53F-3864-8F21-838C-BA4966B8FD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B1ABEC-CAAB-5F3A-EC4E-65423FDBC9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4906E3-D36D-2884-1F77-CAF691F53F0F}"/>
              </a:ext>
            </a:extLst>
          </p:cNvPr>
          <p:cNvSpPr>
            <a:spLocks noGrp="1"/>
          </p:cNvSpPr>
          <p:nvPr>
            <p:ph type="body"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id="{17248E09-7BA6-43F8-27CA-C42A8A25C41F}"/>
              </a:ext>
            </a:extLst>
          </p:cNvPr>
          <p:cNvSpPr>
            <a:spLocks noGrp="1"/>
          </p:cNvSpPr>
          <p:nvPr>
            <p:ph type="sldNum" sz="quarter" idx="5"/>
          </p:nvPr>
        </p:nvSpPr>
        <p:spPr/>
        <p:txBody>
          <a:bodyPr/>
          <a:lstStyle/>
          <a:p>
            <a:fld id="{D1F37E36-7D7C-4671-B3B8-2BFBF9F6F7FB}" type="slidenum">
              <a:rPr lang="en-US" smtClean="0"/>
              <a:pPr/>
              <a:t>21</a:t>
            </a:fld>
            <a:endParaRPr lang="en-US" dirty="0"/>
          </a:p>
        </p:txBody>
      </p:sp>
    </p:spTree>
    <p:extLst>
      <p:ext uri="{BB962C8B-B14F-4D97-AF65-F5344CB8AC3E}">
        <p14:creationId xmlns:p14="http://schemas.microsoft.com/office/powerpoint/2010/main" val="42268404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359C93-739C-A1FD-DB44-0165C93344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91C90A-5F87-23DB-D0BC-19D9A778BC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683FB1-DC25-5623-16A0-EC909FE0FB0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0E296565-E8EC-62BD-099B-0C6002F0F53F}"/>
              </a:ext>
            </a:extLst>
          </p:cNvPr>
          <p:cNvSpPr>
            <a:spLocks noGrp="1"/>
          </p:cNvSpPr>
          <p:nvPr>
            <p:ph type="sldNum" sz="quarter" idx="5"/>
          </p:nvPr>
        </p:nvSpPr>
        <p:spPr/>
        <p:txBody>
          <a:bodyPr/>
          <a:lstStyle/>
          <a:p>
            <a:fld id="{D1F37E36-7D7C-4671-B3B8-2BFBF9F6F7FB}" type="slidenum">
              <a:rPr lang="en-US" smtClean="0"/>
              <a:pPr/>
              <a:t>22</a:t>
            </a:fld>
            <a:endParaRPr lang="en-US" dirty="0"/>
          </a:p>
        </p:txBody>
      </p:sp>
    </p:spTree>
    <p:extLst>
      <p:ext uri="{BB962C8B-B14F-4D97-AF65-F5344CB8AC3E}">
        <p14:creationId xmlns:p14="http://schemas.microsoft.com/office/powerpoint/2010/main" val="36853575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2.png"/><Relationship Id="rId7" Type="http://schemas.openxmlformats.org/officeDocument/2006/relationships/image" Target="../media/image25.svg"/><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24.png"/><Relationship Id="rId5" Type="http://schemas.openxmlformats.org/officeDocument/2006/relationships/image" Target="../media/image2.png"/><Relationship Id="rId4" Type="http://schemas.openxmlformats.org/officeDocument/2006/relationships/image" Target="../media/image23.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1.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5.sv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1.xml"/><Relationship Id="rId5" Type="http://schemas.openxmlformats.org/officeDocument/2006/relationships/image" Target="../media/image33.svg"/><Relationship Id="rId4" Type="http://schemas.openxmlformats.org/officeDocument/2006/relationships/image" Target="../media/image3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0.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xml"/><Relationship Id="rId4" Type="http://schemas.openxmlformats.org/officeDocument/2006/relationships/image" Target="../media/image34.png"/></Relationships>
</file>

<file path=ppt/slideLayouts/_rels/slideLayout37.xml.rels><?xml version="1.0" encoding="UTF-8" standalone="yes"?>
<Relationships xmlns="http://schemas.openxmlformats.org/package/2006/relationships"><Relationship Id="rId8" Type="http://schemas.openxmlformats.org/officeDocument/2006/relationships/hyperlink" Target="https://facebook.com/ptc.inc" TargetMode="External"/><Relationship Id="rId13" Type="http://schemas.openxmlformats.org/officeDocument/2006/relationships/image" Target="../media/image41.svg"/><Relationship Id="rId3" Type="http://schemas.openxmlformats.org/officeDocument/2006/relationships/hyperlink" Target="https://www.linkedin.com/company/ptc/" TargetMode="External"/><Relationship Id="rId7" Type="http://schemas.openxmlformats.org/officeDocument/2006/relationships/hyperlink" Target="https://youtube.com/ptc" TargetMode="External"/><Relationship Id="rId12" Type="http://schemas.openxmlformats.org/officeDocument/2006/relationships/image" Target="../media/image40.png"/><Relationship Id="rId17" Type="http://schemas.openxmlformats.org/officeDocument/2006/relationships/image" Target="../media/image43.svg"/><Relationship Id="rId2" Type="http://schemas.openxmlformats.org/officeDocument/2006/relationships/image" Target="../media/image35.png"/><Relationship Id="rId16" Type="http://schemas.openxmlformats.org/officeDocument/2006/relationships/image" Target="../media/image42.png"/><Relationship Id="rId1" Type="http://schemas.openxmlformats.org/officeDocument/2006/relationships/slideMaster" Target="../slideMasters/slideMaster1.xml"/><Relationship Id="rId6" Type="http://schemas.openxmlformats.org/officeDocument/2006/relationships/hyperlink" Target="https://twitter.com/ptc" TargetMode="External"/><Relationship Id="rId11" Type="http://schemas.openxmlformats.org/officeDocument/2006/relationships/image" Target="../media/image39.svg"/><Relationship Id="rId5" Type="http://schemas.openxmlformats.org/officeDocument/2006/relationships/image" Target="../media/image37.svg"/><Relationship Id="rId15" Type="http://schemas.openxmlformats.org/officeDocument/2006/relationships/image" Target="../media/image7.svg"/><Relationship Id="rId10" Type="http://schemas.openxmlformats.org/officeDocument/2006/relationships/image" Target="../media/image38.png"/><Relationship Id="rId4" Type="http://schemas.openxmlformats.org/officeDocument/2006/relationships/image" Target="../media/image36.png"/><Relationship Id="rId9" Type="http://schemas.openxmlformats.org/officeDocument/2006/relationships/hyperlink" Target="https://www.ptc.com/" TargetMode="External"/><Relationship Id="rId14"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4.png"/><Relationship Id="rId1" Type="http://schemas.openxmlformats.org/officeDocument/2006/relationships/slideMaster" Target="../slideMasters/slideMaster2.xml"/><Relationship Id="rId6" Type="http://schemas.openxmlformats.org/officeDocument/2006/relationships/image" Target="../media/image45.svg"/><Relationship Id="rId5" Type="http://schemas.openxmlformats.org/officeDocument/2006/relationships/image" Target="../media/image8.png"/><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49.svg"/><Relationship Id="rId2" Type="http://schemas.openxmlformats.org/officeDocument/2006/relationships/image" Target="../media/image46.png"/><Relationship Id="rId1" Type="http://schemas.openxmlformats.org/officeDocument/2006/relationships/slideMaster" Target="../slideMasters/slideMaster2.xml"/><Relationship Id="rId6" Type="http://schemas.openxmlformats.org/officeDocument/2006/relationships/image" Target="../media/image48.png"/><Relationship Id="rId5" Type="http://schemas.openxmlformats.org/officeDocument/2006/relationships/image" Target="../media/image20.svg"/><Relationship Id="rId4" Type="http://schemas.openxmlformats.org/officeDocument/2006/relationships/image" Target="../media/image19.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7.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4.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4.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18" Type="http://schemas.openxmlformats.org/officeDocument/2006/relationships/image" Target="../media/image61.svg"/><Relationship Id="rId3" Type="http://schemas.openxmlformats.org/officeDocument/2006/relationships/slideMaster" Target="../slideMasters/slideMaster2.xml"/><Relationship Id="rId21" Type="http://schemas.openxmlformats.org/officeDocument/2006/relationships/image" Target="../media/image64.png"/><Relationship Id="rId7" Type="http://schemas.openxmlformats.org/officeDocument/2006/relationships/image" Target="../media/image50.png"/><Relationship Id="rId12" Type="http://schemas.openxmlformats.org/officeDocument/2006/relationships/image" Target="../media/image55.svg"/><Relationship Id="rId17" Type="http://schemas.openxmlformats.org/officeDocument/2006/relationships/image" Target="../media/image60.png"/><Relationship Id="rId2" Type="http://schemas.openxmlformats.org/officeDocument/2006/relationships/tags" Target="../tags/tag12.xml"/><Relationship Id="rId16" Type="http://schemas.openxmlformats.org/officeDocument/2006/relationships/image" Target="../media/image59.svg"/><Relationship Id="rId20" Type="http://schemas.openxmlformats.org/officeDocument/2006/relationships/image" Target="../media/image63.svg"/><Relationship Id="rId1" Type="http://schemas.openxmlformats.org/officeDocument/2006/relationships/tags" Target="../tags/tag11.xml"/><Relationship Id="rId6" Type="http://schemas.openxmlformats.org/officeDocument/2006/relationships/image" Target="../media/image1.emf"/><Relationship Id="rId11" Type="http://schemas.openxmlformats.org/officeDocument/2006/relationships/image" Target="../media/image54.png"/><Relationship Id="rId5" Type="http://schemas.openxmlformats.org/officeDocument/2006/relationships/oleObject" Target="../embeddings/oleObject2.bin"/><Relationship Id="rId15" Type="http://schemas.openxmlformats.org/officeDocument/2006/relationships/image" Target="../media/image58.png"/><Relationship Id="rId10" Type="http://schemas.openxmlformats.org/officeDocument/2006/relationships/image" Target="../media/image53.svg"/><Relationship Id="rId19" Type="http://schemas.openxmlformats.org/officeDocument/2006/relationships/image" Target="../media/image62.png"/><Relationship Id="rId4" Type="http://schemas.openxmlformats.org/officeDocument/2006/relationships/image" Target="../media/image44.png"/><Relationship Id="rId9" Type="http://schemas.openxmlformats.org/officeDocument/2006/relationships/image" Target="../media/image52.png"/><Relationship Id="rId14" Type="http://schemas.openxmlformats.org/officeDocument/2006/relationships/image" Target="../media/image57.sv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18" Type="http://schemas.openxmlformats.org/officeDocument/2006/relationships/image" Target="../media/image61.svg"/><Relationship Id="rId3" Type="http://schemas.openxmlformats.org/officeDocument/2006/relationships/slideMaster" Target="../slideMasters/slideMaster2.xml"/><Relationship Id="rId21" Type="http://schemas.openxmlformats.org/officeDocument/2006/relationships/image" Target="../media/image64.png"/><Relationship Id="rId7" Type="http://schemas.openxmlformats.org/officeDocument/2006/relationships/image" Target="../media/image50.png"/><Relationship Id="rId12" Type="http://schemas.openxmlformats.org/officeDocument/2006/relationships/image" Target="../media/image55.svg"/><Relationship Id="rId17" Type="http://schemas.openxmlformats.org/officeDocument/2006/relationships/image" Target="../media/image60.png"/><Relationship Id="rId2" Type="http://schemas.openxmlformats.org/officeDocument/2006/relationships/tags" Target="../tags/tag14.xml"/><Relationship Id="rId16" Type="http://schemas.openxmlformats.org/officeDocument/2006/relationships/image" Target="../media/image59.svg"/><Relationship Id="rId20" Type="http://schemas.openxmlformats.org/officeDocument/2006/relationships/image" Target="../media/image63.svg"/><Relationship Id="rId1" Type="http://schemas.openxmlformats.org/officeDocument/2006/relationships/tags" Target="../tags/tag13.xml"/><Relationship Id="rId6" Type="http://schemas.openxmlformats.org/officeDocument/2006/relationships/image" Target="../media/image1.emf"/><Relationship Id="rId11" Type="http://schemas.openxmlformats.org/officeDocument/2006/relationships/image" Target="../media/image54.png"/><Relationship Id="rId5" Type="http://schemas.openxmlformats.org/officeDocument/2006/relationships/oleObject" Target="../embeddings/oleObject2.bin"/><Relationship Id="rId15" Type="http://schemas.openxmlformats.org/officeDocument/2006/relationships/image" Target="../media/image58.png"/><Relationship Id="rId10" Type="http://schemas.openxmlformats.org/officeDocument/2006/relationships/image" Target="../media/image53.svg"/><Relationship Id="rId19" Type="http://schemas.openxmlformats.org/officeDocument/2006/relationships/image" Target="../media/image62.png"/><Relationship Id="rId4" Type="http://schemas.openxmlformats.org/officeDocument/2006/relationships/image" Target="../media/image44.png"/><Relationship Id="rId9" Type="http://schemas.openxmlformats.org/officeDocument/2006/relationships/image" Target="../media/image52.png"/><Relationship Id="rId14" Type="http://schemas.openxmlformats.org/officeDocument/2006/relationships/image" Target="../media/image57.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4.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9.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4.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9.sv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4.pn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4.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4.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65.jp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6.jp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image" Target="../media/image58.png"/><Relationship Id="rId3" Type="http://schemas.openxmlformats.org/officeDocument/2006/relationships/image" Target="../media/image62.png"/><Relationship Id="rId7" Type="http://schemas.openxmlformats.org/officeDocument/2006/relationships/image" Target="../media/image52.png"/><Relationship Id="rId12" Type="http://schemas.openxmlformats.org/officeDocument/2006/relationships/image" Target="../media/image57.svg"/><Relationship Id="rId2" Type="http://schemas.openxmlformats.org/officeDocument/2006/relationships/image" Target="../media/image67.png"/><Relationship Id="rId16" Type="http://schemas.openxmlformats.org/officeDocument/2006/relationships/image" Target="../media/image61.svg"/><Relationship Id="rId1" Type="http://schemas.openxmlformats.org/officeDocument/2006/relationships/slideMaster" Target="../slideMasters/slideMaster2.xml"/><Relationship Id="rId6" Type="http://schemas.openxmlformats.org/officeDocument/2006/relationships/image" Target="../media/image51.svg"/><Relationship Id="rId11" Type="http://schemas.openxmlformats.org/officeDocument/2006/relationships/image" Target="../media/image56.png"/><Relationship Id="rId5" Type="http://schemas.openxmlformats.org/officeDocument/2006/relationships/image" Target="../media/image50.png"/><Relationship Id="rId15" Type="http://schemas.openxmlformats.org/officeDocument/2006/relationships/image" Target="../media/image60.png"/><Relationship Id="rId10" Type="http://schemas.openxmlformats.org/officeDocument/2006/relationships/image" Target="../media/image55.svg"/><Relationship Id="rId4" Type="http://schemas.openxmlformats.org/officeDocument/2006/relationships/image" Target="../media/image68.svg"/><Relationship Id="rId9" Type="http://schemas.openxmlformats.org/officeDocument/2006/relationships/image" Target="../media/image54.png"/><Relationship Id="rId14" Type="http://schemas.openxmlformats.org/officeDocument/2006/relationships/image" Target="../media/image59.sv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69.png"/><Relationship Id="rId1" Type="http://schemas.openxmlformats.org/officeDocument/2006/relationships/slideMaster" Target="../slideMasters/slideMaster2.xml"/><Relationship Id="rId4" Type="http://schemas.openxmlformats.org/officeDocument/2006/relationships/image" Target="../media/image27.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69.png"/><Relationship Id="rId1" Type="http://schemas.openxmlformats.org/officeDocument/2006/relationships/slideMaster" Target="../slideMasters/slideMaster2.xml"/><Relationship Id="rId4" Type="http://schemas.openxmlformats.org/officeDocument/2006/relationships/image" Target="../media/image27.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2.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2038464-BA7C-2E4E-C766-EC76046136D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03103" y="442968"/>
            <a:ext cx="2020616" cy="731520"/>
          </a:xfrm>
          <a:prstGeom prst="rect">
            <a:avLst/>
          </a:prstGeom>
        </p:spPr>
      </p:pic>
      <p:sp>
        <p:nvSpPr>
          <p:cNvPr id="3" name="Subtitle 2"/>
          <p:cNvSpPr>
            <a:spLocks noGrp="1"/>
          </p:cNvSpPr>
          <p:nvPr>
            <p:ph type="subTitle" idx="1" hasCustomPrompt="1"/>
          </p:nvPr>
        </p:nvSpPr>
        <p:spPr bwMode="gray">
          <a:xfrm>
            <a:off x="483093" y="5059333"/>
            <a:ext cx="475488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503103" y="5396933"/>
            <a:ext cx="45720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529443" y="6399289"/>
            <a:ext cx="374904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a:t>Add Date</a:t>
            </a:r>
          </a:p>
        </p:txBody>
      </p:sp>
      <p:sp>
        <p:nvSpPr>
          <p:cNvPr id="2" name="Title 1"/>
          <p:cNvSpPr>
            <a:spLocks noGrp="1"/>
          </p:cNvSpPr>
          <p:nvPr>
            <p:ph type="ctrTitle" hasCustomPrompt="1"/>
          </p:nvPr>
        </p:nvSpPr>
        <p:spPr bwMode="ltGray">
          <a:xfrm>
            <a:off x="473422"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40" y="6017774"/>
            <a:ext cx="2892560" cy="215304"/>
          </a:xfrm>
          <a:prstGeom prst="rect">
            <a:avLst/>
          </a:prstGeom>
        </p:spPr>
      </p:pic>
      <p:grpSp>
        <p:nvGrpSpPr>
          <p:cNvPr id="4" name="Group 3">
            <a:extLst>
              <a:ext uri="{FF2B5EF4-FFF2-40B4-BE49-F238E27FC236}">
                <a16:creationId xmlns:a16="http://schemas.microsoft.com/office/drawing/2014/main" id="{69478720-7D3D-0409-255F-9E0853F32A1D}"/>
              </a:ext>
            </a:extLst>
          </p:cNvPr>
          <p:cNvGrpSpPr/>
          <p:nvPr userDrawn="1"/>
        </p:nvGrpSpPr>
        <p:grpSpPr>
          <a:xfrm>
            <a:off x="5098163" y="-455836"/>
            <a:ext cx="8421905" cy="7945936"/>
            <a:chOff x="5098163" y="-455836"/>
            <a:chExt cx="8421905" cy="7945936"/>
          </a:xfrm>
        </p:grpSpPr>
        <p:sp>
          <p:nvSpPr>
            <p:cNvPr id="6" name="Freeform: Shape 5">
              <a:extLst>
                <a:ext uri="{FF2B5EF4-FFF2-40B4-BE49-F238E27FC236}">
                  <a16:creationId xmlns:a16="http://schemas.microsoft.com/office/drawing/2014/main" id="{F017382F-D235-D7F1-1BA2-23C087D15910}"/>
                </a:ext>
              </a:extLst>
            </p:cNvPr>
            <p:cNvSpPr/>
            <p:nvPr userDrawn="1"/>
          </p:nvSpPr>
          <p:spPr>
            <a:xfrm rot="13821780">
              <a:off x="5239135" y="-596808"/>
              <a:ext cx="5190684" cy="5472628"/>
            </a:xfrm>
            <a:custGeom>
              <a:avLst/>
              <a:gdLst>
                <a:gd name="connsiteX0" fmla="*/ 5190684 w 5190684"/>
                <a:gd name="connsiteY0" fmla="*/ 2965814 h 5472628"/>
                <a:gd name="connsiteX1" fmla="*/ 3114139 w 5190684"/>
                <a:gd name="connsiteY1" fmla="*/ 5472628 h 5472628"/>
                <a:gd name="connsiteX2" fmla="*/ 0 w 5190684"/>
                <a:gd name="connsiteY2" fmla="*/ 0 h 5472628"/>
                <a:gd name="connsiteX3" fmla="*/ 3133747 w 5190684"/>
                <a:gd name="connsiteY3" fmla="*/ 0 h 5472628"/>
                <a:gd name="connsiteX4" fmla="*/ 3518511 w 5190684"/>
                <a:gd name="connsiteY4" fmla="*/ 169 h 5472628"/>
                <a:gd name="connsiteX5" fmla="*/ 5190684 w 5190684"/>
                <a:gd name="connsiteY5" fmla="*/ 2965814 h 547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0684" h="5472628">
                  <a:moveTo>
                    <a:pt x="5190684" y="2965814"/>
                  </a:moveTo>
                  <a:lnTo>
                    <a:pt x="3114139" y="5472628"/>
                  </a:lnTo>
                  <a:lnTo>
                    <a:pt x="0" y="0"/>
                  </a:lnTo>
                  <a:lnTo>
                    <a:pt x="3133747" y="0"/>
                  </a:lnTo>
                  <a:lnTo>
                    <a:pt x="3518511" y="169"/>
                  </a:lnTo>
                  <a:lnTo>
                    <a:pt x="5190684" y="2965814"/>
                  </a:lnTo>
                  <a:close/>
                </a:path>
              </a:pathLst>
            </a:cu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7" name="Freeform: Shape 6">
              <a:extLst>
                <a:ext uri="{FF2B5EF4-FFF2-40B4-BE49-F238E27FC236}">
                  <a16:creationId xmlns:a16="http://schemas.microsoft.com/office/drawing/2014/main" id="{F2967094-2C91-949A-F4D5-52E403609A0C}"/>
                </a:ext>
              </a:extLst>
            </p:cNvPr>
            <p:cNvSpPr/>
            <p:nvPr userDrawn="1"/>
          </p:nvSpPr>
          <p:spPr>
            <a:xfrm rot="13821780">
              <a:off x="8007792" y="1977824"/>
              <a:ext cx="5029645" cy="5994907"/>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9" name="Freeform: Shape 8">
              <a:extLst>
                <a:ext uri="{FF2B5EF4-FFF2-40B4-BE49-F238E27FC236}">
                  <a16:creationId xmlns:a16="http://schemas.microsoft.com/office/drawing/2014/main" id="{244F5692-D65B-8D88-1FAB-15C86A9D621F}"/>
                </a:ext>
              </a:extLst>
            </p:cNvPr>
            <p:cNvSpPr/>
            <p:nvPr userDrawn="1"/>
          </p:nvSpPr>
          <p:spPr>
            <a:xfrm>
              <a:off x="9497710" y="0"/>
              <a:ext cx="2694290" cy="2106092"/>
            </a:xfrm>
            <a:custGeom>
              <a:avLst/>
              <a:gdLst>
                <a:gd name="connsiteX0" fmla="*/ 802401 w 2694290"/>
                <a:gd name="connsiteY0" fmla="*/ 0 h 2106092"/>
                <a:gd name="connsiteX1" fmla="*/ 2694290 w 2694290"/>
                <a:gd name="connsiteY1" fmla="*/ 0 h 2106092"/>
                <a:gd name="connsiteX2" fmla="*/ 2694290 w 2694290"/>
                <a:gd name="connsiteY2" fmla="*/ 1678210 h 2106092"/>
                <a:gd name="connsiteX3" fmla="*/ 0 w 2694290"/>
                <a:gd name="connsiteY3" fmla="*/ 2106092 h 2106092"/>
                <a:gd name="connsiteX4" fmla="*/ 802401 w 2694290"/>
                <a:gd name="connsiteY4" fmla="*/ 0 h 210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290" h="2106092">
                  <a:moveTo>
                    <a:pt x="802401" y="0"/>
                  </a:moveTo>
                  <a:lnTo>
                    <a:pt x="2694290" y="0"/>
                  </a:lnTo>
                  <a:lnTo>
                    <a:pt x="2694290" y="1678210"/>
                  </a:lnTo>
                  <a:lnTo>
                    <a:pt x="0" y="2106092"/>
                  </a:lnTo>
                  <a:lnTo>
                    <a:pt x="802401"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grpSp>
    </p:spTree>
    <p:extLst>
      <p:ext uri="{BB962C8B-B14F-4D97-AF65-F5344CB8AC3E}">
        <p14:creationId xmlns:p14="http://schemas.microsoft.com/office/powerpoint/2010/main" val="842976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4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a:t>add title</a:t>
            </a:r>
          </a:p>
        </p:txBody>
      </p:sp>
      <p:sp>
        <p:nvSpPr>
          <p:cNvPr id="19" name="Picture Placeholder 2">
            <a:extLst>
              <a:ext uri="{FF2B5EF4-FFF2-40B4-BE49-F238E27FC236}">
                <a16:creationId xmlns:a16="http://schemas.microsoft.com/office/drawing/2014/main" id="{D08697A9-763D-4101-A629-B8C464587CD1}"/>
              </a:ext>
            </a:extLst>
          </p:cNvPr>
          <p:cNvSpPr>
            <a:spLocks noGrp="1"/>
          </p:cNvSpPr>
          <p:nvPr>
            <p:ph type="pic" idx="14" hasCustomPrompt="1"/>
          </p:nvPr>
        </p:nvSpPr>
        <p:spPr>
          <a:xfrm>
            <a:off x="868491" y="2132298"/>
            <a:ext cx="2377440"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0" indent="0" algn="ctr">
              <a:buFontTx/>
              <a:buNone/>
              <a:defRPr lang="en-US" sz="1000" dirty="0">
                <a:solidFill>
                  <a:schemeClr val="tx1"/>
                </a:solidFill>
              </a:defRPr>
            </a:lvl1pPr>
          </a:lstStyle>
          <a:p>
            <a:pPr marL="0" lvl="0">
              <a:spcBef>
                <a:spcPts val="800"/>
              </a:spcBef>
            </a:pPr>
            <a:r>
              <a:rPr lang="en-US" dirty="0"/>
              <a:t>Click picture icon to add image</a:t>
            </a:r>
          </a:p>
        </p:txBody>
      </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868491" y="5125609"/>
            <a:ext cx="2377440" cy="276999"/>
          </a:xfrm>
        </p:spPr>
        <p:txBody>
          <a:bodyPr wrap="square" anchor="t" anchorCtr="0">
            <a:spAutoFit/>
          </a:bodyPr>
          <a:lstStyle>
            <a:lvl1pPr marL="0" indent="0" algn="ctr">
              <a:spcBef>
                <a:spcPts val="600"/>
              </a:spcBef>
              <a:buFontTx/>
              <a:buNone/>
              <a:defRPr sz="2000"/>
            </a:lvl1pPr>
          </a:lstStyle>
          <a:p>
            <a:pPr lvl="0"/>
            <a:r>
              <a:rPr lang="en-US"/>
              <a:t>Add text</a:t>
            </a:r>
          </a:p>
        </p:txBody>
      </p:sp>
      <p:sp>
        <p:nvSpPr>
          <p:cNvPr id="21" name="Text Placeholder 15">
            <a:extLst>
              <a:ext uri="{FF2B5EF4-FFF2-40B4-BE49-F238E27FC236}">
                <a16:creationId xmlns:a16="http://schemas.microsoft.com/office/drawing/2014/main" id="{45834AD1-67C6-4B52-9C1C-9CDC6E8FEDA2}"/>
              </a:ext>
            </a:extLst>
          </p:cNvPr>
          <p:cNvSpPr>
            <a:spLocks noGrp="1"/>
          </p:cNvSpPr>
          <p:nvPr>
            <p:ph type="body" sz="quarter" idx="16" hasCustomPrompt="1"/>
          </p:nvPr>
        </p:nvSpPr>
        <p:spPr>
          <a:xfrm>
            <a:off x="880243" y="1679480"/>
            <a:ext cx="2377252"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22" name="Picture Placeholder 2">
            <a:extLst>
              <a:ext uri="{FF2B5EF4-FFF2-40B4-BE49-F238E27FC236}">
                <a16:creationId xmlns:a16="http://schemas.microsoft.com/office/drawing/2014/main" id="{E2F4580A-0D5E-4A36-897F-BC82DD2F947C}"/>
              </a:ext>
            </a:extLst>
          </p:cNvPr>
          <p:cNvSpPr>
            <a:spLocks noGrp="1"/>
          </p:cNvSpPr>
          <p:nvPr>
            <p:ph type="pic" idx="17" hasCustomPrompt="1"/>
          </p:nvPr>
        </p:nvSpPr>
        <p:spPr>
          <a:xfrm>
            <a:off x="3642076" y="2132298"/>
            <a:ext cx="2377440"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lvl1pPr>
          </a:lstStyle>
          <a:p>
            <a:pPr marL="0" lvl="0" indent="0" algn="ctr">
              <a:spcBef>
                <a:spcPts val="800"/>
              </a:spcBef>
              <a:buNone/>
            </a:pPr>
            <a:r>
              <a:rPr lang="en-US" dirty="0"/>
              <a:t>Click picture icon to add image</a:t>
            </a:r>
          </a:p>
        </p:txBody>
      </p:sp>
      <p:sp>
        <p:nvSpPr>
          <p:cNvPr id="23" name="Text Placeholder 3">
            <a:extLst>
              <a:ext uri="{FF2B5EF4-FFF2-40B4-BE49-F238E27FC236}">
                <a16:creationId xmlns:a16="http://schemas.microsoft.com/office/drawing/2014/main" id="{414A120F-5254-4AC5-842D-EDABFC036717}"/>
              </a:ext>
            </a:extLst>
          </p:cNvPr>
          <p:cNvSpPr>
            <a:spLocks noGrp="1"/>
          </p:cNvSpPr>
          <p:nvPr>
            <p:ph type="body" sz="quarter" idx="18" hasCustomPrompt="1"/>
          </p:nvPr>
        </p:nvSpPr>
        <p:spPr>
          <a:xfrm>
            <a:off x="3642076" y="5125610"/>
            <a:ext cx="2377440" cy="276999"/>
          </a:xfrm>
        </p:spPr>
        <p:txBody>
          <a:bodyPr wrap="square" anchor="t" anchorCtr="0">
            <a:spAutoFit/>
          </a:bodyPr>
          <a:lstStyle>
            <a:lvl1pPr marL="0" indent="0" algn="ctr">
              <a:spcBef>
                <a:spcPts val="600"/>
              </a:spcBef>
              <a:buFontTx/>
              <a:buNone/>
              <a:defRPr sz="2000"/>
            </a:lvl1pPr>
          </a:lstStyle>
          <a:p>
            <a:pPr lvl="0"/>
            <a:r>
              <a:rPr lang="en-US"/>
              <a:t>Add text</a:t>
            </a:r>
          </a:p>
        </p:txBody>
      </p:sp>
      <p:sp>
        <p:nvSpPr>
          <p:cNvPr id="24" name="Text Placeholder 15">
            <a:extLst>
              <a:ext uri="{FF2B5EF4-FFF2-40B4-BE49-F238E27FC236}">
                <a16:creationId xmlns:a16="http://schemas.microsoft.com/office/drawing/2014/main" id="{5D35A3A2-00CD-44D2-821F-EE7604FDC940}"/>
              </a:ext>
            </a:extLst>
          </p:cNvPr>
          <p:cNvSpPr>
            <a:spLocks noGrp="1"/>
          </p:cNvSpPr>
          <p:nvPr>
            <p:ph type="body" sz="quarter" idx="19" hasCustomPrompt="1"/>
          </p:nvPr>
        </p:nvSpPr>
        <p:spPr>
          <a:xfrm>
            <a:off x="3649786" y="1679481"/>
            <a:ext cx="23774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2" name="Picture Placeholder 2">
            <a:extLst>
              <a:ext uri="{FF2B5EF4-FFF2-40B4-BE49-F238E27FC236}">
                <a16:creationId xmlns:a16="http://schemas.microsoft.com/office/drawing/2014/main" id="{5B0DDFC0-CB07-4EDA-AA79-CD84C12E72DF}"/>
              </a:ext>
            </a:extLst>
          </p:cNvPr>
          <p:cNvSpPr>
            <a:spLocks noGrp="1"/>
          </p:cNvSpPr>
          <p:nvPr>
            <p:ph type="pic" idx="20" hasCustomPrompt="1"/>
          </p:nvPr>
        </p:nvSpPr>
        <p:spPr>
          <a:xfrm>
            <a:off x="6415661" y="2132298"/>
            <a:ext cx="2377440"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lvl1pPr>
          </a:lstStyle>
          <a:p>
            <a:pPr marL="0" lvl="0" indent="0" algn="ctr">
              <a:spcBef>
                <a:spcPts val="800"/>
              </a:spcBef>
              <a:buNone/>
            </a:pPr>
            <a:r>
              <a:rPr lang="en-US" dirty="0"/>
              <a:t>Click picture icon to add image</a:t>
            </a:r>
          </a:p>
        </p:txBody>
      </p:sp>
      <p:sp>
        <p:nvSpPr>
          <p:cNvPr id="33" name="Text Placeholder 3">
            <a:extLst>
              <a:ext uri="{FF2B5EF4-FFF2-40B4-BE49-F238E27FC236}">
                <a16:creationId xmlns:a16="http://schemas.microsoft.com/office/drawing/2014/main" id="{DDA81F5E-BFF4-40DB-9E52-F5C7CE6F26D3}"/>
              </a:ext>
            </a:extLst>
          </p:cNvPr>
          <p:cNvSpPr>
            <a:spLocks noGrp="1"/>
          </p:cNvSpPr>
          <p:nvPr>
            <p:ph type="body" sz="quarter" idx="21" hasCustomPrompt="1"/>
          </p:nvPr>
        </p:nvSpPr>
        <p:spPr>
          <a:xfrm>
            <a:off x="6415661" y="5125610"/>
            <a:ext cx="2377440" cy="276999"/>
          </a:xfrm>
        </p:spPr>
        <p:txBody>
          <a:bodyPr wrap="square" anchor="t" anchorCtr="0">
            <a:spAutoFit/>
          </a:bodyPr>
          <a:lstStyle>
            <a:lvl1pPr marL="0" indent="0" algn="ctr">
              <a:spcBef>
                <a:spcPts val="600"/>
              </a:spcBef>
              <a:buFontTx/>
              <a:buNone/>
              <a:defRPr sz="2000"/>
            </a:lvl1pPr>
          </a:lstStyle>
          <a:p>
            <a:pPr lvl="0"/>
            <a:r>
              <a:rPr lang="en-US" dirty="0"/>
              <a:t>Add text</a:t>
            </a:r>
          </a:p>
        </p:txBody>
      </p:sp>
      <p:sp>
        <p:nvSpPr>
          <p:cNvPr id="34" name="Text Placeholder 15">
            <a:extLst>
              <a:ext uri="{FF2B5EF4-FFF2-40B4-BE49-F238E27FC236}">
                <a16:creationId xmlns:a16="http://schemas.microsoft.com/office/drawing/2014/main" id="{8A96BFD0-28FC-48C9-9D67-C16FE0496C6C}"/>
              </a:ext>
            </a:extLst>
          </p:cNvPr>
          <p:cNvSpPr>
            <a:spLocks noGrp="1"/>
          </p:cNvSpPr>
          <p:nvPr>
            <p:ph type="body" sz="quarter" idx="22" hasCustomPrompt="1"/>
          </p:nvPr>
        </p:nvSpPr>
        <p:spPr>
          <a:xfrm>
            <a:off x="6419517" y="1679480"/>
            <a:ext cx="23774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8" name="Picture Placeholder 2">
            <a:extLst>
              <a:ext uri="{FF2B5EF4-FFF2-40B4-BE49-F238E27FC236}">
                <a16:creationId xmlns:a16="http://schemas.microsoft.com/office/drawing/2014/main" id="{1C2FFA97-B5B5-4425-A02D-BE159DE90DDB}"/>
              </a:ext>
            </a:extLst>
          </p:cNvPr>
          <p:cNvSpPr>
            <a:spLocks noGrp="1"/>
          </p:cNvSpPr>
          <p:nvPr>
            <p:ph type="pic" idx="23" hasCustomPrompt="1"/>
          </p:nvPr>
        </p:nvSpPr>
        <p:spPr>
          <a:xfrm>
            <a:off x="9189247" y="2132298"/>
            <a:ext cx="2377440"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lvl1pPr>
          </a:lstStyle>
          <a:p>
            <a:pPr marL="0" lvl="0" indent="0" algn="ctr">
              <a:spcBef>
                <a:spcPts val="800"/>
              </a:spcBef>
              <a:buNone/>
            </a:pPr>
            <a:r>
              <a:rPr lang="en-US" dirty="0"/>
              <a:t>Click picture icon to add image</a:t>
            </a:r>
          </a:p>
        </p:txBody>
      </p:sp>
      <p:sp>
        <p:nvSpPr>
          <p:cNvPr id="39" name="Text Placeholder 3">
            <a:extLst>
              <a:ext uri="{FF2B5EF4-FFF2-40B4-BE49-F238E27FC236}">
                <a16:creationId xmlns:a16="http://schemas.microsoft.com/office/drawing/2014/main" id="{F5705EDC-D0D7-43C3-AF77-46F76E76BC9F}"/>
              </a:ext>
            </a:extLst>
          </p:cNvPr>
          <p:cNvSpPr>
            <a:spLocks noGrp="1"/>
          </p:cNvSpPr>
          <p:nvPr>
            <p:ph type="body" sz="quarter" idx="24" hasCustomPrompt="1"/>
          </p:nvPr>
        </p:nvSpPr>
        <p:spPr>
          <a:xfrm>
            <a:off x="9189247" y="5125609"/>
            <a:ext cx="2377440" cy="276999"/>
          </a:xfrm>
        </p:spPr>
        <p:txBody>
          <a:bodyPr wrap="square" anchor="t" anchorCtr="0">
            <a:spAutoFit/>
          </a:bodyPr>
          <a:lstStyle>
            <a:lvl1pPr marL="0" indent="0" algn="ctr">
              <a:spcBef>
                <a:spcPts val="600"/>
              </a:spcBef>
              <a:buFontTx/>
              <a:buNone/>
              <a:defRPr sz="2000"/>
            </a:lvl1pPr>
          </a:lstStyle>
          <a:p>
            <a:pPr lvl="0"/>
            <a:r>
              <a:rPr lang="en-US"/>
              <a:t>Add text</a:t>
            </a:r>
          </a:p>
        </p:txBody>
      </p:sp>
      <p:sp>
        <p:nvSpPr>
          <p:cNvPr id="40" name="Text Placeholder 15">
            <a:extLst>
              <a:ext uri="{FF2B5EF4-FFF2-40B4-BE49-F238E27FC236}">
                <a16:creationId xmlns:a16="http://schemas.microsoft.com/office/drawing/2014/main" id="{665046A0-2F9E-4A45-A3DC-1A8077995507}"/>
              </a:ext>
            </a:extLst>
          </p:cNvPr>
          <p:cNvSpPr>
            <a:spLocks noGrp="1"/>
          </p:cNvSpPr>
          <p:nvPr>
            <p:ph type="body" sz="quarter" idx="25" hasCustomPrompt="1"/>
          </p:nvPr>
        </p:nvSpPr>
        <p:spPr>
          <a:xfrm>
            <a:off x="9189247" y="1679480"/>
            <a:ext cx="23774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26" name="Rectangle 25">
            <a:extLst>
              <a:ext uri="{FF2B5EF4-FFF2-40B4-BE49-F238E27FC236}">
                <a16:creationId xmlns:a16="http://schemas.microsoft.com/office/drawing/2014/main" id="{C8E0C0A8-F8B8-4AB7-BE6F-330CFF51FE14}"/>
              </a:ext>
            </a:extLst>
          </p:cNvPr>
          <p:cNvSpPr/>
          <p:nvPr userDrawn="1"/>
        </p:nvSpPr>
        <p:spPr>
          <a:xfrm>
            <a:off x="0" y="2132299"/>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accent3"/>
              </a:solidFill>
            </a:endParaRPr>
          </a:p>
        </p:txBody>
      </p:sp>
    </p:spTree>
    <p:extLst>
      <p:ext uri="{BB962C8B-B14F-4D97-AF65-F5344CB8AC3E}">
        <p14:creationId xmlns:p14="http://schemas.microsoft.com/office/powerpoint/2010/main" val="315567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5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a:t>add title</a:t>
            </a:r>
          </a:p>
        </p:txBody>
      </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868491" y="4864353"/>
            <a:ext cx="2011680" cy="276999"/>
          </a:xfrm>
        </p:spPr>
        <p:txBody>
          <a:bodyPr wrap="square" anchor="t" anchorCtr="0">
            <a:spAutoFit/>
          </a:bodyPr>
          <a:lstStyle>
            <a:lvl1pPr marL="0" indent="0" algn="ctr">
              <a:spcBef>
                <a:spcPts val="600"/>
              </a:spcBef>
              <a:buFontTx/>
              <a:buNone/>
              <a:defRPr sz="2000"/>
            </a:lvl1pPr>
          </a:lstStyle>
          <a:p>
            <a:pPr lvl="0"/>
            <a:r>
              <a:rPr lang="en-US"/>
              <a:t>Add text</a:t>
            </a:r>
          </a:p>
        </p:txBody>
      </p:sp>
      <p:sp>
        <p:nvSpPr>
          <p:cNvPr id="21" name="Text Placeholder 15">
            <a:extLst>
              <a:ext uri="{FF2B5EF4-FFF2-40B4-BE49-F238E27FC236}">
                <a16:creationId xmlns:a16="http://schemas.microsoft.com/office/drawing/2014/main" id="{45834AD1-67C6-4B52-9C1C-9CDC6E8FEDA2}"/>
              </a:ext>
            </a:extLst>
          </p:cNvPr>
          <p:cNvSpPr>
            <a:spLocks noGrp="1"/>
          </p:cNvSpPr>
          <p:nvPr>
            <p:ph type="body" sz="quarter" idx="16" hasCustomPrompt="1"/>
          </p:nvPr>
        </p:nvSpPr>
        <p:spPr>
          <a:xfrm>
            <a:off x="880243" y="1679480"/>
            <a:ext cx="201168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a:t>Add title</a:t>
            </a:r>
          </a:p>
        </p:txBody>
      </p:sp>
      <p:sp>
        <p:nvSpPr>
          <p:cNvPr id="23" name="Text Placeholder 3">
            <a:extLst>
              <a:ext uri="{FF2B5EF4-FFF2-40B4-BE49-F238E27FC236}">
                <a16:creationId xmlns:a16="http://schemas.microsoft.com/office/drawing/2014/main" id="{414A120F-5254-4AC5-842D-EDABFC036717}"/>
              </a:ext>
            </a:extLst>
          </p:cNvPr>
          <p:cNvSpPr>
            <a:spLocks noGrp="1"/>
          </p:cNvSpPr>
          <p:nvPr>
            <p:ph type="body" sz="quarter" idx="18" hasCustomPrompt="1"/>
          </p:nvPr>
        </p:nvSpPr>
        <p:spPr>
          <a:xfrm>
            <a:off x="3102117" y="4864354"/>
            <a:ext cx="2011680" cy="276999"/>
          </a:xfrm>
        </p:spPr>
        <p:txBody>
          <a:bodyPr wrap="square" anchor="t" anchorCtr="0">
            <a:spAutoFit/>
          </a:bodyPr>
          <a:lstStyle>
            <a:lvl1pPr marL="0" indent="0" algn="ctr">
              <a:spcBef>
                <a:spcPts val="600"/>
              </a:spcBef>
              <a:buFontTx/>
              <a:buNone/>
              <a:defRPr sz="2000"/>
            </a:lvl1pPr>
          </a:lstStyle>
          <a:p>
            <a:pPr lvl="0"/>
            <a:r>
              <a:rPr lang="en-US"/>
              <a:t>Add text</a:t>
            </a:r>
          </a:p>
        </p:txBody>
      </p:sp>
      <p:sp>
        <p:nvSpPr>
          <p:cNvPr id="24" name="Text Placeholder 15">
            <a:extLst>
              <a:ext uri="{FF2B5EF4-FFF2-40B4-BE49-F238E27FC236}">
                <a16:creationId xmlns:a16="http://schemas.microsoft.com/office/drawing/2014/main" id="{5D35A3A2-00CD-44D2-821F-EE7604FDC940}"/>
              </a:ext>
            </a:extLst>
          </p:cNvPr>
          <p:cNvSpPr>
            <a:spLocks noGrp="1"/>
          </p:cNvSpPr>
          <p:nvPr>
            <p:ph type="body" sz="quarter" idx="19" hasCustomPrompt="1"/>
          </p:nvPr>
        </p:nvSpPr>
        <p:spPr>
          <a:xfrm>
            <a:off x="3102117" y="1679480"/>
            <a:ext cx="201168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a:t>Add title</a:t>
            </a:r>
          </a:p>
        </p:txBody>
      </p:sp>
      <p:sp>
        <p:nvSpPr>
          <p:cNvPr id="33" name="Text Placeholder 3">
            <a:extLst>
              <a:ext uri="{FF2B5EF4-FFF2-40B4-BE49-F238E27FC236}">
                <a16:creationId xmlns:a16="http://schemas.microsoft.com/office/drawing/2014/main" id="{DDA81F5E-BFF4-40DB-9E52-F5C7CE6F26D3}"/>
              </a:ext>
            </a:extLst>
          </p:cNvPr>
          <p:cNvSpPr>
            <a:spLocks noGrp="1"/>
          </p:cNvSpPr>
          <p:nvPr>
            <p:ph type="body" sz="quarter" idx="21" hasCustomPrompt="1"/>
          </p:nvPr>
        </p:nvSpPr>
        <p:spPr>
          <a:xfrm>
            <a:off x="5335743" y="4864354"/>
            <a:ext cx="2011680" cy="276999"/>
          </a:xfrm>
        </p:spPr>
        <p:txBody>
          <a:bodyPr wrap="square" anchor="t" anchorCtr="0">
            <a:spAutoFit/>
          </a:bodyPr>
          <a:lstStyle>
            <a:lvl1pPr marL="0" indent="0" algn="ctr">
              <a:spcBef>
                <a:spcPts val="600"/>
              </a:spcBef>
              <a:buFontTx/>
              <a:buNone/>
              <a:defRPr sz="2000"/>
            </a:lvl1pPr>
          </a:lstStyle>
          <a:p>
            <a:pPr lvl="0"/>
            <a:r>
              <a:rPr lang="en-US"/>
              <a:t>Add text</a:t>
            </a:r>
          </a:p>
        </p:txBody>
      </p:sp>
      <p:sp>
        <p:nvSpPr>
          <p:cNvPr id="34" name="Text Placeholder 15">
            <a:extLst>
              <a:ext uri="{FF2B5EF4-FFF2-40B4-BE49-F238E27FC236}">
                <a16:creationId xmlns:a16="http://schemas.microsoft.com/office/drawing/2014/main" id="{8A96BFD0-28FC-48C9-9D67-C16FE0496C6C}"/>
              </a:ext>
            </a:extLst>
          </p:cNvPr>
          <p:cNvSpPr>
            <a:spLocks noGrp="1"/>
          </p:cNvSpPr>
          <p:nvPr>
            <p:ph type="body" sz="quarter" idx="22" hasCustomPrompt="1"/>
          </p:nvPr>
        </p:nvSpPr>
        <p:spPr>
          <a:xfrm>
            <a:off x="5335743" y="1679480"/>
            <a:ext cx="201168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a:t>Add title</a:t>
            </a:r>
          </a:p>
        </p:txBody>
      </p:sp>
      <p:sp>
        <p:nvSpPr>
          <p:cNvPr id="39" name="Text Placeholder 3">
            <a:extLst>
              <a:ext uri="{FF2B5EF4-FFF2-40B4-BE49-F238E27FC236}">
                <a16:creationId xmlns:a16="http://schemas.microsoft.com/office/drawing/2014/main" id="{F5705EDC-D0D7-43C3-AF77-46F76E76BC9F}"/>
              </a:ext>
            </a:extLst>
          </p:cNvPr>
          <p:cNvSpPr>
            <a:spLocks noGrp="1"/>
          </p:cNvSpPr>
          <p:nvPr>
            <p:ph type="body" sz="quarter" idx="24" hasCustomPrompt="1"/>
          </p:nvPr>
        </p:nvSpPr>
        <p:spPr>
          <a:xfrm>
            <a:off x="7569369" y="4864353"/>
            <a:ext cx="2011680" cy="276999"/>
          </a:xfrm>
        </p:spPr>
        <p:txBody>
          <a:bodyPr wrap="square" anchor="t" anchorCtr="0">
            <a:spAutoFit/>
          </a:bodyPr>
          <a:lstStyle>
            <a:lvl1pPr marL="0" indent="0" algn="ctr">
              <a:spcBef>
                <a:spcPts val="600"/>
              </a:spcBef>
              <a:buFontTx/>
              <a:buNone/>
              <a:defRPr sz="2000"/>
            </a:lvl1pPr>
          </a:lstStyle>
          <a:p>
            <a:pPr lvl="0"/>
            <a:r>
              <a:rPr lang="en-US"/>
              <a:t>Add text</a:t>
            </a:r>
          </a:p>
        </p:txBody>
      </p:sp>
      <p:sp>
        <p:nvSpPr>
          <p:cNvPr id="40" name="Text Placeholder 15">
            <a:extLst>
              <a:ext uri="{FF2B5EF4-FFF2-40B4-BE49-F238E27FC236}">
                <a16:creationId xmlns:a16="http://schemas.microsoft.com/office/drawing/2014/main" id="{665046A0-2F9E-4A45-A3DC-1A8077995507}"/>
              </a:ext>
            </a:extLst>
          </p:cNvPr>
          <p:cNvSpPr>
            <a:spLocks noGrp="1"/>
          </p:cNvSpPr>
          <p:nvPr>
            <p:ph type="body" sz="quarter" idx="25" hasCustomPrompt="1"/>
          </p:nvPr>
        </p:nvSpPr>
        <p:spPr>
          <a:xfrm>
            <a:off x="7569369" y="1679480"/>
            <a:ext cx="201168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a:t>Add title</a:t>
            </a:r>
          </a:p>
        </p:txBody>
      </p:sp>
      <p:sp>
        <p:nvSpPr>
          <p:cNvPr id="3" name="Picture Placeholder 2">
            <a:extLst>
              <a:ext uri="{FF2B5EF4-FFF2-40B4-BE49-F238E27FC236}">
                <a16:creationId xmlns:a16="http://schemas.microsoft.com/office/drawing/2014/main" id="{9B1C08FA-4AFF-71A3-2B5A-A3F20C86D065}"/>
              </a:ext>
            </a:extLst>
          </p:cNvPr>
          <p:cNvSpPr>
            <a:spLocks noGrp="1"/>
          </p:cNvSpPr>
          <p:nvPr>
            <p:ph type="pic" idx="14" hasCustomPrompt="1"/>
          </p:nvPr>
        </p:nvSpPr>
        <p:spPr>
          <a:xfrm>
            <a:off x="868491" y="2134784"/>
            <a:ext cx="2011680" cy="2560320"/>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0" indent="0" algn="ctr">
              <a:buFontTx/>
              <a:buNone/>
              <a:defRPr lang="en-US" sz="1000" dirty="0">
                <a:solidFill>
                  <a:schemeClr val="tx1"/>
                </a:solidFill>
              </a:defRPr>
            </a:lvl1pPr>
          </a:lstStyle>
          <a:p>
            <a:pPr marL="0" lvl="0">
              <a:spcBef>
                <a:spcPts val="800"/>
              </a:spcBef>
            </a:pPr>
            <a:r>
              <a:rPr lang="en-US" dirty="0"/>
              <a:t>Click picture icon to add image</a:t>
            </a:r>
          </a:p>
        </p:txBody>
      </p:sp>
      <p:sp>
        <p:nvSpPr>
          <p:cNvPr id="4" name="Picture Placeholder 2">
            <a:extLst>
              <a:ext uri="{FF2B5EF4-FFF2-40B4-BE49-F238E27FC236}">
                <a16:creationId xmlns:a16="http://schemas.microsoft.com/office/drawing/2014/main" id="{E0FE19E3-338E-5DE9-E5DF-A80FF988B30B}"/>
              </a:ext>
            </a:extLst>
          </p:cNvPr>
          <p:cNvSpPr>
            <a:spLocks noGrp="1"/>
          </p:cNvSpPr>
          <p:nvPr>
            <p:ph type="pic" idx="17" hasCustomPrompt="1"/>
          </p:nvPr>
        </p:nvSpPr>
        <p:spPr>
          <a:xfrm>
            <a:off x="3102117" y="2134784"/>
            <a:ext cx="2011680" cy="2560320"/>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lvl1pPr>
          </a:lstStyle>
          <a:p>
            <a:pPr marL="0" lvl="0" indent="0" algn="ctr">
              <a:spcBef>
                <a:spcPts val="800"/>
              </a:spcBef>
              <a:buNone/>
            </a:pPr>
            <a:r>
              <a:rPr lang="en-US" dirty="0"/>
              <a:t>Click picture icon to add image</a:t>
            </a:r>
          </a:p>
        </p:txBody>
      </p:sp>
      <p:sp>
        <p:nvSpPr>
          <p:cNvPr id="5" name="Picture Placeholder 2">
            <a:extLst>
              <a:ext uri="{FF2B5EF4-FFF2-40B4-BE49-F238E27FC236}">
                <a16:creationId xmlns:a16="http://schemas.microsoft.com/office/drawing/2014/main" id="{38198CE5-1186-BD5D-C5D9-A56705346C99}"/>
              </a:ext>
            </a:extLst>
          </p:cNvPr>
          <p:cNvSpPr>
            <a:spLocks noGrp="1"/>
          </p:cNvSpPr>
          <p:nvPr>
            <p:ph type="pic" idx="20" hasCustomPrompt="1"/>
          </p:nvPr>
        </p:nvSpPr>
        <p:spPr>
          <a:xfrm>
            <a:off x="5335743" y="2134784"/>
            <a:ext cx="2011680" cy="2560320"/>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lvl1pPr>
          </a:lstStyle>
          <a:p>
            <a:pPr marL="0" lvl="0" indent="0" algn="ctr">
              <a:spcBef>
                <a:spcPts val="800"/>
              </a:spcBef>
              <a:buNone/>
            </a:pPr>
            <a:r>
              <a:rPr lang="en-US" dirty="0"/>
              <a:t>Click picture icon to add image</a:t>
            </a:r>
          </a:p>
        </p:txBody>
      </p:sp>
      <p:sp>
        <p:nvSpPr>
          <p:cNvPr id="6" name="Picture Placeholder 2">
            <a:extLst>
              <a:ext uri="{FF2B5EF4-FFF2-40B4-BE49-F238E27FC236}">
                <a16:creationId xmlns:a16="http://schemas.microsoft.com/office/drawing/2014/main" id="{08AFB7DA-1426-76E0-B701-2737C842A657}"/>
              </a:ext>
            </a:extLst>
          </p:cNvPr>
          <p:cNvSpPr>
            <a:spLocks noGrp="1"/>
          </p:cNvSpPr>
          <p:nvPr>
            <p:ph type="pic" idx="23" hasCustomPrompt="1"/>
          </p:nvPr>
        </p:nvSpPr>
        <p:spPr>
          <a:xfrm>
            <a:off x="7569369" y="2134784"/>
            <a:ext cx="2011680" cy="2560320"/>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lvl1pPr>
          </a:lstStyle>
          <a:p>
            <a:pPr marL="0" lvl="0" indent="0" algn="ctr">
              <a:spcBef>
                <a:spcPts val="800"/>
              </a:spcBef>
              <a:buNone/>
            </a:pPr>
            <a:r>
              <a:rPr lang="en-US" dirty="0"/>
              <a:t>Click picture icon to add image</a:t>
            </a:r>
          </a:p>
        </p:txBody>
      </p:sp>
      <p:sp>
        <p:nvSpPr>
          <p:cNvPr id="7" name="Rectangle 6">
            <a:extLst>
              <a:ext uri="{FF2B5EF4-FFF2-40B4-BE49-F238E27FC236}">
                <a16:creationId xmlns:a16="http://schemas.microsoft.com/office/drawing/2014/main" id="{06206E42-714E-1779-7B46-795852943446}"/>
              </a:ext>
            </a:extLst>
          </p:cNvPr>
          <p:cNvSpPr/>
          <p:nvPr userDrawn="1"/>
        </p:nvSpPr>
        <p:spPr>
          <a:xfrm>
            <a:off x="0" y="2134784"/>
            <a:ext cx="521970" cy="2560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accent3"/>
              </a:solidFill>
            </a:endParaRPr>
          </a:p>
        </p:txBody>
      </p:sp>
      <p:sp>
        <p:nvSpPr>
          <p:cNvPr id="8" name="Picture Placeholder 2">
            <a:extLst>
              <a:ext uri="{FF2B5EF4-FFF2-40B4-BE49-F238E27FC236}">
                <a16:creationId xmlns:a16="http://schemas.microsoft.com/office/drawing/2014/main" id="{2E20B6C7-DB49-3419-5E6E-7D8601E44A30}"/>
              </a:ext>
            </a:extLst>
          </p:cNvPr>
          <p:cNvSpPr>
            <a:spLocks noGrp="1"/>
          </p:cNvSpPr>
          <p:nvPr>
            <p:ph type="pic" idx="43" hasCustomPrompt="1"/>
          </p:nvPr>
        </p:nvSpPr>
        <p:spPr>
          <a:xfrm>
            <a:off x="9802995" y="2134784"/>
            <a:ext cx="2011680" cy="2560320"/>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lvl1pPr>
          </a:lstStyle>
          <a:p>
            <a:pPr marL="0" lvl="0" indent="0" algn="ctr">
              <a:spcBef>
                <a:spcPts val="800"/>
              </a:spcBef>
              <a:buNone/>
            </a:pPr>
            <a:r>
              <a:rPr lang="en-US" dirty="0"/>
              <a:t>Click picture icon to add image</a:t>
            </a:r>
          </a:p>
        </p:txBody>
      </p:sp>
      <p:sp>
        <p:nvSpPr>
          <p:cNvPr id="10" name="Text Placeholder 9">
            <a:extLst>
              <a:ext uri="{FF2B5EF4-FFF2-40B4-BE49-F238E27FC236}">
                <a16:creationId xmlns:a16="http://schemas.microsoft.com/office/drawing/2014/main" id="{0629F1D9-AFD8-9981-60CB-9C58822B1FBF}"/>
              </a:ext>
            </a:extLst>
          </p:cNvPr>
          <p:cNvSpPr>
            <a:spLocks noGrp="1"/>
          </p:cNvSpPr>
          <p:nvPr>
            <p:ph type="body" sz="quarter" idx="44" hasCustomPrompt="1"/>
          </p:nvPr>
        </p:nvSpPr>
        <p:spPr>
          <a:xfrm>
            <a:off x="9802813" y="1679480"/>
            <a:ext cx="2011362" cy="347472"/>
          </a:xfrm>
        </p:spPr>
        <p:txBody>
          <a:bodyPr vert="horz" lIns="0" tIns="0" rIns="0" bIns="0" rtlCol="0" anchor="ctr" anchorCtr="0">
            <a:noAutofit/>
          </a:bodyPr>
          <a:lstStyle>
            <a:lvl1pPr marL="342900" indent="-342900" algn="ctr">
              <a:buFontTx/>
              <a:buNone/>
              <a:defRPr lang="en-US" sz="2000" b="1" dirty="0"/>
            </a:lvl1pPr>
          </a:lstStyle>
          <a:p>
            <a:pPr marL="0" lvl="0" indent="0" algn="ctr">
              <a:lnSpc>
                <a:spcPct val="85000"/>
              </a:lnSpc>
              <a:spcBef>
                <a:spcPts val="0"/>
              </a:spcBef>
              <a:buNone/>
            </a:pPr>
            <a:r>
              <a:rPr lang="en-US"/>
              <a:t>Add title</a:t>
            </a:r>
          </a:p>
        </p:txBody>
      </p:sp>
      <p:sp>
        <p:nvSpPr>
          <p:cNvPr id="12" name="Text Placeholder 11">
            <a:extLst>
              <a:ext uri="{FF2B5EF4-FFF2-40B4-BE49-F238E27FC236}">
                <a16:creationId xmlns:a16="http://schemas.microsoft.com/office/drawing/2014/main" id="{87D55B56-3F1B-FE47-8F76-A3FE8742F360}"/>
              </a:ext>
            </a:extLst>
          </p:cNvPr>
          <p:cNvSpPr>
            <a:spLocks noGrp="1"/>
          </p:cNvSpPr>
          <p:nvPr>
            <p:ph type="body" sz="quarter" idx="45" hasCustomPrompt="1"/>
          </p:nvPr>
        </p:nvSpPr>
        <p:spPr>
          <a:xfrm>
            <a:off x="9812022" y="4865095"/>
            <a:ext cx="2011362" cy="276225"/>
          </a:xfrm>
        </p:spPr>
        <p:txBody>
          <a:bodyPr vert="horz" wrap="square" lIns="0" tIns="0" rIns="0" bIns="0" rtlCol="0" anchor="t" anchorCtr="0">
            <a:spAutoFit/>
          </a:bodyPr>
          <a:lstStyle>
            <a:lvl1pPr marL="342900" indent="-342900" algn="ctr">
              <a:buFontTx/>
              <a:buNone/>
              <a:defRPr lang="en-US" sz="2000" dirty="0"/>
            </a:lvl1pPr>
          </a:lstStyle>
          <a:p>
            <a:pPr marL="0" lvl="0" indent="0" algn="ctr">
              <a:spcBef>
                <a:spcPts val="600"/>
              </a:spcBef>
              <a:buNone/>
            </a:pPr>
            <a:r>
              <a:rPr lang="en-US"/>
              <a:t>Add text</a:t>
            </a:r>
          </a:p>
        </p:txBody>
      </p:sp>
    </p:spTree>
    <p:extLst>
      <p:ext uri="{BB962C8B-B14F-4D97-AF65-F5344CB8AC3E}">
        <p14:creationId xmlns:p14="http://schemas.microsoft.com/office/powerpoint/2010/main" val="42781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mp; 1 Image">
    <p:spTree>
      <p:nvGrpSpPr>
        <p:cNvPr id="1" name=""/>
        <p:cNvGrpSpPr/>
        <p:nvPr/>
      </p:nvGrpSpPr>
      <p:grpSpPr>
        <a:xfrm>
          <a:off x="0" y="0"/>
          <a:ext cx="0" cy="0"/>
          <a:chOff x="0" y="0"/>
          <a:chExt cx="0" cy="0"/>
        </a:xfrm>
      </p:grpSpPr>
      <p:sp>
        <p:nvSpPr>
          <p:cNvPr id="3" name="Picture Placeholder 19">
            <a:extLst>
              <a:ext uri="{FF2B5EF4-FFF2-40B4-BE49-F238E27FC236}">
                <a16:creationId xmlns:a16="http://schemas.microsoft.com/office/drawing/2014/main" id="{32078D53-3A1E-50E8-46ED-5FC5343A5932}"/>
              </a:ext>
            </a:extLst>
          </p:cNvPr>
          <p:cNvSpPr>
            <a:spLocks noGrp="1"/>
          </p:cNvSpPr>
          <p:nvPr>
            <p:ph type="pic" sz="quarter" idx="12" hasCustomPrompt="1"/>
          </p:nvPr>
        </p:nvSpPr>
        <p:spPr>
          <a:xfrm>
            <a:off x="1524" y="0"/>
            <a:ext cx="12188952" cy="5208644"/>
          </a:xfrm>
          <a:custGeom>
            <a:avLst/>
            <a:gdLst>
              <a:gd name="connsiteX0" fmla="*/ 0 w 12188952"/>
              <a:gd name="connsiteY0" fmla="*/ 0 h 5195944"/>
              <a:gd name="connsiteX1" fmla="*/ 12188952 w 12188952"/>
              <a:gd name="connsiteY1" fmla="*/ 0 h 5195944"/>
              <a:gd name="connsiteX2" fmla="*/ 12188952 w 12188952"/>
              <a:gd name="connsiteY2" fmla="*/ 5195944 h 5195944"/>
              <a:gd name="connsiteX3" fmla="*/ 2659341 w 12188952"/>
              <a:gd name="connsiteY3" fmla="*/ 5195944 h 5195944"/>
              <a:gd name="connsiteX4" fmla="*/ 2257812 w 12188952"/>
              <a:gd name="connsiteY4" fmla="*/ 4992786 h 5195944"/>
              <a:gd name="connsiteX5" fmla="*/ 0 w 12188952"/>
              <a:gd name="connsiteY5" fmla="*/ 4992786 h 519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952" h="5195944">
                <a:moveTo>
                  <a:pt x="0" y="0"/>
                </a:moveTo>
                <a:lnTo>
                  <a:pt x="12188952" y="0"/>
                </a:lnTo>
                <a:lnTo>
                  <a:pt x="12188952" y="5195944"/>
                </a:lnTo>
                <a:lnTo>
                  <a:pt x="2659341" y="5195944"/>
                </a:lnTo>
                <a:lnTo>
                  <a:pt x="2257812" y="4992786"/>
                </a:lnTo>
                <a:lnTo>
                  <a:pt x="0" y="4992786"/>
                </a:lnTo>
                <a:close/>
              </a:path>
            </a:pathLst>
          </a:custGeom>
          <a:solidFill>
            <a:schemeClr val="tx2"/>
          </a:soli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picture</a:t>
            </a:r>
          </a:p>
        </p:txBody>
      </p:sp>
      <p:sp>
        <p:nvSpPr>
          <p:cNvPr id="4" name="Freeform: Shape 3">
            <a:extLst>
              <a:ext uri="{FF2B5EF4-FFF2-40B4-BE49-F238E27FC236}">
                <a16:creationId xmlns:a16="http://schemas.microsoft.com/office/drawing/2014/main" id="{AD05A67F-7DD9-446F-BDC4-00798165C1B4}"/>
              </a:ext>
            </a:extLst>
          </p:cNvPr>
          <p:cNvSpPr/>
          <p:nvPr userDrawn="1"/>
        </p:nvSpPr>
        <p:spPr>
          <a:xfrm>
            <a:off x="1524" y="4992785"/>
            <a:ext cx="12188952" cy="1867974"/>
          </a:xfrm>
          <a:custGeom>
            <a:avLst/>
            <a:gdLst>
              <a:gd name="connsiteX0" fmla="*/ 0 w 12197654"/>
              <a:gd name="connsiteY0" fmla="*/ 0 h 1867974"/>
              <a:gd name="connsiteX1" fmla="*/ 2255000 w 12197654"/>
              <a:gd name="connsiteY1" fmla="*/ 0 h 1867974"/>
              <a:gd name="connsiteX2" fmla="*/ 2661240 w 12197654"/>
              <a:gd name="connsiteY2" fmla="*/ 203741 h 1867974"/>
              <a:gd name="connsiteX3" fmla="*/ 12197654 w 12197654"/>
              <a:gd name="connsiteY3" fmla="*/ 203741 h 1867974"/>
              <a:gd name="connsiteX4" fmla="*/ 12197654 w 12197654"/>
              <a:gd name="connsiteY4" fmla="*/ 1555826 h 1867974"/>
              <a:gd name="connsiteX5" fmla="*/ 12197523 w 12197654"/>
              <a:gd name="connsiteY5" fmla="*/ 1606796 h 1867974"/>
              <a:gd name="connsiteX6" fmla="*/ 12197654 w 12197654"/>
              <a:gd name="connsiteY6" fmla="*/ 1606796 h 1867974"/>
              <a:gd name="connsiteX7" fmla="*/ 12197654 w 12197654"/>
              <a:gd name="connsiteY7" fmla="*/ 1867974 h 1867974"/>
              <a:gd name="connsiteX8" fmla="*/ 0 w 12197654"/>
              <a:gd name="connsiteY8" fmla="*/ 1867974 h 1867974"/>
              <a:gd name="connsiteX9" fmla="*/ 0 w 12197654"/>
              <a:gd name="connsiteY9" fmla="*/ 1765823 h 1867974"/>
              <a:gd name="connsiteX10" fmla="*/ 0 w 12197654"/>
              <a:gd name="connsiteY10" fmla="*/ 1606796 h 1867974"/>
              <a:gd name="connsiteX11" fmla="*/ 0 w 12197654"/>
              <a:gd name="connsiteY11" fmla="*/ 0 h 1867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7654" h="1867974">
                <a:moveTo>
                  <a:pt x="0" y="0"/>
                </a:moveTo>
                <a:lnTo>
                  <a:pt x="2255000" y="0"/>
                </a:lnTo>
                <a:lnTo>
                  <a:pt x="2661240" y="203741"/>
                </a:lnTo>
                <a:lnTo>
                  <a:pt x="12197654" y="203741"/>
                </a:lnTo>
                <a:lnTo>
                  <a:pt x="12197654" y="1555826"/>
                </a:lnTo>
                <a:lnTo>
                  <a:pt x="12197523" y="1606796"/>
                </a:lnTo>
                <a:lnTo>
                  <a:pt x="12197654" y="1606796"/>
                </a:lnTo>
                <a:lnTo>
                  <a:pt x="12197654" y="1867974"/>
                </a:lnTo>
                <a:lnTo>
                  <a:pt x="0" y="1867974"/>
                </a:lnTo>
                <a:lnTo>
                  <a:pt x="0" y="1765823"/>
                </a:lnTo>
                <a:lnTo>
                  <a:pt x="0" y="1606796"/>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5" name="Freeform: Shape 4">
            <a:extLst>
              <a:ext uri="{FF2B5EF4-FFF2-40B4-BE49-F238E27FC236}">
                <a16:creationId xmlns:a16="http://schemas.microsoft.com/office/drawing/2014/main" id="{BC970862-80E1-DD7F-54E7-856CCDDE1F4F}"/>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6" name="Rectangle 6">
            <a:extLst>
              <a:ext uri="{FF2B5EF4-FFF2-40B4-BE49-F238E27FC236}">
                <a16:creationId xmlns:a16="http://schemas.microsoft.com/office/drawing/2014/main" id="{3B37CA96-80A7-DD5F-EE01-A8E863663779}"/>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grpSp>
        <p:nvGrpSpPr>
          <p:cNvPr id="7" name="Group 6">
            <a:extLst>
              <a:ext uri="{FF2B5EF4-FFF2-40B4-BE49-F238E27FC236}">
                <a16:creationId xmlns:a16="http://schemas.microsoft.com/office/drawing/2014/main" id="{AFB423D0-C7DA-386B-42A8-54C4A7A3ECAB}"/>
              </a:ext>
            </a:extLst>
          </p:cNvPr>
          <p:cNvGrpSpPr/>
          <p:nvPr userDrawn="1"/>
        </p:nvGrpSpPr>
        <p:grpSpPr>
          <a:xfrm>
            <a:off x="200393" y="5087410"/>
            <a:ext cx="1830509" cy="191126"/>
            <a:chOff x="200393" y="5135879"/>
            <a:chExt cx="1830509" cy="191126"/>
          </a:xfrm>
        </p:grpSpPr>
        <p:sp>
          <p:nvSpPr>
            <p:cNvPr id="8" name="Freeform: Shape 7">
              <a:extLst>
                <a:ext uri="{FF2B5EF4-FFF2-40B4-BE49-F238E27FC236}">
                  <a16:creationId xmlns:a16="http://schemas.microsoft.com/office/drawing/2014/main" id="{DC56B787-D755-4F56-A798-90AA4F19F529}"/>
                </a:ext>
              </a:extLst>
            </p:cNvPr>
            <p:cNvSpPr/>
            <p:nvPr/>
          </p:nvSpPr>
          <p:spPr>
            <a:xfrm>
              <a:off x="202102" y="5148220"/>
              <a:ext cx="182880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2875B26B-A4EE-8208-6538-399F9D8A0BF4}"/>
                </a:ext>
              </a:extLst>
            </p:cNvPr>
            <p:cNvSpPr/>
            <p:nvPr/>
          </p:nvSpPr>
          <p:spPr>
            <a:xfrm>
              <a:off x="200393" y="5135879"/>
              <a:ext cx="28575"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37C7799D-54B9-C9D5-0E0B-8B752E949A05}"/>
                </a:ext>
              </a:extLst>
            </p:cNvPr>
            <p:cNvSpPr/>
            <p:nvPr/>
          </p:nvSpPr>
          <p:spPr>
            <a:xfrm>
              <a:off x="292113" y="525671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50BF7275-247F-8DBA-DB3F-1AC42DB4DF8B}"/>
                </a:ext>
              </a:extLst>
            </p:cNvPr>
            <p:cNvSpPr/>
            <p:nvPr/>
          </p:nvSpPr>
          <p:spPr>
            <a:xfrm>
              <a:off x="210103" y="5136315"/>
              <a:ext cx="381095" cy="28575"/>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dirty="0"/>
            </a:p>
          </p:txBody>
        </p:sp>
      </p:grpSp>
      <p:grpSp>
        <p:nvGrpSpPr>
          <p:cNvPr id="21" name="Group 20">
            <a:extLst>
              <a:ext uri="{FF2B5EF4-FFF2-40B4-BE49-F238E27FC236}">
                <a16:creationId xmlns:a16="http://schemas.microsoft.com/office/drawing/2014/main" id="{A5A7E8AE-C144-7B1A-0630-039201708269}"/>
              </a:ext>
            </a:extLst>
          </p:cNvPr>
          <p:cNvGrpSpPr/>
          <p:nvPr userDrawn="1"/>
        </p:nvGrpSpPr>
        <p:grpSpPr>
          <a:xfrm flipH="1" flipV="1">
            <a:off x="10146387" y="6334466"/>
            <a:ext cx="1828800" cy="192880"/>
            <a:chOff x="202102" y="5136315"/>
            <a:chExt cx="1828800" cy="192880"/>
          </a:xfrm>
        </p:grpSpPr>
        <p:sp>
          <p:nvSpPr>
            <p:cNvPr id="23" name="Freeform: Shape 22">
              <a:extLst>
                <a:ext uri="{FF2B5EF4-FFF2-40B4-BE49-F238E27FC236}">
                  <a16:creationId xmlns:a16="http://schemas.microsoft.com/office/drawing/2014/main" id="{CF3D9E2A-C023-7890-D596-D851F5F920BC}"/>
                </a:ext>
              </a:extLst>
            </p:cNvPr>
            <p:cNvSpPr/>
            <p:nvPr/>
          </p:nvSpPr>
          <p:spPr>
            <a:xfrm>
              <a:off x="202102" y="5148220"/>
              <a:ext cx="182880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39AA136F-6755-7209-1F54-E41D3E4556C8}"/>
                </a:ext>
              </a:extLst>
            </p:cNvPr>
            <p:cNvSpPr/>
            <p:nvPr/>
          </p:nvSpPr>
          <p:spPr>
            <a:xfrm>
              <a:off x="202347" y="5145649"/>
              <a:ext cx="28575"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25583D1B-18D1-1994-641F-5AA879594BD9}"/>
                </a:ext>
              </a:extLst>
            </p:cNvPr>
            <p:cNvSpPr/>
            <p:nvPr/>
          </p:nvSpPr>
          <p:spPr>
            <a:xfrm>
              <a:off x="292113" y="525671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CE479E0F-33FA-3B31-C707-D45CA4BB825C}"/>
                </a:ext>
              </a:extLst>
            </p:cNvPr>
            <p:cNvSpPr/>
            <p:nvPr/>
          </p:nvSpPr>
          <p:spPr>
            <a:xfrm>
              <a:off x="202287" y="5136315"/>
              <a:ext cx="381095" cy="28575"/>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dirty="0"/>
            </a:p>
          </p:txBody>
        </p:sp>
      </p:grpSp>
      <p:sp>
        <p:nvSpPr>
          <p:cNvPr id="29" name="Title 28">
            <a:extLst>
              <a:ext uri="{FF2B5EF4-FFF2-40B4-BE49-F238E27FC236}">
                <a16:creationId xmlns:a16="http://schemas.microsoft.com/office/drawing/2014/main" id="{8BFEA070-A9F4-9728-58C4-DD0380625D45}"/>
              </a:ext>
            </a:extLst>
          </p:cNvPr>
          <p:cNvSpPr>
            <a:spLocks noGrp="1"/>
          </p:cNvSpPr>
          <p:nvPr>
            <p:ph type="title" hasCustomPrompt="1"/>
          </p:nvPr>
        </p:nvSpPr>
        <p:spPr>
          <a:xfrm>
            <a:off x="701040" y="5610676"/>
            <a:ext cx="10789920" cy="498598"/>
          </a:xfrm>
        </p:spPr>
        <p:txBody>
          <a:bodyPr vert="horz" wrap="square" lIns="0" tIns="0" rIns="0" bIns="0" rtlCol="0" anchor="ctr" anchorCtr="0">
            <a:spAutoFit/>
          </a:bodyPr>
          <a:lstStyle>
            <a:lvl1pPr>
              <a:defRPr lang="en-US" sz="3600" dirty="0">
                <a:latin typeface="+mn-lt"/>
                <a:ea typeface="+mn-ea"/>
                <a:cs typeface="+mn-cs"/>
              </a:defRPr>
            </a:lvl1pPr>
          </a:lstStyle>
          <a:p>
            <a:pPr marL="0" lvl="0" indent="0" algn="ctr">
              <a:lnSpc>
                <a:spcPct val="90000"/>
              </a:lnSpc>
              <a:spcBef>
                <a:spcPts val="0"/>
              </a:spcBef>
              <a:buClr>
                <a:schemeClr val="bg2"/>
              </a:buClr>
              <a:buFontTx/>
            </a:pPr>
            <a:r>
              <a:rPr lang="en-US" dirty="0"/>
              <a:t>CLICK TO ADD TEXT</a:t>
            </a:r>
          </a:p>
        </p:txBody>
      </p:sp>
    </p:spTree>
    <p:extLst>
      <p:ext uri="{BB962C8B-B14F-4D97-AF65-F5344CB8AC3E}">
        <p14:creationId xmlns:p14="http://schemas.microsoft.com/office/powerpoint/2010/main" val="3546097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mp; 1 Image (2)">
    <p:spTree>
      <p:nvGrpSpPr>
        <p:cNvPr id="1" name=""/>
        <p:cNvGrpSpPr/>
        <p:nvPr/>
      </p:nvGrpSpPr>
      <p:grpSpPr>
        <a:xfrm>
          <a:off x="0" y="0"/>
          <a:ext cx="0" cy="0"/>
          <a:chOff x="0" y="0"/>
          <a:chExt cx="0" cy="0"/>
        </a:xfrm>
      </p:grpSpPr>
      <p:sp>
        <p:nvSpPr>
          <p:cNvPr id="9" name="Picture Placeholder 19">
            <a:extLst>
              <a:ext uri="{FF2B5EF4-FFF2-40B4-BE49-F238E27FC236}">
                <a16:creationId xmlns:a16="http://schemas.microsoft.com/office/drawing/2014/main" id="{9504BBB3-019F-7B30-06EF-9EFCC3A30501}"/>
              </a:ext>
            </a:extLst>
          </p:cNvPr>
          <p:cNvSpPr>
            <a:spLocks noGrp="1"/>
          </p:cNvSpPr>
          <p:nvPr>
            <p:ph type="pic" sz="quarter" idx="12" hasCustomPrompt="1"/>
          </p:nvPr>
        </p:nvSpPr>
        <p:spPr>
          <a:xfrm>
            <a:off x="-9992" y="-43545"/>
            <a:ext cx="12212880" cy="4355197"/>
          </a:xfrm>
          <a:custGeom>
            <a:avLst/>
            <a:gdLst>
              <a:gd name="connsiteX0" fmla="*/ 0 w 12188952"/>
              <a:gd name="connsiteY0" fmla="*/ 0 h 5195944"/>
              <a:gd name="connsiteX1" fmla="*/ 12188952 w 12188952"/>
              <a:gd name="connsiteY1" fmla="*/ 0 h 5195944"/>
              <a:gd name="connsiteX2" fmla="*/ 12188952 w 12188952"/>
              <a:gd name="connsiteY2" fmla="*/ 5195944 h 5195944"/>
              <a:gd name="connsiteX3" fmla="*/ 2659341 w 12188952"/>
              <a:gd name="connsiteY3" fmla="*/ 5195944 h 5195944"/>
              <a:gd name="connsiteX4" fmla="*/ 2257812 w 12188952"/>
              <a:gd name="connsiteY4" fmla="*/ 4992786 h 5195944"/>
              <a:gd name="connsiteX5" fmla="*/ 0 w 12188952"/>
              <a:gd name="connsiteY5" fmla="*/ 4992786 h 5195944"/>
              <a:gd name="connsiteX0" fmla="*/ 0 w 12190476"/>
              <a:gd name="connsiteY0" fmla="*/ 0 h 5195944"/>
              <a:gd name="connsiteX1" fmla="*/ 12188952 w 12190476"/>
              <a:gd name="connsiteY1" fmla="*/ 0 h 5195944"/>
              <a:gd name="connsiteX2" fmla="*/ 12190476 w 12190476"/>
              <a:gd name="connsiteY2" fmla="*/ 916522 h 5195944"/>
              <a:gd name="connsiteX3" fmla="*/ 12188952 w 12190476"/>
              <a:gd name="connsiteY3" fmla="*/ 5195944 h 5195944"/>
              <a:gd name="connsiteX4" fmla="*/ 2659341 w 12190476"/>
              <a:gd name="connsiteY4" fmla="*/ 5195944 h 5195944"/>
              <a:gd name="connsiteX5" fmla="*/ 2257812 w 12190476"/>
              <a:gd name="connsiteY5" fmla="*/ 4992786 h 5195944"/>
              <a:gd name="connsiteX6" fmla="*/ 0 w 12190476"/>
              <a:gd name="connsiteY6" fmla="*/ 4992786 h 5195944"/>
              <a:gd name="connsiteX7" fmla="*/ 0 w 12190476"/>
              <a:gd name="connsiteY7" fmla="*/ 0 h 5195944"/>
              <a:gd name="connsiteX0" fmla="*/ 12410 w 12202886"/>
              <a:gd name="connsiteY0" fmla="*/ 0 h 5195944"/>
              <a:gd name="connsiteX1" fmla="*/ 12201362 w 12202886"/>
              <a:gd name="connsiteY1" fmla="*/ 0 h 5195944"/>
              <a:gd name="connsiteX2" fmla="*/ 12202886 w 12202886"/>
              <a:gd name="connsiteY2" fmla="*/ 916522 h 5195944"/>
              <a:gd name="connsiteX3" fmla="*/ 12201362 w 12202886"/>
              <a:gd name="connsiteY3" fmla="*/ 5195944 h 5195944"/>
              <a:gd name="connsiteX4" fmla="*/ 2671751 w 12202886"/>
              <a:gd name="connsiteY4" fmla="*/ 5195944 h 5195944"/>
              <a:gd name="connsiteX5" fmla="*/ 2270222 w 12202886"/>
              <a:gd name="connsiteY5" fmla="*/ 4992786 h 5195944"/>
              <a:gd name="connsiteX6" fmla="*/ 12410 w 12202886"/>
              <a:gd name="connsiteY6" fmla="*/ 4992786 h 5195944"/>
              <a:gd name="connsiteX7" fmla="*/ 0 w 12202886"/>
              <a:gd name="connsiteY7" fmla="*/ 938241 h 5195944"/>
              <a:gd name="connsiteX8" fmla="*/ 12410 w 12202886"/>
              <a:gd name="connsiteY8" fmla="*/ 0 h 5195944"/>
              <a:gd name="connsiteX0" fmla="*/ 0 w 12202886"/>
              <a:gd name="connsiteY0" fmla="*/ 938241 h 5195944"/>
              <a:gd name="connsiteX1" fmla="*/ 12201362 w 12202886"/>
              <a:gd name="connsiteY1" fmla="*/ 0 h 5195944"/>
              <a:gd name="connsiteX2" fmla="*/ 12202886 w 12202886"/>
              <a:gd name="connsiteY2" fmla="*/ 916522 h 5195944"/>
              <a:gd name="connsiteX3" fmla="*/ 12201362 w 12202886"/>
              <a:gd name="connsiteY3" fmla="*/ 5195944 h 5195944"/>
              <a:gd name="connsiteX4" fmla="*/ 2671751 w 12202886"/>
              <a:gd name="connsiteY4" fmla="*/ 5195944 h 5195944"/>
              <a:gd name="connsiteX5" fmla="*/ 2270222 w 12202886"/>
              <a:gd name="connsiteY5" fmla="*/ 4992786 h 5195944"/>
              <a:gd name="connsiteX6" fmla="*/ 12410 w 12202886"/>
              <a:gd name="connsiteY6" fmla="*/ 4992786 h 5195944"/>
              <a:gd name="connsiteX7" fmla="*/ 0 w 12202886"/>
              <a:gd name="connsiteY7" fmla="*/ 938241 h 5195944"/>
              <a:gd name="connsiteX0" fmla="*/ 0 w 12202886"/>
              <a:gd name="connsiteY0" fmla="*/ 21719 h 4279422"/>
              <a:gd name="connsiteX1" fmla="*/ 12202886 w 12202886"/>
              <a:gd name="connsiteY1" fmla="*/ 0 h 4279422"/>
              <a:gd name="connsiteX2" fmla="*/ 12201362 w 12202886"/>
              <a:gd name="connsiteY2" fmla="*/ 4279422 h 4279422"/>
              <a:gd name="connsiteX3" fmla="*/ 2671751 w 12202886"/>
              <a:gd name="connsiteY3" fmla="*/ 4279422 h 4279422"/>
              <a:gd name="connsiteX4" fmla="*/ 2270222 w 12202886"/>
              <a:gd name="connsiteY4" fmla="*/ 4076264 h 4279422"/>
              <a:gd name="connsiteX5" fmla="*/ 12410 w 12202886"/>
              <a:gd name="connsiteY5" fmla="*/ 4076264 h 4279422"/>
              <a:gd name="connsiteX6" fmla="*/ 0 w 12202886"/>
              <a:gd name="connsiteY6" fmla="*/ 21719 h 4279422"/>
              <a:gd name="connsiteX0" fmla="*/ 0 w 12213772"/>
              <a:gd name="connsiteY0" fmla="*/ 0 h 4290280"/>
              <a:gd name="connsiteX1" fmla="*/ 12213772 w 12213772"/>
              <a:gd name="connsiteY1" fmla="*/ 10858 h 4290280"/>
              <a:gd name="connsiteX2" fmla="*/ 12212248 w 12213772"/>
              <a:gd name="connsiteY2" fmla="*/ 4290280 h 4290280"/>
              <a:gd name="connsiteX3" fmla="*/ 2682637 w 12213772"/>
              <a:gd name="connsiteY3" fmla="*/ 4290280 h 4290280"/>
              <a:gd name="connsiteX4" fmla="*/ 2281108 w 12213772"/>
              <a:gd name="connsiteY4" fmla="*/ 4087122 h 4290280"/>
              <a:gd name="connsiteX5" fmla="*/ 23296 w 12213772"/>
              <a:gd name="connsiteY5" fmla="*/ 4087122 h 4290280"/>
              <a:gd name="connsiteX6" fmla="*/ 0 w 12213772"/>
              <a:gd name="connsiteY6" fmla="*/ 0 h 4290280"/>
              <a:gd name="connsiteX0" fmla="*/ 0 w 12213772"/>
              <a:gd name="connsiteY0" fmla="*/ 54297 h 4344577"/>
              <a:gd name="connsiteX1" fmla="*/ 12213772 w 12213772"/>
              <a:gd name="connsiteY1" fmla="*/ 0 h 4344577"/>
              <a:gd name="connsiteX2" fmla="*/ 12212248 w 12213772"/>
              <a:gd name="connsiteY2" fmla="*/ 4344577 h 4344577"/>
              <a:gd name="connsiteX3" fmla="*/ 2682637 w 12213772"/>
              <a:gd name="connsiteY3" fmla="*/ 4344577 h 4344577"/>
              <a:gd name="connsiteX4" fmla="*/ 2281108 w 12213772"/>
              <a:gd name="connsiteY4" fmla="*/ 4141419 h 4344577"/>
              <a:gd name="connsiteX5" fmla="*/ 23296 w 12213772"/>
              <a:gd name="connsiteY5" fmla="*/ 4141419 h 4344577"/>
              <a:gd name="connsiteX6" fmla="*/ 0 w 12213772"/>
              <a:gd name="connsiteY6" fmla="*/ 54297 h 4344577"/>
              <a:gd name="connsiteX0" fmla="*/ 0 w 12192001"/>
              <a:gd name="connsiteY0" fmla="*/ 10860 h 4344577"/>
              <a:gd name="connsiteX1" fmla="*/ 12192001 w 12192001"/>
              <a:gd name="connsiteY1" fmla="*/ 0 h 4344577"/>
              <a:gd name="connsiteX2" fmla="*/ 12190477 w 12192001"/>
              <a:gd name="connsiteY2" fmla="*/ 4344577 h 4344577"/>
              <a:gd name="connsiteX3" fmla="*/ 2660866 w 12192001"/>
              <a:gd name="connsiteY3" fmla="*/ 4344577 h 4344577"/>
              <a:gd name="connsiteX4" fmla="*/ 2259337 w 12192001"/>
              <a:gd name="connsiteY4" fmla="*/ 4141419 h 4344577"/>
              <a:gd name="connsiteX5" fmla="*/ 1525 w 12192001"/>
              <a:gd name="connsiteY5" fmla="*/ 4141419 h 4344577"/>
              <a:gd name="connsiteX6" fmla="*/ 0 w 12192001"/>
              <a:gd name="connsiteY6" fmla="*/ 10860 h 4344577"/>
              <a:gd name="connsiteX0" fmla="*/ 9994 w 12191110"/>
              <a:gd name="connsiteY0" fmla="*/ 10860 h 4344577"/>
              <a:gd name="connsiteX1" fmla="*/ 12191110 w 12191110"/>
              <a:gd name="connsiteY1" fmla="*/ 0 h 4344577"/>
              <a:gd name="connsiteX2" fmla="*/ 12189586 w 12191110"/>
              <a:gd name="connsiteY2" fmla="*/ 4344577 h 4344577"/>
              <a:gd name="connsiteX3" fmla="*/ 2659975 w 12191110"/>
              <a:gd name="connsiteY3" fmla="*/ 4344577 h 4344577"/>
              <a:gd name="connsiteX4" fmla="*/ 2258446 w 12191110"/>
              <a:gd name="connsiteY4" fmla="*/ 4141419 h 4344577"/>
              <a:gd name="connsiteX5" fmla="*/ 634 w 12191110"/>
              <a:gd name="connsiteY5" fmla="*/ 4141419 h 4344577"/>
              <a:gd name="connsiteX6" fmla="*/ 9994 w 12191110"/>
              <a:gd name="connsiteY6" fmla="*/ 10860 h 4344577"/>
              <a:gd name="connsiteX0" fmla="*/ 0 w 12202888"/>
              <a:gd name="connsiteY0" fmla="*/ 21720 h 4344577"/>
              <a:gd name="connsiteX1" fmla="*/ 12202888 w 12202888"/>
              <a:gd name="connsiteY1" fmla="*/ 0 h 4344577"/>
              <a:gd name="connsiteX2" fmla="*/ 12201364 w 12202888"/>
              <a:gd name="connsiteY2" fmla="*/ 4344577 h 4344577"/>
              <a:gd name="connsiteX3" fmla="*/ 2671753 w 12202888"/>
              <a:gd name="connsiteY3" fmla="*/ 4344577 h 4344577"/>
              <a:gd name="connsiteX4" fmla="*/ 2270224 w 12202888"/>
              <a:gd name="connsiteY4" fmla="*/ 4141419 h 4344577"/>
              <a:gd name="connsiteX5" fmla="*/ 12412 w 12202888"/>
              <a:gd name="connsiteY5" fmla="*/ 4141419 h 4344577"/>
              <a:gd name="connsiteX6" fmla="*/ 0 w 12202888"/>
              <a:gd name="connsiteY6" fmla="*/ 21720 h 4344577"/>
              <a:gd name="connsiteX0" fmla="*/ 9992 w 12212880"/>
              <a:gd name="connsiteY0" fmla="*/ 21720 h 4344577"/>
              <a:gd name="connsiteX1" fmla="*/ 12212880 w 12212880"/>
              <a:gd name="connsiteY1" fmla="*/ 0 h 4344577"/>
              <a:gd name="connsiteX2" fmla="*/ 12211356 w 12212880"/>
              <a:gd name="connsiteY2" fmla="*/ 4344577 h 4344577"/>
              <a:gd name="connsiteX3" fmla="*/ 2681745 w 12212880"/>
              <a:gd name="connsiteY3" fmla="*/ 4344577 h 4344577"/>
              <a:gd name="connsiteX4" fmla="*/ 2280216 w 12212880"/>
              <a:gd name="connsiteY4" fmla="*/ 4141419 h 4344577"/>
              <a:gd name="connsiteX5" fmla="*/ 633 w 12212880"/>
              <a:gd name="connsiteY5" fmla="*/ 4130560 h 4344577"/>
              <a:gd name="connsiteX6" fmla="*/ 9992 w 12212880"/>
              <a:gd name="connsiteY6" fmla="*/ 21720 h 434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2880" h="4344577">
                <a:moveTo>
                  <a:pt x="9992" y="21720"/>
                </a:moveTo>
                <a:lnTo>
                  <a:pt x="12212880" y="0"/>
                </a:lnTo>
                <a:lnTo>
                  <a:pt x="12211356" y="4344577"/>
                </a:lnTo>
                <a:lnTo>
                  <a:pt x="2681745" y="4344577"/>
                </a:lnTo>
                <a:lnTo>
                  <a:pt x="2280216" y="4141419"/>
                </a:lnTo>
                <a:lnTo>
                  <a:pt x="633" y="4130560"/>
                </a:lnTo>
                <a:cubicBezTo>
                  <a:pt x="-3504" y="2779045"/>
                  <a:pt x="14129" y="1373235"/>
                  <a:pt x="9992" y="21720"/>
                </a:cubicBezTo>
                <a:close/>
              </a:path>
            </a:pathLst>
          </a:custGeom>
          <a:solidFill>
            <a:schemeClr val="tx2">
              <a:alpha val="84000"/>
            </a:schemeClr>
          </a:soli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picture</a:t>
            </a:r>
          </a:p>
        </p:txBody>
      </p:sp>
      <p:sp>
        <p:nvSpPr>
          <p:cNvPr id="11" name="Rectangle 6">
            <a:extLst>
              <a:ext uri="{FF2B5EF4-FFF2-40B4-BE49-F238E27FC236}">
                <a16:creationId xmlns:a16="http://schemas.microsoft.com/office/drawing/2014/main" id="{D5D82C61-BA3F-C93A-7FA6-6350E480447F}"/>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n-US"/>
            </a:defPPr>
            <a:lvl1pPr marR="0" lvl="0" indent="0" algn="r" defTabSz="914400" eaLnBrk="0" fontAlgn="base" hangingPunct="0">
              <a:lnSpc>
                <a:spcPct val="100000"/>
              </a:lnSpc>
              <a:spcBef>
                <a:spcPct val="0"/>
              </a:spcBef>
              <a:spcAft>
                <a:spcPct val="0"/>
              </a:spcAft>
              <a:buClrTx/>
              <a:buSzTx/>
              <a:buFontTx/>
              <a:buNone/>
              <a:tabLst/>
              <a:defRPr kumimoji="0" sz="800" b="0" i="0" u="none" strike="noStrike" kern="0" cap="none" spc="0" normalizeH="0" baseline="0">
                <a:ln>
                  <a:noFill/>
                </a:ln>
                <a:solidFill>
                  <a:schemeClr val="bg1">
                    <a:lumMod val="65000"/>
                  </a:schemeClr>
                </a:solidFill>
                <a:effectLst/>
                <a:uLnTx/>
                <a:uFillTx/>
                <a:ea typeface="MS PGothic" pitchFamily="34" charset="-128"/>
              </a:defRPr>
            </a:lvl1pPr>
          </a:lstStyle>
          <a:p>
            <a:pPr lvl="0"/>
            <a:fld id="{8D7874BA-B114-4D1F-A449-70AD1C45E88A}" type="slidenum">
              <a:rPr lang="en-US" noProof="0" smtClean="0"/>
              <a:pPr lvl="0"/>
              <a:t>‹#›</a:t>
            </a:fld>
            <a:endParaRPr lang="en-US" noProof="0" dirty="0"/>
          </a:p>
        </p:txBody>
      </p:sp>
      <p:sp>
        <p:nvSpPr>
          <p:cNvPr id="13" name="Freeform: Shape 12">
            <a:extLst>
              <a:ext uri="{FF2B5EF4-FFF2-40B4-BE49-F238E27FC236}">
                <a16:creationId xmlns:a16="http://schemas.microsoft.com/office/drawing/2014/main" id="{08D8D21A-8E39-AFC5-0D3A-F7C6BF1DD033}"/>
              </a:ext>
            </a:extLst>
          </p:cNvPr>
          <p:cNvSpPr/>
          <p:nvPr userDrawn="1"/>
        </p:nvSpPr>
        <p:spPr>
          <a:xfrm>
            <a:off x="0" y="4117452"/>
            <a:ext cx="12201129" cy="1647632"/>
          </a:xfrm>
          <a:custGeom>
            <a:avLst/>
            <a:gdLst>
              <a:gd name="connsiteX0" fmla="*/ 0 w 12201129"/>
              <a:gd name="connsiteY0" fmla="*/ 0 h 1647632"/>
              <a:gd name="connsiteX1" fmla="*/ 2254999 w 12201129"/>
              <a:gd name="connsiteY1" fmla="*/ 0 h 1647632"/>
              <a:gd name="connsiteX2" fmla="*/ 2661239 w 12201129"/>
              <a:gd name="connsiteY2" fmla="*/ 203742 h 1647632"/>
              <a:gd name="connsiteX3" fmla="*/ 12201129 w 12201129"/>
              <a:gd name="connsiteY3" fmla="*/ 203742 h 1647632"/>
              <a:gd name="connsiteX4" fmla="*/ 12197418 w 12201129"/>
              <a:gd name="connsiteY4" fmla="*/ 1647632 h 1647632"/>
              <a:gd name="connsiteX5" fmla="*/ 12192000 w 12201129"/>
              <a:gd name="connsiteY5" fmla="*/ 1647625 h 1647632"/>
              <a:gd name="connsiteX6" fmla="*/ 12192000 w 12201129"/>
              <a:gd name="connsiteY6" fmla="*/ 1583124 h 1647632"/>
              <a:gd name="connsiteX7" fmla="*/ 0 w 12201129"/>
              <a:gd name="connsiteY7" fmla="*/ 1583124 h 1647632"/>
              <a:gd name="connsiteX8" fmla="*/ 0 w 12201129"/>
              <a:gd name="connsiteY8" fmla="*/ 0 h 164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01129" h="1647632">
                <a:moveTo>
                  <a:pt x="0" y="0"/>
                </a:moveTo>
                <a:lnTo>
                  <a:pt x="2254999" y="0"/>
                </a:lnTo>
                <a:lnTo>
                  <a:pt x="2661239" y="203742"/>
                </a:lnTo>
                <a:lnTo>
                  <a:pt x="12201129" y="203742"/>
                </a:lnTo>
                <a:cubicBezTo>
                  <a:pt x="12199892" y="685039"/>
                  <a:pt x="12198655" y="1166335"/>
                  <a:pt x="12197418" y="1647632"/>
                </a:cubicBezTo>
                <a:lnTo>
                  <a:pt x="12192000" y="1647625"/>
                </a:lnTo>
                <a:lnTo>
                  <a:pt x="12192000" y="1583124"/>
                </a:lnTo>
                <a:lnTo>
                  <a:pt x="0" y="1583124"/>
                </a:lnTo>
                <a:lnTo>
                  <a:pt x="0" y="0"/>
                </a:lnTo>
                <a:close/>
              </a:path>
            </a:pathLst>
          </a:cu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pic>
        <p:nvPicPr>
          <p:cNvPr id="14" name="Graphic 13">
            <a:extLst>
              <a:ext uri="{FF2B5EF4-FFF2-40B4-BE49-F238E27FC236}">
                <a16:creationId xmlns:a16="http://schemas.microsoft.com/office/drawing/2014/main" id="{6CDD5A44-E11D-D201-85FC-6C604B056C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713" y="5515753"/>
            <a:ext cx="2892560" cy="215304"/>
          </a:xfrm>
          <a:prstGeom prst="rect">
            <a:avLst/>
          </a:prstGeom>
        </p:spPr>
      </p:pic>
      <p:pic>
        <p:nvPicPr>
          <p:cNvPr id="15" name="Graphic 14">
            <a:extLst>
              <a:ext uri="{FF2B5EF4-FFF2-40B4-BE49-F238E27FC236}">
                <a16:creationId xmlns:a16="http://schemas.microsoft.com/office/drawing/2014/main" id="{7205D4BF-8F4A-209D-B4D9-F2569E46D11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r="5475"/>
          <a:stretch/>
        </p:blipFill>
        <p:spPr>
          <a:xfrm>
            <a:off x="9279610" y="4296839"/>
            <a:ext cx="2931511" cy="1577870"/>
          </a:xfrm>
          <a:prstGeom prst="rect">
            <a:avLst/>
          </a:prstGeom>
        </p:spPr>
      </p:pic>
      <p:grpSp>
        <p:nvGrpSpPr>
          <p:cNvPr id="16" name="Group 15">
            <a:extLst>
              <a:ext uri="{FF2B5EF4-FFF2-40B4-BE49-F238E27FC236}">
                <a16:creationId xmlns:a16="http://schemas.microsoft.com/office/drawing/2014/main" id="{6D4A424C-F0B9-274F-6B45-61C97A8DCCF4}"/>
              </a:ext>
            </a:extLst>
          </p:cNvPr>
          <p:cNvGrpSpPr/>
          <p:nvPr userDrawn="1"/>
        </p:nvGrpSpPr>
        <p:grpSpPr>
          <a:xfrm>
            <a:off x="200393" y="4233964"/>
            <a:ext cx="1830509" cy="191126"/>
            <a:chOff x="200393" y="5135879"/>
            <a:chExt cx="1830509" cy="191126"/>
          </a:xfrm>
        </p:grpSpPr>
        <p:sp>
          <p:nvSpPr>
            <p:cNvPr id="17" name="Freeform: Shape 16">
              <a:extLst>
                <a:ext uri="{FF2B5EF4-FFF2-40B4-BE49-F238E27FC236}">
                  <a16:creationId xmlns:a16="http://schemas.microsoft.com/office/drawing/2014/main" id="{A0D30A1A-F4E9-1F50-53F9-CE9F53542AEF}"/>
                </a:ext>
              </a:extLst>
            </p:cNvPr>
            <p:cNvSpPr/>
            <p:nvPr/>
          </p:nvSpPr>
          <p:spPr>
            <a:xfrm>
              <a:off x="202102" y="5148220"/>
              <a:ext cx="182880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5CB71F2F-F0C6-CB3B-7B92-C6712F875A83}"/>
                </a:ext>
              </a:extLst>
            </p:cNvPr>
            <p:cNvSpPr/>
            <p:nvPr/>
          </p:nvSpPr>
          <p:spPr>
            <a:xfrm>
              <a:off x="200393" y="5135879"/>
              <a:ext cx="28575"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C4FA3E21-3762-B7A4-0D21-B4A7F7E40E06}"/>
                </a:ext>
              </a:extLst>
            </p:cNvPr>
            <p:cNvSpPr/>
            <p:nvPr/>
          </p:nvSpPr>
          <p:spPr>
            <a:xfrm>
              <a:off x="292113" y="525671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F2687576-FAFE-4C27-D247-3DDEF1FAF553}"/>
                </a:ext>
              </a:extLst>
            </p:cNvPr>
            <p:cNvSpPr/>
            <p:nvPr/>
          </p:nvSpPr>
          <p:spPr>
            <a:xfrm>
              <a:off x="210103" y="5136315"/>
              <a:ext cx="381095" cy="28575"/>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dirty="0"/>
            </a:p>
          </p:txBody>
        </p:sp>
      </p:grpSp>
      <p:sp>
        <p:nvSpPr>
          <p:cNvPr id="25" name="Text Placeholder 20">
            <a:extLst>
              <a:ext uri="{FF2B5EF4-FFF2-40B4-BE49-F238E27FC236}">
                <a16:creationId xmlns:a16="http://schemas.microsoft.com/office/drawing/2014/main" id="{2A50E717-891E-573C-5B82-D53757DEB3DA}"/>
              </a:ext>
            </a:extLst>
          </p:cNvPr>
          <p:cNvSpPr>
            <a:spLocks noGrp="1"/>
          </p:cNvSpPr>
          <p:nvPr>
            <p:ph type="body" sz="quarter" idx="27" hasCustomPrompt="1"/>
          </p:nvPr>
        </p:nvSpPr>
        <p:spPr>
          <a:xfrm>
            <a:off x="362407" y="4617157"/>
            <a:ext cx="11657577" cy="723900"/>
          </a:xfrm>
        </p:spPr>
        <p:txBody>
          <a:bodyPr anchor="ctr" anchorCtr="0"/>
          <a:lstStyle>
            <a:lvl1pPr marL="0" indent="0" algn="ctr">
              <a:buFontTx/>
              <a:buNone/>
              <a:defRPr sz="2000">
                <a:solidFill>
                  <a:schemeClr val="tx1"/>
                </a:solidFill>
              </a:defRPr>
            </a:lvl1pPr>
          </a:lstStyle>
          <a:p>
            <a:pPr lvl="0"/>
            <a:r>
              <a:rPr lang="en-US"/>
              <a:t>Add text</a:t>
            </a:r>
          </a:p>
        </p:txBody>
      </p:sp>
      <p:sp>
        <p:nvSpPr>
          <p:cNvPr id="26" name="Freeform: Shape 25">
            <a:extLst>
              <a:ext uri="{FF2B5EF4-FFF2-40B4-BE49-F238E27FC236}">
                <a16:creationId xmlns:a16="http://schemas.microsoft.com/office/drawing/2014/main" id="{8027BF5F-9EA5-46F2-F347-3FDA1B57A4F6}"/>
              </a:ext>
            </a:extLst>
          </p:cNvPr>
          <p:cNvSpPr/>
          <p:nvPr userDrawn="1"/>
        </p:nvSpPr>
        <p:spPr>
          <a:xfrm>
            <a:off x="0" y="5760851"/>
            <a:ext cx="12192000" cy="683428"/>
          </a:xfrm>
          <a:custGeom>
            <a:avLst/>
            <a:gdLst>
              <a:gd name="connsiteX0" fmla="*/ 9102718 w 12192000"/>
              <a:gd name="connsiteY0" fmla="*/ 0 h 683428"/>
              <a:gd name="connsiteX1" fmla="*/ 12192000 w 12192000"/>
              <a:gd name="connsiteY1" fmla="*/ 4226 h 683428"/>
              <a:gd name="connsiteX2" fmla="*/ 12192000 w 12192000"/>
              <a:gd name="connsiteY2" fmla="*/ 683428 h 683428"/>
              <a:gd name="connsiteX3" fmla="*/ 0 w 12192000"/>
              <a:gd name="connsiteY3" fmla="*/ 683428 h 683428"/>
              <a:gd name="connsiteX4" fmla="*/ 0 w 12192000"/>
              <a:gd name="connsiteY4" fmla="*/ 122424 h 683428"/>
              <a:gd name="connsiteX5" fmla="*/ 8837853 w 12192000"/>
              <a:gd name="connsiteY5" fmla="*/ 135124 h 683428"/>
              <a:gd name="connsiteX6" fmla="*/ 9102718 w 12192000"/>
              <a:gd name="connsiteY6" fmla="*/ 0 h 68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3428">
                <a:moveTo>
                  <a:pt x="9102718" y="0"/>
                </a:moveTo>
                <a:lnTo>
                  <a:pt x="12192000" y="4226"/>
                </a:lnTo>
                <a:lnTo>
                  <a:pt x="12192000" y="683428"/>
                </a:lnTo>
                <a:lnTo>
                  <a:pt x="0" y="683428"/>
                </a:lnTo>
                <a:lnTo>
                  <a:pt x="0" y="122424"/>
                </a:lnTo>
                <a:lnTo>
                  <a:pt x="8837853" y="135124"/>
                </a:lnTo>
                <a:lnTo>
                  <a:pt x="9102718" y="0"/>
                </a:lnTo>
                <a:close/>
              </a:path>
            </a:pathLst>
          </a:cu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a:xfrm>
            <a:off x="490760" y="6012168"/>
            <a:ext cx="11205940" cy="369332"/>
          </a:xfrm>
        </p:spPr>
        <p:txBody>
          <a:bodyPr/>
          <a:lstStyle>
            <a:lvl1pPr>
              <a:defRPr>
                <a:solidFill>
                  <a:schemeClr val="bg1"/>
                </a:solidFill>
              </a:defRPr>
            </a:lvl1pPr>
          </a:lstStyle>
          <a:p>
            <a:r>
              <a:rPr lang="en-US" dirty="0"/>
              <a:t>add TEXT</a:t>
            </a:r>
          </a:p>
        </p:txBody>
      </p:sp>
    </p:spTree>
    <p:extLst>
      <p:ext uri="{BB962C8B-B14F-4D97-AF65-F5344CB8AC3E}">
        <p14:creationId xmlns:p14="http://schemas.microsoft.com/office/powerpoint/2010/main" val="1577562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or Graphic &amp; Content ">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2CB97F46-9E75-595F-CDB2-2A43210796C2}"/>
              </a:ext>
            </a:extLst>
          </p:cNvPr>
          <p:cNvGrpSpPr/>
          <p:nvPr userDrawn="1"/>
        </p:nvGrpSpPr>
        <p:grpSpPr>
          <a:xfrm>
            <a:off x="567709" y="1465786"/>
            <a:ext cx="3558618" cy="4711129"/>
            <a:chOff x="567709" y="1509331"/>
            <a:chExt cx="3558618" cy="4711129"/>
          </a:xfrm>
        </p:grpSpPr>
        <p:sp>
          <p:nvSpPr>
            <p:cNvPr id="14" name="Rectangle 13">
              <a:extLst>
                <a:ext uri="{FF2B5EF4-FFF2-40B4-BE49-F238E27FC236}">
                  <a16:creationId xmlns:a16="http://schemas.microsoft.com/office/drawing/2014/main" id="{B37147D3-BB0F-F89C-1174-8D8535C2C94D}"/>
                </a:ext>
              </a:extLst>
            </p:cNvPr>
            <p:cNvSpPr/>
            <p:nvPr userDrawn="1"/>
          </p:nvSpPr>
          <p:spPr>
            <a:xfrm>
              <a:off x="567709" y="1619502"/>
              <a:ext cx="3558618" cy="46009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5" name="Arrow: Pentagon 14">
              <a:extLst>
                <a:ext uri="{FF2B5EF4-FFF2-40B4-BE49-F238E27FC236}">
                  <a16:creationId xmlns:a16="http://schemas.microsoft.com/office/drawing/2014/main" id="{89EDD2DD-B352-D838-D86A-A84099963EA9}"/>
                </a:ext>
              </a:extLst>
            </p:cNvPr>
            <p:cNvSpPr/>
            <p:nvPr userDrawn="1"/>
          </p:nvSpPr>
          <p:spPr>
            <a:xfrm>
              <a:off x="567710" y="1509331"/>
              <a:ext cx="1235088" cy="224180"/>
            </a:xfrm>
            <a:prstGeom prst="homePlate">
              <a:avLst>
                <a:gd name="adj" fmla="val 10410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grpSp>
      <p:grpSp>
        <p:nvGrpSpPr>
          <p:cNvPr id="16" name="Group 15">
            <a:extLst>
              <a:ext uri="{FF2B5EF4-FFF2-40B4-BE49-F238E27FC236}">
                <a16:creationId xmlns:a16="http://schemas.microsoft.com/office/drawing/2014/main" id="{6D002AE4-09A9-09EE-5B7C-E2715DBB8A81}"/>
              </a:ext>
            </a:extLst>
          </p:cNvPr>
          <p:cNvGrpSpPr/>
          <p:nvPr userDrawn="1"/>
        </p:nvGrpSpPr>
        <p:grpSpPr>
          <a:xfrm>
            <a:off x="3379623" y="1684334"/>
            <a:ext cx="631597" cy="594534"/>
            <a:chOff x="3331998" y="1775504"/>
            <a:chExt cx="631597" cy="594534"/>
          </a:xfrm>
        </p:grpSpPr>
        <p:sp>
          <p:nvSpPr>
            <p:cNvPr id="17" name="Freeform: Shape 16">
              <a:extLst>
                <a:ext uri="{FF2B5EF4-FFF2-40B4-BE49-F238E27FC236}">
                  <a16:creationId xmlns:a16="http://schemas.microsoft.com/office/drawing/2014/main" id="{D19E5BAB-A477-C360-01C3-F9F999CC5975}"/>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18" name="Freeform: Shape 17">
              <a:extLst>
                <a:ext uri="{FF2B5EF4-FFF2-40B4-BE49-F238E27FC236}">
                  <a16:creationId xmlns:a16="http://schemas.microsoft.com/office/drawing/2014/main" id="{56C620EE-F05A-BD09-4BFC-87084A5C68C0}"/>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19" name="Freeform: Shape 18">
              <a:extLst>
                <a:ext uri="{FF2B5EF4-FFF2-40B4-BE49-F238E27FC236}">
                  <a16:creationId xmlns:a16="http://schemas.microsoft.com/office/drawing/2014/main" id="{47D5BEA0-FC34-709E-9718-DB3566E04D6B}"/>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a:solidFill>
                  <a:schemeClr val="tx1"/>
                </a:solidFill>
              </a:endParaRPr>
            </a:p>
          </p:txBody>
        </p:sp>
        <p:sp>
          <p:nvSpPr>
            <p:cNvPr id="20" name="Freeform: Shape 19">
              <a:extLst>
                <a:ext uri="{FF2B5EF4-FFF2-40B4-BE49-F238E27FC236}">
                  <a16:creationId xmlns:a16="http://schemas.microsoft.com/office/drawing/2014/main" id="{2DC1DA70-1A1D-2C1A-9328-8B9270D82D24}"/>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2"/>
                </a:buBlip>
              </a:pPr>
              <a:endParaRPr lang="en-US" sz="1800" dirty="0">
                <a:solidFill>
                  <a:schemeClr val="bg1"/>
                </a:solidFill>
              </a:endParaRPr>
            </a:p>
          </p:txBody>
        </p:sp>
      </p:grpSp>
      <p:cxnSp>
        <p:nvCxnSpPr>
          <p:cNvPr id="96" name="Straight Connector 95">
            <a:extLst>
              <a:ext uri="{FF2B5EF4-FFF2-40B4-BE49-F238E27FC236}">
                <a16:creationId xmlns:a16="http://schemas.microsoft.com/office/drawing/2014/main" id="{0C77841A-E045-4542-A192-C5E9155E3851}"/>
              </a:ext>
            </a:extLst>
          </p:cNvPr>
          <p:cNvCxnSpPr>
            <a:cxnSpLocks/>
          </p:cNvCxnSpPr>
          <p:nvPr/>
        </p:nvCxnSpPr>
        <p:spPr>
          <a:xfrm>
            <a:off x="4583953"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113F1DEF-A422-451E-8E4B-2CA3BEBF0FD4}"/>
              </a:ext>
            </a:extLst>
          </p:cNvPr>
          <p:cNvCxnSpPr>
            <a:cxnSpLocks/>
          </p:cNvCxnSpPr>
          <p:nvPr/>
        </p:nvCxnSpPr>
        <p:spPr>
          <a:xfrm>
            <a:off x="5684017"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6B8B8C22-FB4C-4F60-AAF8-1105E997767C}"/>
              </a:ext>
            </a:extLst>
          </p:cNvPr>
          <p:cNvCxnSpPr>
            <a:cxnSpLocks/>
          </p:cNvCxnSpPr>
          <p:nvPr/>
        </p:nvCxnSpPr>
        <p:spPr>
          <a:xfrm>
            <a:off x="6784081"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8540B4BD-35FC-4B98-9B3D-EEC050BFDDCE}"/>
              </a:ext>
            </a:extLst>
          </p:cNvPr>
          <p:cNvCxnSpPr>
            <a:cxnSpLocks/>
          </p:cNvCxnSpPr>
          <p:nvPr/>
        </p:nvCxnSpPr>
        <p:spPr>
          <a:xfrm>
            <a:off x="7884145"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95500C9A-2A26-4536-9BB1-24C564726028}"/>
              </a:ext>
            </a:extLst>
          </p:cNvPr>
          <p:cNvCxnSpPr>
            <a:cxnSpLocks/>
          </p:cNvCxnSpPr>
          <p:nvPr/>
        </p:nvCxnSpPr>
        <p:spPr>
          <a:xfrm>
            <a:off x="8984209"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E0D12C76-B7C9-48D9-889A-8578BC643659}"/>
              </a:ext>
            </a:extLst>
          </p:cNvPr>
          <p:cNvCxnSpPr>
            <a:cxnSpLocks/>
          </p:cNvCxnSpPr>
          <p:nvPr/>
        </p:nvCxnSpPr>
        <p:spPr>
          <a:xfrm>
            <a:off x="10084273"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718F8938-2DB3-4B49-A0BC-EC5C9E64C08E}"/>
              </a:ext>
            </a:extLst>
          </p:cNvPr>
          <p:cNvCxnSpPr>
            <a:cxnSpLocks/>
          </p:cNvCxnSpPr>
          <p:nvPr/>
        </p:nvCxnSpPr>
        <p:spPr>
          <a:xfrm>
            <a:off x="11184341" y="1435738"/>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4" name="Graphic 1061">
            <a:extLst>
              <a:ext uri="{FF2B5EF4-FFF2-40B4-BE49-F238E27FC236}">
                <a16:creationId xmlns:a16="http://schemas.microsoft.com/office/drawing/2014/main" id="{66830D77-258F-4A8F-9120-7E2465199E40}"/>
              </a:ext>
            </a:extLst>
          </p:cNvPr>
          <p:cNvGrpSpPr/>
          <p:nvPr/>
        </p:nvGrpSpPr>
        <p:grpSpPr>
          <a:xfrm>
            <a:off x="10698946" y="1399621"/>
            <a:ext cx="356407" cy="72235"/>
            <a:chOff x="10361032" y="3050327"/>
            <a:chExt cx="356407" cy="72235"/>
          </a:xfrm>
          <a:solidFill>
            <a:schemeClr val="bg1">
              <a:lumMod val="65000"/>
            </a:schemeClr>
          </a:solidFill>
        </p:grpSpPr>
        <p:sp>
          <p:nvSpPr>
            <p:cNvPr id="130" name="Freeform: Shape 129">
              <a:extLst>
                <a:ext uri="{FF2B5EF4-FFF2-40B4-BE49-F238E27FC236}">
                  <a16:creationId xmlns:a16="http://schemas.microsoft.com/office/drawing/2014/main" id="{1CAD5240-3A52-4379-9F92-BD1E52F2CB4B}"/>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31" name="Freeform: Shape 130">
              <a:extLst>
                <a:ext uri="{FF2B5EF4-FFF2-40B4-BE49-F238E27FC236}">
                  <a16:creationId xmlns:a16="http://schemas.microsoft.com/office/drawing/2014/main" id="{35CD7343-E932-49CF-8F93-9F0AB7491ADC}"/>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32" name="Freeform: Shape 131">
              <a:extLst>
                <a:ext uri="{FF2B5EF4-FFF2-40B4-BE49-F238E27FC236}">
                  <a16:creationId xmlns:a16="http://schemas.microsoft.com/office/drawing/2014/main" id="{036CC769-25FA-45D3-B5B7-741419D0BF4E}"/>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33" name="Freeform: Shape 132">
              <a:extLst>
                <a:ext uri="{FF2B5EF4-FFF2-40B4-BE49-F238E27FC236}">
                  <a16:creationId xmlns:a16="http://schemas.microsoft.com/office/drawing/2014/main" id="{EE27FFE3-9666-4FDA-B24A-B0CACDC72D62}"/>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105" name="Graphic 1061">
            <a:extLst>
              <a:ext uri="{FF2B5EF4-FFF2-40B4-BE49-F238E27FC236}">
                <a16:creationId xmlns:a16="http://schemas.microsoft.com/office/drawing/2014/main" id="{43FE98BD-1629-4591-A7CE-C0B00722C53A}"/>
              </a:ext>
            </a:extLst>
          </p:cNvPr>
          <p:cNvGrpSpPr/>
          <p:nvPr/>
        </p:nvGrpSpPr>
        <p:grpSpPr>
          <a:xfrm>
            <a:off x="9598882" y="1399621"/>
            <a:ext cx="356407" cy="72235"/>
            <a:chOff x="10361032" y="3050327"/>
            <a:chExt cx="356407" cy="72235"/>
          </a:xfrm>
          <a:solidFill>
            <a:schemeClr val="bg1">
              <a:lumMod val="65000"/>
            </a:schemeClr>
          </a:solidFill>
        </p:grpSpPr>
        <p:sp>
          <p:nvSpPr>
            <p:cNvPr id="126" name="Freeform: Shape 125">
              <a:extLst>
                <a:ext uri="{FF2B5EF4-FFF2-40B4-BE49-F238E27FC236}">
                  <a16:creationId xmlns:a16="http://schemas.microsoft.com/office/drawing/2014/main" id="{5C445072-032C-49DE-B654-772360F027EC}"/>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27" name="Freeform: Shape 126">
              <a:extLst>
                <a:ext uri="{FF2B5EF4-FFF2-40B4-BE49-F238E27FC236}">
                  <a16:creationId xmlns:a16="http://schemas.microsoft.com/office/drawing/2014/main" id="{5A69D9A5-23CB-4120-9A2C-120756CF38C0}"/>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28" name="Freeform: Shape 127">
              <a:extLst>
                <a:ext uri="{FF2B5EF4-FFF2-40B4-BE49-F238E27FC236}">
                  <a16:creationId xmlns:a16="http://schemas.microsoft.com/office/drawing/2014/main" id="{557A943F-B4D1-48C1-9915-56ABC12A644E}"/>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29" name="Freeform: Shape 128">
              <a:extLst>
                <a:ext uri="{FF2B5EF4-FFF2-40B4-BE49-F238E27FC236}">
                  <a16:creationId xmlns:a16="http://schemas.microsoft.com/office/drawing/2014/main" id="{1A51B713-B423-4118-80E1-DE48750C7910}"/>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106" name="Graphic 1061">
            <a:extLst>
              <a:ext uri="{FF2B5EF4-FFF2-40B4-BE49-F238E27FC236}">
                <a16:creationId xmlns:a16="http://schemas.microsoft.com/office/drawing/2014/main" id="{3CAF6FF2-E414-475A-BC9B-305E2CFF7318}"/>
              </a:ext>
            </a:extLst>
          </p:cNvPr>
          <p:cNvGrpSpPr/>
          <p:nvPr/>
        </p:nvGrpSpPr>
        <p:grpSpPr>
          <a:xfrm>
            <a:off x="8498818" y="1399621"/>
            <a:ext cx="356407" cy="72235"/>
            <a:chOff x="10361032" y="3050327"/>
            <a:chExt cx="356407" cy="72235"/>
          </a:xfrm>
          <a:solidFill>
            <a:schemeClr val="bg1">
              <a:lumMod val="65000"/>
            </a:schemeClr>
          </a:solidFill>
        </p:grpSpPr>
        <p:sp>
          <p:nvSpPr>
            <p:cNvPr id="122" name="Freeform: Shape 121">
              <a:extLst>
                <a:ext uri="{FF2B5EF4-FFF2-40B4-BE49-F238E27FC236}">
                  <a16:creationId xmlns:a16="http://schemas.microsoft.com/office/drawing/2014/main" id="{B88373D9-06D5-47E1-A904-4BD0FB31EB5D}"/>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23" name="Freeform: Shape 122">
              <a:extLst>
                <a:ext uri="{FF2B5EF4-FFF2-40B4-BE49-F238E27FC236}">
                  <a16:creationId xmlns:a16="http://schemas.microsoft.com/office/drawing/2014/main" id="{617B5131-8A72-49AD-99B6-EB7AE54486E2}"/>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24" name="Freeform: Shape 123">
              <a:extLst>
                <a:ext uri="{FF2B5EF4-FFF2-40B4-BE49-F238E27FC236}">
                  <a16:creationId xmlns:a16="http://schemas.microsoft.com/office/drawing/2014/main" id="{B5B1EF33-5097-47EE-AA48-98E3174A6388}"/>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25" name="Freeform: Shape 124">
              <a:extLst>
                <a:ext uri="{FF2B5EF4-FFF2-40B4-BE49-F238E27FC236}">
                  <a16:creationId xmlns:a16="http://schemas.microsoft.com/office/drawing/2014/main" id="{93804D7A-21B3-4211-B0C2-29C56D3D644E}"/>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107" name="Graphic 1061">
            <a:extLst>
              <a:ext uri="{FF2B5EF4-FFF2-40B4-BE49-F238E27FC236}">
                <a16:creationId xmlns:a16="http://schemas.microsoft.com/office/drawing/2014/main" id="{E9B16AD9-B8FD-4323-9114-F26B14EDCD69}"/>
              </a:ext>
            </a:extLst>
          </p:cNvPr>
          <p:cNvGrpSpPr/>
          <p:nvPr/>
        </p:nvGrpSpPr>
        <p:grpSpPr>
          <a:xfrm>
            <a:off x="7398754" y="1399621"/>
            <a:ext cx="356407" cy="72235"/>
            <a:chOff x="10361032" y="3050327"/>
            <a:chExt cx="356407" cy="72235"/>
          </a:xfrm>
          <a:solidFill>
            <a:schemeClr val="bg1">
              <a:lumMod val="65000"/>
            </a:schemeClr>
          </a:solidFill>
        </p:grpSpPr>
        <p:sp>
          <p:nvSpPr>
            <p:cNvPr id="118" name="Freeform: Shape 117">
              <a:extLst>
                <a:ext uri="{FF2B5EF4-FFF2-40B4-BE49-F238E27FC236}">
                  <a16:creationId xmlns:a16="http://schemas.microsoft.com/office/drawing/2014/main" id="{367D746F-F106-4FA3-A873-F52BBE24CE89}"/>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9" name="Freeform: Shape 118">
              <a:extLst>
                <a:ext uri="{FF2B5EF4-FFF2-40B4-BE49-F238E27FC236}">
                  <a16:creationId xmlns:a16="http://schemas.microsoft.com/office/drawing/2014/main" id="{F017F511-A786-47B8-8009-C2405C67AF03}"/>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20" name="Freeform: Shape 119">
              <a:extLst>
                <a:ext uri="{FF2B5EF4-FFF2-40B4-BE49-F238E27FC236}">
                  <a16:creationId xmlns:a16="http://schemas.microsoft.com/office/drawing/2014/main" id="{8D1B408C-6D1D-4337-BE5D-051F1DF60B98}"/>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21" name="Freeform: Shape 120">
              <a:extLst>
                <a:ext uri="{FF2B5EF4-FFF2-40B4-BE49-F238E27FC236}">
                  <a16:creationId xmlns:a16="http://schemas.microsoft.com/office/drawing/2014/main" id="{247E5DBB-B06F-4B10-979D-FF7CE6D1DD4D}"/>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108" name="Graphic 1061">
            <a:extLst>
              <a:ext uri="{FF2B5EF4-FFF2-40B4-BE49-F238E27FC236}">
                <a16:creationId xmlns:a16="http://schemas.microsoft.com/office/drawing/2014/main" id="{80C5F819-EF42-4A1E-9169-4A0EAF9017D2}"/>
              </a:ext>
            </a:extLst>
          </p:cNvPr>
          <p:cNvGrpSpPr/>
          <p:nvPr/>
        </p:nvGrpSpPr>
        <p:grpSpPr>
          <a:xfrm>
            <a:off x="6298690" y="1399621"/>
            <a:ext cx="356407" cy="72235"/>
            <a:chOff x="10361032" y="3050327"/>
            <a:chExt cx="356407" cy="72235"/>
          </a:xfrm>
          <a:solidFill>
            <a:schemeClr val="bg1">
              <a:lumMod val="65000"/>
            </a:schemeClr>
          </a:solidFill>
        </p:grpSpPr>
        <p:sp>
          <p:nvSpPr>
            <p:cNvPr id="114" name="Freeform: Shape 113">
              <a:extLst>
                <a:ext uri="{FF2B5EF4-FFF2-40B4-BE49-F238E27FC236}">
                  <a16:creationId xmlns:a16="http://schemas.microsoft.com/office/drawing/2014/main" id="{1AE31BD1-5DDC-4B18-A3D0-3FDFF473C1BD}"/>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5" name="Freeform: Shape 114">
              <a:extLst>
                <a:ext uri="{FF2B5EF4-FFF2-40B4-BE49-F238E27FC236}">
                  <a16:creationId xmlns:a16="http://schemas.microsoft.com/office/drawing/2014/main" id="{EDF9C5BC-53D0-41B7-89DE-6D96E268393E}"/>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6" name="Freeform: Shape 115">
              <a:extLst>
                <a:ext uri="{FF2B5EF4-FFF2-40B4-BE49-F238E27FC236}">
                  <a16:creationId xmlns:a16="http://schemas.microsoft.com/office/drawing/2014/main" id="{80B476FB-C458-47B9-8F7F-7E39FA3A7A84}"/>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7" name="Freeform: Shape 116">
              <a:extLst>
                <a:ext uri="{FF2B5EF4-FFF2-40B4-BE49-F238E27FC236}">
                  <a16:creationId xmlns:a16="http://schemas.microsoft.com/office/drawing/2014/main" id="{1A259F22-4E56-4C01-9A49-8911A0ABC81B}"/>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109" name="Graphic 1061">
            <a:extLst>
              <a:ext uri="{FF2B5EF4-FFF2-40B4-BE49-F238E27FC236}">
                <a16:creationId xmlns:a16="http://schemas.microsoft.com/office/drawing/2014/main" id="{9C7D2708-E551-43D4-9749-9FA78B778158}"/>
              </a:ext>
            </a:extLst>
          </p:cNvPr>
          <p:cNvGrpSpPr/>
          <p:nvPr/>
        </p:nvGrpSpPr>
        <p:grpSpPr>
          <a:xfrm>
            <a:off x="5198626" y="1399621"/>
            <a:ext cx="356407" cy="72235"/>
            <a:chOff x="10361032" y="3050327"/>
            <a:chExt cx="356407" cy="72235"/>
          </a:xfrm>
          <a:solidFill>
            <a:schemeClr val="bg1">
              <a:lumMod val="65000"/>
            </a:schemeClr>
          </a:solidFill>
        </p:grpSpPr>
        <p:sp>
          <p:nvSpPr>
            <p:cNvPr id="110" name="Freeform: Shape 109">
              <a:extLst>
                <a:ext uri="{FF2B5EF4-FFF2-40B4-BE49-F238E27FC236}">
                  <a16:creationId xmlns:a16="http://schemas.microsoft.com/office/drawing/2014/main" id="{AB5F4C93-D2D6-42DC-8D71-5B863BED824E}"/>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1" name="Freeform: Shape 110">
              <a:extLst>
                <a:ext uri="{FF2B5EF4-FFF2-40B4-BE49-F238E27FC236}">
                  <a16:creationId xmlns:a16="http://schemas.microsoft.com/office/drawing/2014/main" id="{0052F826-950B-41B1-8315-6D17D3BFF416}"/>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2" name="Freeform: Shape 111">
              <a:extLst>
                <a:ext uri="{FF2B5EF4-FFF2-40B4-BE49-F238E27FC236}">
                  <a16:creationId xmlns:a16="http://schemas.microsoft.com/office/drawing/2014/main" id="{EB090A3D-553F-431D-9A4F-F24FD0AC33D6}"/>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3" name="Freeform: Shape 112">
              <a:extLst>
                <a:ext uri="{FF2B5EF4-FFF2-40B4-BE49-F238E27FC236}">
                  <a16:creationId xmlns:a16="http://schemas.microsoft.com/office/drawing/2014/main" id="{40388C12-10E1-4E14-8358-269F50130D66}"/>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pic>
        <p:nvPicPr>
          <p:cNvPr id="9" name="Graphic 8">
            <a:extLst>
              <a:ext uri="{FF2B5EF4-FFF2-40B4-BE49-F238E27FC236}">
                <a16:creationId xmlns:a16="http://schemas.microsoft.com/office/drawing/2014/main" id="{302CDFFB-3296-45F1-837F-BC567AD0FD53}"/>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53787"/>
          <a:stretch/>
        </p:blipFill>
        <p:spPr>
          <a:xfrm>
            <a:off x="11030375" y="2822630"/>
            <a:ext cx="1161626" cy="2313432"/>
          </a:xfrm>
          <a:prstGeom prst="rect">
            <a:avLst/>
          </a:prstGeom>
        </p:spPr>
      </p:pic>
      <p:sp>
        <p:nvSpPr>
          <p:cNvPr id="3" name="Rectangle 2">
            <a:extLst>
              <a:ext uri="{FF2B5EF4-FFF2-40B4-BE49-F238E27FC236}">
                <a16:creationId xmlns:a16="http://schemas.microsoft.com/office/drawing/2014/main" id="{7EBF904B-CA77-4E86-A6A3-73D2F703B031}"/>
              </a:ext>
            </a:extLst>
          </p:cNvPr>
          <p:cNvSpPr/>
          <p:nvPr userDrawn="1"/>
        </p:nvSpPr>
        <p:spPr>
          <a:xfrm>
            <a:off x="0" y="1465786"/>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6" name="Picture Placeholder 5">
            <a:extLst>
              <a:ext uri="{FF2B5EF4-FFF2-40B4-BE49-F238E27FC236}">
                <a16:creationId xmlns:a16="http://schemas.microsoft.com/office/drawing/2014/main" id="{82D39170-48C3-4960-8251-B18662DAF534}"/>
              </a:ext>
            </a:extLst>
          </p:cNvPr>
          <p:cNvSpPr>
            <a:spLocks noGrp="1"/>
          </p:cNvSpPr>
          <p:nvPr userDrawn="1">
            <p:ph type="pic" sz="quarter" idx="10" hasCustomPrompt="1"/>
          </p:nvPr>
        </p:nvSpPr>
        <p:spPr>
          <a:xfrm>
            <a:off x="4572000" y="1574877"/>
            <a:ext cx="7096125" cy="4599432"/>
          </a:xfr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200" dirty="0">
                <a:solidFill>
                  <a:schemeClr val="tx1"/>
                </a:solidFill>
              </a:defRPr>
            </a:lvl1pPr>
          </a:lstStyle>
          <a:p>
            <a:pPr marL="0" lvl="0" indent="0" algn="ctr">
              <a:spcBef>
                <a:spcPts val="800"/>
              </a:spcBef>
              <a:buNone/>
            </a:pPr>
            <a:r>
              <a:rPr lang="en-US" dirty="0"/>
              <a:t>Click picture icon to add image</a:t>
            </a:r>
          </a:p>
        </p:txBody>
      </p:sp>
      <p:sp>
        <p:nvSpPr>
          <p:cNvPr id="2" name="Title 1">
            <a:extLst>
              <a:ext uri="{FF2B5EF4-FFF2-40B4-BE49-F238E27FC236}">
                <a16:creationId xmlns:a16="http://schemas.microsoft.com/office/drawing/2014/main" id="{F6E69CCC-D78C-4592-9155-75F363BF7096}"/>
              </a:ext>
            </a:extLst>
          </p:cNvPr>
          <p:cNvSpPr>
            <a:spLocks noGrp="1"/>
          </p:cNvSpPr>
          <p:nvPr userDrawn="1">
            <p:ph type="title" hasCustomPrompt="1"/>
          </p:nvPr>
        </p:nvSpPr>
        <p:spPr/>
        <p:txBody>
          <a:bodyPr/>
          <a:lstStyle>
            <a:lvl1pPr>
              <a:defRPr/>
            </a:lvl1pPr>
          </a:lstStyle>
          <a:p>
            <a:r>
              <a:rPr lang="en-US"/>
              <a:t>add title</a:t>
            </a:r>
          </a:p>
        </p:txBody>
      </p:sp>
      <p:grpSp>
        <p:nvGrpSpPr>
          <p:cNvPr id="7" name="Group 6">
            <a:extLst>
              <a:ext uri="{FF2B5EF4-FFF2-40B4-BE49-F238E27FC236}">
                <a16:creationId xmlns:a16="http://schemas.microsoft.com/office/drawing/2014/main" id="{DD69C94F-DE01-9E10-578B-026C24D87BE8}"/>
              </a:ext>
            </a:extLst>
          </p:cNvPr>
          <p:cNvGrpSpPr/>
          <p:nvPr userDrawn="1"/>
        </p:nvGrpSpPr>
        <p:grpSpPr>
          <a:xfrm>
            <a:off x="4558698" y="6253879"/>
            <a:ext cx="237934" cy="161861"/>
            <a:chOff x="4558698" y="6297424"/>
            <a:chExt cx="237934" cy="161861"/>
          </a:xfrm>
        </p:grpSpPr>
        <p:sp>
          <p:nvSpPr>
            <p:cNvPr id="92" name="Freeform: Shape 91">
              <a:extLst>
                <a:ext uri="{FF2B5EF4-FFF2-40B4-BE49-F238E27FC236}">
                  <a16:creationId xmlns:a16="http://schemas.microsoft.com/office/drawing/2014/main" id="{95075E11-C95B-43F7-AE58-F819F4432F9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E7C06D70-7E3E-4D15-B6B1-EAF35FBF771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2560CFA8-8666-401D-B91D-47D7B7FABCCC}"/>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sp>
        <p:nvSpPr>
          <p:cNvPr id="101" name="Text Placeholder 100">
            <a:extLst>
              <a:ext uri="{FF2B5EF4-FFF2-40B4-BE49-F238E27FC236}">
                <a16:creationId xmlns:a16="http://schemas.microsoft.com/office/drawing/2014/main" id="{E68E1B68-9A85-4371-8C00-E6C787C594B2}"/>
              </a:ext>
            </a:extLst>
          </p:cNvPr>
          <p:cNvSpPr>
            <a:spLocks noGrp="1"/>
          </p:cNvSpPr>
          <p:nvPr userDrawn="1">
            <p:ph type="body" sz="quarter" idx="11" hasCustomPrompt="1"/>
          </p:nvPr>
        </p:nvSpPr>
        <p:spPr>
          <a:xfrm>
            <a:off x="771462" y="3090727"/>
            <a:ext cx="3026664" cy="1515287"/>
          </a:xfrm>
        </p:spPr>
        <p:txBody>
          <a:bodyPr vert="horz" lIns="0" tIns="0" rIns="0" bIns="0" rtlCol="0" anchor="ctr" anchorCtr="0">
            <a:spAutoFit/>
          </a:bodyPr>
          <a:lstStyle>
            <a:lvl1pPr>
              <a:defRPr lang="en-US" dirty="0">
                <a:solidFill>
                  <a:schemeClr val="bg1"/>
                </a:solidFill>
              </a:defRPr>
            </a:lvl1pPr>
            <a:lvl2pPr>
              <a:defRPr lang="en-US" dirty="0">
                <a:solidFill>
                  <a:schemeClr val="bg1"/>
                </a:solidFill>
              </a:defRPr>
            </a:lvl2pPr>
            <a:lvl3pPr marL="953262" indent="-285750">
              <a:buFontTx/>
              <a:buBlip>
                <a:blip r:embed="rId5"/>
              </a:buBlip>
              <a:defRPr lang="en-US" dirty="0">
                <a:solidFill>
                  <a:schemeClr val="bg1"/>
                </a:solidFill>
              </a:defRPr>
            </a:lvl3pPr>
            <a:lvl4pPr>
              <a:defRPr lang="en-US" dirty="0">
                <a:solidFill>
                  <a:schemeClr val="bg1"/>
                </a:solidFill>
              </a:defRPr>
            </a:lvl4pPr>
          </a:lstStyle>
          <a:p>
            <a:pPr lvl="0"/>
            <a:r>
              <a:rPr lang="en-US"/>
              <a:t>Add call out text here</a:t>
            </a:r>
          </a:p>
          <a:p>
            <a:pPr lvl="1"/>
            <a:r>
              <a:rPr lang="en-US"/>
              <a:t>Bullet 2</a:t>
            </a:r>
          </a:p>
          <a:p>
            <a:pPr marL="896112" lvl="2" indent="-228600">
              <a:buBlip>
                <a:blip r:embed="rId6">
                  <a:extLst>
                    <a:ext uri="{96DAC541-7B7A-43D3-8B79-37D633B846F1}">
                      <asvg:svgBlip xmlns:asvg="http://schemas.microsoft.com/office/drawing/2016/SVG/main" r:embed="rId7"/>
                    </a:ext>
                  </a:extLst>
                </a:blip>
              </a:buBlip>
            </a:pPr>
            <a:r>
              <a:rPr lang="en-US"/>
              <a:t>Bullet 3</a:t>
            </a:r>
          </a:p>
          <a:p>
            <a:pPr marL="1143000" lvl="3">
              <a:buBlip>
                <a:blip r:embed="rId8"/>
              </a:buBlip>
            </a:pPr>
            <a:r>
              <a:rPr lang="en-US"/>
              <a:t>Bullet 4</a:t>
            </a:r>
          </a:p>
        </p:txBody>
      </p:sp>
      <p:grpSp>
        <p:nvGrpSpPr>
          <p:cNvPr id="25" name="Group 24">
            <a:extLst>
              <a:ext uri="{FF2B5EF4-FFF2-40B4-BE49-F238E27FC236}">
                <a16:creationId xmlns:a16="http://schemas.microsoft.com/office/drawing/2014/main" id="{8CF86E01-CC39-872B-0201-3C73CC108B1A}"/>
              </a:ext>
            </a:extLst>
          </p:cNvPr>
          <p:cNvGrpSpPr/>
          <p:nvPr userDrawn="1"/>
        </p:nvGrpSpPr>
        <p:grpSpPr>
          <a:xfrm>
            <a:off x="3514325" y="3012064"/>
            <a:ext cx="478233" cy="3067294"/>
            <a:chOff x="3543141" y="2978301"/>
            <a:chExt cx="478233" cy="3067294"/>
          </a:xfrm>
        </p:grpSpPr>
        <p:cxnSp>
          <p:nvCxnSpPr>
            <p:cNvPr id="26" name="Straight Connector 25">
              <a:extLst>
                <a:ext uri="{FF2B5EF4-FFF2-40B4-BE49-F238E27FC236}">
                  <a16:creationId xmlns:a16="http://schemas.microsoft.com/office/drawing/2014/main" id="{EEEEFE01-E31F-AC81-5438-C97B58CFCE60}"/>
                </a:ext>
              </a:extLst>
            </p:cNvPr>
            <p:cNvCxnSpPr/>
            <p:nvPr userDrawn="1"/>
          </p:nvCxnSpPr>
          <p:spPr>
            <a:xfrm>
              <a:off x="4018231" y="2978301"/>
              <a:ext cx="0" cy="3063244"/>
            </a:xfrm>
            <a:prstGeom prst="line">
              <a:avLst/>
            </a:prstGeom>
            <a:ln w="3175">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0D161C7-0E22-5DD1-1574-221ED499A2C1}"/>
                </a:ext>
              </a:extLst>
            </p:cNvPr>
            <p:cNvCxnSpPr>
              <a:cxnSpLocks/>
            </p:cNvCxnSpPr>
            <p:nvPr userDrawn="1"/>
          </p:nvCxnSpPr>
          <p:spPr>
            <a:xfrm>
              <a:off x="4018231" y="5043883"/>
              <a:ext cx="0" cy="1001712"/>
            </a:xfrm>
            <a:prstGeom prst="line">
              <a:avLst/>
            </a:prstGeom>
            <a:ln w="9525">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7F5C456-7503-F552-41B4-1FB04575BBCA}"/>
                </a:ext>
              </a:extLst>
            </p:cNvPr>
            <p:cNvCxnSpPr>
              <a:cxnSpLocks/>
            </p:cNvCxnSpPr>
            <p:nvPr userDrawn="1"/>
          </p:nvCxnSpPr>
          <p:spPr>
            <a:xfrm>
              <a:off x="3543141" y="6042913"/>
              <a:ext cx="478233" cy="0"/>
            </a:xfrm>
            <a:prstGeom prst="line">
              <a:avLst/>
            </a:prstGeom>
            <a:ln w="15875">
              <a:solidFill>
                <a:srgbClr val="FFFFFE"/>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31320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third/Two-third Conten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4095343-4951-A0F0-3341-A250476E76A1}"/>
              </a:ext>
            </a:extLst>
          </p:cNvPr>
          <p:cNvGrpSpPr/>
          <p:nvPr userDrawn="1"/>
        </p:nvGrpSpPr>
        <p:grpSpPr>
          <a:xfrm>
            <a:off x="567709" y="1465786"/>
            <a:ext cx="3558618" cy="4711129"/>
            <a:chOff x="567709" y="1509331"/>
            <a:chExt cx="3558618" cy="4711129"/>
          </a:xfrm>
        </p:grpSpPr>
        <p:sp>
          <p:nvSpPr>
            <p:cNvPr id="16" name="Rectangle 15">
              <a:extLst>
                <a:ext uri="{FF2B5EF4-FFF2-40B4-BE49-F238E27FC236}">
                  <a16:creationId xmlns:a16="http://schemas.microsoft.com/office/drawing/2014/main" id="{9A3E36D0-78B8-4B2E-80F7-98BD46D48237}"/>
                </a:ext>
              </a:extLst>
            </p:cNvPr>
            <p:cNvSpPr/>
            <p:nvPr userDrawn="1"/>
          </p:nvSpPr>
          <p:spPr>
            <a:xfrm>
              <a:off x="567709" y="1619502"/>
              <a:ext cx="3558618" cy="46009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7" name="Arrow: Pentagon 16">
              <a:extLst>
                <a:ext uri="{FF2B5EF4-FFF2-40B4-BE49-F238E27FC236}">
                  <a16:creationId xmlns:a16="http://schemas.microsoft.com/office/drawing/2014/main" id="{8CCC2144-0958-47CB-9C83-0A02FD60F9F7}"/>
                </a:ext>
              </a:extLst>
            </p:cNvPr>
            <p:cNvSpPr/>
            <p:nvPr userDrawn="1"/>
          </p:nvSpPr>
          <p:spPr>
            <a:xfrm>
              <a:off x="567710" y="1509331"/>
              <a:ext cx="1235088" cy="224180"/>
            </a:xfrm>
            <a:prstGeom prst="homePlate">
              <a:avLst>
                <a:gd name="adj" fmla="val 10410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grpSp>
      <p:grpSp>
        <p:nvGrpSpPr>
          <p:cNvPr id="92" name="Group 91">
            <a:extLst>
              <a:ext uri="{FF2B5EF4-FFF2-40B4-BE49-F238E27FC236}">
                <a16:creationId xmlns:a16="http://schemas.microsoft.com/office/drawing/2014/main" id="{B12FF236-F99E-4479-85B4-369212AD24CC}"/>
              </a:ext>
            </a:extLst>
          </p:cNvPr>
          <p:cNvGrpSpPr/>
          <p:nvPr userDrawn="1"/>
        </p:nvGrpSpPr>
        <p:grpSpPr>
          <a:xfrm>
            <a:off x="3379623" y="1684334"/>
            <a:ext cx="631597" cy="594534"/>
            <a:chOff x="3331998" y="1775504"/>
            <a:chExt cx="631597" cy="594534"/>
          </a:xfrm>
        </p:grpSpPr>
        <p:sp>
          <p:nvSpPr>
            <p:cNvPr id="73" name="Freeform: Shape 72">
              <a:extLst>
                <a:ext uri="{FF2B5EF4-FFF2-40B4-BE49-F238E27FC236}">
                  <a16:creationId xmlns:a16="http://schemas.microsoft.com/office/drawing/2014/main" id="{3D0335EE-082B-49A5-8886-675F2FFC0959}"/>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89" name="Freeform: Shape 88">
              <a:extLst>
                <a:ext uri="{FF2B5EF4-FFF2-40B4-BE49-F238E27FC236}">
                  <a16:creationId xmlns:a16="http://schemas.microsoft.com/office/drawing/2014/main" id="{CA1C461B-0D2D-4EBC-A03B-8B16A24B85DD}"/>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82" name="Freeform: Shape 81">
              <a:extLst>
                <a:ext uri="{FF2B5EF4-FFF2-40B4-BE49-F238E27FC236}">
                  <a16:creationId xmlns:a16="http://schemas.microsoft.com/office/drawing/2014/main" id="{23666D4C-43E1-4899-A0D1-5640EFF2D767}"/>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a:solidFill>
                  <a:schemeClr val="tx1"/>
                </a:solidFill>
              </a:endParaRPr>
            </a:p>
          </p:txBody>
        </p:sp>
        <p:sp>
          <p:nvSpPr>
            <p:cNvPr id="86" name="Freeform: Shape 85">
              <a:extLst>
                <a:ext uri="{FF2B5EF4-FFF2-40B4-BE49-F238E27FC236}">
                  <a16:creationId xmlns:a16="http://schemas.microsoft.com/office/drawing/2014/main" id="{25D781CC-2319-4EA1-B52D-2909EADC4D4E}"/>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2"/>
                </a:buBlip>
              </a:pPr>
              <a:endParaRPr lang="en-US" sz="1800" dirty="0">
                <a:solidFill>
                  <a:schemeClr val="bg1"/>
                </a:solidFill>
              </a:endParaRPr>
            </a:p>
          </p:txBody>
        </p:sp>
      </p:grpSp>
      <p:sp>
        <p:nvSpPr>
          <p:cNvPr id="14" name="Rectangle 13">
            <a:extLst>
              <a:ext uri="{FF2B5EF4-FFF2-40B4-BE49-F238E27FC236}">
                <a16:creationId xmlns:a16="http://schemas.microsoft.com/office/drawing/2014/main" id="{91DFB4FC-DBF3-4C25-B966-AEA10F97ECFF}"/>
              </a:ext>
            </a:extLst>
          </p:cNvPr>
          <p:cNvSpPr/>
          <p:nvPr userDrawn="1"/>
        </p:nvSpPr>
        <p:spPr>
          <a:xfrm>
            <a:off x="0" y="1465786"/>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3" name="Content Placeholder 2"/>
          <p:cNvSpPr>
            <a:spLocks noGrp="1"/>
          </p:cNvSpPr>
          <p:nvPr userDrawn="1">
            <p:ph idx="1" hasCustomPrompt="1"/>
          </p:nvPr>
        </p:nvSpPr>
        <p:spPr>
          <a:xfrm>
            <a:off x="4572000" y="1575957"/>
            <a:ext cx="7086600" cy="4600957"/>
          </a:xfrm>
          <a:ln w="12700">
            <a:solidFill>
              <a:schemeClr val="bg2"/>
            </a:solidFill>
          </a:ln>
        </p:spPr>
        <p:txBody>
          <a:bodyPr vert="horz" lIns="182880" tIns="182880" rIns="182880" bIns="182880" rtlCol="0" anchor="ctr" anchorCtr="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2" name="Title 11"/>
          <p:cNvSpPr>
            <a:spLocks noGrp="1"/>
          </p:cNvSpPr>
          <p:nvPr userDrawn="1">
            <p:ph type="title" hasCustomPrompt="1"/>
          </p:nvPr>
        </p:nvSpPr>
        <p:spPr/>
        <p:txBody>
          <a:bodyPr vert="horz" lIns="0" tIns="0" rIns="0" bIns="0" rtlCol="0" anchor="t" anchorCtr="0">
            <a:spAutoFit/>
          </a:bodyPr>
          <a:lstStyle>
            <a:lvl1pPr>
              <a:defRPr lang="en-US" dirty="0"/>
            </a:lvl1pPr>
          </a:lstStyle>
          <a:p>
            <a:pPr lvl="0"/>
            <a:r>
              <a:rPr lang="en-US"/>
              <a:t>add title</a:t>
            </a:r>
          </a:p>
        </p:txBody>
      </p:sp>
      <p:sp>
        <p:nvSpPr>
          <p:cNvPr id="21" name="Text Placeholder 20">
            <a:extLst>
              <a:ext uri="{FF2B5EF4-FFF2-40B4-BE49-F238E27FC236}">
                <a16:creationId xmlns:a16="http://schemas.microsoft.com/office/drawing/2014/main" id="{25BD1AED-6D0A-4F50-922C-B2B90E0F1E52}"/>
              </a:ext>
            </a:extLst>
          </p:cNvPr>
          <p:cNvSpPr>
            <a:spLocks noGrp="1"/>
          </p:cNvSpPr>
          <p:nvPr userDrawn="1">
            <p:ph type="body" sz="quarter" idx="14" hasCustomPrompt="1"/>
          </p:nvPr>
        </p:nvSpPr>
        <p:spPr>
          <a:xfrm>
            <a:off x="771144" y="3086535"/>
            <a:ext cx="3029331" cy="1515287"/>
          </a:xfrm>
        </p:spPr>
        <p:txBody>
          <a:bodyPr vert="horz" lIns="0" tIns="0" rIns="0" bIns="0" rtlCol="0" anchor="ctr" anchorCtr="0">
            <a:sp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stStyle>
          <a:p>
            <a:pPr lvl="0"/>
            <a:r>
              <a:rPr lang="en-US"/>
              <a:t>Add call out text here</a:t>
            </a:r>
          </a:p>
          <a:p>
            <a:pPr lvl="1"/>
            <a:r>
              <a:rPr lang="en-US"/>
              <a:t>Bullet 2</a:t>
            </a:r>
          </a:p>
          <a:p>
            <a:pPr marL="896112" lvl="2" indent="-228600">
              <a:buBlip>
                <a:blip r:embed="rId3">
                  <a:extLst>
                    <a:ext uri="{96DAC541-7B7A-43D3-8B79-37D633B846F1}">
                      <asvg:svgBlip xmlns:asvg="http://schemas.microsoft.com/office/drawing/2016/SVG/main" r:embed="rId4"/>
                    </a:ext>
                  </a:extLst>
                </a:blip>
              </a:buBlip>
            </a:pPr>
            <a:r>
              <a:rPr lang="en-US"/>
              <a:t>Bullet 3</a:t>
            </a:r>
          </a:p>
          <a:p>
            <a:pPr marL="1143000" lvl="3">
              <a:buBlip>
                <a:blip r:embed="rId5"/>
              </a:buBlip>
            </a:pPr>
            <a:r>
              <a:rPr lang="en-US"/>
              <a:t>Bullet 4</a:t>
            </a:r>
          </a:p>
        </p:txBody>
      </p:sp>
      <p:sp>
        <p:nvSpPr>
          <p:cNvPr id="74" name="Freeform: Shape 73">
            <a:extLst>
              <a:ext uri="{FF2B5EF4-FFF2-40B4-BE49-F238E27FC236}">
                <a16:creationId xmlns:a16="http://schemas.microsoft.com/office/drawing/2014/main" id="{4C10FBDB-41E4-496C-8570-6220B8FEEEEC}"/>
              </a:ext>
            </a:extLst>
          </p:cNvPr>
          <p:cNvSpPr/>
          <p:nvPr userDrawn="1"/>
        </p:nvSpPr>
        <p:spPr>
          <a:xfrm flipH="1" flipV="1">
            <a:off x="4290848" y="1731960"/>
            <a:ext cx="192186" cy="198707"/>
          </a:xfrm>
          <a:custGeom>
            <a:avLst/>
            <a:gdLst>
              <a:gd name="connsiteX0" fmla="*/ 184242 w 192186"/>
              <a:gd name="connsiteY0" fmla="*/ 198707 h 198707"/>
              <a:gd name="connsiteX1" fmla="*/ 0 w 192186"/>
              <a:gd name="connsiteY1" fmla="*/ 198707 h 198707"/>
              <a:gd name="connsiteX2" fmla="*/ 192186 w 192186"/>
              <a:gd name="connsiteY2" fmla="*/ 0 h 198707"/>
              <a:gd name="connsiteX3" fmla="*/ 192186 w 192186"/>
              <a:gd name="connsiteY3" fmla="*/ 190494 h 198707"/>
              <a:gd name="connsiteX4" fmla="*/ 184242 w 192186"/>
              <a:gd name="connsiteY4" fmla="*/ 198707 h 198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86" h="198707">
                <a:moveTo>
                  <a:pt x="184242" y="198707"/>
                </a:moveTo>
                <a:lnTo>
                  <a:pt x="0" y="198707"/>
                </a:lnTo>
                <a:lnTo>
                  <a:pt x="192186" y="0"/>
                </a:lnTo>
                <a:lnTo>
                  <a:pt x="192186" y="190494"/>
                </a:lnTo>
                <a:lnTo>
                  <a:pt x="184242" y="198707"/>
                </a:lnTo>
                <a:close/>
              </a:path>
            </a:pathLst>
          </a:custGeom>
          <a:solidFill>
            <a:schemeClr val="bg1">
              <a:alpha val="40000"/>
            </a:schemeClr>
          </a:solidFill>
          <a:ln w="9525" cap="flat">
            <a:noFill/>
            <a:prstDash val="solid"/>
            <a:miter/>
          </a:ln>
        </p:spPr>
        <p:txBody>
          <a:bodyPr wrap="square" rtlCol="0" anchor="ctr">
            <a:noAutofit/>
          </a:bodyPr>
          <a:lstStyle/>
          <a:p>
            <a:endParaRPr lang="en-US" dirty="0"/>
          </a:p>
        </p:txBody>
      </p:sp>
      <p:grpSp>
        <p:nvGrpSpPr>
          <p:cNvPr id="27" name="Group 26">
            <a:extLst>
              <a:ext uri="{FF2B5EF4-FFF2-40B4-BE49-F238E27FC236}">
                <a16:creationId xmlns:a16="http://schemas.microsoft.com/office/drawing/2014/main" id="{B629DC23-4580-422E-9524-A6BDD0FBEEB4}"/>
              </a:ext>
            </a:extLst>
          </p:cNvPr>
          <p:cNvGrpSpPr/>
          <p:nvPr userDrawn="1"/>
        </p:nvGrpSpPr>
        <p:grpSpPr>
          <a:xfrm>
            <a:off x="3514325" y="3012064"/>
            <a:ext cx="478233" cy="3067294"/>
            <a:chOff x="3543141" y="2978301"/>
            <a:chExt cx="478233" cy="3067294"/>
          </a:xfrm>
        </p:grpSpPr>
        <p:cxnSp>
          <p:nvCxnSpPr>
            <p:cNvPr id="28" name="Straight Connector 27">
              <a:extLst>
                <a:ext uri="{FF2B5EF4-FFF2-40B4-BE49-F238E27FC236}">
                  <a16:creationId xmlns:a16="http://schemas.microsoft.com/office/drawing/2014/main" id="{F36558BD-2FE6-4824-9681-AC6B50FC2825}"/>
                </a:ext>
              </a:extLst>
            </p:cNvPr>
            <p:cNvCxnSpPr/>
            <p:nvPr userDrawn="1"/>
          </p:nvCxnSpPr>
          <p:spPr>
            <a:xfrm>
              <a:off x="4018231" y="2978301"/>
              <a:ext cx="0" cy="3063244"/>
            </a:xfrm>
            <a:prstGeom prst="line">
              <a:avLst/>
            </a:prstGeom>
            <a:ln w="3175">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90F29F5-4529-4B00-A185-F237BA88D7D4}"/>
                </a:ext>
              </a:extLst>
            </p:cNvPr>
            <p:cNvCxnSpPr>
              <a:cxnSpLocks/>
            </p:cNvCxnSpPr>
            <p:nvPr userDrawn="1"/>
          </p:nvCxnSpPr>
          <p:spPr>
            <a:xfrm>
              <a:off x="4018231" y="5043883"/>
              <a:ext cx="0" cy="1001712"/>
            </a:xfrm>
            <a:prstGeom prst="line">
              <a:avLst/>
            </a:prstGeom>
            <a:ln w="9525">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60F12DB-F906-46E7-BB6C-A0C096CDEF4D}"/>
                </a:ext>
              </a:extLst>
            </p:cNvPr>
            <p:cNvCxnSpPr>
              <a:cxnSpLocks/>
            </p:cNvCxnSpPr>
            <p:nvPr userDrawn="1"/>
          </p:nvCxnSpPr>
          <p:spPr>
            <a:xfrm>
              <a:off x="3543141" y="6042913"/>
              <a:ext cx="478233" cy="0"/>
            </a:xfrm>
            <a:prstGeom prst="line">
              <a:avLst/>
            </a:prstGeom>
            <a:ln w="15875">
              <a:solidFill>
                <a:srgbClr val="FFFFFE"/>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1446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Two-third Content (2)">
    <p:spTree>
      <p:nvGrpSpPr>
        <p:cNvPr id="1" name=""/>
        <p:cNvGrpSpPr/>
        <p:nvPr/>
      </p:nvGrpSpPr>
      <p:grpSpPr>
        <a:xfrm>
          <a:off x="0" y="0"/>
          <a:ext cx="0" cy="0"/>
          <a:chOff x="0" y="0"/>
          <a:chExt cx="0" cy="0"/>
        </a:xfrm>
      </p:grpSpPr>
      <p:sp>
        <p:nvSpPr>
          <p:cNvPr id="2" name="Picture Placeholder 9">
            <a:extLst>
              <a:ext uri="{FF2B5EF4-FFF2-40B4-BE49-F238E27FC236}">
                <a16:creationId xmlns:a16="http://schemas.microsoft.com/office/drawing/2014/main" id="{E6F5A70A-B3CC-70DA-9E2C-D8AC19E987D9}"/>
              </a:ext>
            </a:extLst>
          </p:cNvPr>
          <p:cNvSpPr>
            <a:spLocks noGrp="1"/>
          </p:cNvSpPr>
          <p:nvPr>
            <p:ph type="pic" sz="quarter" idx="11" hasCustomPrompt="1"/>
          </p:nvPr>
        </p:nvSpPr>
        <p:spPr>
          <a:xfrm>
            <a:off x="568402" y="1472870"/>
            <a:ext cx="3561814" cy="4705903"/>
          </a:xfrm>
          <a:custGeom>
            <a:avLst/>
            <a:gdLst>
              <a:gd name="connsiteX0" fmla="*/ 0 w 3532738"/>
              <a:gd name="connsiteY0" fmla="*/ 0 h 4709160"/>
              <a:gd name="connsiteX1" fmla="*/ 3532738 w 3532738"/>
              <a:gd name="connsiteY1" fmla="*/ 0 h 4709160"/>
              <a:gd name="connsiteX2" fmla="*/ 3532738 w 3532738"/>
              <a:gd name="connsiteY2" fmla="*/ 0 h 4709160"/>
              <a:gd name="connsiteX3" fmla="*/ 3532738 w 3532738"/>
              <a:gd name="connsiteY3" fmla="*/ 4709160 h 4709160"/>
              <a:gd name="connsiteX4" fmla="*/ 0 w 3532738"/>
              <a:gd name="connsiteY4" fmla="*/ 4709160 h 4709160"/>
              <a:gd name="connsiteX5" fmla="*/ 0 w 3532738"/>
              <a:gd name="connsiteY5" fmla="*/ 0 h 4709160"/>
              <a:gd name="connsiteX0" fmla="*/ 0 w 3532738"/>
              <a:gd name="connsiteY0" fmla="*/ 8522 h 4717682"/>
              <a:gd name="connsiteX1" fmla="*/ 1125989 w 3532738"/>
              <a:gd name="connsiteY1" fmla="*/ 0 h 4717682"/>
              <a:gd name="connsiteX2" fmla="*/ 3532738 w 3532738"/>
              <a:gd name="connsiteY2" fmla="*/ 8522 h 4717682"/>
              <a:gd name="connsiteX3" fmla="*/ 3532738 w 3532738"/>
              <a:gd name="connsiteY3" fmla="*/ 8522 h 4717682"/>
              <a:gd name="connsiteX4" fmla="*/ 3532738 w 3532738"/>
              <a:gd name="connsiteY4" fmla="*/ 4717682 h 4717682"/>
              <a:gd name="connsiteX5" fmla="*/ 0 w 3532738"/>
              <a:gd name="connsiteY5" fmla="*/ 4717682 h 4717682"/>
              <a:gd name="connsiteX6" fmla="*/ 0 w 3532738"/>
              <a:gd name="connsiteY6" fmla="*/ 8522 h 4717682"/>
              <a:gd name="connsiteX0" fmla="*/ 0 w 3532738"/>
              <a:gd name="connsiteY0" fmla="*/ 18461 h 4727621"/>
              <a:gd name="connsiteX1" fmla="*/ 1125989 w 3532738"/>
              <a:gd name="connsiteY1" fmla="*/ 9939 h 4727621"/>
              <a:gd name="connsiteX2" fmla="*/ 1463920 w 3532738"/>
              <a:gd name="connsiteY2" fmla="*/ 0 h 4727621"/>
              <a:gd name="connsiteX3" fmla="*/ 3532738 w 3532738"/>
              <a:gd name="connsiteY3" fmla="*/ 18461 h 4727621"/>
              <a:gd name="connsiteX4" fmla="*/ 3532738 w 3532738"/>
              <a:gd name="connsiteY4" fmla="*/ 18461 h 4727621"/>
              <a:gd name="connsiteX5" fmla="*/ 3532738 w 3532738"/>
              <a:gd name="connsiteY5" fmla="*/ 4727621 h 4727621"/>
              <a:gd name="connsiteX6" fmla="*/ 0 w 3532738"/>
              <a:gd name="connsiteY6" fmla="*/ 4727621 h 4727621"/>
              <a:gd name="connsiteX7" fmla="*/ 0 w 3532738"/>
              <a:gd name="connsiteY7" fmla="*/ 18461 h 4727621"/>
              <a:gd name="connsiteX0" fmla="*/ 0 w 3532738"/>
              <a:gd name="connsiteY0" fmla="*/ 8522 h 4717682"/>
              <a:gd name="connsiteX1" fmla="*/ 1125989 w 3532738"/>
              <a:gd name="connsiteY1" fmla="*/ 0 h 4717682"/>
              <a:gd name="connsiteX2" fmla="*/ 1294955 w 3532738"/>
              <a:gd name="connsiteY2" fmla="*/ 109331 h 4717682"/>
              <a:gd name="connsiteX3" fmla="*/ 3532738 w 3532738"/>
              <a:gd name="connsiteY3" fmla="*/ 8522 h 4717682"/>
              <a:gd name="connsiteX4" fmla="*/ 3532738 w 3532738"/>
              <a:gd name="connsiteY4" fmla="*/ 8522 h 4717682"/>
              <a:gd name="connsiteX5" fmla="*/ 3532738 w 3532738"/>
              <a:gd name="connsiteY5" fmla="*/ 4717682 h 4717682"/>
              <a:gd name="connsiteX6" fmla="*/ 0 w 3532738"/>
              <a:gd name="connsiteY6" fmla="*/ 4717682 h 4717682"/>
              <a:gd name="connsiteX7" fmla="*/ 0 w 3532738"/>
              <a:gd name="connsiteY7" fmla="*/ 8522 h 4717682"/>
              <a:gd name="connsiteX0" fmla="*/ 0 w 3532738"/>
              <a:gd name="connsiteY0" fmla="*/ 8522 h 4717682"/>
              <a:gd name="connsiteX1" fmla="*/ 1116050 w 3532738"/>
              <a:gd name="connsiteY1" fmla="*/ 0 h 4717682"/>
              <a:gd name="connsiteX2" fmla="*/ 1294955 w 3532738"/>
              <a:gd name="connsiteY2" fmla="*/ 109331 h 4717682"/>
              <a:gd name="connsiteX3" fmla="*/ 3532738 w 3532738"/>
              <a:gd name="connsiteY3" fmla="*/ 8522 h 4717682"/>
              <a:gd name="connsiteX4" fmla="*/ 3532738 w 3532738"/>
              <a:gd name="connsiteY4" fmla="*/ 8522 h 4717682"/>
              <a:gd name="connsiteX5" fmla="*/ 3532738 w 3532738"/>
              <a:gd name="connsiteY5" fmla="*/ 4717682 h 4717682"/>
              <a:gd name="connsiteX6" fmla="*/ 0 w 3532738"/>
              <a:gd name="connsiteY6" fmla="*/ 4717682 h 4717682"/>
              <a:gd name="connsiteX7" fmla="*/ 0 w 3532738"/>
              <a:gd name="connsiteY7" fmla="*/ 8522 h 4717682"/>
              <a:gd name="connsiteX0" fmla="*/ 0 w 3532738"/>
              <a:gd name="connsiteY0" fmla="*/ 8522 h 4717682"/>
              <a:gd name="connsiteX1" fmla="*/ 1116050 w 3532738"/>
              <a:gd name="connsiteY1" fmla="*/ 0 h 4717682"/>
              <a:gd name="connsiteX2" fmla="*/ 1265137 w 3532738"/>
              <a:gd name="connsiteY2" fmla="*/ 109331 h 4717682"/>
              <a:gd name="connsiteX3" fmla="*/ 3532738 w 3532738"/>
              <a:gd name="connsiteY3" fmla="*/ 8522 h 4717682"/>
              <a:gd name="connsiteX4" fmla="*/ 3532738 w 3532738"/>
              <a:gd name="connsiteY4" fmla="*/ 8522 h 4717682"/>
              <a:gd name="connsiteX5" fmla="*/ 3532738 w 3532738"/>
              <a:gd name="connsiteY5" fmla="*/ 4717682 h 4717682"/>
              <a:gd name="connsiteX6" fmla="*/ 0 w 3532738"/>
              <a:gd name="connsiteY6" fmla="*/ 4717682 h 4717682"/>
              <a:gd name="connsiteX7" fmla="*/ 0 w 3532738"/>
              <a:gd name="connsiteY7" fmla="*/ 8522 h 4717682"/>
              <a:gd name="connsiteX0" fmla="*/ 0 w 3542677"/>
              <a:gd name="connsiteY0" fmla="*/ 8522 h 4717682"/>
              <a:gd name="connsiteX1" fmla="*/ 1116050 w 3542677"/>
              <a:gd name="connsiteY1" fmla="*/ 0 h 4717682"/>
              <a:gd name="connsiteX2" fmla="*/ 1265137 w 3542677"/>
              <a:gd name="connsiteY2" fmla="*/ 109331 h 4717682"/>
              <a:gd name="connsiteX3" fmla="*/ 3532738 w 3542677"/>
              <a:gd name="connsiteY3" fmla="*/ 8522 h 4717682"/>
              <a:gd name="connsiteX4" fmla="*/ 3542677 w 3542677"/>
              <a:gd name="connsiteY4" fmla="*/ 117853 h 4717682"/>
              <a:gd name="connsiteX5" fmla="*/ 3532738 w 3542677"/>
              <a:gd name="connsiteY5" fmla="*/ 4717682 h 4717682"/>
              <a:gd name="connsiteX6" fmla="*/ 0 w 3542677"/>
              <a:gd name="connsiteY6" fmla="*/ 4717682 h 4717682"/>
              <a:gd name="connsiteX7" fmla="*/ 0 w 3542677"/>
              <a:gd name="connsiteY7" fmla="*/ 8522 h 4717682"/>
              <a:gd name="connsiteX0" fmla="*/ 0 w 3532738"/>
              <a:gd name="connsiteY0" fmla="*/ 8522 h 4717682"/>
              <a:gd name="connsiteX1" fmla="*/ 1116050 w 3532738"/>
              <a:gd name="connsiteY1" fmla="*/ 0 h 4717682"/>
              <a:gd name="connsiteX2" fmla="*/ 1265137 w 3532738"/>
              <a:gd name="connsiteY2" fmla="*/ 109331 h 4717682"/>
              <a:gd name="connsiteX3" fmla="*/ 3532738 w 3532738"/>
              <a:gd name="connsiteY3" fmla="*/ 8522 h 4717682"/>
              <a:gd name="connsiteX4" fmla="*/ 3532738 w 3532738"/>
              <a:gd name="connsiteY4" fmla="*/ 4717682 h 4717682"/>
              <a:gd name="connsiteX5" fmla="*/ 0 w 3532738"/>
              <a:gd name="connsiteY5" fmla="*/ 4717682 h 4717682"/>
              <a:gd name="connsiteX6" fmla="*/ 0 w 3532738"/>
              <a:gd name="connsiteY6" fmla="*/ 8522 h 4717682"/>
              <a:gd name="connsiteX0" fmla="*/ 0 w 3532738"/>
              <a:gd name="connsiteY0" fmla="*/ 8522 h 4717682"/>
              <a:gd name="connsiteX1" fmla="*/ 1116050 w 3532738"/>
              <a:gd name="connsiteY1" fmla="*/ 0 h 4717682"/>
              <a:gd name="connsiteX2" fmla="*/ 1265137 w 3532738"/>
              <a:gd name="connsiteY2" fmla="*/ 109331 h 4717682"/>
              <a:gd name="connsiteX3" fmla="*/ 3532738 w 3532738"/>
              <a:gd name="connsiteY3" fmla="*/ 117852 h 4717682"/>
              <a:gd name="connsiteX4" fmla="*/ 3532738 w 3532738"/>
              <a:gd name="connsiteY4" fmla="*/ 4717682 h 4717682"/>
              <a:gd name="connsiteX5" fmla="*/ 0 w 3532738"/>
              <a:gd name="connsiteY5" fmla="*/ 4717682 h 4717682"/>
              <a:gd name="connsiteX6" fmla="*/ 0 w 3532738"/>
              <a:gd name="connsiteY6" fmla="*/ 8522 h 4717682"/>
              <a:gd name="connsiteX0" fmla="*/ 0 w 3532738"/>
              <a:gd name="connsiteY0" fmla="*/ 8522 h 4717682"/>
              <a:gd name="connsiteX1" fmla="*/ 1116050 w 3532738"/>
              <a:gd name="connsiteY1" fmla="*/ 0 h 4717682"/>
              <a:gd name="connsiteX2" fmla="*/ 1243365 w 3532738"/>
              <a:gd name="connsiteY2" fmla="*/ 131102 h 4717682"/>
              <a:gd name="connsiteX3" fmla="*/ 3532738 w 3532738"/>
              <a:gd name="connsiteY3" fmla="*/ 117852 h 4717682"/>
              <a:gd name="connsiteX4" fmla="*/ 3532738 w 3532738"/>
              <a:gd name="connsiteY4" fmla="*/ 4717682 h 4717682"/>
              <a:gd name="connsiteX5" fmla="*/ 0 w 3532738"/>
              <a:gd name="connsiteY5" fmla="*/ 4717682 h 4717682"/>
              <a:gd name="connsiteX6" fmla="*/ 0 w 3532738"/>
              <a:gd name="connsiteY6" fmla="*/ 8522 h 4717682"/>
              <a:gd name="connsiteX0" fmla="*/ 0 w 3532738"/>
              <a:gd name="connsiteY0" fmla="*/ 0 h 4709160"/>
              <a:gd name="connsiteX1" fmla="*/ 1099721 w 3532738"/>
              <a:gd name="connsiteY1" fmla="*/ 2363 h 4709160"/>
              <a:gd name="connsiteX2" fmla="*/ 1243365 w 3532738"/>
              <a:gd name="connsiteY2" fmla="*/ 122580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7037 w 3532738"/>
              <a:gd name="connsiteY2" fmla="*/ 12802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7037 w 3532738"/>
              <a:gd name="connsiteY2" fmla="*/ 12421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7037 w 3532738"/>
              <a:gd name="connsiteY2" fmla="*/ 12421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34657 w 3532738"/>
              <a:gd name="connsiteY2" fmla="*/ 12040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34657 w 3532738"/>
              <a:gd name="connsiteY2" fmla="*/ 12040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3227 w 3532738"/>
              <a:gd name="connsiteY2" fmla="*/ 12421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3227 w 3532738"/>
              <a:gd name="connsiteY2" fmla="*/ 12421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3227 w 3532738"/>
              <a:gd name="connsiteY2" fmla="*/ 11659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108894 w 3532738"/>
              <a:gd name="connsiteY1" fmla="*/ 4672 h 4709160"/>
              <a:gd name="connsiteX2" fmla="*/ 1223227 w 3532738"/>
              <a:gd name="connsiteY2" fmla="*/ 11659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108894 w 3532738"/>
              <a:gd name="connsiteY1" fmla="*/ 4672 h 4709160"/>
              <a:gd name="connsiteX2" fmla="*/ 1223227 w 3532738"/>
              <a:gd name="connsiteY2" fmla="*/ 109666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108894 w 3532738"/>
              <a:gd name="connsiteY1" fmla="*/ 4672 h 4709160"/>
              <a:gd name="connsiteX2" fmla="*/ 1223227 w 3532738"/>
              <a:gd name="connsiteY2" fmla="*/ 109666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18844 w 3532738"/>
              <a:gd name="connsiteY1" fmla="*/ 4672 h 4709160"/>
              <a:gd name="connsiteX2" fmla="*/ 1223227 w 3532738"/>
              <a:gd name="connsiteY2" fmla="*/ 109666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362 h 4709522"/>
              <a:gd name="connsiteX1" fmla="*/ 1003837 w 3532738"/>
              <a:gd name="connsiteY1" fmla="*/ 0 h 4709522"/>
              <a:gd name="connsiteX2" fmla="*/ 1223227 w 3532738"/>
              <a:gd name="connsiteY2" fmla="*/ 110028 h 4709522"/>
              <a:gd name="connsiteX3" fmla="*/ 3532738 w 3532738"/>
              <a:gd name="connsiteY3" fmla="*/ 109692 h 4709522"/>
              <a:gd name="connsiteX4" fmla="*/ 3532738 w 3532738"/>
              <a:gd name="connsiteY4" fmla="*/ 4709522 h 4709522"/>
              <a:gd name="connsiteX5" fmla="*/ 0 w 3532738"/>
              <a:gd name="connsiteY5" fmla="*/ 4709522 h 4709522"/>
              <a:gd name="connsiteX6" fmla="*/ 0 w 3532738"/>
              <a:gd name="connsiteY6" fmla="*/ 362 h 4709522"/>
              <a:gd name="connsiteX0" fmla="*/ 0 w 3532738"/>
              <a:gd name="connsiteY0" fmla="*/ 362 h 4709522"/>
              <a:gd name="connsiteX1" fmla="*/ 983452 w 3532738"/>
              <a:gd name="connsiteY1" fmla="*/ 0 h 4709522"/>
              <a:gd name="connsiteX2" fmla="*/ 1223227 w 3532738"/>
              <a:gd name="connsiteY2" fmla="*/ 110028 h 4709522"/>
              <a:gd name="connsiteX3" fmla="*/ 3532738 w 3532738"/>
              <a:gd name="connsiteY3" fmla="*/ 109692 h 4709522"/>
              <a:gd name="connsiteX4" fmla="*/ 3532738 w 3532738"/>
              <a:gd name="connsiteY4" fmla="*/ 4709522 h 4709522"/>
              <a:gd name="connsiteX5" fmla="*/ 0 w 3532738"/>
              <a:gd name="connsiteY5" fmla="*/ 4709522 h 4709522"/>
              <a:gd name="connsiteX6" fmla="*/ 0 w 3532738"/>
              <a:gd name="connsiteY6" fmla="*/ 362 h 4709522"/>
              <a:gd name="connsiteX0" fmla="*/ 6795 w 3539533"/>
              <a:gd name="connsiteY0" fmla="*/ 362 h 4716359"/>
              <a:gd name="connsiteX1" fmla="*/ 990247 w 3539533"/>
              <a:gd name="connsiteY1" fmla="*/ 0 h 4716359"/>
              <a:gd name="connsiteX2" fmla="*/ 1230022 w 3539533"/>
              <a:gd name="connsiteY2" fmla="*/ 110028 h 4716359"/>
              <a:gd name="connsiteX3" fmla="*/ 3539533 w 3539533"/>
              <a:gd name="connsiteY3" fmla="*/ 109692 h 4716359"/>
              <a:gd name="connsiteX4" fmla="*/ 3539533 w 3539533"/>
              <a:gd name="connsiteY4" fmla="*/ 4709522 h 4716359"/>
              <a:gd name="connsiteX5" fmla="*/ 0 w 3539533"/>
              <a:gd name="connsiteY5" fmla="*/ 4716359 h 4716359"/>
              <a:gd name="connsiteX6" fmla="*/ 6795 w 3539533"/>
              <a:gd name="connsiteY6" fmla="*/ 362 h 4716359"/>
              <a:gd name="connsiteX0" fmla="*/ 6795 w 3539533"/>
              <a:gd name="connsiteY0" fmla="*/ 362 h 4722266"/>
              <a:gd name="connsiteX1" fmla="*/ 990247 w 3539533"/>
              <a:gd name="connsiteY1" fmla="*/ 0 h 4722266"/>
              <a:gd name="connsiteX2" fmla="*/ 1230022 w 3539533"/>
              <a:gd name="connsiteY2" fmla="*/ 110028 h 4722266"/>
              <a:gd name="connsiteX3" fmla="*/ 3539533 w 3539533"/>
              <a:gd name="connsiteY3" fmla="*/ 109692 h 4722266"/>
              <a:gd name="connsiteX4" fmla="*/ 3526887 w 3539533"/>
              <a:gd name="connsiteY4" fmla="*/ 4722266 h 4722266"/>
              <a:gd name="connsiteX5" fmla="*/ 0 w 3539533"/>
              <a:gd name="connsiteY5" fmla="*/ 4716359 h 4722266"/>
              <a:gd name="connsiteX6" fmla="*/ 6795 w 3539533"/>
              <a:gd name="connsiteY6" fmla="*/ 362 h 4722266"/>
              <a:gd name="connsiteX0" fmla="*/ 6795 w 3546621"/>
              <a:gd name="connsiteY0" fmla="*/ 362 h 4722266"/>
              <a:gd name="connsiteX1" fmla="*/ 990247 w 3546621"/>
              <a:gd name="connsiteY1" fmla="*/ 0 h 4722266"/>
              <a:gd name="connsiteX2" fmla="*/ 1230022 w 3546621"/>
              <a:gd name="connsiteY2" fmla="*/ 110028 h 4722266"/>
              <a:gd name="connsiteX3" fmla="*/ 3539533 w 3546621"/>
              <a:gd name="connsiteY3" fmla="*/ 109692 h 4722266"/>
              <a:gd name="connsiteX4" fmla="*/ 3545856 w 3546621"/>
              <a:gd name="connsiteY4" fmla="*/ 4722266 h 4722266"/>
              <a:gd name="connsiteX5" fmla="*/ 0 w 3546621"/>
              <a:gd name="connsiteY5" fmla="*/ 4716359 h 4722266"/>
              <a:gd name="connsiteX6" fmla="*/ 6795 w 3546621"/>
              <a:gd name="connsiteY6" fmla="*/ 362 h 472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6621" h="4722266">
                <a:moveTo>
                  <a:pt x="6795" y="362"/>
                </a:moveTo>
                <a:lnTo>
                  <a:pt x="990247" y="0"/>
                </a:lnTo>
                <a:lnTo>
                  <a:pt x="1230022" y="110028"/>
                </a:lnTo>
                <a:lnTo>
                  <a:pt x="3539533" y="109692"/>
                </a:lnTo>
                <a:cubicBezTo>
                  <a:pt x="3535318" y="1647217"/>
                  <a:pt x="3550071" y="3184741"/>
                  <a:pt x="3545856" y="4722266"/>
                </a:cubicBezTo>
                <a:lnTo>
                  <a:pt x="0" y="4716359"/>
                </a:lnTo>
                <a:lnTo>
                  <a:pt x="6795" y="362"/>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171450" indent="-171450">
              <a:buFont typeface="Wingdings" panose="05000000000000000000" pitchFamily="2" charset="2"/>
              <a:buChar char="§"/>
              <a:defRPr lang="en-US" sz="1100">
                <a:solidFill>
                  <a:schemeClr val="tx1"/>
                </a:solidFill>
              </a:defRPr>
            </a:lvl1pPr>
          </a:lstStyle>
          <a:p>
            <a:pPr marL="0" lvl="0" indent="0" algn="ctr">
              <a:spcBef>
                <a:spcPts val="800"/>
              </a:spcBef>
              <a:buNone/>
            </a:pPr>
            <a:r>
              <a:rPr lang="en-US" dirty="0"/>
              <a:t>Click picture icon to add image</a:t>
            </a:r>
          </a:p>
        </p:txBody>
      </p:sp>
      <p:sp>
        <p:nvSpPr>
          <p:cNvPr id="14" name="Rectangle 13">
            <a:extLst>
              <a:ext uri="{FF2B5EF4-FFF2-40B4-BE49-F238E27FC236}">
                <a16:creationId xmlns:a16="http://schemas.microsoft.com/office/drawing/2014/main" id="{91DFB4FC-DBF3-4C25-B966-AEA10F97ECFF}"/>
              </a:ext>
            </a:extLst>
          </p:cNvPr>
          <p:cNvSpPr/>
          <p:nvPr userDrawn="1"/>
        </p:nvSpPr>
        <p:spPr>
          <a:xfrm>
            <a:off x="0" y="1465786"/>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3" name="Content Placeholder 2"/>
          <p:cNvSpPr>
            <a:spLocks noGrp="1"/>
          </p:cNvSpPr>
          <p:nvPr userDrawn="1">
            <p:ph idx="1" hasCustomPrompt="1"/>
          </p:nvPr>
        </p:nvSpPr>
        <p:spPr>
          <a:xfrm>
            <a:off x="4572000" y="1575144"/>
            <a:ext cx="7086600" cy="4599432"/>
          </a:xfrm>
          <a:ln w="12700">
            <a:solidFill>
              <a:schemeClr val="bg2"/>
            </a:solidFill>
          </a:ln>
        </p:spPr>
        <p:txBody>
          <a:bodyPr vert="horz" lIns="182880" tIns="182880" rIns="182880" bIns="182880" rtlCol="0" anchor="ctr" anchorCtr="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2" name="Title 11"/>
          <p:cNvSpPr>
            <a:spLocks noGrp="1"/>
          </p:cNvSpPr>
          <p:nvPr userDrawn="1">
            <p:ph type="title" hasCustomPrompt="1"/>
          </p:nvPr>
        </p:nvSpPr>
        <p:spPr/>
        <p:txBody>
          <a:bodyPr vert="horz" lIns="0" tIns="0" rIns="0" bIns="0" rtlCol="0" anchor="t" anchorCtr="0">
            <a:spAutoFit/>
          </a:bodyPr>
          <a:lstStyle>
            <a:lvl1pPr>
              <a:defRPr lang="en-US" dirty="0"/>
            </a:lvl1pPr>
          </a:lstStyle>
          <a:p>
            <a:pPr lvl="0"/>
            <a:r>
              <a:rPr lang="en-US"/>
              <a:t>add title</a:t>
            </a:r>
          </a:p>
        </p:txBody>
      </p:sp>
      <p:grpSp>
        <p:nvGrpSpPr>
          <p:cNvPr id="4" name="Group 3">
            <a:extLst>
              <a:ext uri="{FF2B5EF4-FFF2-40B4-BE49-F238E27FC236}">
                <a16:creationId xmlns:a16="http://schemas.microsoft.com/office/drawing/2014/main" id="{5B8BB190-45C4-B4EA-E91F-D91647DD201A}"/>
              </a:ext>
            </a:extLst>
          </p:cNvPr>
          <p:cNvGrpSpPr/>
          <p:nvPr userDrawn="1"/>
        </p:nvGrpSpPr>
        <p:grpSpPr>
          <a:xfrm>
            <a:off x="592994" y="6253879"/>
            <a:ext cx="237934" cy="161861"/>
            <a:chOff x="4558698" y="6297424"/>
            <a:chExt cx="237934" cy="161861"/>
          </a:xfrm>
        </p:grpSpPr>
        <p:sp>
          <p:nvSpPr>
            <p:cNvPr id="5" name="Freeform: Shape 4">
              <a:extLst>
                <a:ext uri="{FF2B5EF4-FFF2-40B4-BE49-F238E27FC236}">
                  <a16:creationId xmlns:a16="http://schemas.microsoft.com/office/drawing/2014/main" id="{2AF73820-1083-FF47-1ED2-921C54B2DA0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 name="Freeform: Shape 5">
              <a:extLst>
                <a:ext uri="{FF2B5EF4-FFF2-40B4-BE49-F238E27FC236}">
                  <a16:creationId xmlns:a16="http://schemas.microsoft.com/office/drawing/2014/main" id="{7B83EE4A-325F-6424-ADD2-4C282A359E4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 name="Freeform: Shape 6">
              <a:extLst>
                <a:ext uri="{FF2B5EF4-FFF2-40B4-BE49-F238E27FC236}">
                  <a16:creationId xmlns:a16="http://schemas.microsoft.com/office/drawing/2014/main" id="{97D74398-9694-0B5D-3BB9-EF3F4A0B55BA}"/>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spTree>
    <p:extLst>
      <p:ext uri="{BB962C8B-B14F-4D97-AF65-F5344CB8AC3E}">
        <p14:creationId xmlns:p14="http://schemas.microsoft.com/office/powerpoint/2010/main" val="255707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third/Two-third Content (2)">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1DFB4FC-DBF3-4C25-B966-AEA10F97ECFF}"/>
              </a:ext>
            </a:extLst>
          </p:cNvPr>
          <p:cNvSpPr/>
          <p:nvPr userDrawn="1"/>
        </p:nvSpPr>
        <p:spPr>
          <a:xfrm>
            <a:off x="0" y="1465786"/>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3" name="Content Placeholder 2"/>
          <p:cNvSpPr>
            <a:spLocks noGrp="1"/>
          </p:cNvSpPr>
          <p:nvPr userDrawn="1">
            <p:ph idx="1" hasCustomPrompt="1"/>
          </p:nvPr>
        </p:nvSpPr>
        <p:spPr>
          <a:xfrm>
            <a:off x="4572000" y="1574943"/>
            <a:ext cx="7086600" cy="4599432"/>
          </a:xfrm>
          <a:ln w="12700">
            <a:solidFill>
              <a:schemeClr val="bg2"/>
            </a:solidFill>
          </a:ln>
        </p:spPr>
        <p:txBody>
          <a:bodyPr vert="horz" lIns="182880" tIns="182880" rIns="182880" bIns="182880" rtlCol="0" anchor="ctr" anchorCtr="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2" name="Title 11"/>
          <p:cNvSpPr>
            <a:spLocks noGrp="1"/>
          </p:cNvSpPr>
          <p:nvPr userDrawn="1">
            <p:ph type="title" hasCustomPrompt="1"/>
          </p:nvPr>
        </p:nvSpPr>
        <p:spPr/>
        <p:txBody>
          <a:bodyPr vert="horz" lIns="0" tIns="0" rIns="0" bIns="0" rtlCol="0" anchor="t" anchorCtr="0">
            <a:spAutoFit/>
          </a:bodyPr>
          <a:lstStyle>
            <a:lvl1pPr>
              <a:defRPr lang="en-US" dirty="0"/>
            </a:lvl1pPr>
          </a:lstStyle>
          <a:p>
            <a:pPr lvl="0"/>
            <a:r>
              <a:rPr lang="en-US"/>
              <a:t>add title</a:t>
            </a:r>
          </a:p>
        </p:txBody>
      </p:sp>
      <p:grpSp>
        <p:nvGrpSpPr>
          <p:cNvPr id="4" name="Group 3">
            <a:extLst>
              <a:ext uri="{FF2B5EF4-FFF2-40B4-BE49-F238E27FC236}">
                <a16:creationId xmlns:a16="http://schemas.microsoft.com/office/drawing/2014/main" id="{5B8BB190-45C4-B4EA-E91F-D91647DD201A}"/>
              </a:ext>
            </a:extLst>
          </p:cNvPr>
          <p:cNvGrpSpPr/>
          <p:nvPr userDrawn="1"/>
        </p:nvGrpSpPr>
        <p:grpSpPr>
          <a:xfrm>
            <a:off x="592994" y="6253879"/>
            <a:ext cx="237934" cy="161861"/>
            <a:chOff x="4558698" y="6297424"/>
            <a:chExt cx="237934" cy="161861"/>
          </a:xfrm>
        </p:grpSpPr>
        <p:sp>
          <p:nvSpPr>
            <p:cNvPr id="5" name="Freeform: Shape 4">
              <a:extLst>
                <a:ext uri="{FF2B5EF4-FFF2-40B4-BE49-F238E27FC236}">
                  <a16:creationId xmlns:a16="http://schemas.microsoft.com/office/drawing/2014/main" id="{2AF73820-1083-FF47-1ED2-921C54B2DA0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 name="Freeform: Shape 5">
              <a:extLst>
                <a:ext uri="{FF2B5EF4-FFF2-40B4-BE49-F238E27FC236}">
                  <a16:creationId xmlns:a16="http://schemas.microsoft.com/office/drawing/2014/main" id="{7B83EE4A-325F-6424-ADD2-4C282A359E4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 name="Freeform: Shape 6">
              <a:extLst>
                <a:ext uri="{FF2B5EF4-FFF2-40B4-BE49-F238E27FC236}">
                  <a16:creationId xmlns:a16="http://schemas.microsoft.com/office/drawing/2014/main" id="{97D74398-9694-0B5D-3BB9-EF3F4A0B55BA}"/>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sp>
        <p:nvSpPr>
          <p:cNvPr id="10" name="Freeform: Shape 9">
            <a:extLst>
              <a:ext uri="{FF2B5EF4-FFF2-40B4-BE49-F238E27FC236}">
                <a16:creationId xmlns:a16="http://schemas.microsoft.com/office/drawing/2014/main" id="{A80136C2-DE7F-02D4-C0C1-88969CD76BC9}"/>
              </a:ext>
            </a:extLst>
          </p:cNvPr>
          <p:cNvSpPr/>
          <p:nvPr userDrawn="1"/>
        </p:nvSpPr>
        <p:spPr>
          <a:xfrm>
            <a:off x="577869" y="1476426"/>
            <a:ext cx="3547872" cy="4700016"/>
          </a:xfrm>
          <a:custGeom>
            <a:avLst/>
            <a:gdLst>
              <a:gd name="connsiteX0" fmla="*/ 1 w 3558618"/>
              <a:gd name="connsiteY0" fmla="*/ 0 h 4711129"/>
              <a:gd name="connsiteX1" fmla="*/ 1001702 w 3558618"/>
              <a:gd name="connsiteY1" fmla="*/ 0 h 4711129"/>
              <a:gd name="connsiteX2" fmla="*/ 1231093 w 3558618"/>
              <a:gd name="connsiteY2" fmla="*/ 110171 h 4711129"/>
              <a:gd name="connsiteX3" fmla="*/ 3558618 w 3558618"/>
              <a:gd name="connsiteY3" fmla="*/ 110171 h 4711129"/>
              <a:gd name="connsiteX4" fmla="*/ 3558618 w 3558618"/>
              <a:gd name="connsiteY4" fmla="*/ 4711129 h 4711129"/>
              <a:gd name="connsiteX5" fmla="*/ 0 w 3558618"/>
              <a:gd name="connsiteY5" fmla="*/ 4711129 h 4711129"/>
              <a:gd name="connsiteX6" fmla="*/ 0 w 3558618"/>
              <a:gd name="connsiteY6" fmla="*/ 110171 h 4711129"/>
              <a:gd name="connsiteX7" fmla="*/ 1 w 3558618"/>
              <a:gd name="connsiteY7" fmla="*/ 110171 h 471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8618" h="4711129">
                <a:moveTo>
                  <a:pt x="1" y="0"/>
                </a:moveTo>
                <a:lnTo>
                  <a:pt x="1001702" y="0"/>
                </a:lnTo>
                <a:lnTo>
                  <a:pt x="1231093" y="110171"/>
                </a:lnTo>
                <a:lnTo>
                  <a:pt x="3558618" y="110171"/>
                </a:lnTo>
                <a:lnTo>
                  <a:pt x="3558618" y="4711129"/>
                </a:lnTo>
                <a:lnTo>
                  <a:pt x="0" y="4711129"/>
                </a:lnTo>
                <a:lnTo>
                  <a:pt x="0" y="110171"/>
                </a:lnTo>
                <a:lnTo>
                  <a:pt x="1" y="110171"/>
                </a:lnTo>
                <a:close/>
              </a:path>
            </a:pathLst>
          </a:cu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3" name="Text Placeholder 12">
            <a:extLst>
              <a:ext uri="{FF2B5EF4-FFF2-40B4-BE49-F238E27FC236}">
                <a16:creationId xmlns:a16="http://schemas.microsoft.com/office/drawing/2014/main" id="{1E6389EE-598D-5533-FA5E-C87DE9B40897}"/>
              </a:ext>
            </a:extLst>
          </p:cNvPr>
          <p:cNvSpPr>
            <a:spLocks noGrp="1"/>
          </p:cNvSpPr>
          <p:nvPr>
            <p:ph type="body" sz="quarter" idx="10" hasCustomPrompt="1"/>
          </p:nvPr>
        </p:nvSpPr>
        <p:spPr>
          <a:xfrm>
            <a:off x="721678" y="1784938"/>
            <a:ext cx="3200400" cy="4195762"/>
          </a:xfrm>
        </p:spPr>
        <p:txBody>
          <a:bodyPr anchor="ctr" anchorCtr="0"/>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8330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ase Study (1)">
    <p:spTree>
      <p:nvGrpSpPr>
        <p:cNvPr id="1" name=""/>
        <p:cNvGrpSpPr/>
        <p:nvPr/>
      </p:nvGrpSpPr>
      <p:grpSpPr>
        <a:xfrm>
          <a:off x="0" y="0"/>
          <a:ext cx="0" cy="0"/>
          <a:chOff x="0" y="0"/>
          <a:chExt cx="0" cy="0"/>
        </a:xfrm>
      </p:grpSpPr>
      <p:sp>
        <p:nvSpPr>
          <p:cNvPr id="109" name="Picture Placeholder 108">
            <a:extLst>
              <a:ext uri="{FF2B5EF4-FFF2-40B4-BE49-F238E27FC236}">
                <a16:creationId xmlns:a16="http://schemas.microsoft.com/office/drawing/2014/main" id="{8A5C2643-7BA8-5DEF-43AB-3AEC806D621E}"/>
              </a:ext>
            </a:extLst>
          </p:cNvPr>
          <p:cNvSpPr>
            <a:spLocks noGrp="1"/>
          </p:cNvSpPr>
          <p:nvPr>
            <p:ph type="pic" sz="quarter" idx="29" hasCustomPrompt="1"/>
          </p:nvPr>
        </p:nvSpPr>
        <p:spPr>
          <a:xfrm>
            <a:off x="-9525" y="111125"/>
            <a:ext cx="5797296" cy="6746875"/>
          </a:xfrm>
          <a:custGeom>
            <a:avLst/>
            <a:gdLst>
              <a:gd name="connsiteX0" fmla="*/ 0 w 5803554"/>
              <a:gd name="connsiteY0" fmla="*/ 0 h 6746875"/>
              <a:gd name="connsiteX1" fmla="*/ 5803554 w 5803554"/>
              <a:gd name="connsiteY1" fmla="*/ 0 h 6746875"/>
              <a:gd name="connsiteX2" fmla="*/ 5803554 w 5803554"/>
              <a:gd name="connsiteY2" fmla="*/ 6746875 h 6746875"/>
              <a:gd name="connsiteX3" fmla="*/ 0 w 5803554"/>
              <a:gd name="connsiteY3" fmla="*/ 6746875 h 6746875"/>
              <a:gd name="connsiteX4" fmla="*/ 0 w 5803554"/>
              <a:gd name="connsiteY4" fmla="*/ 0 h 6746875"/>
              <a:gd name="connsiteX0" fmla="*/ 0 w 5803554"/>
              <a:gd name="connsiteY0" fmla="*/ 0 h 6746875"/>
              <a:gd name="connsiteX1" fmla="*/ 5227220 w 5803554"/>
              <a:gd name="connsiteY1" fmla="*/ 1170 h 6746875"/>
              <a:gd name="connsiteX2" fmla="*/ 5803554 w 5803554"/>
              <a:gd name="connsiteY2" fmla="*/ 0 h 6746875"/>
              <a:gd name="connsiteX3" fmla="*/ 5803554 w 5803554"/>
              <a:gd name="connsiteY3" fmla="*/ 6746875 h 6746875"/>
              <a:gd name="connsiteX4" fmla="*/ 0 w 5803554"/>
              <a:gd name="connsiteY4" fmla="*/ 6746875 h 6746875"/>
              <a:gd name="connsiteX5" fmla="*/ 0 w 5803554"/>
              <a:gd name="connsiteY5" fmla="*/ 0 h 6746875"/>
              <a:gd name="connsiteX0" fmla="*/ 0 w 5803554"/>
              <a:gd name="connsiteY0" fmla="*/ 0 h 6746875"/>
              <a:gd name="connsiteX1" fmla="*/ 5227220 w 5803554"/>
              <a:gd name="connsiteY1" fmla="*/ 1170 h 6746875"/>
              <a:gd name="connsiteX2" fmla="*/ 5803554 w 5803554"/>
              <a:gd name="connsiteY2" fmla="*/ 0 h 6746875"/>
              <a:gd name="connsiteX3" fmla="*/ 5796714 w 5803554"/>
              <a:gd name="connsiteY3" fmla="*/ 334043 h 6746875"/>
              <a:gd name="connsiteX4" fmla="*/ 5803554 w 5803554"/>
              <a:gd name="connsiteY4" fmla="*/ 6746875 h 6746875"/>
              <a:gd name="connsiteX5" fmla="*/ 0 w 5803554"/>
              <a:gd name="connsiteY5" fmla="*/ 6746875 h 6746875"/>
              <a:gd name="connsiteX6" fmla="*/ 0 w 5803554"/>
              <a:gd name="connsiteY6" fmla="*/ 0 h 6746875"/>
              <a:gd name="connsiteX0" fmla="*/ 0 w 5803554"/>
              <a:gd name="connsiteY0" fmla="*/ 0 h 6746875"/>
              <a:gd name="connsiteX1" fmla="*/ 5227220 w 5803554"/>
              <a:gd name="connsiteY1" fmla="*/ 1170 h 6746875"/>
              <a:gd name="connsiteX2" fmla="*/ 5796714 w 5803554"/>
              <a:gd name="connsiteY2" fmla="*/ 334043 h 6746875"/>
              <a:gd name="connsiteX3" fmla="*/ 5803554 w 5803554"/>
              <a:gd name="connsiteY3" fmla="*/ 6746875 h 6746875"/>
              <a:gd name="connsiteX4" fmla="*/ 0 w 5803554"/>
              <a:gd name="connsiteY4" fmla="*/ 6746875 h 6746875"/>
              <a:gd name="connsiteX5" fmla="*/ 0 w 5803554"/>
              <a:gd name="connsiteY5" fmla="*/ 0 h 674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03554" h="6746875">
                <a:moveTo>
                  <a:pt x="0" y="0"/>
                </a:moveTo>
                <a:lnTo>
                  <a:pt x="5227220" y="1170"/>
                </a:lnTo>
                <a:lnTo>
                  <a:pt x="5796714" y="334043"/>
                </a:lnTo>
                <a:lnTo>
                  <a:pt x="5803554" y="6746875"/>
                </a:lnTo>
                <a:lnTo>
                  <a:pt x="0" y="6746875"/>
                </a:lnTo>
                <a:lnTo>
                  <a:pt x="0" y="0"/>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sp>
        <p:nvSpPr>
          <p:cNvPr id="9" name="Text Placeholder 33"/>
          <p:cNvSpPr>
            <a:spLocks noGrp="1"/>
          </p:cNvSpPr>
          <p:nvPr>
            <p:ph type="body" sz="quarter" idx="18" hasCustomPrompt="1"/>
          </p:nvPr>
        </p:nvSpPr>
        <p:spPr>
          <a:xfrm>
            <a:off x="-9345" y="4773308"/>
            <a:ext cx="3560922" cy="1107295"/>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 name="connsiteX0" fmla="*/ 0 w 3653537"/>
              <a:gd name="connsiteY0" fmla="*/ 1249154 h 1249946"/>
              <a:gd name="connsiteX1" fmla="*/ 3934 w 3653537"/>
              <a:gd name="connsiteY1" fmla="*/ 1677 h 1249946"/>
              <a:gd name="connsiteX2" fmla="*/ 2601911 w 3653537"/>
              <a:gd name="connsiteY2" fmla="*/ 0 h 1249946"/>
              <a:gd name="connsiteX3" fmla="*/ 3150718 w 3653537"/>
              <a:gd name="connsiteY3" fmla="*/ 266682 h 1249946"/>
              <a:gd name="connsiteX4" fmla="*/ 3653537 w 3653537"/>
              <a:gd name="connsiteY4" fmla="*/ 269460 h 1249946"/>
              <a:gd name="connsiteX5" fmla="*/ 3066332 w 3653537"/>
              <a:gd name="connsiteY5" fmla="*/ 1249946 h 1249946"/>
              <a:gd name="connsiteX6" fmla="*/ 0 w 3653537"/>
              <a:gd name="connsiteY6" fmla="*/ 1249154 h 1249946"/>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178092 w 3653537"/>
              <a:gd name="connsiteY5" fmla="*/ 1244866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259372 w 3653537"/>
              <a:gd name="connsiteY5" fmla="*/ 1239786 h 1249154"/>
              <a:gd name="connsiteX6" fmla="*/ 0 w 3653537"/>
              <a:gd name="connsiteY6" fmla="*/ 1249154 h 1249154"/>
              <a:gd name="connsiteX0" fmla="*/ 0 w 3653537"/>
              <a:gd name="connsiteY0" fmla="*/ 1249154 h 1249311"/>
              <a:gd name="connsiteX1" fmla="*/ 3934 w 3653537"/>
              <a:gd name="connsiteY1" fmla="*/ 1677 h 1249311"/>
              <a:gd name="connsiteX2" fmla="*/ 2601911 w 3653537"/>
              <a:gd name="connsiteY2" fmla="*/ 0 h 1249311"/>
              <a:gd name="connsiteX3" fmla="*/ 3150718 w 3653537"/>
              <a:gd name="connsiteY3" fmla="*/ 266682 h 1249311"/>
              <a:gd name="connsiteX4" fmla="*/ 3653537 w 3653537"/>
              <a:gd name="connsiteY4" fmla="*/ 269460 h 1249311"/>
              <a:gd name="connsiteX5" fmla="*/ 3549884 w 3653537"/>
              <a:gd name="connsiteY5" fmla="*/ 1249311 h 1249311"/>
              <a:gd name="connsiteX6" fmla="*/ 0 w 3653537"/>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64698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8985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88818 w 3553525"/>
              <a:gd name="connsiteY3" fmla="*/ 271444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009594 w 3559258"/>
              <a:gd name="connsiteY3" fmla="*/ 123057 h 1249311"/>
              <a:gd name="connsiteX4" fmla="*/ 3194551 w 3559258"/>
              <a:gd name="connsiteY4" fmla="*/ 271444 h 1249311"/>
              <a:gd name="connsiteX5" fmla="*/ 3559258 w 3559258"/>
              <a:gd name="connsiteY5" fmla="*/ 274223 h 1249311"/>
              <a:gd name="connsiteX6" fmla="*/ 3555617 w 3559258"/>
              <a:gd name="connsiteY6" fmla="*/ 1249311 h 1249311"/>
              <a:gd name="connsiteX7" fmla="*/ 5733 w 3559258"/>
              <a:gd name="connsiteY7" fmla="*/ 1249154 h 1249311"/>
              <a:gd name="connsiteX0" fmla="*/ 5733 w 3559258"/>
              <a:gd name="connsiteY0" fmla="*/ 1247477 h 1247634"/>
              <a:gd name="connsiteX1" fmla="*/ 142 w 3559258"/>
              <a:gd name="connsiteY1" fmla="*/ 0 h 1247634"/>
              <a:gd name="connsiteX2" fmla="*/ 3009594 w 3559258"/>
              <a:gd name="connsiteY2" fmla="*/ 121380 h 1247634"/>
              <a:gd name="connsiteX3" fmla="*/ 3194551 w 3559258"/>
              <a:gd name="connsiteY3" fmla="*/ 269767 h 1247634"/>
              <a:gd name="connsiteX4" fmla="*/ 3559258 w 3559258"/>
              <a:gd name="connsiteY4" fmla="*/ 272546 h 1247634"/>
              <a:gd name="connsiteX5" fmla="*/ 3555617 w 3559258"/>
              <a:gd name="connsiteY5" fmla="*/ 1247634 h 1247634"/>
              <a:gd name="connsiteX6" fmla="*/ 5733 w 3559258"/>
              <a:gd name="connsiteY6" fmla="*/ 1247477 h 1247634"/>
              <a:gd name="connsiteX0" fmla="*/ 265934 w 3819459"/>
              <a:gd name="connsiteY0" fmla="*/ 1255838 h 1255995"/>
              <a:gd name="connsiteX1" fmla="*/ 256431 w 3819459"/>
              <a:gd name="connsiteY1" fmla="*/ 150521 h 1255995"/>
              <a:gd name="connsiteX2" fmla="*/ 260343 w 3819459"/>
              <a:gd name="connsiteY2" fmla="*/ 8361 h 1255995"/>
              <a:gd name="connsiteX3" fmla="*/ 3269795 w 3819459"/>
              <a:gd name="connsiteY3" fmla="*/ 129741 h 1255995"/>
              <a:gd name="connsiteX4" fmla="*/ 3454752 w 3819459"/>
              <a:gd name="connsiteY4" fmla="*/ 278128 h 1255995"/>
              <a:gd name="connsiteX5" fmla="*/ 3819459 w 3819459"/>
              <a:gd name="connsiteY5" fmla="*/ 280907 h 1255995"/>
              <a:gd name="connsiteX6" fmla="*/ 3815818 w 3819459"/>
              <a:gd name="connsiteY6" fmla="*/ 1255995 h 1255995"/>
              <a:gd name="connsiteX7" fmla="*/ 265934 w 3819459"/>
              <a:gd name="connsiteY7" fmla="*/ 1255838 h 1255995"/>
              <a:gd name="connsiteX0" fmla="*/ 415417 w 3968942"/>
              <a:gd name="connsiteY0" fmla="*/ 1199998 h 1200155"/>
              <a:gd name="connsiteX1" fmla="*/ 405914 w 3968942"/>
              <a:gd name="connsiteY1" fmla="*/ 94681 h 1200155"/>
              <a:gd name="connsiteX2" fmla="*/ 3419278 w 3968942"/>
              <a:gd name="connsiteY2" fmla="*/ 73901 h 1200155"/>
              <a:gd name="connsiteX3" fmla="*/ 3604235 w 3968942"/>
              <a:gd name="connsiteY3" fmla="*/ 222288 h 1200155"/>
              <a:gd name="connsiteX4" fmla="*/ 3968942 w 3968942"/>
              <a:gd name="connsiteY4" fmla="*/ 225067 h 1200155"/>
              <a:gd name="connsiteX5" fmla="*/ 3965301 w 3968942"/>
              <a:gd name="connsiteY5" fmla="*/ 1200155 h 1200155"/>
              <a:gd name="connsiteX6" fmla="*/ 415417 w 3968942"/>
              <a:gd name="connsiteY6" fmla="*/ 1199998 h 1200155"/>
              <a:gd name="connsiteX0" fmla="*/ 232068 w 3785593"/>
              <a:gd name="connsiteY0" fmla="*/ 1199998 h 1200155"/>
              <a:gd name="connsiteX1" fmla="*/ 222565 w 3785593"/>
              <a:gd name="connsiteY1" fmla="*/ 94681 h 1200155"/>
              <a:gd name="connsiteX2" fmla="*/ 3235929 w 3785593"/>
              <a:gd name="connsiteY2" fmla="*/ 73901 h 1200155"/>
              <a:gd name="connsiteX3" fmla="*/ 3420886 w 3785593"/>
              <a:gd name="connsiteY3" fmla="*/ 222288 h 1200155"/>
              <a:gd name="connsiteX4" fmla="*/ 3785593 w 3785593"/>
              <a:gd name="connsiteY4" fmla="*/ 225067 h 1200155"/>
              <a:gd name="connsiteX5" fmla="*/ 3781952 w 3785593"/>
              <a:gd name="connsiteY5" fmla="*/ 1200155 h 1200155"/>
              <a:gd name="connsiteX6" fmla="*/ 232068 w 3785593"/>
              <a:gd name="connsiteY6" fmla="*/ 1199998 h 1200155"/>
              <a:gd name="connsiteX0" fmla="*/ 16560 w 3570085"/>
              <a:gd name="connsiteY0" fmla="*/ 1199998 h 1200155"/>
              <a:gd name="connsiteX1" fmla="*/ 7057 w 3570085"/>
              <a:gd name="connsiteY1" fmla="*/ 94681 h 1200155"/>
              <a:gd name="connsiteX2" fmla="*/ 3020421 w 3570085"/>
              <a:gd name="connsiteY2" fmla="*/ 73901 h 1200155"/>
              <a:gd name="connsiteX3" fmla="*/ 3205378 w 3570085"/>
              <a:gd name="connsiteY3" fmla="*/ 222288 h 1200155"/>
              <a:gd name="connsiteX4" fmla="*/ 3570085 w 3570085"/>
              <a:gd name="connsiteY4" fmla="*/ 225067 h 1200155"/>
              <a:gd name="connsiteX5" fmla="*/ 3566444 w 3570085"/>
              <a:gd name="connsiteY5" fmla="*/ 1200155 h 1200155"/>
              <a:gd name="connsiteX6" fmla="*/ 16560 w 3570085"/>
              <a:gd name="connsiteY6" fmla="*/ 1199998 h 1200155"/>
              <a:gd name="connsiteX0" fmla="*/ 16560 w 3570085"/>
              <a:gd name="connsiteY0" fmla="*/ 1133874 h 1134031"/>
              <a:gd name="connsiteX1" fmla="*/ 7057 w 3570085"/>
              <a:gd name="connsiteY1" fmla="*/ 28557 h 1134031"/>
              <a:gd name="connsiteX2" fmla="*/ 3020421 w 3570085"/>
              <a:gd name="connsiteY2" fmla="*/ 7777 h 1134031"/>
              <a:gd name="connsiteX3" fmla="*/ 3205378 w 3570085"/>
              <a:gd name="connsiteY3" fmla="*/ 156164 h 1134031"/>
              <a:gd name="connsiteX4" fmla="*/ 3570085 w 3570085"/>
              <a:gd name="connsiteY4" fmla="*/ 158943 h 1134031"/>
              <a:gd name="connsiteX5" fmla="*/ 3566444 w 3570085"/>
              <a:gd name="connsiteY5" fmla="*/ 1134031 h 1134031"/>
              <a:gd name="connsiteX6" fmla="*/ 16560 w 3570085"/>
              <a:gd name="connsiteY6" fmla="*/ 1133874 h 1134031"/>
              <a:gd name="connsiteX0" fmla="*/ 16560 w 3570085"/>
              <a:gd name="connsiteY0" fmla="*/ 1109331 h 1109488"/>
              <a:gd name="connsiteX1" fmla="*/ 7057 w 3570085"/>
              <a:gd name="connsiteY1" fmla="*/ 4014 h 1109488"/>
              <a:gd name="connsiteX2" fmla="*/ 3048130 w 3570085"/>
              <a:gd name="connsiteY2" fmla="*/ 38652 h 1109488"/>
              <a:gd name="connsiteX3" fmla="*/ 3205378 w 3570085"/>
              <a:gd name="connsiteY3" fmla="*/ 131621 h 1109488"/>
              <a:gd name="connsiteX4" fmla="*/ 3570085 w 3570085"/>
              <a:gd name="connsiteY4" fmla="*/ 134400 h 1109488"/>
              <a:gd name="connsiteX5" fmla="*/ 3566444 w 3570085"/>
              <a:gd name="connsiteY5" fmla="*/ 1109488 h 1109488"/>
              <a:gd name="connsiteX6" fmla="*/ 16560 w 3570085"/>
              <a:gd name="connsiteY6" fmla="*/ 1109331 h 1109488"/>
              <a:gd name="connsiteX0" fmla="*/ 16560 w 3570085"/>
              <a:gd name="connsiteY0" fmla="*/ 1107515 h 1107672"/>
              <a:gd name="connsiteX1" fmla="*/ 7057 w 3570085"/>
              <a:gd name="connsiteY1" fmla="*/ 2198 h 1107672"/>
              <a:gd name="connsiteX2" fmla="*/ 3048130 w 3570085"/>
              <a:gd name="connsiteY2" fmla="*/ 36836 h 1107672"/>
              <a:gd name="connsiteX3" fmla="*/ 3205378 w 3570085"/>
              <a:gd name="connsiteY3" fmla="*/ 129805 h 1107672"/>
              <a:gd name="connsiteX4" fmla="*/ 3570085 w 3570085"/>
              <a:gd name="connsiteY4" fmla="*/ 132584 h 1107672"/>
              <a:gd name="connsiteX5" fmla="*/ 3566444 w 3570085"/>
              <a:gd name="connsiteY5" fmla="*/ 1107672 h 1107672"/>
              <a:gd name="connsiteX6" fmla="*/ 16560 w 3570085"/>
              <a:gd name="connsiteY6" fmla="*/ 1107515 h 1107672"/>
              <a:gd name="connsiteX0" fmla="*/ 16560 w 3570085"/>
              <a:gd name="connsiteY0" fmla="*/ 1112243 h 1112400"/>
              <a:gd name="connsiteX1" fmla="*/ 7057 w 3570085"/>
              <a:gd name="connsiteY1" fmla="*/ 6926 h 1112400"/>
              <a:gd name="connsiteX2" fmla="*/ 2992712 w 3570085"/>
              <a:gd name="connsiteY2" fmla="*/ 0 h 1112400"/>
              <a:gd name="connsiteX3" fmla="*/ 3205378 w 3570085"/>
              <a:gd name="connsiteY3" fmla="*/ 134533 h 1112400"/>
              <a:gd name="connsiteX4" fmla="*/ 3570085 w 3570085"/>
              <a:gd name="connsiteY4" fmla="*/ 137312 h 1112400"/>
              <a:gd name="connsiteX5" fmla="*/ 3566444 w 3570085"/>
              <a:gd name="connsiteY5" fmla="*/ 1112400 h 1112400"/>
              <a:gd name="connsiteX6" fmla="*/ 16560 w 3570085"/>
              <a:gd name="connsiteY6" fmla="*/ 1112243 h 1112400"/>
              <a:gd name="connsiteX0" fmla="*/ 22098 w 3575623"/>
              <a:gd name="connsiteY0" fmla="*/ 1112243 h 1112400"/>
              <a:gd name="connsiteX1" fmla="*/ 5668 w 3575623"/>
              <a:gd name="connsiteY1" fmla="*/ 34635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2098 w 3575623"/>
              <a:gd name="connsiteY0" fmla="*/ 1112243 h 1112400"/>
              <a:gd name="connsiteX1" fmla="*/ 5668 w 3575623"/>
              <a:gd name="connsiteY1" fmla="*/ 13854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0024 w 3573549"/>
              <a:gd name="connsiteY0" fmla="*/ 1112243 h 1112400"/>
              <a:gd name="connsiteX1" fmla="*/ 3594 w 3573549"/>
              <a:gd name="connsiteY1" fmla="*/ 13854 h 1112400"/>
              <a:gd name="connsiteX2" fmla="*/ 2996176 w 3573549"/>
              <a:gd name="connsiteY2" fmla="*/ 0 h 1112400"/>
              <a:gd name="connsiteX3" fmla="*/ 3208842 w 3573549"/>
              <a:gd name="connsiteY3" fmla="*/ 134533 h 1112400"/>
              <a:gd name="connsiteX4" fmla="*/ 3573549 w 3573549"/>
              <a:gd name="connsiteY4" fmla="*/ 137312 h 1112400"/>
              <a:gd name="connsiteX5" fmla="*/ 3569908 w 3573549"/>
              <a:gd name="connsiteY5" fmla="*/ 1112400 h 1112400"/>
              <a:gd name="connsiteX6" fmla="*/ 20024 w 3573549"/>
              <a:gd name="connsiteY6" fmla="*/ 1112243 h 1112400"/>
              <a:gd name="connsiteX0" fmla="*/ 16430 w 3569955"/>
              <a:gd name="connsiteY0" fmla="*/ 1112243 h 1112400"/>
              <a:gd name="connsiteX1" fmla="*/ 0 w 3569955"/>
              <a:gd name="connsiteY1" fmla="*/ 13854 h 1112400"/>
              <a:gd name="connsiteX2" fmla="*/ 2992582 w 3569955"/>
              <a:gd name="connsiteY2" fmla="*/ 0 h 1112400"/>
              <a:gd name="connsiteX3" fmla="*/ 3205248 w 3569955"/>
              <a:gd name="connsiteY3" fmla="*/ 134533 h 1112400"/>
              <a:gd name="connsiteX4" fmla="*/ 3569955 w 3569955"/>
              <a:gd name="connsiteY4" fmla="*/ 137312 h 1112400"/>
              <a:gd name="connsiteX5" fmla="*/ 3566314 w 3569955"/>
              <a:gd name="connsiteY5" fmla="*/ 1112400 h 1112400"/>
              <a:gd name="connsiteX6" fmla="*/ 16430 w 3569955"/>
              <a:gd name="connsiteY6" fmla="*/ 1112243 h 1112400"/>
              <a:gd name="connsiteX0" fmla="*/ 2575 w 3556100"/>
              <a:gd name="connsiteY0" fmla="*/ 1116552 h 1116709"/>
              <a:gd name="connsiteX1" fmla="*/ 0 w 3556100"/>
              <a:gd name="connsiteY1" fmla="*/ 4308 h 1116709"/>
              <a:gd name="connsiteX2" fmla="*/ 2978727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6552 h 1116709"/>
              <a:gd name="connsiteX1" fmla="*/ 0 w 3556100"/>
              <a:gd name="connsiteY1" fmla="*/ 4308 h 1116709"/>
              <a:gd name="connsiteX2" fmla="*/ 2971799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5351 h 1115508"/>
              <a:gd name="connsiteX1" fmla="*/ 0 w 3556100"/>
              <a:gd name="connsiteY1" fmla="*/ 3107 h 1115508"/>
              <a:gd name="connsiteX2" fmla="*/ 2964872 w 3556100"/>
              <a:gd name="connsiteY2" fmla="*/ 16963 h 1115508"/>
              <a:gd name="connsiteX3" fmla="*/ 3191393 w 3556100"/>
              <a:gd name="connsiteY3" fmla="*/ 137641 h 1115508"/>
              <a:gd name="connsiteX4" fmla="*/ 3556100 w 3556100"/>
              <a:gd name="connsiteY4" fmla="*/ 140420 h 1115508"/>
              <a:gd name="connsiteX5" fmla="*/ 3552459 w 3556100"/>
              <a:gd name="connsiteY5" fmla="*/ 1115508 h 1115508"/>
              <a:gd name="connsiteX6" fmla="*/ 2575 w 3556100"/>
              <a:gd name="connsiteY6" fmla="*/ 1115351 h 1115508"/>
              <a:gd name="connsiteX0" fmla="*/ 2575 w 3556100"/>
              <a:gd name="connsiteY0" fmla="*/ 1119170 h 1119327"/>
              <a:gd name="connsiteX1" fmla="*/ 0 w 3556100"/>
              <a:gd name="connsiteY1" fmla="*/ 6926 h 1119327"/>
              <a:gd name="connsiteX2" fmla="*/ 2971800 w 3556100"/>
              <a:gd name="connsiteY2" fmla="*/ 0 h 1119327"/>
              <a:gd name="connsiteX3" fmla="*/ 3191393 w 3556100"/>
              <a:gd name="connsiteY3" fmla="*/ 141460 h 1119327"/>
              <a:gd name="connsiteX4" fmla="*/ 3556100 w 3556100"/>
              <a:gd name="connsiteY4" fmla="*/ 144239 h 1119327"/>
              <a:gd name="connsiteX5" fmla="*/ 3552459 w 3556100"/>
              <a:gd name="connsiteY5" fmla="*/ 1119327 h 1119327"/>
              <a:gd name="connsiteX6" fmla="*/ 2575 w 3556100"/>
              <a:gd name="connsiteY6" fmla="*/ 1119170 h 1119327"/>
              <a:gd name="connsiteX0" fmla="*/ 5397 w 3558922"/>
              <a:gd name="connsiteY0" fmla="*/ 1127370 h 1127527"/>
              <a:gd name="connsiteX1" fmla="*/ 0 w 3558922"/>
              <a:gd name="connsiteY1" fmla="*/ 3837 h 1127527"/>
              <a:gd name="connsiteX2" fmla="*/ 2974622 w 3558922"/>
              <a:gd name="connsiteY2" fmla="*/ 8200 h 1127527"/>
              <a:gd name="connsiteX3" fmla="*/ 3194215 w 3558922"/>
              <a:gd name="connsiteY3" fmla="*/ 149660 h 1127527"/>
              <a:gd name="connsiteX4" fmla="*/ 3558922 w 3558922"/>
              <a:gd name="connsiteY4" fmla="*/ 152439 h 1127527"/>
              <a:gd name="connsiteX5" fmla="*/ 3555281 w 3558922"/>
              <a:gd name="connsiteY5" fmla="*/ 1127527 h 1127527"/>
              <a:gd name="connsiteX6" fmla="*/ 5397 w 3558922"/>
              <a:gd name="connsiteY6" fmla="*/ 1127370 h 1127527"/>
              <a:gd name="connsiteX0" fmla="*/ 5397 w 3558922"/>
              <a:gd name="connsiteY0" fmla="*/ 1123533 h 1123690"/>
              <a:gd name="connsiteX1" fmla="*/ 0 w 3558922"/>
              <a:gd name="connsiteY1" fmla="*/ 0 h 1123690"/>
              <a:gd name="connsiteX2" fmla="*/ 2974622 w 3558922"/>
              <a:gd name="connsiteY2" fmla="*/ 4363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5397 w 3558922"/>
              <a:gd name="connsiteY0" fmla="*/ 1123533 h 1123690"/>
              <a:gd name="connsiteX1" fmla="*/ 0 w 3558922"/>
              <a:gd name="connsiteY1" fmla="*/ 0 h 1123690"/>
              <a:gd name="connsiteX2" fmla="*/ 2962591 w 3558922"/>
              <a:gd name="connsiteY2" fmla="*/ 16395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10477 w 3564002"/>
              <a:gd name="connsiteY0" fmla="*/ 1108293 h 1108450"/>
              <a:gd name="connsiteX1" fmla="*/ 0 w 3564002"/>
              <a:gd name="connsiteY1" fmla="*/ 0 h 1108450"/>
              <a:gd name="connsiteX2" fmla="*/ 2967671 w 3564002"/>
              <a:gd name="connsiteY2" fmla="*/ 1155 h 1108450"/>
              <a:gd name="connsiteX3" fmla="*/ 3199295 w 3564002"/>
              <a:gd name="connsiteY3" fmla="*/ 130583 h 1108450"/>
              <a:gd name="connsiteX4" fmla="*/ 3564002 w 3564002"/>
              <a:gd name="connsiteY4" fmla="*/ 133362 h 1108450"/>
              <a:gd name="connsiteX5" fmla="*/ 3560361 w 3564002"/>
              <a:gd name="connsiteY5" fmla="*/ 1108450 h 1108450"/>
              <a:gd name="connsiteX6" fmla="*/ 10477 w 3564002"/>
              <a:gd name="connsiteY6" fmla="*/ 1108293 h 1108450"/>
              <a:gd name="connsiteX0" fmla="*/ 5397 w 3558922"/>
              <a:gd name="connsiteY0" fmla="*/ 1107138 h 1107295"/>
              <a:gd name="connsiteX1" fmla="*/ 0 w 3558922"/>
              <a:gd name="connsiteY1" fmla="*/ 3925 h 1107295"/>
              <a:gd name="connsiteX2" fmla="*/ 2962591 w 3558922"/>
              <a:gd name="connsiteY2" fmla="*/ 0 h 1107295"/>
              <a:gd name="connsiteX3" fmla="*/ 3194215 w 3558922"/>
              <a:gd name="connsiteY3" fmla="*/ 129428 h 1107295"/>
              <a:gd name="connsiteX4" fmla="*/ 3558922 w 3558922"/>
              <a:gd name="connsiteY4" fmla="*/ 132207 h 1107295"/>
              <a:gd name="connsiteX5" fmla="*/ 3555281 w 3558922"/>
              <a:gd name="connsiteY5" fmla="*/ 1107295 h 1107295"/>
              <a:gd name="connsiteX6" fmla="*/ 5397 w 3558922"/>
              <a:gd name="connsiteY6" fmla="*/ 1107138 h 1107295"/>
              <a:gd name="connsiteX0" fmla="*/ 7397 w 3560922"/>
              <a:gd name="connsiteY0" fmla="*/ 1107138 h 1107295"/>
              <a:gd name="connsiteX1" fmla="*/ 2000 w 3560922"/>
              <a:gd name="connsiteY1" fmla="*/ 3925 h 1107295"/>
              <a:gd name="connsiteX2" fmla="*/ 2964591 w 3560922"/>
              <a:gd name="connsiteY2" fmla="*/ 0 h 1107295"/>
              <a:gd name="connsiteX3" fmla="*/ 3196215 w 3560922"/>
              <a:gd name="connsiteY3" fmla="*/ 129428 h 1107295"/>
              <a:gd name="connsiteX4" fmla="*/ 3560922 w 3560922"/>
              <a:gd name="connsiteY4" fmla="*/ 132207 h 1107295"/>
              <a:gd name="connsiteX5" fmla="*/ 3557281 w 3560922"/>
              <a:gd name="connsiteY5" fmla="*/ 1107295 h 1107295"/>
              <a:gd name="connsiteX6" fmla="*/ 7397 w 3560922"/>
              <a:gd name="connsiteY6" fmla="*/ 1107138 h 1107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0922" h="1107295">
                <a:moveTo>
                  <a:pt x="7397" y="1107138"/>
                </a:moveTo>
                <a:cubicBezTo>
                  <a:pt x="-8561" y="635179"/>
                  <a:pt x="7048" y="669590"/>
                  <a:pt x="2000" y="3925"/>
                </a:cubicBezTo>
                <a:lnTo>
                  <a:pt x="2964591" y="0"/>
                </a:lnTo>
                <a:lnTo>
                  <a:pt x="3196215" y="129428"/>
                </a:lnTo>
                <a:lnTo>
                  <a:pt x="3560922" y="132207"/>
                </a:lnTo>
                <a:cubicBezTo>
                  <a:pt x="3559708" y="460411"/>
                  <a:pt x="3561670" y="779091"/>
                  <a:pt x="3557281" y="1107295"/>
                </a:cubicBezTo>
                <a:lnTo>
                  <a:pt x="7397" y="1107138"/>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a:t> </a:t>
            </a:r>
          </a:p>
        </p:txBody>
      </p:sp>
      <p:sp>
        <p:nvSpPr>
          <p:cNvPr id="14" name="Text Placeholder 33">
            <a:extLst>
              <a:ext uri="{FF2B5EF4-FFF2-40B4-BE49-F238E27FC236}">
                <a16:creationId xmlns:a16="http://schemas.microsoft.com/office/drawing/2014/main" id="{B1ED78A0-A56B-4703-A84F-DDB45C4928AA}"/>
              </a:ext>
            </a:extLst>
          </p:cNvPr>
          <p:cNvSpPr>
            <a:spLocks noGrp="1"/>
          </p:cNvSpPr>
          <p:nvPr>
            <p:ph type="body" sz="quarter" idx="22" hasCustomPrompt="1"/>
          </p:nvPr>
        </p:nvSpPr>
        <p:spPr>
          <a:xfrm>
            <a:off x="-3135" y="4903195"/>
            <a:ext cx="5344068" cy="1042416"/>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183655 w 5344068"/>
              <a:gd name="connsiteY2" fmla="*/ 96335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25985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63040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88067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20056"/>
                  <a:pt x="1336" y="988067"/>
                </a:cubicBezTo>
                <a:lnTo>
                  <a:pt x="3552965" y="977327"/>
                </a:lnTo>
                <a:cubicBezTo>
                  <a:pt x="3550551" y="657901"/>
                  <a:pt x="3555066" y="324189"/>
                  <a:pt x="3552652" y="4763"/>
                </a:cubicBez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a:t> </a:t>
            </a:r>
          </a:p>
        </p:txBody>
      </p: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559858"/>
            <a:ext cx="5486400" cy="369332"/>
          </a:xfrm>
        </p:spPr>
        <p:txBody>
          <a:bodyPr/>
          <a:lstStyle>
            <a:lvl1pPr>
              <a:defRPr sz="3000"/>
            </a:lvl1pPr>
          </a:lstStyle>
          <a:p>
            <a:r>
              <a:rPr lang="en-US" dirty="0"/>
              <a:t>Case study title</a:t>
            </a:r>
          </a:p>
        </p:txBody>
      </p:sp>
      <p:grpSp>
        <p:nvGrpSpPr>
          <p:cNvPr id="102" name="Group 101">
            <a:extLst>
              <a:ext uri="{FF2B5EF4-FFF2-40B4-BE49-F238E27FC236}">
                <a16:creationId xmlns:a16="http://schemas.microsoft.com/office/drawing/2014/main" id="{96A1FBE7-9A49-4893-BE73-C040CC83491F}"/>
              </a:ext>
            </a:extLst>
          </p:cNvPr>
          <p:cNvGrpSpPr/>
          <p:nvPr userDrawn="1"/>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4" name="Text Placeholder 103">
            <a:extLst>
              <a:ext uri="{FF2B5EF4-FFF2-40B4-BE49-F238E27FC236}">
                <a16:creationId xmlns:a16="http://schemas.microsoft.com/office/drawing/2014/main" id="{3F92D13C-3F81-42E4-AB3C-F61BBBD79BBD}"/>
              </a:ext>
            </a:extLst>
          </p:cNvPr>
          <p:cNvSpPr>
            <a:spLocks noGrp="1"/>
          </p:cNvSpPr>
          <p:nvPr userDrawn="1">
            <p:ph type="body" sz="quarter" idx="26" hasCustomPrompt="1"/>
          </p:nvPr>
        </p:nvSpPr>
        <p:spPr>
          <a:xfrm>
            <a:off x="150008" y="4975225"/>
            <a:ext cx="3271178" cy="822960"/>
          </a:xfrm>
        </p:spPr>
        <p:txBody>
          <a:bodyPr anchor="ctr" anchorCtr="0"/>
          <a:lstStyle>
            <a:lvl1pPr marL="0" indent="0" algn="l">
              <a:spcBef>
                <a:spcPts val="0"/>
              </a:spcBef>
              <a:buFontTx/>
              <a:buNone/>
              <a:defRPr sz="1600" b="1">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ompany description</a:t>
            </a:r>
          </a:p>
        </p:txBody>
      </p:sp>
      <p:sp>
        <p:nvSpPr>
          <p:cNvPr id="21" name="Text Placeholder 20">
            <a:extLst>
              <a:ext uri="{FF2B5EF4-FFF2-40B4-BE49-F238E27FC236}">
                <a16:creationId xmlns:a16="http://schemas.microsoft.com/office/drawing/2014/main" id="{A8E0F22E-03D5-4502-8E42-6A2026C39BC5}"/>
              </a:ext>
            </a:extLst>
          </p:cNvPr>
          <p:cNvSpPr>
            <a:spLocks noGrp="1"/>
          </p:cNvSpPr>
          <p:nvPr userDrawn="1">
            <p:ph type="body" sz="quarter" idx="27" hasCustomPrompt="1"/>
          </p:nvPr>
        </p:nvSpPr>
        <p:spPr>
          <a:xfrm>
            <a:off x="3680340" y="5036185"/>
            <a:ext cx="1472491" cy="723900"/>
          </a:xfrm>
        </p:spPr>
        <p:txBody>
          <a:bodyPr anchor="ctr" anchorCtr="0"/>
          <a:lstStyle>
            <a:lvl1pPr marL="0" indent="0" algn="ctr">
              <a:buFontTx/>
              <a:buNone/>
              <a:defRPr sz="1400">
                <a:solidFill>
                  <a:schemeClr val="tx1"/>
                </a:solidFill>
              </a:defRPr>
            </a:lvl1pPr>
          </a:lstStyle>
          <a:p>
            <a:pPr lvl="0"/>
            <a:r>
              <a:rPr lang="en-US"/>
              <a:t>Paste logo</a:t>
            </a:r>
          </a:p>
        </p:txBody>
      </p:sp>
      <p:sp>
        <p:nvSpPr>
          <p:cNvPr id="5" name="Text Placeholder 4">
            <a:extLst>
              <a:ext uri="{FF2B5EF4-FFF2-40B4-BE49-F238E27FC236}">
                <a16:creationId xmlns:a16="http://schemas.microsoft.com/office/drawing/2014/main" id="{4AF8F5CE-15BE-4435-9208-3EFF81A3836F}"/>
              </a:ext>
            </a:extLst>
          </p:cNvPr>
          <p:cNvSpPr>
            <a:spLocks noGrp="1"/>
          </p:cNvSpPr>
          <p:nvPr>
            <p:ph type="body" sz="quarter" idx="28" hasCustomPrompt="1"/>
          </p:nvPr>
        </p:nvSpPr>
        <p:spPr>
          <a:xfrm>
            <a:off x="6261100" y="3163874"/>
            <a:ext cx="5486400" cy="1402435"/>
          </a:xfrm>
        </p:spPr>
        <p:txBody>
          <a:bodyPr vert="horz" lIns="0" tIns="0" rIns="0" bIns="0" rtlCol="0" anchor="ctr" anchorCtr="0">
            <a:spAutoFit/>
          </a:bodyPr>
          <a:lstStyle>
            <a:lvl1pPr>
              <a:defRPr lang="en-US" dirty="0"/>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07" name="Rectangle 6">
            <a:extLst>
              <a:ext uri="{FF2B5EF4-FFF2-40B4-BE49-F238E27FC236}">
                <a16:creationId xmlns:a16="http://schemas.microsoft.com/office/drawing/2014/main" id="{66869BB4-81C8-4935-AA15-82CB480F24D6}"/>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
        <p:nvSpPr>
          <p:cNvPr id="2" name="Rectangle 1">
            <a:extLst>
              <a:ext uri="{FF2B5EF4-FFF2-40B4-BE49-F238E27FC236}">
                <a16:creationId xmlns:a16="http://schemas.microsoft.com/office/drawing/2014/main" id="{B531ECCF-E661-7AEC-A5AF-86740FC0C40E}"/>
              </a:ext>
            </a:extLst>
          </p:cNvPr>
          <p:cNvSpPr/>
          <p:nvPr userDrawn="1"/>
        </p:nvSpPr>
        <p:spPr>
          <a:xfrm>
            <a:off x="6235700"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2529108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ase Study (2)">
    <p:spTree>
      <p:nvGrpSpPr>
        <p:cNvPr id="1" name=""/>
        <p:cNvGrpSpPr/>
        <p:nvPr/>
      </p:nvGrpSpPr>
      <p:grpSpPr>
        <a:xfrm>
          <a:off x="0" y="0"/>
          <a:ext cx="0" cy="0"/>
          <a:chOff x="0" y="0"/>
          <a:chExt cx="0" cy="0"/>
        </a:xfrm>
      </p:grpSpPr>
      <p:sp>
        <p:nvSpPr>
          <p:cNvPr id="125" name="Picture Placeholder 21">
            <a:extLst>
              <a:ext uri="{FF2B5EF4-FFF2-40B4-BE49-F238E27FC236}">
                <a16:creationId xmlns:a16="http://schemas.microsoft.com/office/drawing/2014/main" id="{F46285CB-DC74-53F7-B76E-A80AA0A0DF72}"/>
              </a:ext>
            </a:extLst>
          </p:cNvPr>
          <p:cNvSpPr>
            <a:spLocks noGrp="1"/>
          </p:cNvSpPr>
          <p:nvPr>
            <p:ph type="pic" sz="quarter" idx="39" hasCustomPrompt="1"/>
          </p:nvPr>
        </p:nvSpPr>
        <p:spPr>
          <a:xfrm>
            <a:off x="-5210" y="111612"/>
            <a:ext cx="5792915" cy="3300984"/>
          </a:xfrm>
          <a:custGeom>
            <a:avLst/>
            <a:gdLst>
              <a:gd name="connsiteX0" fmla="*/ 0 w 5808663"/>
              <a:gd name="connsiteY0" fmla="*/ 0 h 3287713"/>
              <a:gd name="connsiteX1" fmla="*/ 5251987 w 5808663"/>
              <a:gd name="connsiteY1" fmla="*/ 0 h 3287713"/>
              <a:gd name="connsiteX2" fmla="*/ 5808663 w 5808663"/>
              <a:gd name="connsiteY2" fmla="*/ 556676 h 3287713"/>
              <a:gd name="connsiteX3" fmla="*/ 5808663 w 5808663"/>
              <a:gd name="connsiteY3" fmla="*/ 3287713 h 3287713"/>
              <a:gd name="connsiteX4" fmla="*/ 0 w 5808663"/>
              <a:gd name="connsiteY4" fmla="*/ 3287713 h 3287713"/>
              <a:gd name="connsiteX5" fmla="*/ 0 w 5808663"/>
              <a:gd name="connsiteY5" fmla="*/ 0 h 3287713"/>
              <a:gd name="connsiteX0" fmla="*/ 0 w 5808663"/>
              <a:gd name="connsiteY0" fmla="*/ 0 h 3287713"/>
              <a:gd name="connsiteX1" fmla="*/ 5251987 w 5808663"/>
              <a:gd name="connsiteY1" fmla="*/ 0 h 3287713"/>
              <a:gd name="connsiteX2" fmla="*/ 5808663 w 5808663"/>
              <a:gd name="connsiteY2" fmla="*/ 356379 h 3287713"/>
              <a:gd name="connsiteX3" fmla="*/ 5808663 w 5808663"/>
              <a:gd name="connsiteY3" fmla="*/ 3287713 h 3287713"/>
              <a:gd name="connsiteX4" fmla="*/ 0 w 5808663"/>
              <a:gd name="connsiteY4" fmla="*/ 3287713 h 3287713"/>
              <a:gd name="connsiteX5" fmla="*/ 0 w 5808663"/>
              <a:gd name="connsiteY5" fmla="*/ 0 h 3287713"/>
              <a:gd name="connsiteX0" fmla="*/ 0 w 5813443"/>
              <a:gd name="connsiteY0" fmla="*/ 0 h 3287713"/>
              <a:gd name="connsiteX1" fmla="*/ 5251987 w 5813443"/>
              <a:gd name="connsiteY1" fmla="*/ 0 h 3287713"/>
              <a:gd name="connsiteX2" fmla="*/ 5813443 w 5813443"/>
              <a:gd name="connsiteY2" fmla="*/ 342091 h 3287713"/>
              <a:gd name="connsiteX3" fmla="*/ 5808663 w 5813443"/>
              <a:gd name="connsiteY3" fmla="*/ 3287713 h 3287713"/>
              <a:gd name="connsiteX4" fmla="*/ 0 w 5813443"/>
              <a:gd name="connsiteY4" fmla="*/ 3287713 h 3287713"/>
              <a:gd name="connsiteX5" fmla="*/ 0 w 5813443"/>
              <a:gd name="connsiteY5" fmla="*/ 0 h 3287713"/>
              <a:gd name="connsiteX0" fmla="*/ 0 w 5813443"/>
              <a:gd name="connsiteY0" fmla="*/ 0 h 3287713"/>
              <a:gd name="connsiteX1" fmla="*/ 5237650 w 5813443"/>
              <a:gd name="connsiteY1" fmla="*/ 4762 h 3287713"/>
              <a:gd name="connsiteX2" fmla="*/ 5813443 w 5813443"/>
              <a:gd name="connsiteY2" fmla="*/ 342091 h 3287713"/>
              <a:gd name="connsiteX3" fmla="*/ 5808663 w 5813443"/>
              <a:gd name="connsiteY3" fmla="*/ 3287713 h 3287713"/>
              <a:gd name="connsiteX4" fmla="*/ 0 w 5813443"/>
              <a:gd name="connsiteY4" fmla="*/ 3287713 h 3287713"/>
              <a:gd name="connsiteX5" fmla="*/ 0 w 5813443"/>
              <a:gd name="connsiteY5" fmla="*/ 0 h 328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3443" h="3287713">
                <a:moveTo>
                  <a:pt x="0" y="0"/>
                </a:moveTo>
                <a:lnTo>
                  <a:pt x="5237650" y="4762"/>
                </a:lnTo>
                <a:lnTo>
                  <a:pt x="5813443" y="342091"/>
                </a:lnTo>
                <a:cubicBezTo>
                  <a:pt x="5811850" y="1323965"/>
                  <a:pt x="5810256" y="2305839"/>
                  <a:pt x="5808663" y="3287713"/>
                </a:cubicBezTo>
                <a:lnTo>
                  <a:pt x="0" y="3287713"/>
                </a:lnTo>
                <a:lnTo>
                  <a:pt x="0" y="0"/>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sp>
        <p:nvSpPr>
          <p:cNvPr id="126" name="Rectangle 125">
            <a:extLst>
              <a:ext uri="{FF2B5EF4-FFF2-40B4-BE49-F238E27FC236}">
                <a16:creationId xmlns:a16="http://schemas.microsoft.com/office/drawing/2014/main" id="{F3136A29-B584-E76A-2E17-C71A5C6320EF}"/>
              </a:ext>
            </a:extLst>
          </p:cNvPr>
          <p:cNvSpPr/>
          <p:nvPr userDrawn="1"/>
        </p:nvSpPr>
        <p:spPr>
          <a:xfrm>
            <a:off x="-9525" y="3429001"/>
            <a:ext cx="5788152" cy="3429000"/>
          </a:xfrm>
          <a:prstGeom prst="rect">
            <a:avLst/>
          </a:prstGeom>
          <a:gradFill>
            <a:gsLst>
              <a:gs pos="0">
                <a:srgbClr val="070707"/>
              </a:gs>
              <a:gs pos="100000">
                <a:schemeClr val="accent1">
                  <a:lumMod val="5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err="1">
              <a:solidFill>
                <a:schemeClr val="bg1"/>
              </a:solidFill>
            </a:endParaRPr>
          </a:p>
        </p:txBody>
      </p:sp>
      <p:cxnSp>
        <p:nvCxnSpPr>
          <p:cNvPr id="127" name="Straight Connector 126">
            <a:extLst>
              <a:ext uri="{FF2B5EF4-FFF2-40B4-BE49-F238E27FC236}">
                <a16:creationId xmlns:a16="http://schemas.microsoft.com/office/drawing/2014/main" id="{13767FDC-A9C3-2706-392D-5675FC85C294}"/>
              </a:ext>
            </a:extLst>
          </p:cNvPr>
          <p:cNvCxnSpPr>
            <a:cxnSpLocks/>
          </p:cNvCxnSpPr>
          <p:nvPr userDrawn="1"/>
        </p:nvCxnSpPr>
        <p:spPr>
          <a:xfrm>
            <a:off x="-17145" y="3429001"/>
            <a:ext cx="5797296" cy="0"/>
          </a:xfrm>
          <a:prstGeom prst="line">
            <a:avLst/>
          </a:prstGeom>
          <a:ln w="34925">
            <a:gradFill>
              <a:gsLst>
                <a:gs pos="2797">
                  <a:srgbClr val="488631"/>
                </a:gs>
                <a:gs pos="50000">
                  <a:schemeClr val="accent1">
                    <a:lumMod val="50000"/>
                  </a:schemeClr>
                </a:gs>
                <a:gs pos="100000">
                  <a:srgbClr val="070707"/>
                </a:gs>
              </a:gsLst>
              <a:lin ang="0" scaled="0"/>
            </a:gradFill>
            <a:miter lim="800000"/>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559850"/>
            <a:ext cx="5486400" cy="369332"/>
          </a:xfrm>
        </p:spPr>
        <p:txBody>
          <a:bodyPr/>
          <a:lstStyle>
            <a:lvl1pPr>
              <a:defRPr sz="3000"/>
            </a:lvl1pPr>
          </a:lstStyle>
          <a:p>
            <a:r>
              <a:rPr lang="en-US" dirty="0"/>
              <a:t>Case study title</a:t>
            </a:r>
          </a:p>
        </p:txBody>
      </p:sp>
      <p:grpSp>
        <p:nvGrpSpPr>
          <p:cNvPr id="102" name="Group 101">
            <a:extLst>
              <a:ext uri="{FF2B5EF4-FFF2-40B4-BE49-F238E27FC236}">
                <a16:creationId xmlns:a16="http://schemas.microsoft.com/office/drawing/2014/main" id="{96A1FBE7-9A49-4893-BE73-C040CC83491F}"/>
              </a:ext>
            </a:extLst>
          </p:cNvPr>
          <p:cNvGrpSpPr/>
          <p:nvPr userDrawn="1"/>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7" name="Rectangle 6">
            <a:extLst>
              <a:ext uri="{FF2B5EF4-FFF2-40B4-BE49-F238E27FC236}">
                <a16:creationId xmlns:a16="http://schemas.microsoft.com/office/drawing/2014/main" id="{66869BB4-81C8-4935-AA15-82CB480F24D6}"/>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
        <p:nvSpPr>
          <p:cNvPr id="10" name="Text Placeholder 4">
            <a:extLst>
              <a:ext uri="{FF2B5EF4-FFF2-40B4-BE49-F238E27FC236}">
                <a16:creationId xmlns:a16="http://schemas.microsoft.com/office/drawing/2014/main" id="{885007B6-B3BA-AC5D-BBD4-04C1246A4711}"/>
              </a:ext>
            </a:extLst>
          </p:cNvPr>
          <p:cNvSpPr>
            <a:spLocks noGrp="1"/>
          </p:cNvSpPr>
          <p:nvPr>
            <p:ph type="body" sz="quarter" idx="28" hasCustomPrompt="1"/>
          </p:nvPr>
        </p:nvSpPr>
        <p:spPr>
          <a:xfrm>
            <a:off x="6235700" y="2043277"/>
            <a:ext cx="5486400" cy="1097280"/>
          </a:xfrm>
        </p:spPr>
        <p:txBody>
          <a:bodyPr vert="horz" lIns="0" tIns="0" rIns="0" bIns="0" rtlCol="0" anchor="t" anchorCtr="0">
            <a:spAutoFit/>
          </a:bodyPr>
          <a:lstStyle>
            <a:lvl1pPr marL="173038" indent="-173038">
              <a:defRPr lang="en-US" sz="1400" dirty="0"/>
            </a:lvl1pPr>
            <a:lvl2pPr marL="344488" indent="-171450">
              <a:defRPr sz="1200"/>
            </a:lvl2pPr>
          </a:lstStyle>
          <a:p>
            <a:pPr lvl="0"/>
            <a:r>
              <a:rPr lang="en-US" dirty="0"/>
              <a:t>Add text</a:t>
            </a:r>
          </a:p>
          <a:p>
            <a:pPr lvl="1"/>
            <a:r>
              <a:rPr lang="en-US" dirty="0"/>
              <a:t>Second level</a:t>
            </a:r>
          </a:p>
        </p:txBody>
      </p:sp>
      <p:sp>
        <p:nvSpPr>
          <p:cNvPr id="11" name="Text Placeholder 15">
            <a:extLst>
              <a:ext uri="{FF2B5EF4-FFF2-40B4-BE49-F238E27FC236}">
                <a16:creationId xmlns:a16="http://schemas.microsoft.com/office/drawing/2014/main" id="{896F6491-BA52-98B2-37D9-6C72A51E4E9E}"/>
              </a:ext>
            </a:extLst>
          </p:cNvPr>
          <p:cNvSpPr>
            <a:spLocks noGrp="1"/>
          </p:cNvSpPr>
          <p:nvPr>
            <p:ph type="body" sz="quarter" idx="16" hasCustomPrompt="1"/>
          </p:nvPr>
        </p:nvSpPr>
        <p:spPr>
          <a:xfrm>
            <a:off x="6235700" y="1631047"/>
            <a:ext cx="5486400" cy="347472"/>
          </a:xfrm>
        </p:spPr>
        <p:txBody>
          <a:bodyPr anchor="ctr" anchorCtr="0"/>
          <a:lstStyle>
            <a:lvl1pPr marL="0" indent="0" algn="l">
              <a:lnSpc>
                <a:spcPct val="85000"/>
              </a:lnSpc>
              <a:spcBef>
                <a:spcPts val="0"/>
              </a:spcBef>
              <a:buFontTx/>
              <a:buNone/>
              <a:defRPr sz="2000" b="1">
                <a:solidFill>
                  <a:schemeClr val="accent1"/>
                </a:solidFill>
              </a:defRPr>
            </a:lvl1pPr>
          </a:lstStyle>
          <a:p>
            <a:pPr lvl="0"/>
            <a:r>
              <a:rPr lang="en-US" dirty="0"/>
              <a:t>Add title</a:t>
            </a:r>
          </a:p>
        </p:txBody>
      </p:sp>
      <p:sp>
        <p:nvSpPr>
          <p:cNvPr id="12" name="Text Placeholder 4">
            <a:extLst>
              <a:ext uri="{FF2B5EF4-FFF2-40B4-BE49-F238E27FC236}">
                <a16:creationId xmlns:a16="http://schemas.microsoft.com/office/drawing/2014/main" id="{5390ED08-AE15-F397-DD15-1B04A0FA43B1}"/>
              </a:ext>
            </a:extLst>
          </p:cNvPr>
          <p:cNvSpPr>
            <a:spLocks noGrp="1"/>
          </p:cNvSpPr>
          <p:nvPr>
            <p:ph type="body" sz="quarter" idx="34" hasCustomPrompt="1"/>
          </p:nvPr>
        </p:nvSpPr>
        <p:spPr>
          <a:xfrm>
            <a:off x="6235700" y="3697086"/>
            <a:ext cx="5486400" cy="1097280"/>
          </a:xfrm>
        </p:spPr>
        <p:txBody>
          <a:bodyPr vert="horz" lIns="0" tIns="0" rIns="0" bIns="0" rtlCol="0" anchor="t" anchorCtr="0">
            <a:spAutoFit/>
          </a:bodyPr>
          <a:lstStyle>
            <a:lvl1pPr marL="173038" indent="-173038">
              <a:defRPr lang="en-US" sz="1400" dirty="0"/>
            </a:lvl1pPr>
            <a:lvl2pPr marL="344488" indent="-171450">
              <a:defRPr sz="1200"/>
            </a:lvl2pPr>
          </a:lstStyle>
          <a:p>
            <a:pPr lvl="0"/>
            <a:r>
              <a:rPr lang="en-US" dirty="0"/>
              <a:t>Add text</a:t>
            </a:r>
          </a:p>
          <a:p>
            <a:pPr lvl="1"/>
            <a:r>
              <a:rPr lang="en-US" dirty="0"/>
              <a:t>Second level</a:t>
            </a:r>
          </a:p>
        </p:txBody>
      </p:sp>
      <p:sp>
        <p:nvSpPr>
          <p:cNvPr id="13" name="Text Placeholder 15">
            <a:extLst>
              <a:ext uri="{FF2B5EF4-FFF2-40B4-BE49-F238E27FC236}">
                <a16:creationId xmlns:a16="http://schemas.microsoft.com/office/drawing/2014/main" id="{9C142775-A644-08C7-3662-FFB34A0B558E}"/>
              </a:ext>
            </a:extLst>
          </p:cNvPr>
          <p:cNvSpPr>
            <a:spLocks noGrp="1"/>
          </p:cNvSpPr>
          <p:nvPr>
            <p:ph type="body" sz="quarter" idx="35" hasCustomPrompt="1"/>
          </p:nvPr>
        </p:nvSpPr>
        <p:spPr>
          <a:xfrm>
            <a:off x="6235700" y="3308920"/>
            <a:ext cx="5486400" cy="347472"/>
          </a:xfrm>
        </p:spPr>
        <p:txBody>
          <a:bodyPr anchor="ctr" anchorCtr="0"/>
          <a:lstStyle>
            <a:lvl1pPr marL="0" indent="0" algn="l">
              <a:lnSpc>
                <a:spcPct val="85000"/>
              </a:lnSpc>
              <a:spcBef>
                <a:spcPts val="0"/>
              </a:spcBef>
              <a:buFontTx/>
              <a:buNone/>
              <a:defRPr sz="2000" b="1">
                <a:solidFill>
                  <a:schemeClr val="accent1"/>
                </a:solidFill>
              </a:defRPr>
            </a:lvl1pPr>
          </a:lstStyle>
          <a:p>
            <a:pPr lvl="0"/>
            <a:r>
              <a:rPr lang="en-US" dirty="0"/>
              <a:t>Add title</a:t>
            </a:r>
          </a:p>
        </p:txBody>
      </p:sp>
      <p:sp>
        <p:nvSpPr>
          <p:cNvPr id="15" name="Text Placeholder 4">
            <a:extLst>
              <a:ext uri="{FF2B5EF4-FFF2-40B4-BE49-F238E27FC236}">
                <a16:creationId xmlns:a16="http://schemas.microsoft.com/office/drawing/2014/main" id="{7D450CF5-81DE-A6B3-D170-BD90EA102388}"/>
              </a:ext>
            </a:extLst>
          </p:cNvPr>
          <p:cNvSpPr>
            <a:spLocks noGrp="1"/>
          </p:cNvSpPr>
          <p:nvPr>
            <p:ph type="body" sz="quarter" idx="36" hasCustomPrompt="1"/>
          </p:nvPr>
        </p:nvSpPr>
        <p:spPr>
          <a:xfrm>
            <a:off x="6235700" y="5361645"/>
            <a:ext cx="5486400" cy="1097280"/>
          </a:xfrm>
        </p:spPr>
        <p:txBody>
          <a:bodyPr vert="horz" lIns="0" tIns="0" rIns="0" bIns="0" rtlCol="0" anchor="t" anchorCtr="0">
            <a:spAutoFit/>
          </a:bodyPr>
          <a:lstStyle>
            <a:lvl1pPr marL="173038" indent="-173038">
              <a:defRPr lang="en-US" sz="1400" dirty="0"/>
            </a:lvl1pPr>
            <a:lvl2pPr marL="344488" indent="-171450">
              <a:defRPr sz="1200"/>
            </a:lvl2pPr>
          </a:lstStyle>
          <a:p>
            <a:pPr lvl="0"/>
            <a:r>
              <a:rPr lang="en-US" dirty="0"/>
              <a:t>Add text</a:t>
            </a:r>
          </a:p>
          <a:p>
            <a:pPr lvl="1"/>
            <a:r>
              <a:rPr lang="en-US" dirty="0"/>
              <a:t>Second level</a:t>
            </a:r>
          </a:p>
        </p:txBody>
      </p:sp>
      <p:sp>
        <p:nvSpPr>
          <p:cNvPr id="16" name="Text Placeholder 15">
            <a:extLst>
              <a:ext uri="{FF2B5EF4-FFF2-40B4-BE49-F238E27FC236}">
                <a16:creationId xmlns:a16="http://schemas.microsoft.com/office/drawing/2014/main" id="{3FD7B1A8-8A61-D6C7-EE4E-E1A0A163B872}"/>
              </a:ext>
            </a:extLst>
          </p:cNvPr>
          <p:cNvSpPr>
            <a:spLocks noGrp="1"/>
          </p:cNvSpPr>
          <p:nvPr>
            <p:ph type="body" sz="quarter" idx="37" hasCustomPrompt="1"/>
          </p:nvPr>
        </p:nvSpPr>
        <p:spPr>
          <a:xfrm>
            <a:off x="6235700" y="4961447"/>
            <a:ext cx="5486400" cy="347472"/>
          </a:xfrm>
        </p:spPr>
        <p:txBody>
          <a:bodyPr anchor="ctr" anchorCtr="0"/>
          <a:lstStyle>
            <a:lvl1pPr marL="0" indent="0" algn="l">
              <a:lnSpc>
                <a:spcPct val="85000"/>
              </a:lnSpc>
              <a:spcBef>
                <a:spcPts val="0"/>
              </a:spcBef>
              <a:buFontTx/>
              <a:buNone/>
              <a:defRPr sz="2000" b="1">
                <a:solidFill>
                  <a:schemeClr val="accent1"/>
                </a:solidFill>
              </a:defRPr>
            </a:lvl1pPr>
          </a:lstStyle>
          <a:p>
            <a:pPr lvl="0"/>
            <a:r>
              <a:rPr lang="en-US" dirty="0"/>
              <a:t>Add title</a:t>
            </a:r>
          </a:p>
        </p:txBody>
      </p:sp>
      <p:sp>
        <p:nvSpPr>
          <p:cNvPr id="17" name="Text Placeholder 103">
            <a:extLst>
              <a:ext uri="{FF2B5EF4-FFF2-40B4-BE49-F238E27FC236}">
                <a16:creationId xmlns:a16="http://schemas.microsoft.com/office/drawing/2014/main" id="{E2EAEB2B-FDF7-AADE-7DBB-146DF31854F3}"/>
              </a:ext>
            </a:extLst>
          </p:cNvPr>
          <p:cNvSpPr>
            <a:spLocks noGrp="1"/>
          </p:cNvSpPr>
          <p:nvPr>
            <p:ph type="body" sz="quarter" idx="29" hasCustomPrompt="1"/>
          </p:nvPr>
        </p:nvSpPr>
        <p:spPr>
          <a:xfrm>
            <a:off x="129397" y="3880451"/>
            <a:ext cx="5532910" cy="1221147"/>
          </a:xfrm>
        </p:spPr>
        <p:txBody>
          <a:bodyPr anchor="t" anchorCtr="0"/>
          <a:lstStyle>
            <a:lvl1pPr marL="0" indent="0" algn="ctr">
              <a:spcBef>
                <a:spcPts val="0"/>
              </a:spcBef>
              <a:buFontTx/>
              <a:buNone/>
              <a:defRPr sz="1600">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Quote</a:t>
            </a:r>
          </a:p>
          <a:p>
            <a:pPr lvl="0"/>
            <a:r>
              <a:rPr lang="en-US" dirty="0"/>
              <a:t>Author</a:t>
            </a:r>
          </a:p>
          <a:p>
            <a:pPr lvl="0"/>
            <a:r>
              <a:rPr lang="en-US" dirty="0"/>
              <a:t>Title</a:t>
            </a:r>
          </a:p>
        </p:txBody>
      </p:sp>
      <p:pic>
        <p:nvPicPr>
          <p:cNvPr id="22" name="Graphic 21">
            <a:extLst>
              <a:ext uri="{FF2B5EF4-FFF2-40B4-BE49-F238E27FC236}">
                <a16:creationId xmlns:a16="http://schemas.microsoft.com/office/drawing/2014/main" id="{FC3D283A-9DFB-1AC8-0BA0-B2AF60C0A09B}"/>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53787"/>
          <a:stretch/>
        </p:blipFill>
        <p:spPr>
          <a:xfrm>
            <a:off x="4646577" y="4684194"/>
            <a:ext cx="1161626" cy="2313432"/>
          </a:xfrm>
          <a:prstGeom prst="rect">
            <a:avLst/>
          </a:prstGeom>
        </p:spPr>
      </p:pic>
      <p:grpSp>
        <p:nvGrpSpPr>
          <p:cNvPr id="49" name="Group 48">
            <a:extLst>
              <a:ext uri="{FF2B5EF4-FFF2-40B4-BE49-F238E27FC236}">
                <a16:creationId xmlns:a16="http://schemas.microsoft.com/office/drawing/2014/main" id="{B4535E5C-5A37-D673-7B76-981104869928}"/>
              </a:ext>
            </a:extLst>
          </p:cNvPr>
          <p:cNvGrpSpPr/>
          <p:nvPr userDrawn="1"/>
        </p:nvGrpSpPr>
        <p:grpSpPr>
          <a:xfrm>
            <a:off x="-2980" y="6555932"/>
            <a:ext cx="1621710" cy="223261"/>
            <a:chOff x="-2980" y="6329503"/>
            <a:chExt cx="1621710" cy="223261"/>
          </a:xfrm>
          <a:solidFill>
            <a:schemeClr val="bg1">
              <a:alpha val="10000"/>
            </a:schemeClr>
          </a:solidFill>
        </p:grpSpPr>
        <p:sp>
          <p:nvSpPr>
            <p:cNvPr id="50" name="Freeform: Shape 49">
              <a:extLst>
                <a:ext uri="{FF2B5EF4-FFF2-40B4-BE49-F238E27FC236}">
                  <a16:creationId xmlns:a16="http://schemas.microsoft.com/office/drawing/2014/main" id="{DDD16B77-85D4-B626-DBCD-3360728F11C2}"/>
                </a:ext>
              </a:extLst>
            </p:cNvPr>
            <p:cNvSpPr/>
            <p:nvPr/>
          </p:nvSpPr>
          <p:spPr>
            <a:xfrm>
              <a:off x="509822" y="6329504"/>
              <a:ext cx="287290" cy="213899"/>
            </a:xfrm>
            <a:custGeom>
              <a:avLst/>
              <a:gdLst>
                <a:gd name="connsiteX0" fmla="*/ 221014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1014"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DE11C5C4-5709-B081-647D-7974158F89AF}"/>
                </a:ext>
              </a:extLst>
            </p:cNvPr>
            <p:cNvSpPr/>
            <p:nvPr/>
          </p:nvSpPr>
          <p:spPr>
            <a:xfrm>
              <a:off x="373057" y="6329504"/>
              <a:ext cx="287196" cy="213899"/>
            </a:xfrm>
            <a:custGeom>
              <a:avLst/>
              <a:gdLst>
                <a:gd name="connsiteX0" fmla="*/ 220921 w 287196"/>
                <a:gd name="connsiteY0" fmla="*/ 0 h 213899"/>
                <a:gd name="connsiteX1" fmla="*/ 0 w 287196"/>
                <a:gd name="connsiteY1" fmla="*/ 213900 h 213899"/>
                <a:gd name="connsiteX2" fmla="*/ 66276 w 287196"/>
                <a:gd name="connsiteY2" fmla="*/ 213900 h 213899"/>
                <a:gd name="connsiteX3" fmla="*/ 287197 w 287196"/>
                <a:gd name="connsiteY3" fmla="*/ 0 h 213899"/>
              </a:gdLst>
              <a:ahLst/>
              <a:cxnLst>
                <a:cxn ang="0">
                  <a:pos x="connsiteX0" y="connsiteY0"/>
                </a:cxn>
                <a:cxn ang="0">
                  <a:pos x="connsiteX1" y="connsiteY1"/>
                </a:cxn>
                <a:cxn ang="0">
                  <a:pos x="connsiteX2" y="connsiteY2"/>
                </a:cxn>
                <a:cxn ang="0">
                  <a:pos x="connsiteX3" y="connsiteY3"/>
                </a:cxn>
              </a:cxnLst>
              <a:rect l="l" t="t" r="r" b="b"/>
              <a:pathLst>
                <a:path w="287196" h="213899">
                  <a:moveTo>
                    <a:pt x="220921" y="0"/>
                  </a:moveTo>
                  <a:lnTo>
                    <a:pt x="0" y="213900"/>
                  </a:lnTo>
                  <a:lnTo>
                    <a:pt x="66276" y="213900"/>
                  </a:lnTo>
                  <a:lnTo>
                    <a:pt x="287197" y="0"/>
                  </a:lnTo>
                  <a:close/>
                </a:path>
              </a:pathLst>
            </a:custGeom>
            <a:grpFill/>
            <a:ln w="15567"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CAB92515-7966-53C3-31C0-C023F1B049D0}"/>
                </a:ext>
              </a:extLst>
            </p:cNvPr>
            <p:cNvSpPr/>
            <p:nvPr/>
          </p:nvSpPr>
          <p:spPr>
            <a:xfrm>
              <a:off x="236199" y="6329504"/>
              <a:ext cx="287290" cy="213899"/>
            </a:xfrm>
            <a:custGeom>
              <a:avLst/>
              <a:gdLst>
                <a:gd name="connsiteX0" fmla="*/ 220920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0"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EBB1C741-7E85-7643-FF90-980C41F606AC}"/>
                </a:ext>
              </a:extLst>
            </p:cNvPr>
            <p:cNvSpPr/>
            <p:nvPr/>
          </p:nvSpPr>
          <p:spPr>
            <a:xfrm>
              <a:off x="99340" y="6329504"/>
              <a:ext cx="287290" cy="213899"/>
            </a:xfrm>
            <a:custGeom>
              <a:avLst/>
              <a:gdLst>
                <a:gd name="connsiteX0" fmla="*/ 220921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1"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6DD81942-3D82-26DC-1D08-FC8C1366C7D3}"/>
                </a:ext>
              </a:extLst>
            </p:cNvPr>
            <p:cNvSpPr/>
            <p:nvPr/>
          </p:nvSpPr>
          <p:spPr>
            <a:xfrm>
              <a:off x="-2980" y="6329504"/>
              <a:ext cx="115988" cy="112303"/>
            </a:xfrm>
            <a:custGeom>
              <a:avLst/>
              <a:gdLst>
                <a:gd name="connsiteX0" fmla="*/ 49619 w 115988"/>
                <a:gd name="connsiteY0" fmla="*/ 0 h 112303"/>
                <a:gd name="connsiteX1" fmla="*/ 115988 w 115988"/>
                <a:gd name="connsiteY1" fmla="*/ 0 h 112303"/>
                <a:gd name="connsiteX2" fmla="*/ 0 w 115988"/>
                <a:gd name="connsiteY2" fmla="*/ 112303 h 112303"/>
                <a:gd name="connsiteX3" fmla="*/ 0 w 115988"/>
                <a:gd name="connsiteY3" fmla="*/ 48042 h 112303"/>
                <a:gd name="connsiteX4" fmla="*/ 49619 w 115988"/>
                <a:gd name="connsiteY4" fmla="*/ 0 h 112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88" h="112303">
                  <a:moveTo>
                    <a:pt x="49619" y="0"/>
                  </a:moveTo>
                  <a:lnTo>
                    <a:pt x="115988" y="0"/>
                  </a:lnTo>
                  <a:lnTo>
                    <a:pt x="0" y="112303"/>
                  </a:lnTo>
                  <a:lnTo>
                    <a:pt x="0" y="48042"/>
                  </a:lnTo>
                  <a:lnTo>
                    <a:pt x="49619" y="0"/>
                  </a:lnTo>
                  <a:close/>
                </a:path>
              </a:pathLst>
            </a:custGeom>
            <a:grpFill/>
            <a:ln w="15567"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49E2B320-25B8-F65D-8341-D747FE99A112}"/>
                </a:ext>
              </a:extLst>
            </p:cNvPr>
            <p:cNvSpPr/>
            <p:nvPr/>
          </p:nvSpPr>
          <p:spPr>
            <a:xfrm>
              <a:off x="-2980" y="6329503"/>
              <a:ext cx="252754" cy="213900"/>
            </a:xfrm>
            <a:custGeom>
              <a:avLst/>
              <a:gdLst>
                <a:gd name="connsiteX0" fmla="*/ 186477 w 252754"/>
                <a:gd name="connsiteY0" fmla="*/ 0 h 213900"/>
                <a:gd name="connsiteX1" fmla="*/ 252754 w 252754"/>
                <a:gd name="connsiteY1" fmla="*/ 0 h 213900"/>
                <a:gd name="connsiteX2" fmla="*/ 31833 w 252754"/>
                <a:gd name="connsiteY2" fmla="*/ 213900 h 213900"/>
                <a:gd name="connsiteX3" fmla="*/ 0 w 252754"/>
                <a:gd name="connsiteY3" fmla="*/ 213900 h 213900"/>
                <a:gd name="connsiteX4" fmla="*/ 0 w 252754"/>
                <a:gd name="connsiteY4" fmla="*/ 180552 h 213900"/>
                <a:gd name="connsiteX5" fmla="*/ 186477 w 252754"/>
                <a:gd name="connsiteY5" fmla="*/ 0 h 21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754" h="213900">
                  <a:moveTo>
                    <a:pt x="186477" y="0"/>
                  </a:moveTo>
                  <a:lnTo>
                    <a:pt x="252754" y="0"/>
                  </a:lnTo>
                  <a:lnTo>
                    <a:pt x="31833" y="213900"/>
                  </a:lnTo>
                  <a:lnTo>
                    <a:pt x="0" y="213900"/>
                  </a:lnTo>
                  <a:lnTo>
                    <a:pt x="0" y="180552"/>
                  </a:lnTo>
                  <a:lnTo>
                    <a:pt x="186477" y="0"/>
                  </a:lnTo>
                  <a:close/>
                </a:path>
              </a:pathLst>
            </a:custGeom>
            <a:grpFill/>
            <a:ln w="15567"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B7AAAB16-F34D-A83D-BB22-9CC0D6E868D6}"/>
                </a:ext>
              </a:extLst>
            </p:cNvPr>
            <p:cNvSpPr/>
            <p:nvPr/>
          </p:nvSpPr>
          <p:spPr>
            <a:xfrm>
              <a:off x="1335746" y="6329504"/>
              <a:ext cx="273622" cy="213899"/>
            </a:xfrm>
            <a:custGeom>
              <a:avLst/>
              <a:gdLst>
                <a:gd name="connsiteX0" fmla="*/ 273623 w 273622"/>
                <a:gd name="connsiteY0" fmla="*/ 0 h 213899"/>
                <a:gd name="connsiteX1" fmla="*/ 220920 w 273622"/>
                <a:gd name="connsiteY1" fmla="*/ 0 h 213899"/>
                <a:gd name="connsiteX2" fmla="*/ 0 w 273622"/>
                <a:gd name="connsiteY2" fmla="*/ 213900 h 213899"/>
                <a:gd name="connsiteX3" fmla="*/ 66276 w 273622"/>
                <a:gd name="connsiteY3" fmla="*/ 213900 h 213899"/>
                <a:gd name="connsiteX4" fmla="*/ 273623 w 273622"/>
                <a:gd name="connsiteY4" fmla="*/ 13199 h 21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2" h="213899">
                  <a:moveTo>
                    <a:pt x="273623" y="0"/>
                  </a:moveTo>
                  <a:lnTo>
                    <a:pt x="220920" y="0"/>
                  </a:lnTo>
                  <a:lnTo>
                    <a:pt x="0" y="213900"/>
                  </a:lnTo>
                  <a:lnTo>
                    <a:pt x="66276" y="213900"/>
                  </a:lnTo>
                  <a:lnTo>
                    <a:pt x="273623" y="13199"/>
                  </a:lnTo>
                  <a:close/>
                </a:path>
              </a:pathLst>
            </a:custGeom>
            <a:grpFill/>
            <a:ln w="15567"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FE12A3ED-5366-65AB-1BDE-38E8858990C9}"/>
                </a:ext>
              </a:extLst>
            </p:cNvPr>
            <p:cNvSpPr/>
            <p:nvPr/>
          </p:nvSpPr>
          <p:spPr>
            <a:xfrm>
              <a:off x="646680" y="6329504"/>
              <a:ext cx="287290" cy="213899"/>
            </a:xfrm>
            <a:custGeom>
              <a:avLst/>
              <a:gdLst>
                <a:gd name="connsiteX0" fmla="*/ 220921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1"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40F89A2E-18B2-3F1F-1C5F-B3457C852A58}"/>
                </a:ext>
              </a:extLst>
            </p:cNvPr>
            <p:cNvSpPr/>
            <p:nvPr/>
          </p:nvSpPr>
          <p:spPr>
            <a:xfrm>
              <a:off x="1198888" y="6329504"/>
              <a:ext cx="287289" cy="213899"/>
            </a:xfrm>
            <a:custGeom>
              <a:avLst/>
              <a:gdLst>
                <a:gd name="connsiteX0" fmla="*/ 220920 w 287289"/>
                <a:gd name="connsiteY0" fmla="*/ 0 h 213899"/>
                <a:gd name="connsiteX1" fmla="*/ 0 w 287289"/>
                <a:gd name="connsiteY1" fmla="*/ 213900 h 213899"/>
                <a:gd name="connsiteX2" fmla="*/ 66370 w 287289"/>
                <a:gd name="connsiteY2" fmla="*/ 213900 h 213899"/>
                <a:gd name="connsiteX3" fmla="*/ 287290 w 287289"/>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89" h="213899">
                  <a:moveTo>
                    <a:pt x="220920"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3EA5F27B-C8B7-DBFF-6747-FA45A3FC3DE8}"/>
                </a:ext>
              </a:extLst>
            </p:cNvPr>
            <p:cNvSpPr/>
            <p:nvPr/>
          </p:nvSpPr>
          <p:spPr>
            <a:xfrm>
              <a:off x="1609369" y="6543403"/>
              <a:ext cx="9361" cy="9361"/>
            </a:xfrm>
            <a:custGeom>
              <a:avLst/>
              <a:gdLst>
                <a:gd name="connsiteX0" fmla="*/ 0 w 9361"/>
                <a:gd name="connsiteY0" fmla="*/ 0 h 9361"/>
                <a:gd name="connsiteX1" fmla="*/ 0 w 9361"/>
                <a:gd name="connsiteY1" fmla="*/ 0 h 9361"/>
                <a:gd name="connsiteX2" fmla="*/ 0 w 9361"/>
                <a:gd name="connsiteY2" fmla="*/ 0 h 9361"/>
              </a:gdLst>
              <a:ahLst/>
              <a:cxnLst>
                <a:cxn ang="0">
                  <a:pos x="connsiteX0" y="connsiteY0"/>
                </a:cxn>
                <a:cxn ang="0">
                  <a:pos x="connsiteX1" y="connsiteY1"/>
                </a:cxn>
                <a:cxn ang="0">
                  <a:pos x="connsiteX2" y="connsiteY2"/>
                </a:cxn>
              </a:cxnLst>
              <a:rect l="l" t="t" r="r" b="b"/>
              <a:pathLst>
                <a:path w="9361" h="9361">
                  <a:moveTo>
                    <a:pt x="0" y="0"/>
                  </a:moveTo>
                  <a:lnTo>
                    <a:pt x="0" y="0"/>
                  </a:lnTo>
                  <a:lnTo>
                    <a:pt x="0" y="0"/>
                  </a:lnTo>
                  <a:close/>
                </a:path>
              </a:pathLst>
            </a:custGeom>
            <a:grpFill/>
            <a:ln w="15567" cap="flat">
              <a:no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5CA3130B-3F01-C004-6922-AE67063F0FC7}"/>
                </a:ext>
              </a:extLst>
            </p:cNvPr>
            <p:cNvSpPr/>
            <p:nvPr/>
          </p:nvSpPr>
          <p:spPr>
            <a:xfrm>
              <a:off x="1472511" y="6410945"/>
              <a:ext cx="136858" cy="132458"/>
            </a:xfrm>
            <a:custGeom>
              <a:avLst/>
              <a:gdLst>
                <a:gd name="connsiteX0" fmla="*/ 136858 w 136858"/>
                <a:gd name="connsiteY0" fmla="*/ 0 h 132458"/>
                <a:gd name="connsiteX1" fmla="*/ 0 w 136858"/>
                <a:gd name="connsiteY1" fmla="*/ 132459 h 132458"/>
                <a:gd name="connsiteX2" fmla="*/ 66370 w 136858"/>
                <a:gd name="connsiteY2" fmla="*/ 132459 h 132458"/>
                <a:gd name="connsiteX3" fmla="*/ 136858 w 136858"/>
                <a:gd name="connsiteY3" fmla="*/ 64217 h 132458"/>
              </a:gdLst>
              <a:ahLst/>
              <a:cxnLst>
                <a:cxn ang="0">
                  <a:pos x="connsiteX0" y="connsiteY0"/>
                </a:cxn>
                <a:cxn ang="0">
                  <a:pos x="connsiteX1" y="connsiteY1"/>
                </a:cxn>
                <a:cxn ang="0">
                  <a:pos x="connsiteX2" y="connsiteY2"/>
                </a:cxn>
                <a:cxn ang="0">
                  <a:pos x="connsiteX3" y="connsiteY3"/>
                </a:cxn>
              </a:cxnLst>
              <a:rect l="l" t="t" r="r" b="b"/>
              <a:pathLst>
                <a:path w="136858" h="132458">
                  <a:moveTo>
                    <a:pt x="136858" y="0"/>
                  </a:moveTo>
                  <a:lnTo>
                    <a:pt x="0" y="132459"/>
                  </a:lnTo>
                  <a:lnTo>
                    <a:pt x="66370" y="132459"/>
                  </a:lnTo>
                  <a:lnTo>
                    <a:pt x="136858" y="64217"/>
                  </a:lnTo>
                  <a:close/>
                </a:path>
              </a:pathLst>
            </a:custGeom>
            <a:grpFill/>
            <a:ln w="15567"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E24118B6-BAC1-0267-667C-719F1529E9D5}"/>
                </a:ext>
              </a:extLst>
            </p:cNvPr>
            <p:cNvSpPr/>
            <p:nvPr/>
          </p:nvSpPr>
          <p:spPr>
            <a:xfrm>
              <a:off x="783539" y="6329504"/>
              <a:ext cx="292157" cy="213899"/>
            </a:xfrm>
            <a:custGeom>
              <a:avLst/>
              <a:gdLst>
                <a:gd name="connsiteX0" fmla="*/ 220920 w 292157"/>
                <a:gd name="connsiteY0" fmla="*/ 0 h 213899"/>
                <a:gd name="connsiteX1" fmla="*/ 0 w 292157"/>
                <a:gd name="connsiteY1" fmla="*/ 213900 h 213899"/>
                <a:gd name="connsiteX2" fmla="*/ 71237 w 292157"/>
                <a:gd name="connsiteY2" fmla="*/ 213900 h 213899"/>
                <a:gd name="connsiteX3" fmla="*/ 292158 w 292157"/>
                <a:gd name="connsiteY3" fmla="*/ 0 h 213899"/>
              </a:gdLst>
              <a:ahLst/>
              <a:cxnLst>
                <a:cxn ang="0">
                  <a:pos x="connsiteX0" y="connsiteY0"/>
                </a:cxn>
                <a:cxn ang="0">
                  <a:pos x="connsiteX1" y="connsiteY1"/>
                </a:cxn>
                <a:cxn ang="0">
                  <a:pos x="connsiteX2" y="connsiteY2"/>
                </a:cxn>
                <a:cxn ang="0">
                  <a:pos x="connsiteX3" y="connsiteY3"/>
                </a:cxn>
              </a:cxnLst>
              <a:rect l="l" t="t" r="r" b="b"/>
              <a:pathLst>
                <a:path w="292157" h="213899">
                  <a:moveTo>
                    <a:pt x="220920" y="0"/>
                  </a:moveTo>
                  <a:lnTo>
                    <a:pt x="0" y="213900"/>
                  </a:lnTo>
                  <a:lnTo>
                    <a:pt x="71237" y="213900"/>
                  </a:lnTo>
                  <a:lnTo>
                    <a:pt x="292158" y="0"/>
                  </a:lnTo>
                  <a:close/>
                </a:path>
              </a:pathLst>
            </a:custGeom>
            <a:grpFill/>
            <a:ln w="15567" cap="flat">
              <a:no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385FB089-8E2E-E3CD-5CD5-665439E4F658}"/>
                </a:ext>
              </a:extLst>
            </p:cNvPr>
            <p:cNvSpPr/>
            <p:nvPr/>
          </p:nvSpPr>
          <p:spPr>
            <a:xfrm>
              <a:off x="1062029" y="6329504"/>
              <a:ext cx="287290" cy="213899"/>
            </a:xfrm>
            <a:custGeom>
              <a:avLst/>
              <a:gdLst>
                <a:gd name="connsiteX0" fmla="*/ 221014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1014"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2E2C9BD5-6DE9-3D94-C052-5D27D95E4CE0}"/>
                </a:ext>
              </a:extLst>
            </p:cNvPr>
            <p:cNvSpPr/>
            <p:nvPr/>
          </p:nvSpPr>
          <p:spPr>
            <a:xfrm>
              <a:off x="925265" y="6329504"/>
              <a:ext cx="287196" cy="213899"/>
            </a:xfrm>
            <a:custGeom>
              <a:avLst/>
              <a:gdLst>
                <a:gd name="connsiteX0" fmla="*/ 220921 w 287196"/>
                <a:gd name="connsiteY0" fmla="*/ 0 h 213899"/>
                <a:gd name="connsiteX1" fmla="*/ 0 w 287196"/>
                <a:gd name="connsiteY1" fmla="*/ 213900 h 213899"/>
                <a:gd name="connsiteX2" fmla="*/ 66276 w 287196"/>
                <a:gd name="connsiteY2" fmla="*/ 213900 h 213899"/>
                <a:gd name="connsiteX3" fmla="*/ 287197 w 287196"/>
                <a:gd name="connsiteY3" fmla="*/ 0 h 213899"/>
              </a:gdLst>
              <a:ahLst/>
              <a:cxnLst>
                <a:cxn ang="0">
                  <a:pos x="connsiteX0" y="connsiteY0"/>
                </a:cxn>
                <a:cxn ang="0">
                  <a:pos x="connsiteX1" y="connsiteY1"/>
                </a:cxn>
                <a:cxn ang="0">
                  <a:pos x="connsiteX2" y="connsiteY2"/>
                </a:cxn>
                <a:cxn ang="0">
                  <a:pos x="connsiteX3" y="connsiteY3"/>
                </a:cxn>
              </a:cxnLst>
              <a:rect l="l" t="t" r="r" b="b"/>
              <a:pathLst>
                <a:path w="287196" h="213899">
                  <a:moveTo>
                    <a:pt x="220921" y="0"/>
                  </a:moveTo>
                  <a:lnTo>
                    <a:pt x="0" y="213900"/>
                  </a:lnTo>
                  <a:lnTo>
                    <a:pt x="66276" y="213900"/>
                  </a:lnTo>
                  <a:lnTo>
                    <a:pt x="287197" y="0"/>
                  </a:lnTo>
                  <a:close/>
                </a:path>
              </a:pathLst>
            </a:custGeom>
            <a:grpFill/>
            <a:ln w="15567" cap="flat">
              <a:noFill/>
              <a:prstDash val="solid"/>
              <a:miter/>
            </a:ln>
          </p:spPr>
          <p:txBody>
            <a:bodyPr rtlCol="0" anchor="ctr"/>
            <a:lstStyle/>
            <a:p>
              <a:endParaRPr lang="en-US" dirty="0"/>
            </a:p>
          </p:txBody>
        </p:sp>
      </p:grpSp>
      <p:sp>
        <p:nvSpPr>
          <p:cNvPr id="70" name="Text Placeholder 33">
            <a:extLst>
              <a:ext uri="{FF2B5EF4-FFF2-40B4-BE49-F238E27FC236}">
                <a16:creationId xmlns:a16="http://schemas.microsoft.com/office/drawing/2014/main" id="{CB448DBF-2ACC-FAD7-665F-2CF49DDBC440}"/>
              </a:ext>
            </a:extLst>
          </p:cNvPr>
          <p:cNvSpPr>
            <a:spLocks noGrp="1"/>
          </p:cNvSpPr>
          <p:nvPr>
            <p:ph type="body" sz="quarter" idx="18" hasCustomPrompt="1"/>
          </p:nvPr>
        </p:nvSpPr>
        <p:spPr>
          <a:xfrm>
            <a:off x="-9345" y="5287124"/>
            <a:ext cx="3560922" cy="1107295"/>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 name="connsiteX0" fmla="*/ 0 w 3653537"/>
              <a:gd name="connsiteY0" fmla="*/ 1249154 h 1249946"/>
              <a:gd name="connsiteX1" fmla="*/ 3934 w 3653537"/>
              <a:gd name="connsiteY1" fmla="*/ 1677 h 1249946"/>
              <a:gd name="connsiteX2" fmla="*/ 2601911 w 3653537"/>
              <a:gd name="connsiteY2" fmla="*/ 0 h 1249946"/>
              <a:gd name="connsiteX3" fmla="*/ 3150718 w 3653537"/>
              <a:gd name="connsiteY3" fmla="*/ 266682 h 1249946"/>
              <a:gd name="connsiteX4" fmla="*/ 3653537 w 3653537"/>
              <a:gd name="connsiteY4" fmla="*/ 269460 h 1249946"/>
              <a:gd name="connsiteX5" fmla="*/ 3066332 w 3653537"/>
              <a:gd name="connsiteY5" fmla="*/ 1249946 h 1249946"/>
              <a:gd name="connsiteX6" fmla="*/ 0 w 3653537"/>
              <a:gd name="connsiteY6" fmla="*/ 1249154 h 1249946"/>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178092 w 3653537"/>
              <a:gd name="connsiteY5" fmla="*/ 1244866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259372 w 3653537"/>
              <a:gd name="connsiteY5" fmla="*/ 1239786 h 1249154"/>
              <a:gd name="connsiteX6" fmla="*/ 0 w 3653537"/>
              <a:gd name="connsiteY6" fmla="*/ 1249154 h 1249154"/>
              <a:gd name="connsiteX0" fmla="*/ 0 w 3653537"/>
              <a:gd name="connsiteY0" fmla="*/ 1249154 h 1249311"/>
              <a:gd name="connsiteX1" fmla="*/ 3934 w 3653537"/>
              <a:gd name="connsiteY1" fmla="*/ 1677 h 1249311"/>
              <a:gd name="connsiteX2" fmla="*/ 2601911 w 3653537"/>
              <a:gd name="connsiteY2" fmla="*/ 0 h 1249311"/>
              <a:gd name="connsiteX3" fmla="*/ 3150718 w 3653537"/>
              <a:gd name="connsiteY3" fmla="*/ 266682 h 1249311"/>
              <a:gd name="connsiteX4" fmla="*/ 3653537 w 3653537"/>
              <a:gd name="connsiteY4" fmla="*/ 269460 h 1249311"/>
              <a:gd name="connsiteX5" fmla="*/ 3549884 w 3653537"/>
              <a:gd name="connsiteY5" fmla="*/ 1249311 h 1249311"/>
              <a:gd name="connsiteX6" fmla="*/ 0 w 3653537"/>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64698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8985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88818 w 3553525"/>
              <a:gd name="connsiteY3" fmla="*/ 271444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009594 w 3559258"/>
              <a:gd name="connsiteY3" fmla="*/ 123057 h 1249311"/>
              <a:gd name="connsiteX4" fmla="*/ 3194551 w 3559258"/>
              <a:gd name="connsiteY4" fmla="*/ 271444 h 1249311"/>
              <a:gd name="connsiteX5" fmla="*/ 3559258 w 3559258"/>
              <a:gd name="connsiteY5" fmla="*/ 274223 h 1249311"/>
              <a:gd name="connsiteX6" fmla="*/ 3555617 w 3559258"/>
              <a:gd name="connsiteY6" fmla="*/ 1249311 h 1249311"/>
              <a:gd name="connsiteX7" fmla="*/ 5733 w 3559258"/>
              <a:gd name="connsiteY7" fmla="*/ 1249154 h 1249311"/>
              <a:gd name="connsiteX0" fmla="*/ 5733 w 3559258"/>
              <a:gd name="connsiteY0" fmla="*/ 1247477 h 1247634"/>
              <a:gd name="connsiteX1" fmla="*/ 142 w 3559258"/>
              <a:gd name="connsiteY1" fmla="*/ 0 h 1247634"/>
              <a:gd name="connsiteX2" fmla="*/ 3009594 w 3559258"/>
              <a:gd name="connsiteY2" fmla="*/ 121380 h 1247634"/>
              <a:gd name="connsiteX3" fmla="*/ 3194551 w 3559258"/>
              <a:gd name="connsiteY3" fmla="*/ 269767 h 1247634"/>
              <a:gd name="connsiteX4" fmla="*/ 3559258 w 3559258"/>
              <a:gd name="connsiteY4" fmla="*/ 272546 h 1247634"/>
              <a:gd name="connsiteX5" fmla="*/ 3555617 w 3559258"/>
              <a:gd name="connsiteY5" fmla="*/ 1247634 h 1247634"/>
              <a:gd name="connsiteX6" fmla="*/ 5733 w 3559258"/>
              <a:gd name="connsiteY6" fmla="*/ 1247477 h 1247634"/>
              <a:gd name="connsiteX0" fmla="*/ 265934 w 3819459"/>
              <a:gd name="connsiteY0" fmla="*/ 1255838 h 1255995"/>
              <a:gd name="connsiteX1" fmla="*/ 256431 w 3819459"/>
              <a:gd name="connsiteY1" fmla="*/ 150521 h 1255995"/>
              <a:gd name="connsiteX2" fmla="*/ 260343 w 3819459"/>
              <a:gd name="connsiteY2" fmla="*/ 8361 h 1255995"/>
              <a:gd name="connsiteX3" fmla="*/ 3269795 w 3819459"/>
              <a:gd name="connsiteY3" fmla="*/ 129741 h 1255995"/>
              <a:gd name="connsiteX4" fmla="*/ 3454752 w 3819459"/>
              <a:gd name="connsiteY4" fmla="*/ 278128 h 1255995"/>
              <a:gd name="connsiteX5" fmla="*/ 3819459 w 3819459"/>
              <a:gd name="connsiteY5" fmla="*/ 280907 h 1255995"/>
              <a:gd name="connsiteX6" fmla="*/ 3815818 w 3819459"/>
              <a:gd name="connsiteY6" fmla="*/ 1255995 h 1255995"/>
              <a:gd name="connsiteX7" fmla="*/ 265934 w 3819459"/>
              <a:gd name="connsiteY7" fmla="*/ 1255838 h 1255995"/>
              <a:gd name="connsiteX0" fmla="*/ 415417 w 3968942"/>
              <a:gd name="connsiteY0" fmla="*/ 1199998 h 1200155"/>
              <a:gd name="connsiteX1" fmla="*/ 405914 w 3968942"/>
              <a:gd name="connsiteY1" fmla="*/ 94681 h 1200155"/>
              <a:gd name="connsiteX2" fmla="*/ 3419278 w 3968942"/>
              <a:gd name="connsiteY2" fmla="*/ 73901 h 1200155"/>
              <a:gd name="connsiteX3" fmla="*/ 3604235 w 3968942"/>
              <a:gd name="connsiteY3" fmla="*/ 222288 h 1200155"/>
              <a:gd name="connsiteX4" fmla="*/ 3968942 w 3968942"/>
              <a:gd name="connsiteY4" fmla="*/ 225067 h 1200155"/>
              <a:gd name="connsiteX5" fmla="*/ 3965301 w 3968942"/>
              <a:gd name="connsiteY5" fmla="*/ 1200155 h 1200155"/>
              <a:gd name="connsiteX6" fmla="*/ 415417 w 3968942"/>
              <a:gd name="connsiteY6" fmla="*/ 1199998 h 1200155"/>
              <a:gd name="connsiteX0" fmla="*/ 232068 w 3785593"/>
              <a:gd name="connsiteY0" fmla="*/ 1199998 h 1200155"/>
              <a:gd name="connsiteX1" fmla="*/ 222565 w 3785593"/>
              <a:gd name="connsiteY1" fmla="*/ 94681 h 1200155"/>
              <a:gd name="connsiteX2" fmla="*/ 3235929 w 3785593"/>
              <a:gd name="connsiteY2" fmla="*/ 73901 h 1200155"/>
              <a:gd name="connsiteX3" fmla="*/ 3420886 w 3785593"/>
              <a:gd name="connsiteY3" fmla="*/ 222288 h 1200155"/>
              <a:gd name="connsiteX4" fmla="*/ 3785593 w 3785593"/>
              <a:gd name="connsiteY4" fmla="*/ 225067 h 1200155"/>
              <a:gd name="connsiteX5" fmla="*/ 3781952 w 3785593"/>
              <a:gd name="connsiteY5" fmla="*/ 1200155 h 1200155"/>
              <a:gd name="connsiteX6" fmla="*/ 232068 w 3785593"/>
              <a:gd name="connsiteY6" fmla="*/ 1199998 h 1200155"/>
              <a:gd name="connsiteX0" fmla="*/ 16560 w 3570085"/>
              <a:gd name="connsiteY0" fmla="*/ 1199998 h 1200155"/>
              <a:gd name="connsiteX1" fmla="*/ 7057 w 3570085"/>
              <a:gd name="connsiteY1" fmla="*/ 94681 h 1200155"/>
              <a:gd name="connsiteX2" fmla="*/ 3020421 w 3570085"/>
              <a:gd name="connsiteY2" fmla="*/ 73901 h 1200155"/>
              <a:gd name="connsiteX3" fmla="*/ 3205378 w 3570085"/>
              <a:gd name="connsiteY3" fmla="*/ 222288 h 1200155"/>
              <a:gd name="connsiteX4" fmla="*/ 3570085 w 3570085"/>
              <a:gd name="connsiteY4" fmla="*/ 225067 h 1200155"/>
              <a:gd name="connsiteX5" fmla="*/ 3566444 w 3570085"/>
              <a:gd name="connsiteY5" fmla="*/ 1200155 h 1200155"/>
              <a:gd name="connsiteX6" fmla="*/ 16560 w 3570085"/>
              <a:gd name="connsiteY6" fmla="*/ 1199998 h 1200155"/>
              <a:gd name="connsiteX0" fmla="*/ 16560 w 3570085"/>
              <a:gd name="connsiteY0" fmla="*/ 1133874 h 1134031"/>
              <a:gd name="connsiteX1" fmla="*/ 7057 w 3570085"/>
              <a:gd name="connsiteY1" fmla="*/ 28557 h 1134031"/>
              <a:gd name="connsiteX2" fmla="*/ 3020421 w 3570085"/>
              <a:gd name="connsiteY2" fmla="*/ 7777 h 1134031"/>
              <a:gd name="connsiteX3" fmla="*/ 3205378 w 3570085"/>
              <a:gd name="connsiteY3" fmla="*/ 156164 h 1134031"/>
              <a:gd name="connsiteX4" fmla="*/ 3570085 w 3570085"/>
              <a:gd name="connsiteY4" fmla="*/ 158943 h 1134031"/>
              <a:gd name="connsiteX5" fmla="*/ 3566444 w 3570085"/>
              <a:gd name="connsiteY5" fmla="*/ 1134031 h 1134031"/>
              <a:gd name="connsiteX6" fmla="*/ 16560 w 3570085"/>
              <a:gd name="connsiteY6" fmla="*/ 1133874 h 1134031"/>
              <a:gd name="connsiteX0" fmla="*/ 16560 w 3570085"/>
              <a:gd name="connsiteY0" fmla="*/ 1109331 h 1109488"/>
              <a:gd name="connsiteX1" fmla="*/ 7057 w 3570085"/>
              <a:gd name="connsiteY1" fmla="*/ 4014 h 1109488"/>
              <a:gd name="connsiteX2" fmla="*/ 3048130 w 3570085"/>
              <a:gd name="connsiteY2" fmla="*/ 38652 h 1109488"/>
              <a:gd name="connsiteX3" fmla="*/ 3205378 w 3570085"/>
              <a:gd name="connsiteY3" fmla="*/ 131621 h 1109488"/>
              <a:gd name="connsiteX4" fmla="*/ 3570085 w 3570085"/>
              <a:gd name="connsiteY4" fmla="*/ 134400 h 1109488"/>
              <a:gd name="connsiteX5" fmla="*/ 3566444 w 3570085"/>
              <a:gd name="connsiteY5" fmla="*/ 1109488 h 1109488"/>
              <a:gd name="connsiteX6" fmla="*/ 16560 w 3570085"/>
              <a:gd name="connsiteY6" fmla="*/ 1109331 h 1109488"/>
              <a:gd name="connsiteX0" fmla="*/ 16560 w 3570085"/>
              <a:gd name="connsiteY0" fmla="*/ 1107515 h 1107672"/>
              <a:gd name="connsiteX1" fmla="*/ 7057 w 3570085"/>
              <a:gd name="connsiteY1" fmla="*/ 2198 h 1107672"/>
              <a:gd name="connsiteX2" fmla="*/ 3048130 w 3570085"/>
              <a:gd name="connsiteY2" fmla="*/ 36836 h 1107672"/>
              <a:gd name="connsiteX3" fmla="*/ 3205378 w 3570085"/>
              <a:gd name="connsiteY3" fmla="*/ 129805 h 1107672"/>
              <a:gd name="connsiteX4" fmla="*/ 3570085 w 3570085"/>
              <a:gd name="connsiteY4" fmla="*/ 132584 h 1107672"/>
              <a:gd name="connsiteX5" fmla="*/ 3566444 w 3570085"/>
              <a:gd name="connsiteY5" fmla="*/ 1107672 h 1107672"/>
              <a:gd name="connsiteX6" fmla="*/ 16560 w 3570085"/>
              <a:gd name="connsiteY6" fmla="*/ 1107515 h 1107672"/>
              <a:gd name="connsiteX0" fmla="*/ 16560 w 3570085"/>
              <a:gd name="connsiteY0" fmla="*/ 1112243 h 1112400"/>
              <a:gd name="connsiteX1" fmla="*/ 7057 w 3570085"/>
              <a:gd name="connsiteY1" fmla="*/ 6926 h 1112400"/>
              <a:gd name="connsiteX2" fmla="*/ 2992712 w 3570085"/>
              <a:gd name="connsiteY2" fmla="*/ 0 h 1112400"/>
              <a:gd name="connsiteX3" fmla="*/ 3205378 w 3570085"/>
              <a:gd name="connsiteY3" fmla="*/ 134533 h 1112400"/>
              <a:gd name="connsiteX4" fmla="*/ 3570085 w 3570085"/>
              <a:gd name="connsiteY4" fmla="*/ 137312 h 1112400"/>
              <a:gd name="connsiteX5" fmla="*/ 3566444 w 3570085"/>
              <a:gd name="connsiteY5" fmla="*/ 1112400 h 1112400"/>
              <a:gd name="connsiteX6" fmla="*/ 16560 w 3570085"/>
              <a:gd name="connsiteY6" fmla="*/ 1112243 h 1112400"/>
              <a:gd name="connsiteX0" fmla="*/ 22098 w 3575623"/>
              <a:gd name="connsiteY0" fmla="*/ 1112243 h 1112400"/>
              <a:gd name="connsiteX1" fmla="*/ 5668 w 3575623"/>
              <a:gd name="connsiteY1" fmla="*/ 34635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2098 w 3575623"/>
              <a:gd name="connsiteY0" fmla="*/ 1112243 h 1112400"/>
              <a:gd name="connsiteX1" fmla="*/ 5668 w 3575623"/>
              <a:gd name="connsiteY1" fmla="*/ 13854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0024 w 3573549"/>
              <a:gd name="connsiteY0" fmla="*/ 1112243 h 1112400"/>
              <a:gd name="connsiteX1" fmla="*/ 3594 w 3573549"/>
              <a:gd name="connsiteY1" fmla="*/ 13854 h 1112400"/>
              <a:gd name="connsiteX2" fmla="*/ 2996176 w 3573549"/>
              <a:gd name="connsiteY2" fmla="*/ 0 h 1112400"/>
              <a:gd name="connsiteX3" fmla="*/ 3208842 w 3573549"/>
              <a:gd name="connsiteY3" fmla="*/ 134533 h 1112400"/>
              <a:gd name="connsiteX4" fmla="*/ 3573549 w 3573549"/>
              <a:gd name="connsiteY4" fmla="*/ 137312 h 1112400"/>
              <a:gd name="connsiteX5" fmla="*/ 3569908 w 3573549"/>
              <a:gd name="connsiteY5" fmla="*/ 1112400 h 1112400"/>
              <a:gd name="connsiteX6" fmla="*/ 20024 w 3573549"/>
              <a:gd name="connsiteY6" fmla="*/ 1112243 h 1112400"/>
              <a:gd name="connsiteX0" fmla="*/ 16430 w 3569955"/>
              <a:gd name="connsiteY0" fmla="*/ 1112243 h 1112400"/>
              <a:gd name="connsiteX1" fmla="*/ 0 w 3569955"/>
              <a:gd name="connsiteY1" fmla="*/ 13854 h 1112400"/>
              <a:gd name="connsiteX2" fmla="*/ 2992582 w 3569955"/>
              <a:gd name="connsiteY2" fmla="*/ 0 h 1112400"/>
              <a:gd name="connsiteX3" fmla="*/ 3205248 w 3569955"/>
              <a:gd name="connsiteY3" fmla="*/ 134533 h 1112400"/>
              <a:gd name="connsiteX4" fmla="*/ 3569955 w 3569955"/>
              <a:gd name="connsiteY4" fmla="*/ 137312 h 1112400"/>
              <a:gd name="connsiteX5" fmla="*/ 3566314 w 3569955"/>
              <a:gd name="connsiteY5" fmla="*/ 1112400 h 1112400"/>
              <a:gd name="connsiteX6" fmla="*/ 16430 w 3569955"/>
              <a:gd name="connsiteY6" fmla="*/ 1112243 h 1112400"/>
              <a:gd name="connsiteX0" fmla="*/ 2575 w 3556100"/>
              <a:gd name="connsiteY0" fmla="*/ 1116552 h 1116709"/>
              <a:gd name="connsiteX1" fmla="*/ 0 w 3556100"/>
              <a:gd name="connsiteY1" fmla="*/ 4308 h 1116709"/>
              <a:gd name="connsiteX2" fmla="*/ 2978727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6552 h 1116709"/>
              <a:gd name="connsiteX1" fmla="*/ 0 w 3556100"/>
              <a:gd name="connsiteY1" fmla="*/ 4308 h 1116709"/>
              <a:gd name="connsiteX2" fmla="*/ 2971799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5351 h 1115508"/>
              <a:gd name="connsiteX1" fmla="*/ 0 w 3556100"/>
              <a:gd name="connsiteY1" fmla="*/ 3107 h 1115508"/>
              <a:gd name="connsiteX2" fmla="*/ 2964872 w 3556100"/>
              <a:gd name="connsiteY2" fmla="*/ 16963 h 1115508"/>
              <a:gd name="connsiteX3" fmla="*/ 3191393 w 3556100"/>
              <a:gd name="connsiteY3" fmla="*/ 137641 h 1115508"/>
              <a:gd name="connsiteX4" fmla="*/ 3556100 w 3556100"/>
              <a:gd name="connsiteY4" fmla="*/ 140420 h 1115508"/>
              <a:gd name="connsiteX5" fmla="*/ 3552459 w 3556100"/>
              <a:gd name="connsiteY5" fmla="*/ 1115508 h 1115508"/>
              <a:gd name="connsiteX6" fmla="*/ 2575 w 3556100"/>
              <a:gd name="connsiteY6" fmla="*/ 1115351 h 1115508"/>
              <a:gd name="connsiteX0" fmla="*/ 2575 w 3556100"/>
              <a:gd name="connsiteY0" fmla="*/ 1119170 h 1119327"/>
              <a:gd name="connsiteX1" fmla="*/ 0 w 3556100"/>
              <a:gd name="connsiteY1" fmla="*/ 6926 h 1119327"/>
              <a:gd name="connsiteX2" fmla="*/ 2971800 w 3556100"/>
              <a:gd name="connsiteY2" fmla="*/ 0 h 1119327"/>
              <a:gd name="connsiteX3" fmla="*/ 3191393 w 3556100"/>
              <a:gd name="connsiteY3" fmla="*/ 141460 h 1119327"/>
              <a:gd name="connsiteX4" fmla="*/ 3556100 w 3556100"/>
              <a:gd name="connsiteY4" fmla="*/ 144239 h 1119327"/>
              <a:gd name="connsiteX5" fmla="*/ 3552459 w 3556100"/>
              <a:gd name="connsiteY5" fmla="*/ 1119327 h 1119327"/>
              <a:gd name="connsiteX6" fmla="*/ 2575 w 3556100"/>
              <a:gd name="connsiteY6" fmla="*/ 1119170 h 1119327"/>
              <a:gd name="connsiteX0" fmla="*/ 5397 w 3558922"/>
              <a:gd name="connsiteY0" fmla="*/ 1127370 h 1127527"/>
              <a:gd name="connsiteX1" fmla="*/ 0 w 3558922"/>
              <a:gd name="connsiteY1" fmla="*/ 3837 h 1127527"/>
              <a:gd name="connsiteX2" fmla="*/ 2974622 w 3558922"/>
              <a:gd name="connsiteY2" fmla="*/ 8200 h 1127527"/>
              <a:gd name="connsiteX3" fmla="*/ 3194215 w 3558922"/>
              <a:gd name="connsiteY3" fmla="*/ 149660 h 1127527"/>
              <a:gd name="connsiteX4" fmla="*/ 3558922 w 3558922"/>
              <a:gd name="connsiteY4" fmla="*/ 152439 h 1127527"/>
              <a:gd name="connsiteX5" fmla="*/ 3555281 w 3558922"/>
              <a:gd name="connsiteY5" fmla="*/ 1127527 h 1127527"/>
              <a:gd name="connsiteX6" fmla="*/ 5397 w 3558922"/>
              <a:gd name="connsiteY6" fmla="*/ 1127370 h 1127527"/>
              <a:gd name="connsiteX0" fmla="*/ 5397 w 3558922"/>
              <a:gd name="connsiteY0" fmla="*/ 1123533 h 1123690"/>
              <a:gd name="connsiteX1" fmla="*/ 0 w 3558922"/>
              <a:gd name="connsiteY1" fmla="*/ 0 h 1123690"/>
              <a:gd name="connsiteX2" fmla="*/ 2974622 w 3558922"/>
              <a:gd name="connsiteY2" fmla="*/ 4363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5397 w 3558922"/>
              <a:gd name="connsiteY0" fmla="*/ 1123533 h 1123690"/>
              <a:gd name="connsiteX1" fmla="*/ 0 w 3558922"/>
              <a:gd name="connsiteY1" fmla="*/ 0 h 1123690"/>
              <a:gd name="connsiteX2" fmla="*/ 2962591 w 3558922"/>
              <a:gd name="connsiteY2" fmla="*/ 16395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10477 w 3564002"/>
              <a:gd name="connsiteY0" fmla="*/ 1108293 h 1108450"/>
              <a:gd name="connsiteX1" fmla="*/ 0 w 3564002"/>
              <a:gd name="connsiteY1" fmla="*/ 0 h 1108450"/>
              <a:gd name="connsiteX2" fmla="*/ 2967671 w 3564002"/>
              <a:gd name="connsiteY2" fmla="*/ 1155 h 1108450"/>
              <a:gd name="connsiteX3" fmla="*/ 3199295 w 3564002"/>
              <a:gd name="connsiteY3" fmla="*/ 130583 h 1108450"/>
              <a:gd name="connsiteX4" fmla="*/ 3564002 w 3564002"/>
              <a:gd name="connsiteY4" fmla="*/ 133362 h 1108450"/>
              <a:gd name="connsiteX5" fmla="*/ 3560361 w 3564002"/>
              <a:gd name="connsiteY5" fmla="*/ 1108450 h 1108450"/>
              <a:gd name="connsiteX6" fmla="*/ 10477 w 3564002"/>
              <a:gd name="connsiteY6" fmla="*/ 1108293 h 1108450"/>
              <a:gd name="connsiteX0" fmla="*/ 5397 w 3558922"/>
              <a:gd name="connsiteY0" fmla="*/ 1107138 h 1107295"/>
              <a:gd name="connsiteX1" fmla="*/ 0 w 3558922"/>
              <a:gd name="connsiteY1" fmla="*/ 3925 h 1107295"/>
              <a:gd name="connsiteX2" fmla="*/ 2962591 w 3558922"/>
              <a:gd name="connsiteY2" fmla="*/ 0 h 1107295"/>
              <a:gd name="connsiteX3" fmla="*/ 3194215 w 3558922"/>
              <a:gd name="connsiteY3" fmla="*/ 129428 h 1107295"/>
              <a:gd name="connsiteX4" fmla="*/ 3558922 w 3558922"/>
              <a:gd name="connsiteY4" fmla="*/ 132207 h 1107295"/>
              <a:gd name="connsiteX5" fmla="*/ 3555281 w 3558922"/>
              <a:gd name="connsiteY5" fmla="*/ 1107295 h 1107295"/>
              <a:gd name="connsiteX6" fmla="*/ 5397 w 3558922"/>
              <a:gd name="connsiteY6" fmla="*/ 1107138 h 1107295"/>
              <a:gd name="connsiteX0" fmla="*/ 7397 w 3560922"/>
              <a:gd name="connsiteY0" fmla="*/ 1107138 h 1107295"/>
              <a:gd name="connsiteX1" fmla="*/ 2000 w 3560922"/>
              <a:gd name="connsiteY1" fmla="*/ 3925 h 1107295"/>
              <a:gd name="connsiteX2" fmla="*/ 2964591 w 3560922"/>
              <a:gd name="connsiteY2" fmla="*/ 0 h 1107295"/>
              <a:gd name="connsiteX3" fmla="*/ 3196215 w 3560922"/>
              <a:gd name="connsiteY3" fmla="*/ 129428 h 1107295"/>
              <a:gd name="connsiteX4" fmla="*/ 3560922 w 3560922"/>
              <a:gd name="connsiteY4" fmla="*/ 132207 h 1107295"/>
              <a:gd name="connsiteX5" fmla="*/ 3557281 w 3560922"/>
              <a:gd name="connsiteY5" fmla="*/ 1107295 h 1107295"/>
              <a:gd name="connsiteX6" fmla="*/ 7397 w 3560922"/>
              <a:gd name="connsiteY6" fmla="*/ 1107138 h 1107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0922" h="1107295">
                <a:moveTo>
                  <a:pt x="7397" y="1107138"/>
                </a:moveTo>
                <a:cubicBezTo>
                  <a:pt x="-8561" y="635179"/>
                  <a:pt x="7048" y="669590"/>
                  <a:pt x="2000" y="3925"/>
                </a:cubicBezTo>
                <a:lnTo>
                  <a:pt x="2964591" y="0"/>
                </a:lnTo>
                <a:lnTo>
                  <a:pt x="3196215" y="129428"/>
                </a:lnTo>
                <a:lnTo>
                  <a:pt x="3560922" y="132207"/>
                </a:lnTo>
                <a:cubicBezTo>
                  <a:pt x="3559708" y="460411"/>
                  <a:pt x="3561670" y="779091"/>
                  <a:pt x="3557281" y="1107295"/>
                </a:cubicBezTo>
                <a:lnTo>
                  <a:pt x="7397" y="1107138"/>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a:t> </a:t>
            </a:r>
          </a:p>
        </p:txBody>
      </p:sp>
      <p:sp>
        <p:nvSpPr>
          <p:cNvPr id="71" name="Text Placeholder 33">
            <a:extLst>
              <a:ext uri="{FF2B5EF4-FFF2-40B4-BE49-F238E27FC236}">
                <a16:creationId xmlns:a16="http://schemas.microsoft.com/office/drawing/2014/main" id="{76DDCDAF-DCE8-A412-F677-16BB562D9670}"/>
              </a:ext>
            </a:extLst>
          </p:cNvPr>
          <p:cNvSpPr>
            <a:spLocks noGrp="1"/>
          </p:cNvSpPr>
          <p:nvPr>
            <p:ph type="body" sz="quarter" idx="22" hasCustomPrompt="1"/>
          </p:nvPr>
        </p:nvSpPr>
        <p:spPr>
          <a:xfrm>
            <a:off x="-3135" y="5417011"/>
            <a:ext cx="5344068" cy="1042416"/>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183655 w 5344068"/>
              <a:gd name="connsiteY2" fmla="*/ 96335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25985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63040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88067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20056"/>
                  <a:pt x="1336" y="988067"/>
                </a:cubicBezTo>
                <a:lnTo>
                  <a:pt x="3552965" y="977327"/>
                </a:lnTo>
                <a:cubicBezTo>
                  <a:pt x="3550551" y="657901"/>
                  <a:pt x="3555066" y="324189"/>
                  <a:pt x="3552652" y="4763"/>
                </a:cubicBez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a:t> </a:t>
            </a:r>
          </a:p>
        </p:txBody>
      </p:sp>
      <p:sp>
        <p:nvSpPr>
          <p:cNvPr id="72" name="Text Placeholder 103">
            <a:extLst>
              <a:ext uri="{FF2B5EF4-FFF2-40B4-BE49-F238E27FC236}">
                <a16:creationId xmlns:a16="http://schemas.microsoft.com/office/drawing/2014/main" id="{A4D142FB-E357-8DAD-4609-62A936BDF9AC}"/>
              </a:ext>
            </a:extLst>
          </p:cNvPr>
          <p:cNvSpPr>
            <a:spLocks noGrp="1"/>
          </p:cNvSpPr>
          <p:nvPr>
            <p:ph type="body" sz="quarter" idx="26" hasCustomPrompt="1"/>
          </p:nvPr>
        </p:nvSpPr>
        <p:spPr>
          <a:xfrm>
            <a:off x="150008" y="5489041"/>
            <a:ext cx="3271178" cy="822960"/>
          </a:xfrm>
        </p:spPr>
        <p:txBody>
          <a:bodyPr anchor="ctr" anchorCtr="0"/>
          <a:lstStyle>
            <a:lvl1pPr marL="0" indent="0" algn="l">
              <a:spcBef>
                <a:spcPts val="0"/>
              </a:spcBef>
              <a:buFontTx/>
              <a:buNone/>
              <a:defRPr sz="1600" b="1">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ompany description</a:t>
            </a:r>
          </a:p>
        </p:txBody>
      </p:sp>
      <p:sp>
        <p:nvSpPr>
          <p:cNvPr id="73" name="Text Placeholder 20">
            <a:extLst>
              <a:ext uri="{FF2B5EF4-FFF2-40B4-BE49-F238E27FC236}">
                <a16:creationId xmlns:a16="http://schemas.microsoft.com/office/drawing/2014/main" id="{1BA52196-6945-2B2F-A838-0C4A8EA7CD76}"/>
              </a:ext>
            </a:extLst>
          </p:cNvPr>
          <p:cNvSpPr>
            <a:spLocks noGrp="1"/>
          </p:cNvSpPr>
          <p:nvPr>
            <p:ph type="body" sz="quarter" idx="27" hasCustomPrompt="1"/>
          </p:nvPr>
        </p:nvSpPr>
        <p:spPr>
          <a:xfrm>
            <a:off x="3680340" y="5550001"/>
            <a:ext cx="1472491" cy="723900"/>
          </a:xfrm>
        </p:spPr>
        <p:txBody>
          <a:bodyPr anchor="ctr" anchorCtr="0"/>
          <a:lstStyle>
            <a:lvl1pPr marL="0" indent="0" algn="ctr">
              <a:buFontTx/>
              <a:buNone/>
              <a:defRPr sz="1400">
                <a:solidFill>
                  <a:schemeClr val="tx1"/>
                </a:solidFill>
              </a:defRPr>
            </a:lvl1pPr>
          </a:lstStyle>
          <a:p>
            <a:pPr lvl="0"/>
            <a:r>
              <a:rPr lang="en-US"/>
              <a:t>Paste logo</a:t>
            </a:r>
          </a:p>
        </p:txBody>
      </p:sp>
      <p:sp>
        <p:nvSpPr>
          <p:cNvPr id="2" name="Rectangle 1">
            <a:extLst>
              <a:ext uri="{FF2B5EF4-FFF2-40B4-BE49-F238E27FC236}">
                <a16:creationId xmlns:a16="http://schemas.microsoft.com/office/drawing/2014/main" id="{000DBCB0-7545-ABDA-5AC2-9A074988F0ED}"/>
              </a:ext>
            </a:extLst>
          </p:cNvPr>
          <p:cNvSpPr/>
          <p:nvPr userDrawn="1"/>
        </p:nvSpPr>
        <p:spPr>
          <a:xfrm>
            <a:off x="6235700"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132349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90760" y="1631555"/>
            <a:ext cx="10789920" cy="4754880"/>
          </a:xfrm>
        </p:spPr>
        <p:txBody>
          <a:bodyPr vert="horz" lIns="0" tIns="0" rIns="0" bIns="0" rtlCol="0">
            <a:noAutofit/>
          </a:bodyPr>
          <a:lstStyle>
            <a:lvl1pPr>
              <a:defRPr lang="en-US" noProof="0" dirty="0" smtClean="0"/>
            </a:lvl1pPr>
            <a:lvl2pPr>
              <a:defRPr lang="en-US" noProof="0" dirty="0" smtClean="0"/>
            </a:lvl2pPr>
            <a:lvl3pPr marL="932688">
              <a:defRPr lang="en-US" noProof="0" dirty="0" smtClean="0"/>
            </a:lvl3pPr>
            <a:lvl4pPr>
              <a:defRPr lang="en-US" noProof="0" dirty="0" smtClean="0"/>
            </a:lvl4pPr>
            <a:lvl5pPr>
              <a:defRPr lang="en-US" noProof="0" dirty="0"/>
            </a:lvl5pPr>
          </a:lstStyle>
          <a:p>
            <a:pPr lvl="0"/>
            <a:r>
              <a:rPr kumimoji="0" lang="en-US" sz="2400" b="0" i="0" u="none" strike="noStrike" kern="1200" cap="none" spc="0" normalizeH="0" baseline="0" noProof="0" dirty="0">
                <a:ln>
                  <a:noFill/>
                </a:ln>
                <a:solidFill>
                  <a:srgbClr val="3D4647"/>
                </a:solidFill>
                <a:effectLst/>
                <a:uLnTx/>
                <a:uFillTx/>
                <a:latin typeface="PTCRaleway"/>
                <a:ea typeface="+mn-ea"/>
                <a:cs typeface="+mn-cs"/>
              </a:rPr>
              <a:t>Add text</a:t>
            </a:r>
          </a:p>
          <a:p>
            <a:pPr lvl="1"/>
            <a:r>
              <a:rPr kumimoji="0" lang="en-US" sz="2000" b="0" i="0" u="none" strike="noStrike" kern="1200" cap="none" spc="0" normalizeH="0" baseline="0" noProof="0" dirty="0">
                <a:ln>
                  <a:noFill/>
                </a:ln>
                <a:solidFill>
                  <a:srgbClr val="3D4647"/>
                </a:solidFill>
                <a:effectLst/>
                <a:uLnTx/>
                <a:uFillTx/>
                <a:latin typeface="PTCRaleway"/>
                <a:ea typeface="+mn-ea"/>
                <a:cs typeface="+mn-cs"/>
              </a:rPr>
              <a:t>Second level</a:t>
            </a:r>
          </a:p>
          <a:p>
            <a:pPr lvl="2"/>
            <a:r>
              <a:rPr kumimoji="0" lang="en-US" sz="1800" b="0" i="0" u="none" strike="noStrike" kern="1200" cap="none" spc="0" normalizeH="0" baseline="0" noProof="0" dirty="0">
                <a:ln>
                  <a:noFill/>
                </a:ln>
                <a:solidFill>
                  <a:srgbClr val="3D4647"/>
                </a:solidFill>
                <a:effectLst/>
                <a:uLnTx/>
                <a:uFillTx/>
                <a:latin typeface="PTCRaleway"/>
                <a:ea typeface="+mn-ea"/>
                <a:cs typeface="+mn-cs"/>
              </a:rPr>
              <a:t>Third level</a:t>
            </a:r>
          </a:p>
          <a:p>
            <a:pPr lvl="3"/>
            <a:r>
              <a:rPr kumimoji="0" lang="en-US" sz="1600" b="0" i="0" u="none" strike="noStrike" kern="1200" cap="none" spc="0" normalizeH="0" baseline="0" noProof="0" dirty="0">
                <a:ln>
                  <a:noFill/>
                </a:ln>
                <a:solidFill>
                  <a:srgbClr val="3D4647"/>
                </a:solidFill>
                <a:effectLst/>
                <a:uLnTx/>
                <a:uFillTx/>
                <a:latin typeface="PTCRaleway"/>
                <a:ea typeface="+mn-ea"/>
                <a:cs typeface="+mn-cs"/>
              </a:rPr>
              <a:t>Fourth level</a:t>
            </a:r>
          </a:p>
          <a:p>
            <a:pPr lvl="4"/>
            <a:r>
              <a:rPr kumimoji="0" lang="en-US" sz="1400" b="0" i="0" u="none" strike="noStrike" kern="1200" cap="none" spc="0" normalizeH="0" baseline="0" noProof="0" dirty="0">
                <a:ln>
                  <a:noFill/>
                </a:ln>
                <a:solidFill>
                  <a:srgbClr val="3D4647"/>
                </a:solidFill>
                <a:effectLst/>
                <a:uLnTx/>
                <a:uFillTx/>
                <a:latin typeface="PTCRaleway"/>
                <a:ea typeface="+mn-ea"/>
                <a:cs typeface="+mn-cs"/>
              </a:rPr>
              <a:t>Fifth level</a:t>
            </a:r>
          </a:p>
        </p:txBody>
      </p:sp>
      <p:sp>
        <p:nvSpPr>
          <p:cNvPr id="2" name="Title 1">
            <a:extLst>
              <a:ext uri="{FF2B5EF4-FFF2-40B4-BE49-F238E27FC236}">
                <a16:creationId xmlns:a16="http://schemas.microsoft.com/office/drawing/2014/main" id="{70652CA5-989E-7975-8F69-E4AB7902D1D0}"/>
              </a:ext>
            </a:extLst>
          </p:cNvPr>
          <p:cNvSpPr>
            <a:spLocks noGrp="1"/>
          </p:cNvSpPr>
          <p:nvPr>
            <p:ph type="title" hasCustomPrompt="1"/>
          </p:nvPr>
        </p:nvSpPr>
        <p:spPr/>
        <p:txBody>
          <a:bodyPr/>
          <a:lstStyle/>
          <a:p>
            <a:r>
              <a:rPr lang="en-US" dirty="0"/>
              <a:t>add tit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ase Study (3)">
    <p:spTree>
      <p:nvGrpSpPr>
        <p:cNvPr id="1" name=""/>
        <p:cNvGrpSpPr/>
        <p:nvPr/>
      </p:nvGrpSpPr>
      <p:grpSpPr>
        <a:xfrm>
          <a:off x="0" y="0"/>
          <a:ext cx="0" cy="0"/>
          <a:chOff x="0" y="0"/>
          <a:chExt cx="0" cy="0"/>
        </a:xfrm>
      </p:grpSpPr>
      <p:sp>
        <p:nvSpPr>
          <p:cNvPr id="2" name="Picture Placeholder 21">
            <a:extLst>
              <a:ext uri="{FF2B5EF4-FFF2-40B4-BE49-F238E27FC236}">
                <a16:creationId xmlns:a16="http://schemas.microsoft.com/office/drawing/2014/main" id="{612B576C-24C9-358C-2054-40AF1ABCB118}"/>
              </a:ext>
            </a:extLst>
          </p:cNvPr>
          <p:cNvSpPr>
            <a:spLocks noGrp="1"/>
          </p:cNvSpPr>
          <p:nvPr>
            <p:ph type="pic" sz="quarter" idx="39" hasCustomPrompt="1"/>
          </p:nvPr>
        </p:nvSpPr>
        <p:spPr>
          <a:xfrm>
            <a:off x="-5210" y="111612"/>
            <a:ext cx="5792915" cy="3300984"/>
          </a:xfrm>
          <a:custGeom>
            <a:avLst/>
            <a:gdLst>
              <a:gd name="connsiteX0" fmla="*/ 0 w 5808663"/>
              <a:gd name="connsiteY0" fmla="*/ 0 h 3287713"/>
              <a:gd name="connsiteX1" fmla="*/ 5251987 w 5808663"/>
              <a:gd name="connsiteY1" fmla="*/ 0 h 3287713"/>
              <a:gd name="connsiteX2" fmla="*/ 5808663 w 5808663"/>
              <a:gd name="connsiteY2" fmla="*/ 556676 h 3287713"/>
              <a:gd name="connsiteX3" fmla="*/ 5808663 w 5808663"/>
              <a:gd name="connsiteY3" fmla="*/ 3287713 h 3287713"/>
              <a:gd name="connsiteX4" fmla="*/ 0 w 5808663"/>
              <a:gd name="connsiteY4" fmla="*/ 3287713 h 3287713"/>
              <a:gd name="connsiteX5" fmla="*/ 0 w 5808663"/>
              <a:gd name="connsiteY5" fmla="*/ 0 h 3287713"/>
              <a:gd name="connsiteX0" fmla="*/ 0 w 5808663"/>
              <a:gd name="connsiteY0" fmla="*/ 0 h 3287713"/>
              <a:gd name="connsiteX1" fmla="*/ 5251987 w 5808663"/>
              <a:gd name="connsiteY1" fmla="*/ 0 h 3287713"/>
              <a:gd name="connsiteX2" fmla="*/ 5808663 w 5808663"/>
              <a:gd name="connsiteY2" fmla="*/ 356379 h 3287713"/>
              <a:gd name="connsiteX3" fmla="*/ 5808663 w 5808663"/>
              <a:gd name="connsiteY3" fmla="*/ 3287713 h 3287713"/>
              <a:gd name="connsiteX4" fmla="*/ 0 w 5808663"/>
              <a:gd name="connsiteY4" fmla="*/ 3287713 h 3287713"/>
              <a:gd name="connsiteX5" fmla="*/ 0 w 5808663"/>
              <a:gd name="connsiteY5" fmla="*/ 0 h 3287713"/>
              <a:gd name="connsiteX0" fmla="*/ 0 w 5813443"/>
              <a:gd name="connsiteY0" fmla="*/ 0 h 3287713"/>
              <a:gd name="connsiteX1" fmla="*/ 5251987 w 5813443"/>
              <a:gd name="connsiteY1" fmla="*/ 0 h 3287713"/>
              <a:gd name="connsiteX2" fmla="*/ 5813443 w 5813443"/>
              <a:gd name="connsiteY2" fmla="*/ 342091 h 3287713"/>
              <a:gd name="connsiteX3" fmla="*/ 5808663 w 5813443"/>
              <a:gd name="connsiteY3" fmla="*/ 3287713 h 3287713"/>
              <a:gd name="connsiteX4" fmla="*/ 0 w 5813443"/>
              <a:gd name="connsiteY4" fmla="*/ 3287713 h 3287713"/>
              <a:gd name="connsiteX5" fmla="*/ 0 w 5813443"/>
              <a:gd name="connsiteY5" fmla="*/ 0 h 3287713"/>
              <a:gd name="connsiteX0" fmla="*/ 0 w 5813443"/>
              <a:gd name="connsiteY0" fmla="*/ 0 h 3287713"/>
              <a:gd name="connsiteX1" fmla="*/ 5237650 w 5813443"/>
              <a:gd name="connsiteY1" fmla="*/ 4762 h 3287713"/>
              <a:gd name="connsiteX2" fmla="*/ 5813443 w 5813443"/>
              <a:gd name="connsiteY2" fmla="*/ 342091 h 3287713"/>
              <a:gd name="connsiteX3" fmla="*/ 5808663 w 5813443"/>
              <a:gd name="connsiteY3" fmla="*/ 3287713 h 3287713"/>
              <a:gd name="connsiteX4" fmla="*/ 0 w 5813443"/>
              <a:gd name="connsiteY4" fmla="*/ 3287713 h 3287713"/>
              <a:gd name="connsiteX5" fmla="*/ 0 w 5813443"/>
              <a:gd name="connsiteY5" fmla="*/ 0 h 328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3443" h="3287713">
                <a:moveTo>
                  <a:pt x="0" y="0"/>
                </a:moveTo>
                <a:lnTo>
                  <a:pt x="5237650" y="4762"/>
                </a:lnTo>
                <a:lnTo>
                  <a:pt x="5813443" y="342091"/>
                </a:lnTo>
                <a:cubicBezTo>
                  <a:pt x="5811850" y="1323965"/>
                  <a:pt x="5810256" y="2305839"/>
                  <a:pt x="5808663" y="3287713"/>
                </a:cubicBezTo>
                <a:lnTo>
                  <a:pt x="0" y="3287713"/>
                </a:lnTo>
                <a:lnTo>
                  <a:pt x="0" y="0"/>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sp>
        <p:nvSpPr>
          <p:cNvPr id="3" name="Rectangle 2">
            <a:extLst>
              <a:ext uri="{FF2B5EF4-FFF2-40B4-BE49-F238E27FC236}">
                <a16:creationId xmlns:a16="http://schemas.microsoft.com/office/drawing/2014/main" id="{07B1B04E-34EC-9188-2CCE-D2A42AB54B06}"/>
              </a:ext>
            </a:extLst>
          </p:cNvPr>
          <p:cNvSpPr/>
          <p:nvPr userDrawn="1"/>
        </p:nvSpPr>
        <p:spPr>
          <a:xfrm>
            <a:off x="-9525" y="3429001"/>
            <a:ext cx="5788152" cy="3429000"/>
          </a:xfrm>
          <a:prstGeom prst="rect">
            <a:avLst/>
          </a:prstGeom>
          <a:gradFill>
            <a:gsLst>
              <a:gs pos="0">
                <a:srgbClr val="070707"/>
              </a:gs>
              <a:gs pos="100000">
                <a:schemeClr val="accent1">
                  <a:lumMod val="5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err="1">
              <a:solidFill>
                <a:schemeClr val="bg1"/>
              </a:solidFill>
            </a:endParaRPr>
          </a:p>
        </p:txBody>
      </p:sp>
      <p:cxnSp>
        <p:nvCxnSpPr>
          <p:cNvPr id="6" name="Straight Connector 5">
            <a:extLst>
              <a:ext uri="{FF2B5EF4-FFF2-40B4-BE49-F238E27FC236}">
                <a16:creationId xmlns:a16="http://schemas.microsoft.com/office/drawing/2014/main" id="{ACB2E358-FAB9-D9FA-F5BF-378E7029F1C7}"/>
              </a:ext>
            </a:extLst>
          </p:cNvPr>
          <p:cNvCxnSpPr>
            <a:cxnSpLocks/>
          </p:cNvCxnSpPr>
          <p:nvPr userDrawn="1"/>
        </p:nvCxnSpPr>
        <p:spPr>
          <a:xfrm>
            <a:off x="-17145" y="3429001"/>
            <a:ext cx="5797296" cy="0"/>
          </a:xfrm>
          <a:prstGeom prst="line">
            <a:avLst/>
          </a:prstGeom>
          <a:ln w="34925">
            <a:gradFill>
              <a:gsLst>
                <a:gs pos="2797">
                  <a:srgbClr val="488631"/>
                </a:gs>
                <a:gs pos="50000">
                  <a:schemeClr val="accent1">
                    <a:lumMod val="50000"/>
                  </a:schemeClr>
                </a:gs>
                <a:gs pos="100000">
                  <a:srgbClr val="070707"/>
                </a:gs>
              </a:gsLst>
              <a:lin ang="0" scaled="0"/>
            </a:gradFill>
            <a:miter lim="800000"/>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559850"/>
            <a:ext cx="5486400" cy="369332"/>
          </a:xfrm>
        </p:spPr>
        <p:txBody>
          <a:bodyPr/>
          <a:lstStyle>
            <a:lvl1pPr>
              <a:defRPr sz="3000"/>
            </a:lvl1pPr>
          </a:lstStyle>
          <a:p>
            <a:r>
              <a:rPr lang="en-US" dirty="0"/>
              <a:t>Case study title</a:t>
            </a:r>
          </a:p>
        </p:txBody>
      </p:sp>
      <p:grpSp>
        <p:nvGrpSpPr>
          <p:cNvPr id="102" name="Group 101">
            <a:extLst>
              <a:ext uri="{FF2B5EF4-FFF2-40B4-BE49-F238E27FC236}">
                <a16:creationId xmlns:a16="http://schemas.microsoft.com/office/drawing/2014/main" id="{96A1FBE7-9A49-4893-BE73-C040CC83491F}"/>
              </a:ext>
            </a:extLst>
          </p:cNvPr>
          <p:cNvGrpSpPr/>
          <p:nvPr userDrawn="1"/>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7" name="Rectangle 6">
            <a:extLst>
              <a:ext uri="{FF2B5EF4-FFF2-40B4-BE49-F238E27FC236}">
                <a16:creationId xmlns:a16="http://schemas.microsoft.com/office/drawing/2014/main" id="{66869BB4-81C8-4935-AA15-82CB480F24D6}"/>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
        <p:nvSpPr>
          <p:cNvPr id="10" name="Text Placeholder 4">
            <a:extLst>
              <a:ext uri="{FF2B5EF4-FFF2-40B4-BE49-F238E27FC236}">
                <a16:creationId xmlns:a16="http://schemas.microsoft.com/office/drawing/2014/main" id="{885007B6-B3BA-AC5D-BBD4-04C1246A4711}"/>
              </a:ext>
            </a:extLst>
          </p:cNvPr>
          <p:cNvSpPr>
            <a:spLocks noGrp="1"/>
          </p:cNvSpPr>
          <p:nvPr>
            <p:ph type="body" sz="quarter" idx="28" hasCustomPrompt="1"/>
          </p:nvPr>
        </p:nvSpPr>
        <p:spPr>
          <a:xfrm>
            <a:off x="6235700" y="2043277"/>
            <a:ext cx="5486400" cy="1097280"/>
          </a:xfrm>
        </p:spPr>
        <p:txBody>
          <a:bodyPr vert="horz" lIns="0" tIns="0" rIns="0" bIns="0" rtlCol="0" anchor="t" anchorCtr="0">
            <a:spAutoFit/>
          </a:bodyPr>
          <a:lstStyle>
            <a:lvl1pPr marL="173038" indent="-173038">
              <a:defRPr lang="en-US" sz="1400" dirty="0"/>
            </a:lvl1pPr>
            <a:lvl2pPr marL="344488" indent="-171450">
              <a:defRPr sz="1200"/>
            </a:lvl2pPr>
          </a:lstStyle>
          <a:p>
            <a:pPr lvl="0"/>
            <a:r>
              <a:rPr lang="en-US" dirty="0"/>
              <a:t>Add text</a:t>
            </a:r>
          </a:p>
          <a:p>
            <a:pPr lvl="1"/>
            <a:r>
              <a:rPr lang="en-US" dirty="0"/>
              <a:t>Second level</a:t>
            </a:r>
          </a:p>
        </p:txBody>
      </p:sp>
      <p:sp>
        <p:nvSpPr>
          <p:cNvPr id="11" name="Text Placeholder 15">
            <a:extLst>
              <a:ext uri="{FF2B5EF4-FFF2-40B4-BE49-F238E27FC236}">
                <a16:creationId xmlns:a16="http://schemas.microsoft.com/office/drawing/2014/main" id="{896F6491-BA52-98B2-37D9-6C72A51E4E9E}"/>
              </a:ext>
            </a:extLst>
          </p:cNvPr>
          <p:cNvSpPr>
            <a:spLocks noGrp="1"/>
          </p:cNvSpPr>
          <p:nvPr>
            <p:ph type="body" sz="quarter" idx="16" hasCustomPrompt="1"/>
          </p:nvPr>
        </p:nvSpPr>
        <p:spPr>
          <a:xfrm>
            <a:off x="6235700" y="1631047"/>
            <a:ext cx="5486400" cy="347472"/>
          </a:xfrm>
        </p:spPr>
        <p:txBody>
          <a:bodyPr anchor="ctr" anchorCtr="0"/>
          <a:lstStyle>
            <a:lvl1pPr marL="0" indent="0" algn="l">
              <a:lnSpc>
                <a:spcPct val="85000"/>
              </a:lnSpc>
              <a:spcBef>
                <a:spcPts val="0"/>
              </a:spcBef>
              <a:buFontTx/>
              <a:buNone/>
              <a:defRPr sz="2000" b="1">
                <a:solidFill>
                  <a:schemeClr val="accent1"/>
                </a:solidFill>
              </a:defRPr>
            </a:lvl1pPr>
          </a:lstStyle>
          <a:p>
            <a:pPr lvl="0"/>
            <a:r>
              <a:rPr lang="en-US" dirty="0"/>
              <a:t>Add title</a:t>
            </a:r>
          </a:p>
        </p:txBody>
      </p:sp>
      <p:pic>
        <p:nvPicPr>
          <p:cNvPr id="22" name="Graphic 21">
            <a:extLst>
              <a:ext uri="{FF2B5EF4-FFF2-40B4-BE49-F238E27FC236}">
                <a16:creationId xmlns:a16="http://schemas.microsoft.com/office/drawing/2014/main" id="{FC3D283A-9DFB-1AC8-0BA0-B2AF60C0A09B}"/>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53787"/>
          <a:stretch/>
        </p:blipFill>
        <p:spPr>
          <a:xfrm>
            <a:off x="4646577" y="4684194"/>
            <a:ext cx="1161626" cy="2313432"/>
          </a:xfrm>
          <a:prstGeom prst="rect">
            <a:avLst/>
          </a:prstGeom>
        </p:spPr>
      </p:pic>
      <p:sp>
        <p:nvSpPr>
          <p:cNvPr id="5" name="Text Placeholder 103">
            <a:extLst>
              <a:ext uri="{FF2B5EF4-FFF2-40B4-BE49-F238E27FC236}">
                <a16:creationId xmlns:a16="http://schemas.microsoft.com/office/drawing/2014/main" id="{EF4CBFDF-EE71-8D4A-C821-ECA39D257B71}"/>
              </a:ext>
            </a:extLst>
          </p:cNvPr>
          <p:cNvSpPr>
            <a:spLocks noGrp="1"/>
          </p:cNvSpPr>
          <p:nvPr>
            <p:ph type="body" sz="quarter" idx="29" hasCustomPrompt="1"/>
          </p:nvPr>
        </p:nvSpPr>
        <p:spPr>
          <a:xfrm>
            <a:off x="6235700" y="4261518"/>
            <a:ext cx="5486400" cy="1469163"/>
          </a:xfrm>
        </p:spPr>
        <p:txBody>
          <a:bodyPr anchor="t" anchorCtr="0"/>
          <a:lstStyle>
            <a:lvl1pPr marL="0" indent="0" algn="l">
              <a:spcBef>
                <a:spcPts val="0"/>
              </a:spcBef>
              <a:buFontTx/>
              <a:buNone/>
              <a:defRPr sz="1600">
                <a:solidFill>
                  <a:schemeClr val="tx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Quote</a:t>
            </a:r>
          </a:p>
          <a:p>
            <a:pPr lvl="0"/>
            <a:r>
              <a:rPr lang="en-US" dirty="0"/>
              <a:t>Author</a:t>
            </a:r>
          </a:p>
          <a:p>
            <a:pPr lvl="0"/>
            <a:r>
              <a:rPr lang="en-US" dirty="0"/>
              <a:t>Title</a:t>
            </a:r>
          </a:p>
        </p:txBody>
      </p:sp>
      <p:sp>
        <p:nvSpPr>
          <p:cNvPr id="9" name="Text Placeholder 4">
            <a:extLst>
              <a:ext uri="{FF2B5EF4-FFF2-40B4-BE49-F238E27FC236}">
                <a16:creationId xmlns:a16="http://schemas.microsoft.com/office/drawing/2014/main" id="{C26BAFC7-FB90-1914-CF8D-D09723F0E1DC}"/>
              </a:ext>
            </a:extLst>
          </p:cNvPr>
          <p:cNvSpPr>
            <a:spLocks noGrp="1"/>
          </p:cNvSpPr>
          <p:nvPr>
            <p:ph type="body" sz="quarter" idx="34" hasCustomPrompt="1"/>
          </p:nvPr>
        </p:nvSpPr>
        <p:spPr>
          <a:xfrm>
            <a:off x="487094" y="3922569"/>
            <a:ext cx="5014242" cy="411395"/>
          </a:xfrm>
        </p:spPr>
        <p:txBody>
          <a:bodyPr vert="horz" wrap="square" lIns="0" tIns="0" rIns="0" bIns="0" rtlCol="0" anchor="t" anchorCtr="0">
            <a:spAutoFit/>
          </a:bodyPr>
          <a:lstStyle>
            <a:lvl1pPr marL="173038" indent="-173038">
              <a:defRPr lang="en-US" sz="1400" dirty="0">
                <a:solidFill>
                  <a:schemeClr val="bg1"/>
                </a:solidFill>
              </a:defRPr>
            </a:lvl1pPr>
            <a:lvl2pPr marL="344488" indent="-171450">
              <a:defRPr sz="1200">
                <a:solidFill>
                  <a:schemeClr val="bg1"/>
                </a:solidFill>
              </a:defRPr>
            </a:lvl2pPr>
          </a:lstStyle>
          <a:p>
            <a:pPr lvl="0"/>
            <a:r>
              <a:rPr lang="en-US" dirty="0"/>
              <a:t>Add text</a:t>
            </a:r>
          </a:p>
          <a:p>
            <a:pPr lvl="1"/>
            <a:r>
              <a:rPr lang="en-US" dirty="0"/>
              <a:t>Second level</a:t>
            </a:r>
          </a:p>
        </p:txBody>
      </p:sp>
      <p:sp>
        <p:nvSpPr>
          <p:cNvPr id="14" name="Text Placeholder 15">
            <a:extLst>
              <a:ext uri="{FF2B5EF4-FFF2-40B4-BE49-F238E27FC236}">
                <a16:creationId xmlns:a16="http://schemas.microsoft.com/office/drawing/2014/main" id="{BE07473C-8D64-D03E-5AF3-4C553AB4B487}"/>
              </a:ext>
            </a:extLst>
          </p:cNvPr>
          <p:cNvSpPr>
            <a:spLocks noGrp="1"/>
          </p:cNvSpPr>
          <p:nvPr>
            <p:ph type="body" sz="quarter" idx="35" hasCustomPrompt="1"/>
          </p:nvPr>
        </p:nvSpPr>
        <p:spPr>
          <a:xfrm>
            <a:off x="487094" y="3510339"/>
            <a:ext cx="5014242" cy="347472"/>
          </a:xfrm>
        </p:spPr>
        <p:txBody>
          <a:bodyPr anchor="ctr" anchorCtr="0"/>
          <a:lstStyle>
            <a:lvl1pPr marL="0" indent="0" algn="l">
              <a:lnSpc>
                <a:spcPct val="85000"/>
              </a:lnSpc>
              <a:spcBef>
                <a:spcPts val="0"/>
              </a:spcBef>
              <a:buFontTx/>
              <a:buNone/>
              <a:defRPr sz="1800" b="1">
                <a:solidFill>
                  <a:schemeClr val="accent1"/>
                </a:solidFill>
              </a:defRPr>
            </a:lvl1pPr>
          </a:lstStyle>
          <a:p>
            <a:pPr lvl="0"/>
            <a:r>
              <a:rPr lang="en-US" dirty="0"/>
              <a:t>Add title</a:t>
            </a:r>
          </a:p>
        </p:txBody>
      </p:sp>
      <p:grpSp>
        <p:nvGrpSpPr>
          <p:cNvPr id="12" name="Group 11">
            <a:extLst>
              <a:ext uri="{FF2B5EF4-FFF2-40B4-BE49-F238E27FC236}">
                <a16:creationId xmlns:a16="http://schemas.microsoft.com/office/drawing/2014/main" id="{231E6EF3-9DAA-242A-1D92-0C85244A7AED}"/>
              </a:ext>
            </a:extLst>
          </p:cNvPr>
          <p:cNvGrpSpPr/>
          <p:nvPr userDrawn="1"/>
        </p:nvGrpSpPr>
        <p:grpSpPr>
          <a:xfrm>
            <a:off x="-2980" y="6555932"/>
            <a:ext cx="1621710" cy="223261"/>
            <a:chOff x="-2980" y="6329503"/>
            <a:chExt cx="1621710" cy="223261"/>
          </a:xfrm>
          <a:solidFill>
            <a:schemeClr val="bg1">
              <a:alpha val="10000"/>
            </a:schemeClr>
          </a:solidFill>
        </p:grpSpPr>
        <p:sp>
          <p:nvSpPr>
            <p:cNvPr id="13" name="Freeform: Shape 12">
              <a:extLst>
                <a:ext uri="{FF2B5EF4-FFF2-40B4-BE49-F238E27FC236}">
                  <a16:creationId xmlns:a16="http://schemas.microsoft.com/office/drawing/2014/main" id="{1A417030-5CFC-843E-0A87-4C0F21C36AA4}"/>
                </a:ext>
              </a:extLst>
            </p:cNvPr>
            <p:cNvSpPr/>
            <p:nvPr/>
          </p:nvSpPr>
          <p:spPr>
            <a:xfrm>
              <a:off x="509822" y="6329504"/>
              <a:ext cx="287290" cy="213899"/>
            </a:xfrm>
            <a:custGeom>
              <a:avLst/>
              <a:gdLst>
                <a:gd name="connsiteX0" fmla="*/ 221014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1014"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89CEE689-7AB7-D331-30FD-58138E7E29E2}"/>
                </a:ext>
              </a:extLst>
            </p:cNvPr>
            <p:cNvSpPr/>
            <p:nvPr/>
          </p:nvSpPr>
          <p:spPr>
            <a:xfrm>
              <a:off x="373057" y="6329504"/>
              <a:ext cx="287196" cy="213899"/>
            </a:xfrm>
            <a:custGeom>
              <a:avLst/>
              <a:gdLst>
                <a:gd name="connsiteX0" fmla="*/ 220921 w 287196"/>
                <a:gd name="connsiteY0" fmla="*/ 0 h 213899"/>
                <a:gd name="connsiteX1" fmla="*/ 0 w 287196"/>
                <a:gd name="connsiteY1" fmla="*/ 213900 h 213899"/>
                <a:gd name="connsiteX2" fmla="*/ 66276 w 287196"/>
                <a:gd name="connsiteY2" fmla="*/ 213900 h 213899"/>
                <a:gd name="connsiteX3" fmla="*/ 287197 w 287196"/>
                <a:gd name="connsiteY3" fmla="*/ 0 h 213899"/>
              </a:gdLst>
              <a:ahLst/>
              <a:cxnLst>
                <a:cxn ang="0">
                  <a:pos x="connsiteX0" y="connsiteY0"/>
                </a:cxn>
                <a:cxn ang="0">
                  <a:pos x="connsiteX1" y="connsiteY1"/>
                </a:cxn>
                <a:cxn ang="0">
                  <a:pos x="connsiteX2" y="connsiteY2"/>
                </a:cxn>
                <a:cxn ang="0">
                  <a:pos x="connsiteX3" y="connsiteY3"/>
                </a:cxn>
              </a:cxnLst>
              <a:rect l="l" t="t" r="r" b="b"/>
              <a:pathLst>
                <a:path w="287196" h="213899">
                  <a:moveTo>
                    <a:pt x="220921" y="0"/>
                  </a:moveTo>
                  <a:lnTo>
                    <a:pt x="0" y="213900"/>
                  </a:lnTo>
                  <a:lnTo>
                    <a:pt x="66276" y="213900"/>
                  </a:lnTo>
                  <a:lnTo>
                    <a:pt x="287197" y="0"/>
                  </a:lnTo>
                  <a:close/>
                </a:path>
              </a:pathLst>
            </a:custGeom>
            <a:grpFill/>
            <a:ln w="15567"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3BA12525-9D61-7AAC-67DA-16002008BC87}"/>
                </a:ext>
              </a:extLst>
            </p:cNvPr>
            <p:cNvSpPr/>
            <p:nvPr/>
          </p:nvSpPr>
          <p:spPr>
            <a:xfrm>
              <a:off x="236199" y="6329504"/>
              <a:ext cx="287290" cy="213899"/>
            </a:xfrm>
            <a:custGeom>
              <a:avLst/>
              <a:gdLst>
                <a:gd name="connsiteX0" fmla="*/ 220920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0"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A8171C28-E058-6C87-E7DB-2BF9DE4B47B3}"/>
                </a:ext>
              </a:extLst>
            </p:cNvPr>
            <p:cNvSpPr/>
            <p:nvPr/>
          </p:nvSpPr>
          <p:spPr>
            <a:xfrm>
              <a:off x="99340" y="6329504"/>
              <a:ext cx="287290" cy="213899"/>
            </a:xfrm>
            <a:custGeom>
              <a:avLst/>
              <a:gdLst>
                <a:gd name="connsiteX0" fmla="*/ 220921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1"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9A8B38DE-F900-1F6F-5EE3-3B799B2FFC42}"/>
                </a:ext>
              </a:extLst>
            </p:cNvPr>
            <p:cNvSpPr/>
            <p:nvPr/>
          </p:nvSpPr>
          <p:spPr>
            <a:xfrm>
              <a:off x="-2980" y="6329504"/>
              <a:ext cx="115988" cy="112303"/>
            </a:xfrm>
            <a:custGeom>
              <a:avLst/>
              <a:gdLst>
                <a:gd name="connsiteX0" fmla="*/ 49619 w 115988"/>
                <a:gd name="connsiteY0" fmla="*/ 0 h 112303"/>
                <a:gd name="connsiteX1" fmla="*/ 115988 w 115988"/>
                <a:gd name="connsiteY1" fmla="*/ 0 h 112303"/>
                <a:gd name="connsiteX2" fmla="*/ 0 w 115988"/>
                <a:gd name="connsiteY2" fmla="*/ 112303 h 112303"/>
                <a:gd name="connsiteX3" fmla="*/ 0 w 115988"/>
                <a:gd name="connsiteY3" fmla="*/ 48042 h 112303"/>
                <a:gd name="connsiteX4" fmla="*/ 49619 w 115988"/>
                <a:gd name="connsiteY4" fmla="*/ 0 h 112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88" h="112303">
                  <a:moveTo>
                    <a:pt x="49619" y="0"/>
                  </a:moveTo>
                  <a:lnTo>
                    <a:pt x="115988" y="0"/>
                  </a:lnTo>
                  <a:lnTo>
                    <a:pt x="0" y="112303"/>
                  </a:lnTo>
                  <a:lnTo>
                    <a:pt x="0" y="48042"/>
                  </a:lnTo>
                  <a:lnTo>
                    <a:pt x="49619" y="0"/>
                  </a:lnTo>
                  <a:close/>
                </a:path>
              </a:pathLst>
            </a:custGeom>
            <a:grpFill/>
            <a:ln w="15567"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9F460FF0-D1D6-715C-4E52-3CA34799D15F}"/>
                </a:ext>
              </a:extLst>
            </p:cNvPr>
            <p:cNvSpPr/>
            <p:nvPr/>
          </p:nvSpPr>
          <p:spPr>
            <a:xfrm>
              <a:off x="-2980" y="6329503"/>
              <a:ext cx="252754" cy="213900"/>
            </a:xfrm>
            <a:custGeom>
              <a:avLst/>
              <a:gdLst>
                <a:gd name="connsiteX0" fmla="*/ 186477 w 252754"/>
                <a:gd name="connsiteY0" fmla="*/ 0 h 213900"/>
                <a:gd name="connsiteX1" fmla="*/ 252754 w 252754"/>
                <a:gd name="connsiteY1" fmla="*/ 0 h 213900"/>
                <a:gd name="connsiteX2" fmla="*/ 31833 w 252754"/>
                <a:gd name="connsiteY2" fmla="*/ 213900 h 213900"/>
                <a:gd name="connsiteX3" fmla="*/ 0 w 252754"/>
                <a:gd name="connsiteY3" fmla="*/ 213900 h 213900"/>
                <a:gd name="connsiteX4" fmla="*/ 0 w 252754"/>
                <a:gd name="connsiteY4" fmla="*/ 180552 h 213900"/>
                <a:gd name="connsiteX5" fmla="*/ 186477 w 252754"/>
                <a:gd name="connsiteY5" fmla="*/ 0 h 21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754" h="213900">
                  <a:moveTo>
                    <a:pt x="186477" y="0"/>
                  </a:moveTo>
                  <a:lnTo>
                    <a:pt x="252754" y="0"/>
                  </a:lnTo>
                  <a:lnTo>
                    <a:pt x="31833" y="213900"/>
                  </a:lnTo>
                  <a:lnTo>
                    <a:pt x="0" y="213900"/>
                  </a:lnTo>
                  <a:lnTo>
                    <a:pt x="0" y="180552"/>
                  </a:lnTo>
                  <a:lnTo>
                    <a:pt x="186477" y="0"/>
                  </a:lnTo>
                  <a:close/>
                </a:path>
              </a:pathLst>
            </a:custGeom>
            <a:grpFill/>
            <a:ln w="15567"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E2BEA6FD-EFA6-03FF-A5FF-4113BD16C13D}"/>
                </a:ext>
              </a:extLst>
            </p:cNvPr>
            <p:cNvSpPr/>
            <p:nvPr/>
          </p:nvSpPr>
          <p:spPr>
            <a:xfrm>
              <a:off x="1335746" y="6329504"/>
              <a:ext cx="273622" cy="213899"/>
            </a:xfrm>
            <a:custGeom>
              <a:avLst/>
              <a:gdLst>
                <a:gd name="connsiteX0" fmla="*/ 273623 w 273622"/>
                <a:gd name="connsiteY0" fmla="*/ 0 h 213899"/>
                <a:gd name="connsiteX1" fmla="*/ 220920 w 273622"/>
                <a:gd name="connsiteY1" fmla="*/ 0 h 213899"/>
                <a:gd name="connsiteX2" fmla="*/ 0 w 273622"/>
                <a:gd name="connsiteY2" fmla="*/ 213900 h 213899"/>
                <a:gd name="connsiteX3" fmla="*/ 66276 w 273622"/>
                <a:gd name="connsiteY3" fmla="*/ 213900 h 213899"/>
                <a:gd name="connsiteX4" fmla="*/ 273623 w 273622"/>
                <a:gd name="connsiteY4" fmla="*/ 13199 h 21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2" h="213899">
                  <a:moveTo>
                    <a:pt x="273623" y="0"/>
                  </a:moveTo>
                  <a:lnTo>
                    <a:pt x="220920" y="0"/>
                  </a:lnTo>
                  <a:lnTo>
                    <a:pt x="0" y="213900"/>
                  </a:lnTo>
                  <a:lnTo>
                    <a:pt x="66276" y="213900"/>
                  </a:lnTo>
                  <a:lnTo>
                    <a:pt x="273623" y="13199"/>
                  </a:lnTo>
                  <a:close/>
                </a:path>
              </a:pathLst>
            </a:custGeom>
            <a:grpFill/>
            <a:ln w="15567"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0EB44D96-B62A-02DC-56AA-5B5687BFA9EA}"/>
                </a:ext>
              </a:extLst>
            </p:cNvPr>
            <p:cNvSpPr/>
            <p:nvPr/>
          </p:nvSpPr>
          <p:spPr>
            <a:xfrm>
              <a:off x="646680" y="6329504"/>
              <a:ext cx="287290" cy="213899"/>
            </a:xfrm>
            <a:custGeom>
              <a:avLst/>
              <a:gdLst>
                <a:gd name="connsiteX0" fmla="*/ 220921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1"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3C8A5AAF-9916-241C-C978-6A76B34F9380}"/>
                </a:ext>
              </a:extLst>
            </p:cNvPr>
            <p:cNvSpPr/>
            <p:nvPr/>
          </p:nvSpPr>
          <p:spPr>
            <a:xfrm>
              <a:off x="1198888" y="6329504"/>
              <a:ext cx="287289" cy="213899"/>
            </a:xfrm>
            <a:custGeom>
              <a:avLst/>
              <a:gdLst>
                <a:gd name="connsiteX0" fmla="*/ 220920 w 287289"/>
                <a:gd name="connsiteY0" fmla="*/ 0 h 213899"/>
                <a:gd name="connsiteX1" fmla="*/ 0 w 287289"/>
                <a:gd name="connsiteY1" fmla="*/ 213900 h 213899"/>
                <a:gd name="connsiteX2" fmla="*/ 66370 w 287289"/>
                <a:gd name="connsiteY2" fmla="*/ 213900 h 213899"/>
                <a:gd name="connsiteX3" fmla="*/ 287290 w 287289"/>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89" h="213899">
                  <a:moveTo>
                    <a:pt x="220920"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6E88F72C-D721-8EAE-8D94-E51D275358F9}"/>
                </a:ext>
              </a:extLst>
            </p:cNvPr>
            <p:cNvSpPr/>
            <p:nvPr/>
          </p:nvSpPr>
          <p:spPr>
            <a:xfrm>
              <a:off x="1609369" y="6543403"/>
              <a:ext cx="9361" cy="9361"/>
            </a:xfrm>
            <a:custGeom>
              <a:avLst/>
              <a:gdLst>
                <a:gd name="connsiteX0" fmla="*/ 0 w 9361"/>
                <a:gd name="connsiteY0" fmla="*/ 0 h 9361"/>
                <a:gd name="connsiteX1" fmla="*/ 0 w 9361"/>
                <a:gd name="connsiteY1" fmla="*/ 0 h 9361"/>
                <a:gd name="connsiteX2" fmla="*/ 0 w 9361"/>
                <a:gd name="connsiteY2" fmla="*/ 0 h 9361"/>
              </a:gdLst>
              <a:ahLst/>
              <a:cxnLst>
                <a:cxn ang="0">
                  <a:pos x="connsiteX0" y="connsiteY0"/>
                </a:cxn>
                <a:cxn ang="0">
                  <a:pos x="connsiteX1" y="connsiteY1"/>
                </a:cxn>
                <a:cxn ang="0">
                  <a:pos x="connsiteX2" y="connsiteY2"/>
                </a:cxn>
              </a:cxnLst>
              <a:rect l="l" t="t" r="r" b="b"/>
              <a:pathLst>
                <a:path w="9361" h="9361">
                  <a:moveTo>
                    <a:pt x="0" y="0"/>
                  </a:moveTo>
                  <a:lnTo>
                    <a:pt x="0" y="0"/>
                  </a:lnTo>
                  <a:lnTo>
                    <a:pt x="0" y="0"/>
                  </a:lnTo>
                  <a:close/>
                </a:path>
              </a:pathLst>
            </a:custGeom>
            <a:grpFill/>
            <a:ln w="15567"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5841FBB3-3B8B-DA5A-F5DE-CCAD81135BEC}"/>
                </a:ext>
              </a:extLst>
            </p:cNvPr>
            <p:cNvSpPr/>
            <p:nvPr/>
          </p:nvSpPr>
          <p:spPr>
            <a:xfrm>
              <a:off x="1472511" y="6410945"/>
              <a:ext cx="136858" cy="132458"/>
            </a:xfrm>
            <a:custGeom>
              <a:avLst/>
              <a:gdLst>
                <a:gd name="connsiteX0" fmla="*/ 136858 w 136858"/>
                <a:gd name="connsiteY0" fmla="*/ 0 h 132458"/>
                <a:gd name="connsiteX1" fmla="*/ 0 w 136858"/>
                <a:gd name="connsiteY1" fmla="*/ 132459 h 132458"/>
                <a:gd name="connsiteX2" fmla="*/ 66370 w 136858"/>
                <a:gd name="connsiteY2" fmla="*/ 132459 h 132458"/>
                <a:gd name="connsiteX3" fmla="*/ 136858 w 136858"/>
                <a:gd name="connsiteY3" fmla="*/ 64217 h 132458"/>
              </a:gdLst>
              <a:ahLst/>
              <a:cxnLst>
                <a:cxn ang="0">
                  <a:pos x="connsiteX0" y="connsiteY0"/>
                </a:cxn>
                <a:cxn ang="0">
                  <a:pos x="connsiteX1" y="connsiteY1"/>
                </a:cxn>
                <a:cxn ang="0">
                  <a:pos x="connsiteX2" y="connsiteY2"/>
                </a:cxn>
                <a:cxn ang="0">
                  <a:pos x="connsiteX3" y="connsiteY3"/>
                </a:cxn>
              </a:cxnLst>
              <a:rect l="l" t="t" r="r" b="b"/>
              <a:pathLst>
                <a:path w="136858" h="132458">
                  <a:moveTo>
                    <a:pt x="136858" y="0"/>
                  </a:moveTo>
                  <a:lnTo>
                    <a:pt x="0" y="132459"/>
                  </a:lnTo>
                  <a:lnTo>
                    <a:pt x="66370" y="132459"/>
                  </a:lnTo>
                  <a:lnTo>
                    <a:pt x="136858" y="64217"/>
                  </a:lnTo>
                  <a:close/>
                </a:path>
              </a:pathLst>
            </a:custGeom>
            <a:grpFill/>
            <a:ln w="15567"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AC093B12-7516-544B-39C8-C59A2F61EB4A}"/>
                </a:ext>
              </a:extLst>
            </p:cNvPr>
            <p:cNvSpPr/>
            <p:nvPr/>
          </p:nvSpPr>
          <p:spPr>
            <a:xfrm>
              <a:off x="783539" y="6329504"/>
              <a:ext cx="292157" cy="213899"/>
            </a:xfrm>
            <a:custGeom>
              <a:avLst/>
              <a:gdLst>
                <a:gd name="connsiteX0" fmla="*/ 220920 w 292157"/>
                <a:gd name="connsiteY0" fmla="*/ 0 h 213899"/>
                <a:gd name="connsiteX1" fmla="*/ 0 w 292157"/>
                <a:gd name="connsiteY1" fmla="*/ 213900 h 213899"/>
                <a:gd name="connsiteX2" fmla="*/ 71237 w 292157"/>
                <a:gd name="connsiteY2" fmla="*/ 213900 h 213899"/>
                <a:gd name="connsiteX3" fmla="*/ 292158 w 292157"/>
                <a:gd name="connsiteY3" fmla="*/ 0 h 213899"/>
              </a:gdLst>
              <a:ahLst/>
              <a:cxnLst>
                <a:cxn ang="0">
                  <a:pos x="connsiteX0" y="connsiteY0"/>
                </a:cxn>
                <a:cxn ang="0">
                  <a:pos x="connsiteX1" y="connsiteY1"/>
                </a:cxn>
                <a:cxn ang="0">
                  <a:pos x="connsiteX2" y="connsiteY2"/>
                </a:cxn>
                <a:cxn ang="0">
                  <a:pos x="connsiteX3" y="connsiteY3"/>
                </a:cxn>
              </a:cxnLst>
              <a:rect l="l" t="t" r="r" b="b"/>
              <a:pathLst>
                <a:path w="292157" h="213899">
                  <a:moveTo>
                    <a:pt x="220920" y="0"/>
                  </a:moveTo>
                  <a:lnTo>
                    <a:pt x="0" y="213900"/>
                  </a:lnTo>
                  <a:lnTo>
                    <a:pt x="71237" y="213900"/>
                  </a:lnTo>
                  <a:lnTo>
                    <a:pt x="292158" y="0"/>
                  </a:lnTo>
                  <a:close/>
                </a:path>
              </a:pathLst>
            </a:custGeom>
            <a:grpFill/>
            <a:ln w="15567"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00D51663-0338-D2DE-7694-02C765F347D3}"/>
                </a:ext>
              </a:extLst>
            </p:cNvPr>
            <p:cNvSpPr/>
            <p:nvPr/>
          </p:nvSpPr>
          <p:spPr>
            <a:xfrm>
              <a:off x="1062029" y="6329504"/>
              <a:ext cx="287290" cy="213899"/>
            </a:xfrm>
            <a:custGeom>
              <a:avLst/>
              <a:gdLst>
                <a:gd name="connsiteX0" fmla="*/ 221014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1014"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854D7702-D5D9-3766-D3B3-825927A951A3}"/>
                </a:ext>
              </a:extLst>
            </p:cNvPr>
            <p:cNvSpPr/>
            <p:nvPr/>
          </p:nvSpPr>
          <p:spPr>
            <a:xfrm>
              <a:off x="925265" y="6329504"/>
              <a:ext cx="287196" cy="213899"/>
            </a:xfrm>
            <a:custGeom>
              <a:avLst/>
              <a:gdLst>
                <a:gd name="connsiteX0" fmla="*/ 220921 w 287196"/>
                <a:gd name="connsiteY0" fmla="*/ 0 h 213899"/>
                <a:gd name="connsiteX1" fmla="*/ 0 w 287196"/>
                <a:gd name="connsiteY1" fmla="*/ 213900 h 213899"/>
                <a:gd name="connsiteX2" fmla="*/ 66276 w 287196"/>
                <a:gd name="connsiteY2" fmla="*/ 213900 h 213899"/>
                <a:gd name="connsiteX3" fmla="*/ 287197 w 287196"/>
                <a:gd name="connsiteY3" fmla="*/ 0 h 213899"/>
              </a:gdLst>
              <a:ahLst/>
              <a:cxnLst>
                <a:cxn ang="0">
                  <a:pos x="connsiteX0" y="connsiteY0"/>
                </a:cxn>
                <a:cxn ang="0">
                  <a:pos x="connsiteX1" y="connsiteY1"/>
                </a:cxn>
                <a:cxn ang="0">
                  <a:pos x="connsiteX2" y="connsiteY2"/>
                </a:cxn>
                <a:cxn ang="0">
                  <a:pos x="connsiteX3" y="connsiteY3"/>
                </a:cxn>
              </a:cxnLst>
              <a:rect l="l" t="t" r="r" b="b"/>
              <a:pathLst>
                <a:path w="287196" h="213899">
                  <a:moveTo>
                    <a:pt x="220921" y="0"/>
                  </a:moveTo>
                  <a:lnTo>
                    <a:pt x="0" y="213900"/>
                  </a:lnTo>
                  <a:lnTo>
                    <a:pt x="66276" y="213900"/>
                  </a:lnTo>
                  <a:lnTo>
                    <a:pt x="287197" y="0"/>
                  </a:lnTo>
                  <a:close/>
                </a:path>
              </a:pathLst>
            </a:custGeom>
            <a:grpFill/>
            <a:ln w="15567" cap="flat">
              <a:noFill/>
              <a:prstDash val="solid"/>
              <a:miter/>
            </a:ln>
          </p:spPr>
          <p:txBody>
            <a:bodyPr rtlCol="0" anchor="ctr"/>
            <a:lstStyle/>
            <a:p>
              <a:endParaRPr lang="en-US" dirty="0"/>
            </a:p>
          </p:txBody>
        </p:sp>
      </p:grpSp>
      <p:sp>
        <p:nvSpPr>
          <p:cNvPr id="46" name="Text Placeholder 33">
            <a:extLst>
              <a:ext uri="{FF2B5EF4-FFF2-40B4-BE49-F238E27FC236}">
                <a16:creationId xmlns:a16="http://schemas.microsoft.com/office/drawing/2014/main" id="{2DE9F77B-1132-B717-C8CF-E8DB1239769A}"/>
              </a:ext>
            </a:extLst>
          </p:cNvPr>
          <p:cNvSpPr>
            <a:spLocks noGrp="1"/>
          </p:cNvSpPr>
          <p:nvPr>
            <p:ph type="body" sz="quarter" idx="18" hasCustomPrompt="1"/>
          </p:nvPr>
        </p:nvSpPr>
        <p:spPr>
          <a:xfrm>
            <a:off x="-9345" y="5287124"/>
            <a:ext cx="3560922" cy="1107295"/>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 name="connsiteX0" fmla="*/ 0 w 3653537"/>
              <a:gd name="connsiteY0" fmla="*/ 1249154 h 1249946"/>
              <a:gd name="connsiteX1" fmla="*/ 3934 w 3653537"/>
              <a:gd name="connsiteY1" fmla="*/ 1677 h 1249946"/>
              <a:gd name="connsiteX2" fmla="*/ 2601911 w 3653537"/>
              <a:gd name="connsiteY2" fmla="*/ 0 h 1249946"/>
              <a:gd name="connsiteX3" fmla="*/ 3150718 w 3653537"/>
              <a:gd name="connsiteY3" fmla="*/ 266682 h 1249946"/>
              <a:gd name="connsiteX4" fmla="*/ 3653537 w 3653537"/>
              <a:gd name="connsiteY4" fmla="*/ 269460 h 1249946"/>
              <a:gd name="connsiteX5" fmla="*/ 3066332 w 3653537"/>
              <a:gd name="connsiteY5" fmla="*/ 1249946 h 1249946"/>
              <a:gd name="connsiteX6" fmla="*/ 0 w 3653537"/>
              <a:gd name="connsiteY6" fmla="*/ 1249154 h 1249946"/>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178092 w 3653537"/>
              <a:gd name="connsiteY5" fmla="*/ 1244866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259372 w 3653537"/>
              <a:gd name="connsiteY5" fmla="*/ 1239786 h 1249154"/>
              <a:gd name="connsiteX6" fmla="*/ 0 w 3653537"/>
              <a:gd name="connsiteY6" fmla="*/ 1249154 h 1249154"/>
              <a:gd name="connsiteX0" fmla="*/ 0 w 3653537"/>
              <a:gd name="connsiteY0" fmla="*/ 1249154 h 1249311"/>
              <a:gd name="connsiteX1" fmla="*/ 3934 w 3653537"/>
              <a:gd name="connsiteY1" fmla="*/ 1677 h 1249311"/>
              <a:gd name="connsiteX2" fmla="*/ 2601911 w 3653537"/>
              <a:gd name="connsiteY2" fmla="*/ 0 h 1249311"/>
              <a:gd name="connsiteX3" fmla="*/ 3150718 w 3653537"/>
              <a:gd name="connsiteY3" fmla="*/ 266682 h 1249311"/>
              <a:gd name="connsiteX4" fmla="*/ 3653537 w 3653537"/>
              <a:gd name="connsiteY4" fmla="*/ 269460 h 1249311"/>
              <a:gd name="connsiteX5" fmla="*/ 3549884 w 3653537"/>
              <a:gd name="connsiteY5" fmla="*/ 1249311 h 1249311"/>
              <a:gd name="connsiteX6" fmla="*/ 0 w 3653537"/>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64698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8985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88818 w 3553525"/>
              <a:gd name="connsiteY3" fmla="*/ 271444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009594 w 3559258"/>
              <a:gd name="connsiteY3" fmla="*/ 123057 h 1249311"/>
              <a:gd name="connsiteX4" fmla="*/ 3194551 w 3559258"/>
              <a:gd name="connsiteY4" fmla="*/ 271444 h 1249311"/>
              <a:gd name="connsiteX5" fmla="*/ 3559258 w 3559258"/>
              <a:gd name="connsiteY5" fmla="*/ 274223 h 1249311"/>
              <a:gd name="connsiteX6" fmla="*/ 3555617 w 3559258"/>
              <a:gd name="connsiteY6" fmla="*/ 1249311 h 1249311"/>
              <a:gd name="connsiteX7" fmla="*/ 5733 w 3559258"/>
              <a:gd name="connsiteY7" fmla="*/ 1249154 h 1249311"/>
              <a:gd name="connsiteX0" fmla="*/ 5733 w 3559258"/>
              <a:gd name="connsiteY0" fmla="*/ 1247477 h 1247634"/>
              <a:gd name="connsiteX1" fmla="*/ 142 w 3559258"/>
              <a:gd name="connsiteY1" fmla="*/ 0 h 1247634"/>
              <a:gd name="connsiteX2" fmla="*/ 3009594 w 3559258"/>
              <a:gd name="connsiteY2" fmla="*/ 121380 h 1247634"/>
              <a:gd name="connsiteX3" fmla="*/ 3194551 w 3559258"/>
              <a:gd name="connsiteY3" fmla="*/ 269767 h 1247634"/>
              <a:gd name="connsiteX4" fmla="*/ 3559258 w 3559258"/>
              <a:gd name="connsiteY4" fmla="*/ 272546 h 1247634"/>
              <a:gd name="connsiteX5" fmla="*/ 3555617 w 3559258"/>
              <a:gd name="connsiteY5" fmla="*/ 1247634 h 1247634"/>
              <a:gd name="connsiteX6" fmla="*/ 5733 w 3559258"/>
              <a:gd name="connsiteY6" fmla="*/ 1247477 h 1247634"/>
              <a:gd name="connsiteX0" fmla="*/ 265934 w 3819459"/>
              <a:gd name="connsiteY0" fmla="*/ 1255838 h 1255995"/>
              <a:gd name="connsiteX1" fmla="*/ 256431 w 3819459"/>
              <a:gd name="connsiteY1" fmla="*/ 150521 h 1255995"/>
              <a:gd name="connsiteX2" fmla="*/ 260343 w 3819459"/>
              <a:gd name="connsiteY2" fmla="*/ 8361 h 1255995"/>
              <a:gd name="connsiteX3" fmla="*/ 3269795 w 3819459"/>
              <a:gd name="connsiteY3" fmla="*/ 129741 h 1255995"/>
              <a:gd name="connsiteX4" fmla="*/ 3454752 w 3819459"/>
              <a:gd name="connsiteY4" fmla="*/ 278128 h 1255995"/>
              <a:gd name="connsiteX5" fmla="*/ 3819459 w 3819459"/>
              <a:gd name="connsiteY5" fmla="*/ 280907 h 1255995"/>
              <a:gd name="connsiteX6" fmla="*/ 3815818 w 3819459"/>
              <a:gd name="connsiteY6" fmla="*/ 1255995 h 1255995"/>
              <a:gd name="connsiteX7" fmla="*/ 265934 w 3819459"/>
              <a:gd name="connsiteY7" fmla="*/ 1255838 h 1255995"/>
              <a:gd name="connsiteX0" fmla="*/ 415417 w 3968942"/>
              <a:gd name="connsiteY0" fmla="*/ 1199998 h 1200155"/>
              <a:gd name="connsiteX1" fmla="*/ 405914 w 3968942"/>
              <a:gd name="connsiteY1" fmla="*/ 94681 h 1200155"/>
              <a:gd name="connsiteX2" fmla="*/ 3419278 w 3968942"/>
              <a:gd name="connsiteY2" fmla="*/ 73901 h 1200155"/>
              <a:gd name="connsiteX3" fmla="*/ 3604235 w 3968942"/>
              <a:gd name="connsiteY3" fmla="*/ 222288 h 1200155"/>
              <a:gd name="connsiteX4" fmla="*/ 3968942 w 3968942"/>
              <a:gd name="connsiteY4" fmla="*/ 225067 h 1200155"/>
              <a:gd name="connsiteX5" fmla="*/ 3965301 w 3968942"/>
              <a:gd name="connsiteY5" fmla="*/ 1200155 h 1200155"/>
              <a:gd name="connsiteX6" fmla="*/ 415417 w 3968942"/>
              <a:gd name="connsiteY6" fmla="*/ 1199998 h 1200155"/>
              <a:gd name="connsiteX0" fmla="*/ 232068 w 3785593"/>
              <a:gd name="connsiteY0" fmla="*/ 1199998 h 1200155"/>
              <a:gd name="connsiteX1" fmla="*/ 222565 w 3785593"/>
              <a:gd name="connsiteY1" fmla="*/ 94681 h 1200155"/>
              <a:gd name="connsiteX2" fmla="*/ 3235929 w 3785593"/>
              <a:gd name="connsiteY2" fmla="*/ 73901 h 1200155"/>
              <a:gd name="connsiteX3" fmla="*/ 3420886 w 3785593"/>
              <a:gd name="connsiteY3" fmla="*/ 222288 h 1200155"/>
              <a:gd name="connsiteX4" fmla="*/ 3785593 w 3785593"/>
              <a:gd name="connsiteY4" fmla="*/ 225067 h 1200155"/>
              <a:gd name="connsiteX5" fmla="*/ 3781952 w 3785593"/>
              <a:gd name="connsiteY5" fmla="*/ 1200155 h 1200155"/>
              <a:gd name="connsiteX6" fmla="*/ 232068 w 3785593"/>
              <a:gd name="connsiteY6" fmla="*/ 1199998 h 1200155"/>
              <a:gd name="connsiteX0" fmla="*/ 16560 w 3570085"/>
              <a:gd name="connsiteY0" fmla="*/ 1199998 h 1200155"/>
              <a:gd name="connsiteX1" fmla="*/ 7057 w 3570085"/>
              <a:gd name="connsiteY1" fmla="*/ 94681 h 1200155"/>
              <a:gd name="connsiteX2" fmla="*/ 3020421 w 3570085"/>
              <a:gd name="connsiteY2" fmla="*/ 73901 h 1200155"/>
              <a:gd name="connsiteX3" fmla="*/ 3205378 w 3570085"/>
              <a:gd name="connsiteY3" fmla="*/ 222288 h 1200155"/>
              <a:gd name="connsiteX4" fmla="*/ 3570085 w 3570085"/>
              <a:gd name="connsiteY4" fmla="*/ 225067 h 1200155"/>
              <a:gd name="connsiteX5" fmla="*/ 3566444 w 3570085"/>
              <a:gd name="connsiteY5" fmla="*/ 1200155 h 1200155"/>
              <a:gd name="connsiteX6" fmla="*/ 16560 w 3570085"/>
              <a:gd name="connsiteY6" fmla="*/ 1199998 h 1200155"/>
              <a:gd name="connsiteX0" fmla="*/ 16560 w 3570085"/>
              <a:gd name="connsiteY0" fmla="*/ 1133874 h 1134031"/>
              <a:gd name="connsiteX1" fmla="*/ 7057 w 3570085"/>
              <a:gd name="connsiteY1" fmla="*/ 28557 h 1134031"/>
              <a:gd name="connsiteX2" fmla="*/ 3020421 w 3570085"/>
              <a:gd name="connsiteY2" fmla="*/ 7777 h 1134031"/>
              <a:gd name="connsiteX3" fmla="*/ 3205378 w 3570085"/>
              <a:gd name="connsiteY3" fmla="*/ 156164 h 1134031"/>
              <a:gd name="connsiteX4" fmla="*/ 3570085 w 3570085"/>
              <a:gd name="connsiteY4" fmla="*/ 158943 h 1134031"/>
              <a:gd name="connsiteX5" fmla="*/ 3566444 w 3570085"/>
              <a:gd name="connsiteY5" fmla="*/ 1134031 h 1134031"/>
              <a:gd name="connsiteX6" fmla="*/ 16560 w 3570085"/>
              <a:gd name="connsiteY6" fmla="*/ 1133874 h 1134031"/>
              <a:gd name="connsiteX0" fmla="*/ 16560 w 3570085"/>
              <a:gd name="connsiteY0" fmla="*/ 1109331 h 1109488"/>
              <a:gd name="connsiteX1" fmla="*/ 7057 w 3570085"/>
              <a:gd name="connsiteY1" fmla="*/ 4014 h 1109488"/>
              <a:gd name="connsiteX2" fmla="*/ 3048130 w 3570085"/>
              <a:gd name="connsiteY2" fmla="*/ 38652 h 1109488"/>
              <a:gd name="connsiteX3" fmla="*/ 3205378 w 3570085"/>
              <a:gd name="connsiteY3" fmla="*/ 131621 h 1109488"/>
              <a:gd name="connsiteX4" fmla="*/ 3570085 w 3570085"/>
              <a:gd name="connsiteY4" fmla="*/ 134400 h 1109488"/>
              <a:gd name="connsiteX5" fmla="*/ 3566444 w 3570085"/>
              <a:gd name="connsiteY5" fmla="*/ 1109488 h 1109488"/>
              <a:gd name="connsiteX6" fmla="*/ 16560 w 3570085"/>
              <a:gd name="connsiteY6" fmla="*/ 1109331 h 1109488"/>
              <a:gd name="connsiteX0" fmla="*/ 16560 w 3570085"/>
              <a:gd name="connsiteY0" fmla="*/ 1107515 h 1107672"/>
              <a:gd name="connsiteX1" fmla="*/ 7057 w 3570085"/>
              <a:gd name="connsiteY1" fmla="*/ 2198 h 1107672"/>
              <a:gd name="connsiteX2" fmla="*/ 3048130 w 3570085"/>
              <a:gd name="connsiteY2" fmla="*/ 36836 h 1107672"/>
              <a:gd name="connsiteX3" fmla="*/ 3205378 w 3570085"/>
              <a:gd name="connsiteY3" fmla="*/ 129805 h 1107672"/>
              <a:gd name="connsiteX4" fmla="*/ 3570085 w 3570085"/>
              <a:gd name="connsiteY4" fmla="*/ 132584 h 1107672"/>
              <a:gd name="connsiteX5" fmla="*/ 3566444 w 3570085"/>
              <a:gd name="connsiteY5" fmla="*/ 1107672 h 1107672"/>
              <a:gd name="connsiteX6" fmla="*/ 16560 w 3570085"/>
              <a:gd name="connsiteY6" fmla="*/ 1107515 h 1107672"/>
              <a:gd name="connsiteX0" fmla="*/ 16560 w 3570085"/>
              <a:gd name="connsiteY0" fmla="*/ 1112243 h 1112400"/>
              <a:gd name="connsiteX1" fmla="*/ 7057 w 3570085"/>
              <a:gd name="connsiteY1" fmla="*/ 6926 h 1112400"/>
              <a:gd name="connsiteX2" fmla="*/ 2992712 w 3570085"/>
              <a:gd name="connsiteY2" fmla="*/ 0 h 1112400"/>
              <a:gd name="connsiteX3" fmla="*/ 3205378 w 3570085"/>
              <a:gd name="connsiteY3" fmla="*/ 134533 h 1112400"/>
              <a:gd name="connsiteX4" fmla="*/ 3570085 w 3570085"/>
              <a:gd name="connsiteY4" fmla="*/ 137312 h 1112400"/>
              <a:gd name="connsiteX5" fmla="*/ 3566444 w 3570085"/>
              <a:gd name="connsiteY5" fmla="*/ 1112400 h 1112400"/>
              <a:gd name="connsiteX6" fmla="*/ 16560 w 3570085"/>
              <a:gd name="connsiteY6" fmla="*/ 1112243 h 1112400"/>
              <a:gd name="connsiteX0" fmla="*/ 22098 w 3575623"/>
              <a:gd name="connsiteY0" fmla="*/ 1112243 h 1112400"/>
              <a:gd name="connsiteX1" fmla="*/ 5668 w 3575623"/>
              <a:gd name="connsiteY1" fmla="*/ 34635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2098 w 3575623"/>
              <a:gd name="connsiteY0" fmla="*/ 1112243 h 1112400"/>
              <a:gd name="connsiteX1" fmla="*/ 5668 w 3575623"/>
              <a:gd name="connsiteY1" fmla="*/ 13854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0024 w 3573549"/>
              <a:gd name="connsiteY0" fmla="*/ 1112243 h 1112400"/>
              <a:gd name="connsiteX1" fmla="*/ 3594 w 3573549"/>
              <a:gd name="connsiteY1" fmla="*/ 13854 h 1112400"/>
              <a:gd name="connsiteX2" fmla="*/ 2996176 w 3573549"/>
              <a:gd name="connsiteY2" fmla="*/ 0 h 1112400"/>
              <a:gd name="connsiteX3" fmla="*/ 3208842 w 3573549"/>
              <a:gd name="connsiteY3" fmla="*/ 134533 h 1112400"/>
              <a:gd name="connsiteX4" fmla="*/ 3573549 w 3573549"/>
              <a:gd name="connsiteY4" fmla="*/ 137312 h 1112400"/>
              <a:gd name="connsiteX5" fmla="*/ 3569908 w 3573549"/>
              <a:gd name="connsiteY5" fmla="*/ 1112400 h 1112400"/>
              <a:gd name="connsiteX6" fmla="*/ 20024 w 3573549"/>
              <a:gd name="connsiteY6" fmla="*/ 1112243 h 1112400"/>
              <a:gd name="connsiteX0" fmla="*/ 16430 w 3569955"/>
              <a:gd name="connsiteY0" fmla="*/ 1112243 h 1112400"/>
              <a:gd name="connsiteX1" fmla="*/ 0 w 3569955"/>
              <a:gd name="connsiteY1" fmla="*/ 13854 h 1112400"/>
              <a:gd name="connsiteX2" fmla="*/ 2992582 w 3569955"/>
              <a:gd name="connsiteY2" fmla="*/ 0 h 1112400"/>
              <a:gd name="connsiteX3" fmla="*/ 3205248 w 3569955"/>
              <a:gd name="connsiteY3" fmla="*/ 134533 h 1112400"/>
              <a:gd name="connsiteX4" fmla="*/ 3569955 w 3569955"/>
              <a:gd name="connsiteY4" fmla="*/ 137312 h 1112400"/>
              <a:gd name="connsiteX5" fmla="*/ 3566314 w 3569955"/>
              <a:gd name="connsiteY5" fmla="*/ 1112400 h 1112400"/>
              <a:gd name="connsiteX6" fmla="*/ 16430 w 3569955"/>
              <a:gd name="connsiteY6" fmla="*/ 1112243 h 1112400"/>
              <a:gd name="connsiteX0" fmla="*/ 2575 w 3556100"/>
              <a:gd name="connsiteY0" fmla="*/ 1116552 h 1116709"/>
              <a:gd name="connsiteX1" fmla="*/ 0 w 3556100"/>
              <a:gd name="connsiteY1" fmla="*/ 4308 h 1116709"/>
              <a:gd name="connsiteX2" fmla="*/ 2978727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6552 h 1116709"/>
              <a:gd name="connsiteX1" fmla="*/ 0 w 3556100"/>
              <a:gd name="connsiteY1" fmla="*/ 4308 h 1116709"/>
              <a:gd name="connsiteX2" fmla="*/ 2971799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5351 h 1115508"/>
              <a:gd name="connsiteX1" fmla="*/ 0 w 3556100"/>
              <a:gd name="connsiteY1" fmla="*/ 3107 h 1115508"/>
              <a:gd name="connsiteX2" fmla="*/ 2964872 w 3556100"/>
              <a:gd name="connsiteY2" fmla="*/ 16963 h 1115508"/>
              <a:gd name="connsiteX3" fmla="*/ 3191393 w 3556100"/>
              <a:gd name="connsiteY3" fmla="*/ 137641 h 1115508"/>
              <a:gd name="connsiteX4" fmla="*/ 3556100 w 3556100"/>
              <a:gd name="connsiteY4" fmla="*/ 140420 h 1115508"/>
              <a:gd name="connsiteX5" fmla="*/ 3552459 w 3556100"/>
              <a:gd name="connsiteY5" fmla="*/ 1115508 h 1115508"/>
              <a:gd name="connsiteX6" fmla="*/ 2575 w 3556100"/>
              <a:gd name="connsiteY6" fmla="*/ 1115351 h 1115508"/>
              <a:gd name="connsiteX0" fmla="*/ 2575 w 3556100"/>
              <a:gd name="connsiteY0" fmla="*/ 1119170 h 1119327"/>
              <a:gd name="connsiteX1" fmla="*/ 0 w 3556100"/>
              <a:gd name="connsiteY1" fmla="*/ 6926 h 1119327"/>
              <a:gd name="connsiteX2" fmla="*/ 2971800 w 3556100"/>
              <a:gd name="connsiteY2" fmla="*/ 0 h 1119327"/>
              <a:gd name="connsiteX3" fmla="*/ 3191393 w 3556100"/>
              <a:gd name="connsiteY3" fmla="*/ 141460 h 1119327"/>
              <a:gd name="connsiteX4" fmla="*/ 3556100 w 3556100"/>
              <a:gd name="connsiteY4" fmla="*/ 144239 h 1119327"/>
              <a:gd name="connsiteX5" fmla="*/ 3552459 w 3556100"/>
              <a:gd name="connsiteY5" fmla="*/ 1119327 h 1119327"/>
              <a:gd name="connsiteX6" fmla="*/ 2575 w 3556100"/>
              <a:gd name="connsiteY6" fmla="*/ 1119170 h 1119327"/>
              <a:gd name="connsiteX0" fmla="*/ 5397 w 3558922"/>
              <a:gd name="connsiteY0" fmla="*/ 1127370 h 1127527"/>
              <a:gd name="connsiteX1" fmla="*/ 0 w 3558922"/>
              <a:gd name="connsiteY1" fmla="*/ 3837 h 1127527"/>
              <a:gd name="connsiteX2" fmla="*/ 2974622 w 3558922"/>
              <a:gd name="connsiteY2" fmla="*/ 8200 h 1127527"/>
              <a:gd name="connsiteX3" fmla="*/ 3194215 w 3558922"/>
              <a:gd name="connsiteY3" fmla="*/ 149660 h 1127527"/>
              <a:gd name="connsiteX4" fmla="*/ 3558922 w 3558922"/>
              <a:gd name="connsiteY4" fmla="*/ 152439 h 1127527"/>
              <a:gd name="connsiteX5" fmla="*/ 3555281 w 3558922"/>
              <a:gd name="connsiteY5" fmla="*/ 1127527 h 1127527"/>
              <a:gd name="connsiteX6" fmla="*/ 5397 w 3558922"/>
              <a:gd name="connsiteY6" fmla="*/ 1127370 h 1127527"/>
              <a:gd name="connsiteX0" fmla="*/ 5397 w 3558922"/>
              <a:gd name="connsiteY0" fmla="*/ 1123533 h 1123690"/>
              <a:gd name="connsiteX1" fmla="*/ 0 w 3558922"/>
              <a:gd name="connsiteY1" fmla="*/ 0 h 1123690"/>
              <a:gd name="connsiteX2" fmla="*/ 2974622 w 3558922"/>
              <a:gd name="connsiteY2" fmla="*/ 4363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5397 w 3558922"/>
              <a:gd name="connsiteY0" fmla="*/ 1123533 h 1123690"/>
              <a:gd name="connsiteX1" fmla="*/ 0 w 3558922"/>
              <a:gd name="connsiteY1" fmla="*/ 0 h 1123690"/>
              <a:gd name="connsiteX2" fmla="*/ 2962591 w 3558922"/>
              <a:gd name="connsiteY2" fmla="*/ 16395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10477 w 3564002"/>
              <a:gd name="connsiteY0" fmla="*/ 1108293 h 1108450"/>
              <a:gd name="connsiteX1" fmla="*/ 0 w 3564002"/>
              <a:gd name="connsiteY1" fmla="*/ 0 h 1108450"/>
              <a:gd name="connsiteX2" fmla="*/ 2967671 w 3564002"/>
              <a:gd name="connsiteY2" fmla="*/ 1155 h 1108450"/>
              <a:gd name="connsiteX3" fmla="*/ 3199295 w 3564002"/>
              <a:gd name="connsiteY3" fmla="*/ 130583 h 1108450"/>
              <a:gd name="connsiteX4" fmla="*/ 3564002 w 3564002"/>
              <a:gd name="connsiteY4" fmla="*/ 133362 h 1108450"/>
              <a:gd name="connsiteX5" fmla="*/ 3560361 w 3564002"/>
              <a:gd name="connsiteY5" fmla="*/ 1108450 h 1108450"/>
              <a:gd name="connsiteX6" fmla="*/ 10477 w 3564002"/>
              <a:gd name="connsiteY6" fmla="*/ 1108293 h 1108450"/>
              <a:gd name="connsiteX0" fmla="*/ 5397 w 3558922"/>
              <a:gd name="connsiteY0" fmla="*/ 1107138 h 1107295"/>
              <a:gd name="connsiteX1" fmla="*/ 0 w 3558922"/>
              <a:gd name="connsiteY1" fmla="*/ 3925 h 1107295"/>
              <a:gd name="connsiteX2" fmla="*/ 2962591 w 3558922"/>
              <a:gd name="connsiteY2" fmla="*/ 0 h 1107295"/>
              <a:gd name="connsiteX3" fmla="*/ 3194215 w 3558922"/>
              <a:gd name="connsiteY3" fmla="*/ 129428 h 1107295"/>
              <a:gd name="connsiteX4" fmla="*/ 3558922 w 3558922"/>
              <a:gd name="connsiteY4" fmla="*/ 132207 h 1107295"/>
              <a:gd name="connsiteX5" fmla="*/ 3555281 w 3558922"/>
              <a:gd name="connsiteY5" fmla="*/ 1107295 h 1107295"/>
              <a:gd name="connsiteX6" fmla="*/ 5397 w 3558922"/>
              <a:gd name="connsiteY6" fmla="*/ 1107138 h 1107295"/>
              <a:gd name="connsiteX0" fmla="*/ 7397 w 3560922"/>
              <a:gd name="connsiteY0" fmla="*/ 1107138 h 1107295"/>
              <a:gd name="connsiteX1" fmla="*/ 2000 w 3560922"/>
              <a:gd name="connsiteY1" fmla="*/ 3925 h 1107295"/>
              <a:gd name="connsiteX2" fmla="*/ 2964591 w 3560922"/>
              <a:gd name="connsiteY2" fmla="*/ 0 h 1107295"/>
              <a:gd name="connsiteX3" fmla="*/ 3196215 w 3560922"/>
              <a:gd name="connsiteY3" fmla="*/ 129428 h 1107295"/>
              <a:gd name="connsiteX4" fmla="*/ 3560922 w 3560922"/>
              <a:gd name="connsiteY4" fmla="*/ 132207 h 1107295"/>
              <a:gd name="connsiteX5" fmla="*/ 3557281 w 3560922"/>
              <a:gd name="connsiteY5" fmla="*/ 1107295 h 1107295"/>
              <a:gd name="connsiteX6" fmla="*/ 7397 w 3560922"/>
              <a:gd name="connsiteY6" fmla="*/ 1107138 h 1107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0922" h="1107295">
                <a:moveTo>
                  <a:pt x="7397" y="1107138"/>
                </a:moveTo>
                <a:cubicBezTo>
                  <a:pt x="-8561" y="635179"/>
                  <a:pt x="7048" y="669590"/>
                  <a:pt x="2000" y="3925"/>
                </a:cubicBezTo>
                <a:lnTo>
                  <a:pt x="2964591" y="0"/>
                </a:lnTo>
                <a:lnTo>
                  <a:pt x="3196215" y="129428"/>
                </a:lnTo>
                <a:lnTo>
                  <a:pt x="3560922" y="132207"/>
                </a:lnTo>
                <a:cubicBezTo>
                  <a:pt x="3559708" y="460411"/>
                  <a:pt x="3561670" y="779091"/>
                  <a:pt x="3557281" y="1107295"/>
                </a:cubicBezTo>
                <a:lnTo>
                  <a:pt x="7397" y="1107138"/>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a:t> </a:t>
            </a:r>
          </a:p>
        </p:txBody>
      </p:sp>
      <p:sp>
        <p:nvSpPr>
          <p:cNvPr id="47" name="Text Placeholder 33">
            <a:extLst>
              <a:ext uri="{FF2B5EF4-FFF2-40B4-BE49-F238E27FC236}">
                <a16:creationId xmlns:a16="http://schemas.microsoft.com/office/drawing/2014/main" id="{620960E4-A95C-B20A-22C4-BC51F1460BFE}"/>
              </a:ext>
            </a:extLst>
          </p:cNvPr>
          <p:cNvSpPr>
            <a:spLocks noGrp="1"/>
          </p:cNvSpPr>
          <p:nvPr>
            <p:ph type="body" sz="quarter" idx="22" hasCustomPrompt="1"/>
          </p:nvPr>
        </p:nvSpPr>
        <p:spPr>
          <a:xfrm>
            <a:off x="-3135" y="5417011"/>
            <a:ext cx="5344068" cy="1042416"/>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183655 w 5344068"/>
              <a:gd name="connsiteY2" fmla="*/ 96335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25985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63040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88067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20056"/>
                  <a:pt x="1336" y="988067"/>
                </a:cubicBezTo>
                <a:lnTo>
                  <a:pt x="3552965" y="977327"/>
                </a:lnTo>
                <a:cubicBezTo>
                  <a:pt x="3550551" y="657901"/>
                  <a:pt x="3555066" y="324189"/>
                  <a:pt x="3552652" y="4763"/>
                </a:cubicBez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a:t> </a:t>
            </a:r>
          </a:p>
        </p:txBody>
      </p:sp>
      <p:sp>
        <p:nvSpPr>
          <p:cNvPr id="48" name="Text Placeholder 103">
            <a:extLst>
              <a:ext uri="{FF2B5EF4-FFF2-40B4-BE49-F238E27FC236}">
                <a16:creationId xmlns:a16="http://schemas.microsoft.com/office/drawing/2014/main" id="{456E178D-C288-E863-3B0C-28B21541FE9B}"/>
              </a:ext>
            </a:extLst>
          </p:cNvPr>
          <p:cNvSpPr>
            <a:spLocks noGrp="1"/>
          </p:cNvSpPr>
          <p:nvPr>
            <p:ph type="body" sz="quarter" idx="26" hasCustomPrompt="1"/>
          </p:nvPr>
        </p:nvSpPr>
        <p:spPr>
          <a:xfrm>
            <a:off x="150008" y="5489041"/>
            <a:ext cx="3271178" cy="822960"/>
          </a:xfrm>
        </p:spPr>
        <p:txBody>
          <a:bodyPr anchor="ctr" anchorCtr="0"/>
          <a:lstStyle>
            <a:lvl1pPr marL="0" indent="0" algn="l">
              <a:spcBef>
                <a:spcPts val="0"/>
              </a:spcBef>
              <a:buFontTx/>
              <a:buNone/>
              <a:defRPr sz="1600" b="1">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ompany description</a:t>
            </a:r>
          </a:p>
        </p:txBody>
      </p:sp>
      <p:sp>
        <p:nvSpPr>
          <p:cNvPr id="49" name="Text Placeholder 20">
            <a:extLst>
              <a:ext uri="{FF2B5EF4-FFF2-40B4-BE49-F238E27FC236}">
                <a16:creationId xmlns:a16="http://schemas.microsoft.com/office/drawing/2014/main" id="{0C6C58D8-C04E-9EE3-04F4-07D1637CE15F}"/>
              </a:ext>
            </a:extLst>
          </p:cNvPr>
          <p:cNvSpPr>
            <a:spLocks noGrp="1"/>
          </p:cNvSpPr>
          <p:nvPr>
            <p:ph type="body" sz="quarter" idx="27" hasCustomPrompt="1"/>
          </p:nvPr>
        </p:nvSpPr>
        <p:spPr>
          <a:xfrm>
            <a:off x="3680340" y="5550001"/>
            <a:ext cx="1472491" cy="723900"/>
          </a:xfrm>
        </p:spPr>
        <p:txBody>
          <a:bodyPr anchor="ctr" anchorCtr="0"/>
          <a:lstStyle>
            <a:lvl1pPr marL="0" indent="0" algn="ctr">
              <a:buFontTx/>
              <a:buNone/>
              <a:defRPr sz="1400">
                <a:solidFill>
                  <a:schemeClr val="tx1"/>
                </a:solidFill>
              </a:defRPr>
            </a:lvl1pPr>
          </a:lstStyle>
          <a:p>
            <a:pPr lvl="0"/>
            <a:r>
              <a:rPr lang="en-US"/>
              <a:t>Paste logo</a:t>
            </a:r>
          </a:p>
        </p:txBody>
      </p:sp>
      <p:sp>
        <p:nvSpPr>
          <p:cNvPr id="7" name="Rectangle 6">
            <a:extLst>
              <a:ext uri="{FF2B5EF4-FFF2-40B4-BE49-F238E27FC236}">
                <a16:creationId xmlns:a16="http://schemas.microsoft.com/office/drawing/2014/main" id="{70609299-CAA2-1551-0F78-1AF9FED418FF}"/>
              </a:ext>
            </a:extLst>
          </p:cNvPr>
          <p:cNvSpPr/>
          <p:nvPr userDrawn="1"/>
        </p:nvSpPr>
        <p:spPr>
          <a:xfrm>
            <a:off x="6235700"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2055509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90760" y="1711084"/>
            <a:ext cx="5430358"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480336" y="1711084"/>
            <a:ext cx="5359241" cy="4572000"/>
          </a:xfrm>
        </p:spPr>
        <p:txBody>
          <a:bodyPr vert="horz" lIns="0" tIns="0" rIns="0" bIns="0" rtlCol="0">
            <a:noAutofit/>
          </a:bodyPr>
          <a:lstStyle>
            <a:lvl1pPr>
              <a:defRPr kumimoji="0" lang="en-US" b="0" i="0" u="none" strike="noStrike" cap="none" spc="0" normalizeH="0" baseline="0" dirty="0" smtClean="0">
                <a:ln>
                  <a:noFill/>
                </a:ln>
                <a:solidFill>
                  <a:srgbClr val="3D4647"/>
                </a:solidFill>
                <a:effectLst/>
                <a:uLnTx/>
                <a:uFillTx/>
                <a:latin typeface="PTCRaleway"/>
              </a:defRPr>
            </a:lvl1pPr>
            <a:lvl2pPr>
              <a:defRPr kumimoji="0" lang="en-US" b="0" i="0" u="none" strike="noStrike" cap="none" spc="0" normalizeH="0" baseline="0" dirty="0" smtClean="0">
                <a:ln>
                  <a:noFill/>
                </a:ln>
                <a:solidFill>
                  <a:srgbClr val="3D4647"/>
                </a:solidFill>
                <a:effectLst/>
                <a:uLnTx/>
                <a:uFillTx/>
                <a:latin typeface="PTCRaleway"/>
              </a:defRPr>
            </a:lvl2pPr>
            <a:lvl3pPr>
              <a:defRPr kumimoji="0" lang="en-US" b="0" i="0" u="none" strike="noStrike" cap="none" spc="0" normalizeH="0" baseline="0" dirty="0" smtClean="0">
                <a:ln>
                  <a:noFill/>
                </a:ln>
                <a:solidFill>
                  <a:srgbClr val="3D4647"/>
                </a:solidFill>
                <a:effectLst/>
                <a:uLnTx/>
                <a:uFillTx/>
                <a:latin typeface="PTCRaleway"/>
              </a:defRPr>
            </a:lvl3pPr>
            <a:lvl4pPr>
              <a:defRPr kumimoji="0" lang="en-US" b="0" i="0" u="none" strike="noStrike" cap="none" spc="0" normalizeH="0" dirty="0" smtClean="0">
                <a:ln>
                  <a:noFill/>
                </a:ln>
                <a:solidFill>
                  <a:srgbClr val="3D4647"/>
                </a:solidFill>
                <a:effectLst/>
                <a:uLnTx/>
                <a:uFillTx/>
                <a:latin typeface="PTCRaleway"/>
              </a:defRPr>
            </a:lvl4pPr>
            <a:lvl5pPr>
              <a:defRPr kumimoji="0" lang="en-US" b="0" i="0" u="none" strike="noStrike" cap="none" spc="0" normalizeH="0" dirty="0">
                <a:ln>
                  <a:noFill/>
                </a:ln>
                <a:solidFill>
                  <a:srgbClr val="3D4647"/>
                </a:solidFill>
                <a:effectLst/>
                <a:uLnTx/>
                <a:uFillTx/>
                <a:latin typeface="PTCRaleway"/>
              </a:defRPr>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83A8CD21-C0E4-7B68-F4D9-80E26002B5AB}"/>
              </a:ext>
            </a:extLst>
          </p:cNvPr>
          <p:cNvSpPr>
            <a:spLocks noGrp="1"/>
          </p:cNvSpPr>
          <p:nvPr>
            <p:ph type="title" hasCustomPrompt="1"/>
          </p:nvPr>
        </p:nvSpPr>
        <p:spPr/>
        <p:txBody>
          <a:bodyPr/>
          <a:lstStyle>
            <a:lvl1pPr>
              <a:defRPr/>
            </a:lvl1pPr>
          </a:lstStyle>
          <a:p>
            <a:r>
              <a:rPr lang="en-US" dirty="0"/>
              <a:t>ADD TIT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90759" y="1713756"/>
            <a:ext cx="3383280"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15" hasCustomPrompt="1"/>
          </p:nvPr>
        </p:nvSpPr>
        <p:spPr>
          <a:xfrm>
            <a:off x="4404630" y="1713756"/>
            <a:ext cx="3383280"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1"/>
          <p:cNvSpPr>
            <a:spLocks noGrp="1"/>
          </p:cNvSpPr>
          <p:nvPr>
            <p:ph sz="quarter" idx="16" hasCustomPrompt="1"/>
          </p:nvPr>
        </p:nvSpPr>
        <p:spPr>
          <a:xfrm>
            <a:off x="8318500" y="1713756"/>
            <a:ext cx="3383280"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3FBDC27-7D24-B3F3-59DD-70FAC5433413}"/>
              </a:ext>
            </a:extLst>
          </p:cNvPr>
          <p:cNvSpPr>
            <a:spLocks noGrp="1"/>
          </p:cNvSpPr>
          <p:nvPr>
            <p:ph type="title" hasCustomPrompt="1"/>
          </p:nvPr>
        </p:nvSpPr>
        <p:spPr/>
        <p:txBody>
          <a:bodyPr/>
          <a:lstStyle/>
          <a:p>
            <a:r>
              <a:rPr lang="en-US" dirty="0"/>
              <a:t>ADD TIT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Divider">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2795696-EB95-4185-8B89-3CC0AED5CF8E}"/>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a:stretch/>
        </p:blipFill>
        <p:spPr>
          <a:xfrm>
            <a:off x="-24384" y="0"/>
            <a:ext cx="12233159" cy="6857999"/>
          </a:xfrm>
          <a:prstGeom prst="rect">
            <a:avLst/>
          </a:prstGeom>
        </p:spPr>
      </p:pic>
      <p:sp>
        <p:nvSpPr>
          <p:cNvPr id="22" name="Title 21"/>
          <p:cNvSpPr>
            <a:spLocks noGrp="1"/>
          </p:cNvSpPr>
          <p:nvPr>
            <p:ph type="title" hasCustomPrompt="1"/>
          </p:nvPr>
        </p:nvSpPr>
        <p:spPr bwMode="gray">
          <a:xfrm>
            <a:off x="2665327" y="3082752"/>
            <a:ext cx="8869680" cy="692497"/>
          </a:xfrm>
        </p:spPr>
        <p:txBody>
          <a:bodyPr anchor="ctr" anchorCtr="0">
            <a:spAutoFit/>
          </a:bodyPr>
          <a:lstStyle>
            <a:lvl1pPr algn="l">
              <a:lnSpc>
                <a:spcPct val="100000"/>
              </a:lnSpc>
              <a:defRPr lang="en-US" sz="5000" b="1" dirty="0">
                <a:solidFill>
                  <a:schemeClr val="tx1"/>
                </a:solidFill>
              </a:defRPr>
            </a:lvl1pPr>
          </a:lstStyle>
          <a:p>
            <a:pPr marL="0" lvl="0">
              <a:lnSpc>
                <a:spcPct val="90000"/>
              </a:lnSpc>
              <a:spcBef>
                <a:spcPts val="1200"/>
              </a:spcBef>
            </a:pPr>
            <a:r>
              <a:rPr lang="en-US"/>
              <a:t>Divider – 1 line of text</a:t>
            </a:r>
          </a:p>
        </p:txBody>
      </p:sp>
      <p:grpSp>
        <p:nvGrpSpPr>
          <p:cNvPr id="21" name="Group 20">
            <a:extLst>
              <a:ext uri="{FF2B5EF4-FFF2-40B4-BE49-F238E27FC236}">
                <a16:creationId xmlns:a16="http://schemas.microsoft.com/office/drawing/2014/main" id="{7C7F3B32-EE76-44C5-8359-BC4ACEC00C40}"/>
              </a:ext>
            </a:extLst>
          </p:cNvPr>
          <p:cNvGrpSpPr/>
          <p:nvPr userDrawn="1"/>
        </p:nvGrpSpPr>
        <p:grpSpPr>
          <a:xfrm>
            <a:off x="0" y="3160444"/>
            <a:ext cx="2455333" cy="537112"/>
            <a:chOff x="0" y="3161621"/>
            <a:chExt cx="2455333" cy="537112"/>
          </a:xfrm>
        </p:grpSpPr>
        <p:sp>
          <p:nvSpPr>
            <p:cNvPr id="13" name="Rectangle 12">
              <a:extLst>
                <a:ext uri="{FF2B5EF4-FFF2-40B4-BE49-F238E27FC236}">
                  <a16:creationId xmlns:a16="http://schemas.microsoft.com/office/drawing/2014/main" id="{DF2B67A1-EE4B-45BF-9BBC-A9A3AB5F7F53}"/>
                </a:ext>
              </a:extLst>
            </p:cNvPr>
            <p:cNvSpPr/>
            <p:nvPr userDrawn="1"/>
          </p:nvSpPr>
          <p:spPr>
            <a:xfrm>
              <a:off x="0" y="3161621"/>
              <a:ext cx="2455333" cy="5371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50" name="Freeform: Shape 49">
              <a:extLst>
                <a:ext uri="{FF2B5EF4-FFF2-40B4-BE49-F238E27FC236}">
                  <a16:creationId xmlns:a16="http://schemas.microsoft.com/office/drawing/2014/main" id="{95DA7B0E-0DF0-4795-BC40-8582B80C8C7D}"/>
                </a:ext>
              </a:extLst>
            </p:cNvPr>
            <p:cNvSpPr/>
            <p:nvPr userDrawn="1"/>
          </p:nvSpPr>
          <p:spPr>
            <a:xfrm rot="16200000" flipH="1">
              <a:off x="310000" y="3115270"/>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132EA109-B6D2-47CB-9BC9-D55B0F9A6750}"/>
                </a:ext>
              </a:extLst>
            </p:cNvPr>
            <p:cNvSpPr/>
            <p:nvPr userDrawn="1"/>
          </p:nvSpPr>
          <p:spPr>
            <a:xfrm rot="16200000" flipH="1">
              <a:off x="82144" y="3339115"/>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pic>
          <p:nvPicPr>
            <p:cNvPr id="24" name="Picture 23">
              <a:extLst>
                <a:ext uri="{FF2B5EF4-FFF2-40B4-BE49-F238E27FC236}">
                  <a16:creationId xmlns:a16="http://schemas.microsoft.com/office/drawing/2014/main" id="{6D0CF51F-F4CE-426F-AB3D-EFB191BB1445}"/>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722355" y="3238216"/>
              <a:ext cx="647967" cy="373101"/>
            </a:xfrm>
            <a:prstGeom prst="rect">
              <a:avLst/>
            </a:prstGeom>
          </p:spPr>
        </p:pic>
        <p:cxnSp>
          <p:nvCxnSpPr>
            <p:cNvPr id="20" name="Straight Connector 19">
              <a:extLst>
                <a:ext uri="{FF2B5EF4-FFF2-40B4-BE49-F238E27FC236}">
                  <a16:creationId xmlns:a16="http://schemas.microsoft.com/office/drawing/2014/main" id="{B8A23F11-3EF7-4BB7-9396-70D452EECC1B}"/>
                </a:ext>
              </a:extLst>
            </p:cNvPr>
            <p:cNvCxnSpPr/>
            <p:nvPr userDrawn="1"/>
          </p:nvCxnSpPr>
          <p:spPr>
            <a:xfrm>
              <a:off x="176782" y="3325341"/>
              <a:ext cx="0" cy="3657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8610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Divider">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58F95B26-E9C8-461F-A9CE-9322F34A89C5}"/>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a:stretch/>
        </p:blipFill>
        <p:spPr>
          <a:xfrm>
            <a:off x="-24384" y="0"/>
            <a:ext cx="12233159" cy="6857999"/>
          </a:xfrm>
          <a:prstGeom prst="rect">
            <a:avLst/>
          </a:prstGeom>
        </p:spPr>
      </p:pic>
      <p:sp>
        <p:nvSpPr>
          <p:cNvPr id="22" name="Title 21"/>
          <p:cNvSpPr>
            <a:spLocks noGrp="1"/>
          </p:cNvSpPr>
          <p:nvPr>
            <p:ph type="title" hasCustomPrompt="1"/>
          </p:nvPr>
        </p:nvSpPr>
        <p:spPr bwMode="gray">
          <a:xfrm>
            <a:off x="2665328" y="3082752"/>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a:t>Divider – 2 lines of text</a:t>
            </a:r>
          </a:p>
        </p:txBody>
      </p:sp>
      <p:grpSp>
        <p:nvGrpSpPr>
          <p:cNvPr id="3" name="Group 2">
            <a:extLst>
              <a:ext uri="{FF2B5EF4-FFF2-40B4-BE49-F238E27FC236}">
                <a16:creationId xmlns:a16="http://schemas.microsoft.com/office/drawing/2014/main" id="{8D4250D6-FEAA-416E-9521-0C7E8FEDCFB1}"/>
              </a:ext>
            </a:extLst>
          </p:cNvPr>
          <p:cNvGrpSpPr/>
          <p:nvPr userDrawn="1"/>
        </p:nvGrpSpPr>
        <p:grpSpPr>
          <a:xfrm>
            <a:off x="0" y="2784626"/>
            <a:ext cx="2451100" cy="1288748"/>
            <a:chOff x="0" y="2781802"/>
            <a:chExt cx="2451100" cy="1288748"/>
          </a:xfrm>
        </p:grpSpPr>
        <p:sp>
          <p:nvSpPr>
            <p:cNvPr id="2" name="Rectangle 1">
              <a:extLst>
                <a:ext uri="{FF2B5EF4-FFF2-40B4-BE49-F238E27FC236}">
                  <a16:creationId xmlns:a16="http://schemas.microsoft.com/office/drawing/2014/main" id="{BB5A8BEB-B893-4846-98F3-0D2FA3DAF44A}"/>
                </a:ext>
              </a:extLst>
            </p:cNvPr>
            <p:cNvSpPr/>
            <p:nvPr userDrawn="1"/>
          </p:nvSpPr>
          <p:spPr>
            <a:xfrm>
              <a:off x="0" y="2781802"/>
              <a:ext cx="2451100" cy="1288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pic>
          <p:nvPicPr>
            <p:cNvPr id="25" name="Picture 24">
              <a:extLst>
                <a:ext uri="{FF2B5EF4-FFF2-40B4-BE49-F238E27FC236}">
                  <a16:creationId xmlns:a16="http://schemas.microsoft.com/office/drawing/2014/main" id="{97BE8F70-36B7-458B-B578-D69CA9DC3341}"/>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880097"/>
              <a:ext cx="762261" cy="438912"/>
            </a:xfrm>
            <a:prstGeom prst="rect">
              <a:avLst/>
            </a:prstGeom>
          </p:spPr>
        </p:pic>
        <p:sp>
          <p:nvSpPr>
            <p:cNvPr id="23" name="Freeform: Shape 22">
              <a:extLst>
                <a:ext uri="{FF2B5EF4-FFF2-40B4-BE49-F238E27FC236}">
                  <a16:creationId xmlns:a16="http://schemas.microsoft.com/office/drawing/2014/main" id="{E408083A-7AF2-485E-81A3-882A7E58FB9E}"/>
                </a:ext>
              </a:extLst>
            </p:cNvPr>
            <p:cNvSpPr/>
            <p:nvPr userDrawn="1"/>
          </p:nvSpPr>
          <p:spPr>
            <a:xfrm rot="16200000" flipH="1">
              <a:off x="310000" y="2739428"/>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8F6F5B00-CCFD-4753-AE13-694C077322FB}"/>
                </a:ext>
              </a:extLst>
            </p:cNvPr>
            <p:cNvSpPr/>
            <p:nvPr userDrawn="1"/>
          </p:nvSpPr>
          <p:spPr>
            <a:xfrm rot="16200000" flipH="1">
              <a:off x="82144" y="297014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cxnSp>
          <p:nvCxnSpPr>
            <p:cNvPr id="20" name="Straight Connector 19">
              <a:extLst>
                <a:ext uri="{FF2B5EF4-FFF2-40B4-BE49-F238E27FC236}">
                  <a16:creationId xmlns:a16="http://schemas.microsoft.com/office/drawing/2014/main" id="{03C3E752-A506-4A5E-A907-CAEBDA95F961}"/>
                </a:ext>
              </a:extLst>
            </p:cNvPr>
            <p:cNvCxnSpPr/>
            <p:nvPr userDrawn="1"/>
          </p:nvCxnSpPr>
          <p:spPr>
            <a:xfrm>
              <a:off x="176782" y="3016529"/>
              <a:ext cx="0" cy="10515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6974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3_Divider">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E8DB86CA-D14E-4B53-BA61-EA587191FB4D}"/>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a:stretch/>
        </p:blipFill>
        <p:spPr>
          <a:xfrm>
            <a:off x="-24384" y="0"/>
            <a:ext cx="12233159" cy="6857999"/>
          </a:xfrm>
          <a:prstGeom prst="rect">
            <a:avLst/>
          </a:prstGeom>
        </p:spPr>
      </p:pic>
      <p:sp>
        <p:nvSpPr>
          <p:cNvPr id="22" name="Title 21"/>
          <p:cNvSpPr>
            <a:spLocks noGrp="1"/>
          </p:cNvSpPr>
          <p:nvPr>
            <p:ph type="title" hasCustomPrompt="1"/>
          </p:nvPr>
        </p:nvSpPr>
        <p:spPr bwMode="gray">
          <a:xfrm>
            <a:off x="2665328" y="3082751"/>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a:t>Divider – 3 lines of text</a:t>
            </a:r>
          </a:p>
        </p:txBody>
      </p:sp>
      <p:grpSp>
        <p:nvGrpSpPr>
          <p:cNvPr id="2" name="Group 1">
            <a:extLst>
              <a:ext uri="{FF2B5EF4-FFF2-40B4-BE49-F238E27FC236}">
                <a16:creationId xmlns:a16="http://schemas.microsoft.com/office/drawing/2014/main" id="{8314FC01-330E-4910-9C2B-2E41A9074A44}"/>
              </a:ext>
            </a:extLst>
          </p:cNvPr>
          <p:cNvGrpSpPr/>
          <p:nvPr userDrawn="1"/>
        </p:nvGrpSpPr>
        <p:grpSpPr>
          <a:xfrm>
            <a:off x="0" y="2426267"/>
            <a:ext cx="2451100" cy="2005466"/>
            <a:chOff x="0" y="2361678"/>
            <a:chExt cx="2451100" cy="2005466"/>
          </a:xfrm>
        </p:grpSpPr>
        <p:sp>
          <p:nvSpPr>
            <p:cNvPr id="15" name="Rectangle 14">
              <a:extLst>
                <a:ext uri="{FF2B5EF4-FFF2-40B4-BE49-F238E27FC236}">
                  <a16:creationId xmlns:a16="http://schemas.microsoft.com/office/drawing/2014/main" id="{22EED636-AB3A-469B-A4E2-02308B8ADAA6}"/>
                </a:ext>
              </a:extLst>
            </p:cNvPr>
            <p:cNvSpPr/>
            <p:nvPr userDrawn="1"/>
          </p:nvSpPr>
          <p:spPr>
            <a:xfrm>
              <a:off x="0" y="2361678"/>
              <a:ext cx="2451100" cy="20054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30" name="Freeform: Shape 29">
              <a:extLst>
                <a:ext uri="{FF2B5EF4-FFF2-40B4-BE49-F238E27FC236}">
                  <a16:creationId xmlns:a16="http://schemas.microsoft.com/office/drawing/2014/main" id="{55F8FE89-DBDD-4562-8330-516508678216}"/>
                </a:ext>
              </a:extLst>
            </p:cNvPr>
            <p:cNvSpPr/>
            <p:nvPr userDrawn="1"/>
          </p:nvSpPr>
          <p:spPr>
            <a:xfrm rot="16200000" flipH="1">
              <a:off x="310000" y="2313229"/>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pic>
          <p:nvPicPr>
            <p:cNvPr id="32" name="Picture 31">
              <a:extLst>
                <a:ext uri="{FF2B5EF4-FFF2-40B4-BE49-F238E27FC236}">
                  <a16:creationId xmlns:a16="http://schemas.microsoft.com/office/drawing/2014/main" id="{5C723D6E-6981-49D3-9A49-8FECE050A7F2}"/>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544430"/>
              <a:ext cx="762261" cy="438912"/>
            </a:xfrm>
            <a:prstGeom prst="rect">
              <a:avLst/>
            </a:prstGeom>
          </p:spPr>
        </p:pic>
        <p:sp>
          <p:nvSpPr>
            <p:cNvPr id="19" name="Freeform: Shape 18">
              <a:extLst>
                <a:ext uri="{FF2B5EF4-FFF2-40B4-BE49-F238E27FC236}">
                  <a16:creationId xmlns:a16="http://schemas.microsoft.com/office/drawing/2014/main" id="{06EDB808-7AAB-4360-8904-E5555B7B296E}"/>
                </a:ext>
              </a:extLst>
            </p:cNvPr>
            <p:cNvSpPr/>
            <p:nvPr userDrawn="1"/>
          </p:nvSpPr>
          <p:spPr>
            <a:xfrm rot="16200000" flipH="1">
              <a:off x="82144" y="253298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cxnSp>
          <p:nvCxnSpPr>
            <p:cNvPr id="20" name="Straight Connector 19">
              <a:extLst>
                <a:ext uri="{FF2B5EF4-FFF2-40B4-BE49-F238E27FC236}">
                  <a16:creationId xmlns:a16="http://schemas.microsoft.com/office/drawing/2014/main" id="{A2F4CF45-75A1-48BA-9BFE-66AE4C9D0D8E}"/>
                </a:ext>
              </a:extLst>
            </p:cNvPr>
            <p:cNvCxnSpPr/>
            <p:nvPr userDrawn="1"/>
          </p:nvCxnSpPr>
          <p:spPr>
            <a:xfrm>
              <a:off x="176782" y="2579369"/>
              <a:ext cx="0" cy="178308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0893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esenter (1)">
    <p:spTree>
      <p:nvGrpSpPr>
        <p:cNvPr id="1" name=""/>
        <p:cNvGrpSpPr/>
        <p:nvPr/>
      </p:nvGrpSpPr>
      <p:grpSpPr>
        <a:xfrm>
          <a:off x="0" y="0"/>
          <a:ext cx="0" cy="0"/>
          <a:chOff x="0" y="0"/>
          <a:chExt cx="0" cy="0"/>
        </a:xfrm>
      </p:grpSpPr>
      <p:sp>
        <p:nvSpPr>
          <p:cNvPr id="123" name="Picture Placeholder 2">
            <a:extLst>
              <a:ext uri="{FF2B5EF4-FFF2-40B4-BE49-F238E27FC236}">
                <a16:creationId xmlns:a16="http://schemas.microsoft.com/office/drawing/2014/main" id="{F230A0F3-DF2C-EA24-61B5-0FD5D898B35D}"/>
              </a:ext>
            </a:extLst>
          </p:cNvPr>
          <p:cNvSpPr>
            <a:spLocks noGrp="1"/>
          </p:cNvSpPr>
          <p:nvPr>
            <p:ph type="pic" idx="14" hasCustomPrompt="1"/>
          </p:nvPr>
        </p:nvSpPr>
        <p:spPr>
          <a:xfrm>
            <a:off x="869382" y="1644916"/>
            <a:ext cx="3429000" cy="3739896"/>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0 h 3739896"/>
              <a:gd name="connsiteX1" fmla="*/ 2791922 w 3448252"/>
              <a:gd name="connsiteY1" fmla="*/ 1887 h 3739896"/>
              <a:gd name="connsiteX2" fmla="*/ 3439288 w 3448252"/>
              <a:gd name="connsiteY2" fmla="*/ 402121 h 3739896"/>
              <a:gd name="connsiteX3" fmla="*/ 3448252 w 3448252"/>
              <a:gd name="connsiteY3" fmla="*/ 3739896 h 3739896"/>
              <a:gd name="connsiteX4" fmla="*/ 0 w 3448252"/>
              <a:gd name="connsiteY4" fmla="*/ 3739896 h 3739896"/>
              <a:gd name="connsiteX5" fmla="*/ 0 w 3448252"/>
              <a:gd name="connsiteY5" fmla="*/ 0 h 373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8252" h="3739896">
                <a:moveTo>
                  <a:pt x="0" y="0"/>
                </a:moveTo>
                <a:lnTo>
                  <a:pt x="2791922" y="1887"/>
                </a:lnTo>
                <a:lnTo>
                  <a:pt x="3439288" y="402121"/>
                </a:lnTo>
                <a:lnTo>
                  <a:pt x="3448252" y="3739896"/>
                </a:lnTo>
                <a:lnTo>
                  <a:pt x="0" y="3739896"/>
                </a:lnTo>
                <a:lnTo>
                  <a:pt x="0" y="0"/>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a:t>add title</a:t>
            </a:r>
          </a:p>
        </p:txBody>
      </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4907820" y="2545311"/>
            <a:ext cx="4389120" cy="387798"/>
          </a:xfrm>
        </p:spPr>
        <p:txBody>
          <a:bodyPr anchor="b" anchorCtr="0">
            <a:spAutoFit/>
          </a:bodyPr>
          <a:lstStyle>
            <a:lvl1pPr marL="0" indent="0" algn="l">
              <a:spcBef>
                <a:spcPts val="600"/>
              </a:spcBef>
              <a:buFontTx/>
              <a:buNone/>
              <a:defRPr sz="2800" b="1" cap="all" baseline="0"/>
            </a:lvl1pPr>
          </a:lstStyle>
          <a:p>
            <a:pPr lvl="0"/>
            <a:r>
              <a:rPr lang="en-US" dirty="0"/>
              <a:t>NAME</a:t>
            </a:r>
          </a:p>
        </p:txBody>
      </p:sp>
      <p:sp>
        <p:nvSpPr>
          <p:cNvPr id="57" name="Rectangle 56">
            <a:extLst>
              <a:ext uri="{FF2B5EF4-FFF2-40B4-BE49-F238E27FC236}">
                <a16:creationId xmlns:a16="http://schemas.microsoft.com/office/drawing/2014/main" id="{D0C0782D-07C9-6C9A-899C-240F6B16CA2D}"/>
              </a:ext>
            </a:extLst>
          </p:cNvPr>
          <p:cNvSpPr/>
          <p:nvPr userDrawn="1"/>
        </p:nvSpPr>
        <p:spPr>
          <a:xfrm>
            <a:off x="0" y="1527343"/>
            <a:ext cx="511478" cy="41607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grpSp>
        <p:nvGrpSpPr>
          <p:cNvPr id="58" name="Group 57">
            <a:extLst>
              <a:ext uri="{FF2B5EF4-FFF2-40B4-BE49-F238E27FC236}">
                <a16:creationId xmlns:a16="http://schemas.microsoft.com/office/drawing/2014/main" id="{F612536C-BA3B-C635-0F6C-8C0D1F872979}"/>
              </a:ext>
            </a:extLst>
          </p:cNvPr>
          <p:cNvGrpSpPr/>
          <p:nvPr userDrawn="1"/>
        </p:nvGrpSpPr>
        <p:grpSpPr>
          <a:xfrm>
            <a:off x="1827906" y="6067613"/>
            <a:ext cx="1507346" cy="86513"/>
            <a:chOff x="1348801" y="4612172"/>
            <a:chExt cx="1507346" cy="86513"/>
          </a:xfrm>
        </p:grpSpPr>
        <p:sp>
          <p:nvSpPr>
            <p:cNvPr id="59" name="Graphic 15">
              <a:extLst>
                <a:ext uri="{FF2B5EF4-FFF2-40B4-BE49-F238E27FC236}">
                  <a16:creationId xmlns:a16="http://schemas.microsoft.com/office/drawing/2014/main" id="{24877D6C-2462-3EAF-AC11-F1957F33DE0D}"/>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dirty="0"/>
            </a:p>
          </p:txBody>
        </p:sp>
        <p:sp>
          <p:nvSpPr>
            <p:cNvPr id="60" name="Graphic 15">
              <a:extLst>
                <a:ext uri="{FF2B5EF4-FFF2-40B4-BE49-F238E27FC236}">
                  <a16:creationId xmlns:a16="http://schemas.microsoft.com/office/drawing/2014/main" id="{FA9A5B35-00A3-44B9-95B7-5D28DFB73DAE}"/>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dirty="0"/>
            </a:p>
          </p:txBody>
        </p:sp>
        <p:sp>
          <p:nvSpPr>
            <p:cNvPr id="61" name="Graphic 15">
              <a:extLst>
                <a:ext uri="{FF2B5EF4-FFF2-40B4-BE49-F238E27FC236}">
                  <a16:creationId xmlns:a16="http://schemas.microsoft.com/office/drawing/2014/main" id="{840AF6FC-483D-1B30-59DA-54E6EA98F361}"/>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dirty="0"/>
            </a:p>
          </p:txBody>
        </p:sp>
        <p:sp>
          <p:nvSpPr>
            <p:cNvPr id="62" name="Graphic 15">
              <a:extLst>
                <a:ext uri="{FF2B5EF4-FFF2-40B4-BE49-F238E27FC236}">
                  <a16:creationId xmlns:a16="http://schemas.microsoft.com/office/drawing/2014/main" id="{B5845DBE-5B99-15AB-F3C1-5F22A4CEFB97}"/>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dirty="0"/>
            </a:p>
          </p:txBody>
        </p:sp>
        <p:sp>
          <p:nvSpPr>
            <p:cNvPr id="63" name="Graphic 15">
              <a:extLst>
                <a:ext uri="{FF2B5EF4-FFF2-40B4-BE49-F238E27FC236}">
                  <a16:creationId xmlns:a16="http://schemas.microsoft.com/office/drawing/2014/main" id="{EA9C17C2-DD67-516A-9959-1247CF8F03E1}"/>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dirty="0"/>
            </a:p>
          </p:txBody>
        </p:sp>
        <p:sp>
          <p:nvSpPr>
            <p:cNvPr id="64" name="Graphic 15">
              <a:extLst>
                <a:ext uri="{FF2B5EF4-FFF2-40B4-BE49-F238E27FC236}">
                  <a16:creationId xmlns:a16="http://schemas.microsoft.com/office/drawing/2014/main" id="{8AA53179-1C06-3510-2639-008728DA58C1}"/>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dirty="0"/>
            </a:p>
          </p:txBody>
        </p:sp>
        <p:sp>
          <p:nvSpPr>
            <p:cNvPr id="65" name="Graphic 15">
              <a:extLst>
                <a:ext uri="{FF2B5EF4-FFF2-40B4-BE49-F238E27FC236}">
                  <a16:creationId xmlns:a16="http://schemas.microsoft.com/office/drawing/2014/main" id="{4DC4DFD4-0970-BBAB-3062-7282895C9B3B}"/>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dirty="0"/>
            </a:p>
          </p:txBody>
        </p:sp>
      </p:grpSp>
      <p:pic>
        <p:nvPicPr>
          <p:cNvPr id="66" name="Graphic 65">
            <a:extLst>
              <a:ext uri="{FF2B5EF4-FFF2-40B4-BE49-F238E27FC236}">
                <a16:creationId xmlns:a16="http://schemas.microsoft.com/office/drawing/2014/main" id="{C46B473C-8C9F-93BA-E3E1-2B54A7FA8E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63025" y="2792684"/>
            <a:ext cx="3228975" cy="2971800"/>
          </a:xfrm>
          <a:prstGeom prst="rect">
            <a:avLst/>
          </a:prstGeom>
        </p:spPr>
      </p:pic>
      <p:grpSp>
        <p:nvGrpSpPr>
          <p:cNvPr id="68" name="Group 67">
            <a:extLst>
              <a:ext uri="{FF2B5EF4-FFF2-40B4-BE49-F238E27FC236}">
                <a16:creationId xmlns:a16="http://schemas.microsoft.com/office/drawing/2014/main" id="{C781CAE9-246A-D5F3-2230-C3789E54D8FB}"/>
              </a:ext>
            </a:extLst>
          </p:cNvPr>
          <p:cNvGrpSpPr>
            <a:grpSpLocks noChangeAspect="1"/>
          </p:cNvGrpSpPr>
          <p:nvPr userDrawn="1"/>
        </p:nvGrpSpPr>
        <p:grpSpPr>
          <a:xfrm flipH="1">
            <a:off x="9715225" y="6267123"/>
            <a:ext cx="2476774" cy="290423"/>
            <a:chOff x="-8365" y="6414219"/>
            <a:chExt cx="3024563" cy="354656"/>
          </a:xfrm>
          <a:gradFill>
            <a:gsLst>
              <a:gs pos="1000">
                <a:schemeClr val="tx1">
                  <a:alpha val="50000"/>
                </a:schemeClr>
              </a:gs>
              <a:gs pos="100000">
                <a:schemeClr val="bg1">
                  <a:alpha val="0"/>
                </a:schemeClr>
              </a:gs>
            </a:gsLst>
            <a:lin ang="0" scaled="0"/>
          </a:gradFill>
        </p:grpSpPr>
        <p:sp>
          <p:nvSpPr>
            <p:cNvPr id="69" name="Freeform: Shape 68">
              <a:extLst>
                <a:ext uri="{FF2B5EF4-FFF2-40B4-BE49-F238E27FC236}">
                  <a16:creationId xmlns:a16="http://schemas.microsoft.com/office/drawing/2014/main" id="{3532100C-0D80-F191-9F98-2D5FF811A97F}"/>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F44A9CC0-3E51-FC78-278A-5B906F2005AE}"/>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B066D8AE-DC07-7BF3-E891-5B89628BA9C9}"/>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E88A277B-5E74-EB8B-8881-3986B9272CC3}"/>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2B3518B4-B832-4478-7E53-D177D7C37B30}"/>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2242CC0B-0D04-4FA5-62F4-AC00C965B2E8}"/>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017FD557-D688-1519-F0F8-AE3A1101F5CB}"/>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35C878B5-4C14-BF1C-8300-270CBC50C5A0}"/>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F3F73933-A44F-0423-BA7C-EEF42F9895A7}"/>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0669C3DC-4FDD-B99A-34FF-F8C59CCFE6B5}"/>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BD12A713-86A1-E10F-4CCE-1BFC3A1791CD}"/>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1BD21ABB-76FB-F938-E849-305D6DE8EA44}"/>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41ABE2CD-D4A5-4632-98C8-8BF8ACCBE5E8}"/>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4D63E44C-F0B1-312E-583F-8A1042C53A13}"/>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BF66886F-2246-3954-6D03-CF7C7B65C7F7}"/>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sp>
          <p:nvSpPr>
            <p:cNvPr id="84" name="Freeform: Shape 83">
              <a:extLst>
                <a:ext uri="{FF2B5EF4-FFF2-40B4-BE49-F238E27FC236}">
                  <a16:creationId xmlns:a16="http://schemas.microsoft.com/office/drawing/2014/main" id="{2C39396C-5371-C1ED-5F2B-1989DBA0F65D}"/>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grpSp>
      <p:sp>
        <p:nvSpPr>
          <p:cNvPr id="86" name="Text Placeholder 85">
            <a:extLst>
              <a:ext uri="{FF2B5EF4-FFF2-40B4-BE49-F238E27FC236}">
                <a16:creationId xmlns:a16="http://schemas.microsoft.com/office/drawing/2014/main" id="{8C7A0B03-377F-AD7B-841B-049EBAA37448}"/>
              </a:ext>
            </a:extLst>
          </p:cNvPr>
          <p:cNvSpPr>
            <a:spLocks noGrp="1"/>
          </p:cNvSpPr>
          <p:nvPr>
            <p:ph type="body" sz="quarter" idx="17" hasCustomPrompt="1"/>
          </p:nvPr>
        </p:nvSpPr>
        <p:spPr>
          <a:xfrm>
            <a:off x="4907820" y="3021870"/>
            <a:ext cx="4389120" cy="365760"/>
          </a:xfrm>
        </p:spPr>
        <p:txBody>
          <a:bodyPr vert="horz" lIns="0" tIns="0" rIns="0" bIns="0" rtlCol="0">
            <a:noAutofit/>
          </a:bodyPr>
          <a:lstStyle>
            <a:lvl1pPr marL="342900" indent="-342900">
              <a:buFontTx/>
              <a:buNone/>
              <a:defRPr lang="en-US" sz="2000" dirty="0"/>
            </a:lvl1pPr>
          </a:lstStyle>
          <a:p>
            <a:pPr marL="0" lvl="0" indent="0">
              <a:buNone/>
            </a:pPr>
            <a:r>
              <a:rPr lang="en-US"/>
              <a:t>Title</a:t>
            </a:r>
          </a:p>
        </p:txBody>
      </p:sp>
      <p:sp>
        <p:nvSpPr>
          <p:cNvPr id="88" name="Freeform 13">
            <a:extLst>
              <a:ext uri="{FF2B5EF4-FFF2-40B4-BE49-F238E27FC236}">
                <a16:creationId xmlns:a16="http://schemas.microsoft.com/office/drawing/2014/main" id="{640282A2-BB16-8BC3-4A46-D7175374FF4F}"/>
              </a:ext>
            </a:extLst>
          </p:cNvPr>
          <p:cNvSpPr/>
          <p:nvPr/>
        </p:nvSpPr>
        <p:spPr>
          <a:xfrm>
            <a:off x="856489" y="1534270"/>
            <a:ext cx="3578771" cy="4158351"/>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1829" h="4200673">
                <a:moveTo>
                  <a:pt x="0" y="7046"/>
                </a:moveTo>
                <a:lnTo>
                  <a:pt x="1817330" y="0"/>
                </a:lnTo>
                <a:cubicBezTo>
                  <a:pt x="2029353" y="204281"/>
                  <a:pt x="2134986" y="307481"/>
                  <a:pt x="2271201" y="433705"/>
                </a:cubicBezTo>
                <a:cubicBezTo>
                  <a:pt x="2272520" y="1747953"/>
                  <a:pt x="2287024" y="2924913"/>
                  <a:pt x="2291829" y="4200673"/>
                </a:cubicBezTo>
                <a:lnTo>
                  <a:pt x="2089451" y="4200673"/>
                </a:lnTo>
                <a:lnTo>
                  <a:pt x="8403" y="4200673"/>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cxnSp>
        <p:nvCxnSpPr>
          <p:cNvPr id="89" name="Straight Connector 88">
            <a:extLst>
              <a:ext uri="{FF2B5EF4-FFF2-40B4-BE49-F238E27FC236}">
                <a16:creationId xmlns:a16="http://schemas.microsoft.com/office/drawing/2014/main" id="{6F2B6AC2-3B92-DF16-433F-1EEF3C363AF9}"/>
              </a:ext>
            </a:extLst>
          </p:cNvPr>
          <p:cNvCxnSpPr>
            <a:cxnSpLocks/>
          </p:cNvCxnSpPr>
          <p:nvPr/>
        </p:nvCxnSpPr>
        <p:spPr>
          <a:xfrm>
            <a:off x="865381" y="5491685"/>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B4ED5163-3D05-6B26-B0B1-BFAAF0856053}"/>
              </a:ext>
            </a:extLst>
          </p:cNvPr>
          <p:cNvGrpSpPr/>
          <p:nvPr userDrawn="1"/>
        </p:nvGrpSpPr>
        <p:grpSpPr>
          <a:xfrm>
            <a:off x="4478833" y="2003444"/>
            <a:ext cx="53143" cy="1085389"/>
            <a:chOff x="2780760" y="2009831"/>
            <a:chExt cx="53143" cy="1085389"/>
          </a:xfrm>
        </p:grpSpPr>
        <p:grpSp>
          <p:nvGrpSpPr>
            <p:cNvPr id="91" name="Graphic 42">
              <a:extLst>
                <a:ext uri="{FF2B5EF4-FFF2-40B4-BE49-F238E27FC236}">
                  <a16:creationId xmlns:a16="http://schemas.microsoft.com/office/drawing/2014/main" id="{D17532A5-3206-47D3-F3E4-FCF4FE6CF9C8}"/>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100" name="Freeform: Shape 33">
                <a:extLst>
                  <a:ext uri="{FF2B5EF4-FFF2-40B4-BE49-F238E27FC236}">
                    <a16:creationId xmlns:a16="http://schemas.microsoft.com/office/drawing/2014/main" id="{B0B85386-4CF9-82B2-9421-B4ECD1D812A6}"/>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34">
                <a:extLst>
                  <a:ext uri="{FF2B5EF4-FFF2-40B4-BE49-F238E27FC236}">
                    <a16:creationId xmlns:a16="http://schemas.microsoft.com/office/drawing/2014/main" id="{47DE61EA-AF8E-D986-9608-48F4EF274738}"/>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2" name="Freeform: Shape 35">
                <a:extLst>
                  <a:ext uri="{FF2B5EF4-FFF2-40B4-BE49-F238E27FC236}">
                    <a16:creationId xmlns:a16="http://schemas.microsoft.com/office/drawing/2014/main" id="{CC3A6614-99BD-E99A-F065-D1F519ACCF5F}"/>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3" name="Freeform: Shape 36">
                <a:extLst>
                  <a:ext uri="{FF2B5EF4-FFF2-40B4-BE49-F238E27FC236}">
                    <a16:creationId xmlns:a16="http://schemas.microsoft.com/office/drawing/2014/main" id="{36815056-DF52-2214-262F-9997EF8BFDC6}"/>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4" name="Freeform: Shape 37">
                <a:extLst>
                  <a:ext uri="{FF2B5EF4-FFF2-40B4-BE49-F238E27FC236}">
                    <a16:creationId xmlns:a16="http://schemas.microsoft.com/office/drawing/2014/main" id="{E340630B-643E-E52C-DA27-7C37C99BFE01}"/>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5" name="Freeform: Shape 38">
                <a:extLst>
                  <a:ext uri="{FF2B5EF4-FFF2-40B4-BE49-F238E27FC236}">
                    <a16:creationId xmlns:a16="http://schemas.microsoft.com/office/drawing/2014/main" id="{31516868-6FB9-4FCC-085C-B90575C9472B}"/>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6" name="Freeform: Shape 39">
                <a:extLst>
                  <a:ext uri="{FF2B5EF4-FFF2-40B4-BE49-F238E27FC236}">
                    <a16:creationId xmlns:a16="http://schemas.microsoft.com/office/drawing/2014/main" id="{696AEC6A-DC4D-0F8B-13ED-A93D801BB9D0}"/>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7" name="Freeform: Shape 40">
                <a:extLst>
                  <a:ext uri="{FF2B5EF4-FFF2-40B4-BE49-F238E27FC236}">
                    <a16:creationId xmlns:a16="http://schemas.microsoft.com/office/drawing/2014/main" id="{9BCA8187-E2FE-5617-C695-F68D711F37B2}"/>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8" name="Freeform: Shape 41">
                <a:extLst>
                  <a:ext uri="{FF2B5EF4-FFF2-40B4-BE49-F238E27FC236}">
                    <a16:creationId xmlns:a16="http://schemas.microsoft.com/office/drawing/2014/main" id="{F987C515-545D-29C9-E15C-7CEDC1795B3C}"/>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9" name="Freeform: Shape 42">
                <a:extLst>
                  <a:ext uri="{FF2B5EF4-FFF2-40B4-BE49-F238E27FC236}">
                    <a16:creationId xmlns:a16="http://schemas.microsoft.com/office/drawing/2014/main" id="{ED76B489-991C-6F0A-6EF8-9B45BCC8B1F5}"/>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0" name="Freeform: Shape 43">
                <a:extLst>
                  <a:ext uri="{FF2B5EF4-FFF2-40B4-BE49-F238E27FC236}">
                    <a16:creationId xmlns:a16="http://schemas.microsoft.com/office/drawing/2014/main" id="{1ECA4D2F-008E-4D75-F9DA-B9D9FADD1473}"/>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1" name="Freeform: Shape 44">
                <a:extLst>
                  <a:ext uri="{FF2B5EF4-FFF2-40B4-BE49-F238E27FC236}">
                    <a16:creationId xmlns:a16="http://schemas.microsoft.com/office/drawing/2014/main" id="{1C54F8AD-3182-BEB9-1A10-BA165455ECFB}"/>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2" name="Freeform: Shape 45">
                <a:extLst>
                  <a:ext uri="{FF2B5EF4-FFF2-40B4-BE49-F238E27FC236}">
                    <a16:creationId xmlns:a16="http://schemas.microsoft.com/office/drawing/2014/main" id="{7C60A748-189B-8F97-186F-77476230680D}"/>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3" name="Freeform: Shape 46">
                <a:extLst>
                  <a:ext uri="{FF2B5EF4-FFF2-40B4-BE49-F238E27FC236}">
                    <a16:creationId xmlns:a16="http://schemas.microsoft.com/office/drawing/2014/main" id="{68348E86-AC87-7595-DB22-C091D2FD770C}"/>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4" name="Freeform: Shape 47">
                <a:extLst>
                  <a:ext uri="{FF2B5EF4-FFF2-40B4-BE49-F238E27FC236}">
                    <a16:creationId xmlns:a16="http://schemas.microsoft.com/office/drawing/2014/main" id="{416A922F-B9E5-C09E-B82A-B805C7E71FBF}"/>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5" name="Freeform: Shape 48">
                <a:extLst>
                  <a:ext uri="{FF2B5EF4-FFF2-40B4-BE49-F238E27FC236}">
                    <a16:creationId xmlns:a16="http://schemas.microsoft.com/office/drawing/2014/main" id="{913F67F1-B852-876C-1CFF-F76E708854DC}"/>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6" name="Freeform: Shape 49">
                <a:extLst>
                  <a:ext uri="{FF2B5EF4-FFF2-40B4-BE49-F238E27FC236}">
                    <a16:creationId xmlns:a16="http://schemas.microsoft.com/office/drawing/2014/main" id="{3AB700D0-0B55-F1AA-E1C0-9C1672F0D420}"/>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7" name="Freeform: Shape 50">
                <a:extLst>
                  <a:ext uri="{FF2B5EF4-FFF2-40B4-BE49-F238E27FC236}">
                    <a16:creationId xmlns:a16="http://schemas.microsoft.com/office/drawing/2014/main" id="{C9F9DFC0-95C6-27F8-6318-F774E100866A}"/>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8" name="Freeform: Shape 51">
                <a:extLst>
                  <a:ext uri="{FF2B5EF4-FFF2-40B4-BE49-F238E27FC236}">
                    <a16:creationId xmlns:a16="http://schemas.microsoft.com/office/drawing/2014/main" id="{A0B56C42-D96F-2D47-CFC1-B2C17714E28E}"/>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9" name="Freeform: Shape 52">
                <a:extLst>
                  <a:ext uri="{FF2B5EF4-FFF2-40B4-BE49-F238E27FC236}">
                    <a16:creationId xmlns:a16="http://schemas.microsoft.com/office/drawing/2014/main" id="{F7CCBCCF-623F-517B-F607-9717BDFD9DE9}"/>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92" name="Group 91">
              <a:extLst>
                <a:ext uri="{FF2B5EF4-FFF2-40B4-BE49-F238E27FC236}">
                  <a16:creationId xmlns:a16="http://schemas.microsoft.com/office/drawing/2014/main" id="{EE3DAEA9-4693-0240-9FFF-D6F1ACDE7A0E}"/>
                </a:ext>
              </a:extLst>
            </p:cNvPr>
            <p:cNvGrpSpPr/>
            <p:nvPr userDrawn="1"/>
          </p:nvGrpSpPr>
          <p:grpSpPr>
            <a:xfrm rot="10800000" flipV="1">
              <a:off x="2780760" y="2715971"/>
              <a:ext cx="53143" cy="379249"/>
              <a:chOff x="5390750" y="3681616"/>
              <a:chExt cx="73151" cy="522033"/>
            </a:xfrm>
          </p:grpSpPr>
          <p:sp>
            <p:nvSpPr>
              <p:cNvPr id="93" name="Freeform: Shape 26">
                <a:extLst>
                  <a:ext uri="{FF2B5EF4-FFF2-40B4-BE49-F238E27FC236}">
                    <a16:creationId xmlns:a16="http://schemas.microsoft.com/office/drawing/2014/main" id="{506AF8F5-9F8A-DDF2-7B0A-84AF69622978}"/>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27">
                <a:extLst>
                  <a:ext uri="{FF2B5EF4-FFF2-40B4-BE49-F238E27FC236}">
                    <a16:creationId xmlns:a16="http://schemas.microsoft.com/office/drawing/2014/main" id="{EA01BE0D-17F2-028B-1700-8766ED9B57A5}"/>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28">
                <a:extLst>
                  <a:ext uri="{FF2B5EF4-FFF2-40B4-BE49-F238E27FC236}">
                    <a16:creationId xmlns:a16="http://schemas.microsoft.com/office/drawing/2014/main" id="{CAF6ECA0-9F28-1EDC-4DC1-4D446AD661A2}"/>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29">
                <a:extLst>
                  <a:ext uri="{FF2B5EF4-FFF2-40B4-BE49-F238E27FC236}">
                    <a16:creationId xmlns:a16="http://schemas.microsoft.com/office/drawing/2014/main" id="{90CB1D3C-C184-5CDB-8938-9FA8A06BE57C}"/>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30">
                <a:extLst>
                  <a:ext uri="{FF2B5EF4-FFF2-40B4-BE49-F238E27FC236}">
                    <a16:creationId xmlns:a16="http://schemas.microsoft.com/office/drawing/2014/main" id="{56F9B5A9-7375-D5BA-5B92-F10065906C15}"/>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31">
                <a:extLst>
                  <a:ext uri="{FF2B5EF4-FFF2-40B4-BE49-F238E27FC236}">
                    <a16:creationId xmlns:a16="http://schemas.microsoft.com/office/drawing/2014/main" id="{4D85B59C-5D3F-D11B-24B6-C43908B4E0AE}"/>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32">
                <a:extLst>
                  <a:ext uri="{FF2B5EF4-FFF2-40B4-BE49-F238E27FC236}">
                    <a16:creationId xmlns:a16="http://schemas.microsoft.com/office/drawing/2014/main" id="{349E8265-C436-3C38-E109-AAD3D191AFF5}"/>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22" name="Text Placeholder 121">
            <a:extLst>
              <a:ext uri="{FF2B5EF4-FFF2-40B4-BE49-F238E27FC236}">
                <a16:creationId xmlns:a16="http://schemas.microsoft.com/office/drawing/2014/main" id="{FFC28437-D28C-789A-C3FC-A6FE761726C6}"/>
              </a:ext>
            </a:extLst>
          </p:cNvPr>
          <p:cNvSpPr>
            <a:spLocks noGrp="1"/>
          </p:cNvSpPr>
          <p:nvPr userDrawn="1">
            <p:ph type="body" sz="quarter" idx="18" hasCustomPrompt="1"/>
          </p:nvPr>
        </p:nvSpPr>
        <p:spPr>
          <a:xfrm>
            <a:off x="4907820" y="4119150"/>
            <a:ext cx="3578770" cy="274320"/>
          </a:xfrm>
        </p:spPr>
        <p:txBody>
          <a:bodyPr vert="horz" lIns="0" tIns="0" rIns="0" bIns="0" rtlCol="0">
            <a:noAutofit/>
          </a:bodyPr>
          <a:lstStyle>
            <a:lvl1pPr marL="342900" indent="-342900">
              <a:buFontTx/>
              <a:buNone/>
              <a:defRPr lang="en-US" sz="1400" dirty="0"/>
            </a:lvl1pPr>
          </a:lstStyle>
          <a:p>
            <a:pPr marL="0" lvl="0" indent="0">
              <a:buNone/>
            </a:pPr>
            <a:r>
              <a:rPr lang="en-US" dirty="0"/>
              <a:t>Company Name /  logo</a:t>
            </a:r>
          </a:p>
        </p:txBody>
      </p:sp>
      <p:pic>
        <p:nvPicPr>
          <p:cNvPr id="39" name="Graphic 38">
            <a:extLst>
              <a:ext uri="{FF2B5EF4-FFF2-40B4-BE49-F238E27FC236}">
                <a16:creationId xmlns:a16="http://schemas.microsoft.com/office/drawing/2014/main" id="{5FE5F529-B26E-A435-3B04-0D95BA357BF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921537" y="1542232"/>
            <a:ext cx="864114" cy="698204"/>
          </a:xfrm>
          <a:prstGeom prst="rect">
            <a:avLst/>
          </a:prstGeom>
        </p:spPr>
      </p:pic>
    </p:spTree>
    <p:extLst>
      <p:ext uri="{BB962C8B-B14F-4D97-AF65-F5344CB8AC3E}">
        <p14:creationId xmlns:p14="http://schemas.microsoft.com/office/powerpoint/2010/main" val="427667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esenter (2)">
    <p:spTree>
      <p:nvGrpSpPr>
        <p:cNvPr id="1" name=""/>
        <p:cNvGrpSpPr/>
        <p:nvPr/>
      </p:nvGrpSpPr>
      <p:grpSpPr>
        <a:xfrm>
          <a:off x="0" y="0"/>
          <a:ext cx="0" cy="0"/>
          <a:chOff x="0" y="0"/>
          <a:chExt cx="0" cy="0"/>
        </a:xfrm>
      </p:grpSpPr>
      <p:grpSp>
        <p:nvGrpSpPr>
          <p:cNvPr id="158" name="Group 157">
            <a:extLst>
              <a:ext uri="{FF2B5EF4-FFF2-40B4-BE49-F238E27FC236}">
                <a16:creationId xmlns:a16="http://schemas.microsoft.com/office/drawing/2014/main" id="{3C597A72-FD48-08AC-B78F-89A1EBA1D40D}"/>
              </a:ext>
            </a:extLst>
          </p:cNvPr>
          <p:cNvGrpSpPr/>
          <p:nvPr userDrawn="1"/>
        </p:nvGrpSpPr>
        <p:grpSpPr>
          <a:xfrm>
            <a:off x="9268630" y="2086158"/>
            <a:ext cx="53143" cy="1085389"/>
            <a:chOff x="2780760" y="2009831"/>
            <a:chExt cx="53143" cy="1085389"/>
          </a:xfrm>
        </p:grpSpPr>
        <p:grpSp>
          <p:nvGrpSpPr>
            <p:cNvPr id="159" name="Graphic 42">
              <a:extLst>
                <a:ext uri="{FF2B5EF4-FFF2-40B4-BE49-F238E27FC236}">
                  <a16:creationId xmlns:a16="http://schemas.microsoft.com/office/drawing/2014/main" id="{85376E6D-6B2F-CED2-1ABF-B78F265E9734}"/>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168" name="Freeform: Shape 33">
                <a:extLst>
                  <a:ext uri="{FF2B5EF4-FFF2-40B4-BE49-F238E27FC236}">
                    <a16:creationId xmlns:a16="http://schemas.microsoft.com/office/drawing/2014/main" id="{895D99E3-192A-2C6A-6E60-2257DFFC1AA7}"/>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9" name="Freeform: Shape 34">
                <a:extLst>
                  <a:ext uri="{FF2B5EF4-FFF2-40B4-BE49-F238E27FC236}">
                    <a16:creationId xmlns:a16="http://schemas.microsoft.com/office/drawing/2014/main" id="{64660769-1FDE-46A5-EAC2-61F3ECDE4BDE}"/>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0" name="Freeform: Shape 35">
                <a:extLst>
                  <a:ext uri="{FF2B5EF4-FFF2-40B4-BE49-F238E27FC236}">
                    <a16:creationId xmlns:a16="http://schemas.microsoft.com/office/drawing/2014/main" id="{5086FB59-7AB9-2004-32B9-D198D2453417}"/>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1" name="Freeform: Shape 36">
                <a:extLst>
                  <a:ext uri="{FF2B5EF4-FFF2-40B4-BE49-F238E27FC236}">
                    <a16:creationId xmlns:a16="http://schemas.microsoft.com/office/drawing/2014/main" id="{5992051C-D273-E645-6C1A-BD44D1E159EF}"/>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2" name="Freeform: Shape 37">
                <a:extLst>
                  <a:ext uri="{FF2B5EF4-FFF2-40B4-BE49-F238E27FC236}">
                    <a16:creationId xmlns:a16="http://schemas.microsoft.com/office/drawing/2014/main" id="{19560546-3494-2D2C-16B6-521343A7A587}"/>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3" name="Freeform: Shape 38">
                <a:extLst>
                  <a:ext uri="{FF2B5EF4-FFF2-40B4-BE49-F238E27FC236}">
                    <a16:creationId xmlns:a16="http://schemas.microsoft.com/office/drawing/2014/main" id="{456DF8BF-34F7-A50D-79FD-4006FCA133DB}"/>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4" name="Freeform: Shape 39">
                <a:extLst>
                  <a:ext uri="{FF2B5EF4-FFF2-40B4-BE49-F238E27FC236}">
                    <a16:creationId xmlns:a16="http://schemas.microsoft.com/office/drawing/2014/main" id="{E0AFAD36-9985-C723-9931-10D17819D44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5" name="Freeform: Shape 40">
                <a:extLst>
                  <a:ext uri="{FF2B5EF4-FFF2-40B4-BE49-F238E27FC236}">
                    <a16:creationId xmlns:a16="http://schemas.microsoft.com/office/drawing/2014/main" id="{B0BAA28A-08D2-3863-4EA3-A5550B95FDB2}"/>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6" name="Freeform: Shape 41">
                <a:extLst>
                  <a:ext uri="{FF2B5EF4-FFF2-40B4-BE49-F238E27FC236}">
                    <a16:creationId xmlns:a16="http://schemas.microsoft.com/office/drawing/2014/main" id="{336621E2-A09F-777F-68DD-421CEB38406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7" name="Freeform: Shape 42">
                <a:extLst>
                  <a:ext uri="{FF2B5EF4-FFF2-40B4-BE49-F238E27FC236}">
                    <a16:creationId xmlns:a16="http://schemas.microsoft.com/office/drawing/2014/main" id="{EA130766-8061-BAB8-AE82-233216AE5A52}"/>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8" name="Freeform: Shape 43">
                <a:extLst>
                  <a:ext uri="{FF2B5EF4-FFF2-40B4-BE49-F238E27FC236}">
                    <a16:creationId xmlns:a16="http://schemas.microsoft.com/office/drawing/2014/main" id="{8DC5AEE3-83C6-B814-BDB3-701707A65973}"/>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9" name="Freeform: Shape 44">
                <a:extLst>
                  <a:ext uri="{FF2B5EF4-FFF2-40B4-BE49-F238E27FC236}">
                    <a16:creationId xmlns:a16="http://schemas.microsoft.com/office/drawing/2014/main" id="{68492AEF-DA3C-D927-52EA-F708733C06C3}"/>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0" name="Freeform: Shape 45">
                <a:extLst>
                  <a:ext uri="{FF2B5EF4-FFF2-40B4-BE49-F238E27FC236}">
                    <a16:creationId xmlns:a16="http://schemas.microsoft.com/office/drawing/2014/main" id="{C769ECFE-AA2E-D69F-36AC-90469967E124}"/>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1" name="Freeform: Shape 46">
                <a:extLst>
                  <a:ext uri="{FF2B5EF4-FFF2-40B4-BE49-F238E27FC236}">
                    <a16:creationId xmlns:a16="http://schemas.microsoft.com/office/drawing/2014/main" id="{EE1FC910-6EF9-394E-746A-A5273E158D77}"/>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2" name="Freeform: Shape 47">
                <a:extLst>
                  <a:ext uri="{FF2B5EF4-FFF2-40B4-BE49-F238E27FC236}">
                    <a16:creationId xmlns:a16="http://schemas.microsoft.com/office/drawing/2014/main" id="{ACF580BF-F716-0F80-0A44-0B93FA980FEB}"/>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3" name="Freeform: Shape 48">
                <a:extLst>
                  <a:ext uri="{FF2B5EF4-FFF2-40B4-BE49-F238E27FC236}">
                    <a16:creationId xmlns:a16="http://schemas.microsoft.com/office/drawing/2014/main" id="{1EFE3163-5037-35FA-68F5-546096ED2A1E}"/>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4" name="Freeform: Shape 49">
                <a:extLst>
                  <a:ext uri="{FF2B5EF4-FFF2-40B4-BE49-F238E27FC236}">
                    <a16:creationId xmlns:a16="http://schemas.microsoft.com/office/drawing/2014/main" id="{4574BA0F-9929-EAD5-4E03-F54803DAE7B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5" name="Freeform: Shape 50">
                <a:extLst>
                  <a:ext uri="{FF2B5EF4-FFF2-40B4-BE49-F238E27FC236}">
                    <a16:creationId xmlns:a16="http://schemas.microsoft.com/office/drawing/2014/main" id="{588C1B01-59C0-951F-D27E-2D2788A54F57}"/>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6" name="Freeform: Shape 51">
                <a:extLst>
                  <a:ext uri="{FF2B5EF4-FFF2-40B4-BE49-F238E27FC236}">
                    <a16:creationId xmlns:a16="http://schemas.microsoft.com/office/drawing/2014/main" id="{DCF3EC5A-866A-1323-F9BB-AE48285FAA39}"/>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7" name="Freeform: Shape 52">
                <a:extLst>
                  <a:ext uri="{FF2B5EF4-FFF2-40B4-BE49-F238E27FC236}">
                    <a16:creationId xmlns:a16="http://schemas.microsoft.com/office/drawing/2014/main" id="{670246AD-8541-ACC1-2818-82650DCE3FA3}"/>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60" name="Group 159">
              <a:extLst>
                <a:ext uri="{FF2B5EF4-FFF2-40B4-BE49-F238E27FC236}">
                  <a16:creationId xmlns:a16="http://schemas.microsoft.com/office/drawing/2014/main" id="{9364DEBF-23F4-B40F-BEF2-D8B5F6DBD28D}"/>
                </a:ext>
              </a:extLst>
            </p:cNvPr>
            <p:cNvGrpSpPr/>
            <p:nvPr userDrawn="1"/>
          </p:nvGrpSpPr>
          <p:grpSpPr>
            <a:xfrm rot="10800000" flipV="1">
              <a:off x="2780760" y="2715971"/>
              <a:ext cx="53143" cy="379249"/>
              <a:chOff x="5390750" y="3681616"/>
              <a:chExt cx="73151" cy="522033"/>
            </a:xfrm>
          </p:grpSpPr>
          <p:sp>
            <p:nvSpPr>
              <p:cNvPr id="161" name="Freeform: Shape 26">
                <a:extLst>
                  <a:ext uri="{FF2B5EF4-FFF2-40B4-BE49-F238E27FC236}">
                    <a16:creationId xmlns:a16="http://schemas.microsoft.com/office/drawing/2014/main" id="{B2F94241-5A17-29FC-962E-4679ECA0AD98}"/>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2" name="Freeform: Shape 27">
                <a:extLst>
                  <a:ext uri="{FF2B5EF4-FFF2-40B4-BE49-F238E27FC236}">
                    <a16:creationId xmlns:a16="http://schemas.microsoft.com/office/drawing/2014/main" id="{A7C235C2-64EB-8F59-B58C-C8F8E7A1E533}"/>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3" name="Freeform: Shape 28">
                <a:extLst>
                  <a:ext uri="{FF2B5EF4-FFF2-40B4-BE49-F238E27FC236}">
                    <a16:creationId xmlns:a16="http://schemas.microsoft.com/office/drawing/2014/main" id="{3D65E08A-6521-024A-E79F-00D688581217}"/>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4" name="Freeform: Shape 29">
                <a:extLst>
                  <a:ext uri="{FF2B5EF4-FFF2-40B4-BE49-F238E27FC236}">
                    <a16:creationId xmlns:a16="http://schemas.microsoft.com/office/drawing/2014/main" id="{D833442D-6F4D-A1D3-F23D-01944896650E}"/>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5" name="Freeform: Shape 30">
                <a:extLst>
                  <a:ext uri="{FF2B5EF4-FFF2-40B4-BE49-F238E27FC236}">
                    <a16:creationId xmlns:a16="http://schemas.microsoft.com/office/drawing/2014/main" id="{045DC58A-67F2-032D-8CE3-A0309A21F116}"/>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6" name="Freeform: Shape 31">
                <a:extLst>
                  <a:ext uri="{FF2B5EF4-FFF2-40B4-BE49-F238E27FC236}">
                    <a16:creationId xmlns:a16="http://schemas.microsoft.com/office/drawing/2014/main" id="{C30B0795-359B-5B58-B7AA-C9CFAB39C69E}"/>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7" name="Freeform: Shape 32">
                <a:extLst>
                  <a:ext uri="{FF2B5EF4-FFF2-40B4-BE49-F238E27FC236}">
                    <a16:creationId xmlns:a16="http://schemas.microsoft.com/office/drawing/2014/main" id="{6ADFBAE1-3BE2-D790-22EA-E013E06A9091}"/>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grpSp>
        <p:nvGrpSpPr>
          <p:cNvPr id="189" name="Group 188">
            <a:extLst>
              <a:ext uri="{FF2B5EF4-FFF2-40B4-BE49-F238E27FC236}">
                <a16:creationId xmlns:a16="http://schemas.microsoft.com/office/drawing/2014/main" id="{D36EE2AF-5EB0-48DB-9B53-50A007F7B378}"/>
              </a:ext>
            </a:extLst>
          </p:cNvPr>
          <p:cNvGrpSpPr/>
          <p:nvPr userDrawn="1"/>
        </p:nvGrpSpPr>
        <p:grpSpPr>
          <a:xfrm>
            <a:off x="6529064" y="1538741"/>
            <a:ext cx="2686939" cy="4158351"/>
            <a:chOff x="870155" y="1616872"/>
            <a:chExt cx="2686939" cy="4158351"/>
          </a:xfrm>
        </p:grpSpPr>
        <p:sp>
          <p:nvSpPr>
            <p:cNvPr id="190" name="Freeform 13">
              <a:extLst>
                <a:ext uri="{FF2B5EF4-FFF2-40B4-BE49-F238E27FC236}">
                  <a16:creationId xmlns:a16="http://schemas.microsoft.com/office/drawing/2014/main" id="{20095301-7279-2F1C-0649-128C729F70E4}"/>
                </a:ext>
              </a:extLst>
            </p:cNvPr>
            <p:cNvSpPr/>
            <p:nvPr userDrawn="1"/>
          </p:nvSpPr>
          <p:spPr>
            <a:xfrm>
              <a:off x="870155" y="1616872"/>
              <a:ext cx="2686939" cy="4158351"/>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0704" h="4200673">
                  <a:moveTo>
                    <a:pt x="8816" y="8817"/>
                  </a:moveTo>
                  <a:lnTo>
                    <a:pt x="1246205" y="0"/>
                  </a:lnTo>
                  <a:cubicBezTo>
                    <a:pt x="1458228" y="204281"/>
                    <a:pt x="1563861" y="307481"/>
                    <a:pt x="1700076" y="433705"/>
                  </a:cubicBezTo>
                  <a:cubicBezTo>
                    <a:pt x="1701395" y="1747953"/>
                    <a:pt x="1715899" y="2924913"/>
                    <a:pt x="1720704" y="4200673"/>
                  </a:cubicBezTo>
                  <a:lnTo>
                    <a:pt x="1518326" y="4200673"/>
                  </a:lnTo>
                  <a:lnTo>
                    <a:pt x="0" y="4199431"/>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cxnSp>
          <p:nvCxnSpPr>
            <p:cNvPr id="191" name="Straight Connector 190">
              <a:extLst>
                <a:ext uri="{FF2B5EF4-FFF2-40B4-BE49-F238E27FC236}">
                  <a16:creationId xmlns:a16="http://schemas.microsoft.com/office/drawing/2014/main" id="{473F8A69-41FD-9DCD-70DF-B1C8C8A2BE44}"/>
                </a:ext>
              </a:extLst>
            </p:cNvPr>
            <p:cNvCxnSpPr>
              <a:cxnSpLocks/>
            </p:cNvCxnSpPr>
            <p:nvPr userDrawn="1"/>
          </p:nvCxnSpPr>
          <p:spPr>
            <a:xfrm>
              <a:off x="871134"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3790371" y="2753710"/>
            <a:ext cx="2560320" cy="276999"/>
          </a:xfrm>
        </p:spPr>
        <p:txBody>
          <a:bodyPr anchor="b" anchorCtr="0">
            <a:normAutofit/>
          </a:bodyPr>
          <a:lstStyle>
            <a:lvl1pPr marL="0" indent="0" algn="l">
              <a:spcBef>
                <a:spcPts val="600"/>
              </a:spcBef>
              <a:buFontTx/>
              <a:buNone/>
              <a:defRPr sz="2000" b="1" cap="all" baseline="0"/>
            </a:lvl1pPr>
          </a:lstStyle>
          <a:p>
            <a:pPr lvl="0"/>
            <a:r>
              <a:rPr lang="en-US"/>
              <a:t>NAME</a:t>
            </a:r>
          </a:p>
        </p:txBody>
      </p:sp>
      <p:sp>
        <p:nvSpPr>
          <p:cNvPr id="57" name="Rectangle 56">
            <a:extLst>
              <a:ext uri="{FF2B5EF4-FFF2-40B4-BE49-F238E27FC236}">
                <a16:creationId xmlns:a16="http://schemas.microsoft.com/office/drawing/2014/main" id="{D0C0782D-07C9-6C9A-899C-240F6B16CA2D}"/>
              </a:ext>
            </a:extLst>
          </p:cNvPr>
          <p:cNvSpPr/>
          <p:nvPr userDrawn="1"/>
        </p:nvSpPr>
        <p:spPr>
          <a:xfrm>
            <a:off x="0" y="1527343"/>
            <a:ext cx="511478" cy="41607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90000"/>
              </a:lnSpc>
              <a:spcBef>
                <a:spcPts val="800"/>
              </a:spcBef>
              <a:buFontTx/>
              <a:buNone/>
            </a:pPr>
            <a:endParaRPr lang="es-PE" dirty="0">
              <a:solidFill>
                <a:schemeClr val="bg1"/>
              </a:solidFill>
            </a:endParaRPr>
          </a:p>
        </p:txBody>
      </p:sp>
      <p:grpSp>
        <p:nvGrpSpPr>
          <p:cNvPr id="68" name="Group 67">
            <a:extLst>
              <a:ext uri="{FF2B5EF4-FFF2-40B4-BE49-F238E27FC236}">
                <a16:creationId xmlns:a16="http://schemas.microsoft.com/office/drawing/2014/main" id="{C781CAE9-246A-D5F3-2230-C3789E54D8FB}"/>
              </a:ext>
            </a:extLst>
          </p:cNvPr>
          <p:cNvGrpSpPr>
            <a:grpSpLocks noChangeAspect="1"/>
          </p:cNvGrpSpPr>
          <p:nvPr userDrawn="1"/>
        </p:nvGrpSpPr>
        <p:grpSpPr>
          <a:xfrm flipH="1">
            <a:off x="9715225" y="6267123"/>
            <a:ext cx="2476774" cy="290423"/>
            <a:chOff x="-8365" y="6414219"/>
            <a:chExt cx="3024563" cy="354656"/>
          </a:xfrm>
          <a:gradFill>
            <a:gsLst>
              <a:gs pos="1000">
                <a:schemeClr val="tx1">
                  <a:alpha val="50000"/>
                </a:schemeClr>
              </a:gs>
              <a:gs pos="100000">
                <a:schemeClr val="bg1">
                  <a:alpha val="0"/>
                </a:schemeClr>
              </a:gs>
            </a:gsLst>
            <a:lin ang="0" scaled="0"/>
          </a:gradFill>
        </p:grpSpPr>
        <p:sp>
          <p:nvSpPr>
            <p:cNvPr id="69" name="Freeform: Shape 68">
              <a:extLst>
                <a:ext uri="{FF2B5EF4-FFF2-40B4-BE49-F238E27FC236}">
                  <a16:creationId xmlns:a16="http://schemas.microsoft.com/office/drawing/2014/main" id="{3532100C-0D80-F191-9F98-2D5FF811A97F}"/>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F44A9CC0-3E51-FC78-278A-5B906F2005AE}"/>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B066D8AE-DC07-7BF3-E891-5B89628BA9C9}"/>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E88A277B-5E74-EB8B-8881-3986B9272CC3}"/>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2B3518B4-B832-4478-7E53-D177D7C37B30}"/>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2242CC0B-0D04-4FA5-62F4-AC00C965B2E8}"/>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017FD557-D688-1519-F0F8-AE3A1101F5CB}"/>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35C878B5-4C14-BF1C-8300-270CBC50C5A0}"/>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F3F73933-A44F-0423-BA7C-EEF42F9895A7}"/>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0669C3DC-4FDD-B99A-34FF-F8C59CCFE6B5}"/>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BD12A713-86A1-E10F-4CCE-1BFC3A1791CD}"/>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1BD21ABB-76FB-F938-E849-305D6DE8EA44}"/>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41ABE2CD-D4A5-4632-98C8-8BF8ACCBE5E8}"/>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4D63E44C-F0B1-312E-583F-8A1042C53A13}"/>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BF66886F-2246-3954-6D03-CF7C7B65C7F7}"/>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sp>
          <p:nvSpPr>
            <p:cNvPr id="84" name="Freeform: Shape 83">
              <a:extLst>
                <a:ext uri="{FF2B5EF4-FFF2-40B4-BE49-F238E27FC236}">
                  <a16:creationId xmlns:a16="http://schemas.microsoft.com/office/drawing/2014/main" id="{2C39396C-5371-C1ED-5F2B-1989DBA0F65D}"/>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grpSp>
      <p:sp>
        <p:nvSpPr>
          <p:cNvPr id="122" name="Text Placeholder 121">
            <a:extLst>
              <a:ext uri="{FF2B5EF4-FFF2-40B4-BE49-F238E27FC236}">
                <a16:creationId xmlns:a16="http://schemas.microsoft.com/office/drawing/2014/main" id="{FFC28437-D28C-789A-C3FC-A6FE761726C6}"/>
              </a:ext>
            </a:extLst>
          </p:cNvPr>
          <p:cNvSpPr>
            <a:spLocks noGrp="1"/>
          </p:cNvSpPr>
          <p:nvPr userDrawn="1">
            <p:ph type="body" sz="quarter" idx="18" hasCustomPrompt="1"/>
          </p:nvPr>
        </p:nvSpPr>
        <p:spPr>
          <a:xfrm>
            <a:off x="3790371" y="4216749"/>
            <a:ext cx="2560320" cy="274320"/>
          </a:xfrm>
        </p:spPr>
        <p:txBody>
          <a:bodyPr vert="horz" lIns="0" tIns="0" rIns="0" bIns="0" rtlCol="0">
            <a:noAutofit/>
          </a:bodyPr>
          <a:lstStyle>
            <a:lvl1pPr marL="342900" indent="-342900" algn="l">
              <a:buFontTx/>
              <a:buNone/>
              <a:defRPr lang="en-US" sz="1400" dirty="0"/>
            </a:lvl1pPr>
          </a:lstStyle>
          <a:p>
            <a:pPr marL="0" lvl="0" indent="0">
              <a:buNone/>
            </a:pPr>
            <a:r>
              <a:rPr lang="en-US"/>
              <a:t>Company Name / logo</a:t>
            </a:r>
          </a:p>
        </p:txBody>
      </p:sp>
      <p:sp>
        <p:nvSpPr>
          <p:cNvPr id="4" name="Text Placeholder 3">
            <a:extLst>
              <a:ext uri="{FF2B5EF4-FFF2-40B4-BE49-F238E27FC236}">
                <a16:creationId xmlns:a16="http://schemas.microsoft.com/office/drawing/2014/main" id="{4317EB6B-AEC5-886D-77C5-7F250FACE5EB}"/>
              </a:ext>
            </a:extLst>
          </p:cNvPr>
          <p:cNvSpPr>
            <a:spLocks noGrp="1"/>
          </p:cNvSpPr>
          <p:nvPr>
            <p:ph type="body" sz="quarter" idx="21" hasCustomPrompt="1"/>
          </p:nvPr>
        </p:nvSpPr>
        <p:spPr>
          <a:xfrm>
            <a:off x="9473124" y="2753710"/>
            <a:ext cx="2560320" cy="276999"/>
          </a:xfrm>
        </p:spPr>
        <p:txBody>
          <a:bodyPr anchor="b" anchorCtr="0">
            <a:normAutofit/>
          </a:bodyPr>
          <a:lstStyle>
            <a:lvl1pPr marL="0" indent="0" algn="l">
              <a:spcBef>
                <a:spcPts val="600"/>
              </a:spcBef>
              <a:buFontTx/>
              <a:buNone/>
              <a:defRPr sz="2000" b="1" cap="all" baseline="0"/>
            </a:lvl1pPr>
          </a:lstStyle>
          <a:p>
            <a:pPr lvl="0"/>
            <a:r>
              <a:rPr lang="en-US"/>
              <a:t>NAME</a:t>
            </a:r>
          </a:p>
        </p:txBody>
      </p:sp>
      <p:sp>
        <p:nvSpPr>
          <p:cNvPr id="7" name="Text Placeholder 85">
            <a:extLst>
              <a:ext uri="{FF2B5EF4-FFF2-40B4-BE49-F238E27FC236}">
                <a16:creationId xmlns:a16="http://schemas.microsoft.com/office/drawing/2014/main" id="{8D5B8CB7-AE78-FC23-54E6-71198BA7C4D6}"/>
              </a:ext>
            </a:extLst>
          </p:cNvPr>
          <p:cNvSpPr>
            <a:spLocks noGrp="1"/>
          </p:cNvSpPr>
          <p:nvPr>
            <p:ph type="body" sz="quarter" idx="22" hasCustomPrompt="1"/>
          </p:nvPr>
        </p:nvSpPr>
        <p:spPr>
          <a:xfrm>
            <a:off x="9473124" y="3167420"/>
            <a:ext cx="2560320" cy="457200"/>
          </a:xfrm>
        </p:spPr>
        <p:txBody>
          <a:bodyPr vert="horz" lIns="0" tIns="0" rIns="0" bIns="0" rtlCol="0">
            <a:noAutofit/>
          </a:bodyPr>
          <a:lstStyle>
            <a:lvl1pPr marL="342900" indent="-342900" algn="l">
              <a:buFontTx/>
              <a:buNone/>
              <a:defRPr lang="en-US" sz="1800" dirty="0"/>
            </a:lvl1pPr>
          </a:lstStyle>
          <a:p>
            <a:pPr marL="0" lvl="0" indent="0">
              <a:buNone/>
            </a:pPr>
            <a:r>
              <a:rPr lang="en-US"/>
              <a:t>Title</a:t>
            </a:r>
          </a:p>
        </p:txBody>
      </p:sp>
      <p:sp>
        <p:nvSpPr>
          <p:cNvPr id="42" name="Text Placeholder 121">
            <a:extLst>
              <a:ext uri="{FF2B5EF4-FFF2-40B4-BE49-F238E27FC236}">
                <a16:creationId xmlns:a16="http://schemas.microsoft.com/office/drawing/2014/main" id="{982DEC5A-87F3-D183-1BC9-D87A783B996D}"/>
              </a:ext>
            </a:extLst>
          </p:cNvPr>
          <p:cNvSpPr>
            <a:spLocks noGrp="1"/>
          </p:cNvSpPr>
          <p:nvPr>
            <p:ph type="body" sz="quarter" idx="23" hasCustomPrompt="1"/>
          </p:nvPr>
        </p:nvSpPr>
        <p:spPr>
          <a:xfrm>
            <a:off x="9473124" y="4216749"/>
            <a:ext cx="2560320" cy="274320"/>
          </a:xfrm>
        </p:spPr>
        <p:txBody>
          <a:bodyPr vert="horz" lIns="0" tIns="0" rIns="0" bIns="0" rtlCol="0">
            <a:noAutofit/>
          </a:bodyPr>
          <a:lstStyle>
            <a:lvl1pPr marL="342900" indent="-342900" algn="l">
              <a:buFontTx/>
              <a:buNone/>
              <a:defRPr lang="en-US" sz="1400" dirty="0"/>
            </a:lvl1pPr>
          </a:lstStyle>
          <a:p>
            <a:pPr marL="0" lvl="0" indent="0">
              <a:buNone/>
            </a:pPr>
            <a:r>
              <a:rPr lang="en-US"/>
              <a:t>Company Name / logo</a:t>
            </a:r>
          </a:p>
        </p:txBody>
      </p:sp>
      <p:sp>
        <p:nvSpPr>
          <p:cNvPr id="134" name="Text Placeholder 133">
            <a:extLst>
              <a:ext uri="{FF2B5EF4-FFF2-40B4-BE49-F238E27FC236}">
                <a16:creationId xmlns:a16="http://schemas.microsoft.com/office/drawing/2014/main" id="{26BC94F3-AB96-959E-378F-8050EABF35F2}"/>
              </a:ext>
            </a:extLst>
          </p:cNvPr>
          <p:cNvSpPr>
            <a:spLocks noGrp="1"/>
          </p:cNvSpPr>
          <p:nvPr>
            <p:ph type="body" sz="quarter" idx="24" hasCustomPrompt="1"/>
          </p:nvPr>
        </p:nvSpPr>
        <p:spPr>
          <a:xfrm>
            <a:off x="3790371" y="3167420"/>
            <a:ext cx="2560320" cy="457200"/>
          </a:xfrm>
        </p:spPr>
        <p:txBody>
          <a:bodyPr/>
          <a:lstStyle>
            <a:lvl1pPr marL="0" indent="0" algn="l">
              <a:buFontTx/>
              <a:buNone/>
              <a:defRPr sz="1800"/>
            </a:lvl1pPr>
          </a:lstStyle>
          <a:p>
            <a:pPr lvl="0"/>
            <a:r>
              <a:rPr lang="en-US"/>
              <a:t>Title</a:t>
            </a:r>
          </a:p>
        </p:txBody>
      </p:sp>
      <p:grpSp>
        <p:nvGrpSpPr>
          <p:cNvPr id="88" name="Group 87">
            <a:extLst>
              <a:ext uri="{FF2B5EF4-FFF2-40B4-BE49-F238E27FC236}">
                <a16:creationId xmlns:a16="http://schemas.microsoft.com/office/drawing/2014/main" id="{1E0A0573-DDC9-BA18-43EC-2DC4D041D31D}"/>
              </a:ext>
            </a:extLst>
          </p:cNvPr>
          <p:cNvGrpSpPr/>
          <p:nvPr userDrawn="1"/>
        </p:nvGrpSpPr>
        <p:grpSpPr>
          <a:xfrm>
            <a:off x="3609721" y="2086158"/>
            <a:ext cx="53143" cy="1085389"/>
            <a:chOff x="2780760" y="2009831"/>
            <a:chExt cx="53143" cy="1085389"/>
          </a:xfrm>
        </p:grpSpPr>
        <p:grpSp>
          <p:nvGrpSpPr>
            <p:cNvPr id="89" name="Graphic 42">
              <a:extLst>
                <a:ext uri="{FF2B5EF4-FFF2-40B4-BE49-F238E27FC236}">
                  <a16:creationId xmlns:a16="http://schemas.microsoft.com/office/drawing/2014/main" id="{0814C561-B980-5321-F8B1-DC959A00C8AB}"/>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98" name="Freeform: Shape 33">
                <a:extLst>
                  <a:ext uri="{FF2B5EF4-FFF2-40B4-BE49-F238E27FC236}">
                    <a16:creationId xmlns:a16="http://schemas.microsoft.com/office/drawing/2014/main" id="{897CB401-CA5C-A404-6CFC-8DE3CD2534C6}"/>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34">
                <a:extLst>
                  <a:ext uri="{FF2B5EF4-FFF2-40B4-BE49-F238E27FC236}">
                    <a16:creationId xmlns:a16="http://schemas.microsoft.com/office/drawing/2014/main" id="{BCDA2D36-711C-9385-3A59-92C4AE00169C}"/>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35">
                <a:extLst>
                  <a:ext uri="{FF2B5EF4-FFF2-40B4-BE49-F238E27FC236}">
                    <a16:creationId xmlns:a16="http://schemas.microsoft.com/office/drawing/2014/main" id="{4614E3A4-184F-9610-7E82-430C924C7F05}"/>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36">
                <a:extLst>
                  <a:ext uri="{FF2B5EF4-FFF2-40B4-BE49-F238E27FC236}">
                    <a16:creationId xmlns:a16="http://schemas.microsoft.com/office/drawing/2014/main" id="{DDCD6A0F-743E-7A35-926C-EBD088887FA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2" name="Freeform: Shape 37">
                <a:extLst>
                  <a:ext uri="{FF2B5EF4-FFF2-40B4-BE49-F238E27FC236}">
                    <a16:creationId xmlns:a16="http://schemas.microsoft.com/office/drawing/2014/main" id="{34EDA46B-D44B-0170-E7CC-E938CC9F14E7}"/>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3" name="Freeform: Shape 38">
                <a:extLst>
                  <a:ext uri="{FF2B5EF4-FFF2-40B4-BE49-F238E27FC236}">
                    <a16:creationId xmlns:a16="http://schemas.microsoft.com/office/drawing/2014/main" id="{DCBC6FBB-2BF3-AD01-3F8E-4CDD362E7C1A}"/>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4" name="Freeform: Shape 39">
                <a:extLst>
                  <a:ext uri="{FF2B5EF4-FFF2-40B4-BE49-F238E27FC236}">
                    <a16:creationId xmlns:a16="http://schemas.microsoft.com/office/drawing/2014/main" id="{9DBB5DD7-42E1-EF6F-A91B-2D1DAE87E66D}"/>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5" name="Freeform: Shape 40">
                <a:extLst>
                  <a:ext uri="{FF2B5EF4-FFF2-40B4-BE49-F238E27FC236}">
                    <a16:creationId xmlns:a16="http://schemas.microsoft.com/office/drawing/2014/main" id="{D5908E12-FBA6-CF71-1B36-F499BDB1EF08}"/>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6" name="Freeform: Shape 41">
                <a:extLst>
                  <a:ext uri="{FF2B5EF4-FFF2-40B4-BE49-F238E27FC236}">
                    <a16:creationId xmlns:a16="http://schemas.microsoft.com/office/drawing/2014/main" id="{5D82BE92-AD17-2389-3C22-B9F914203700}"/>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7" name="Freeform: Shape 42">
                <a:extLst>
                  <a:ext uri="{FF2B5EF4-FFF2-40B4-BE49-F238E27FC236}">
                    <a16:creationId xmlns:a16="http://schemas.microsoft.com/office/drawing/2014/main" id="{8D967CB5-011F-67E0-4F35-E5020D57B221}"/>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8" name="Freeform: Shape 43">
                <a:extLst>
                  <a:ext uri="{FF2B5EF4-FFF2-40B4-BE49-F238E27FC236}">
                    <a16:creationId xmlns:a16="http://schemas.microsoft.com/office/drawing/2014/main" id="{FD2C53EF-EC3D-6711-9822-71EFA3432D0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9" name="Freeform: Shape 44">
                <a:extLst>
                  <a:ext uri="{FF2B5EF4-FFF2-40B4-BE49-F238E27FC236}">
                    <a16:creationId xmlns:a16="http://schemas.microsoft.com/office/drawing/2014/main" id="{2A477F67-E84E-4E70-3644-0F761CF76167}"/>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0" name="Freeform: Shape 45">
                <a:extLst>
                  <a:ext uri="{FF2B5EF4-FFF2-40B4-BE49-F238E27FC236}">
                    <a16:creationId xmlns:a16="http://schemas.microsoft.com/office/drawing/2014/main" id="{1E4D49D8-A120-46DE-6B91-0E6E1BE5843F}"/>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1" name="Freeform: Shape 46">
                <a:extLst>
                  <a:ext uri="{FF2B5EF4-FFF2-40B4-BE49-F238E27FC236}">
                    <a16:creationId xmlns:a16="http://schemas.microsoft.com/office/drawing/2014/main" id="{954A8D96-4640-0600-35DD-811CD60B8F56}"/>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2" name="Freeform: Shape 47">
                <a:extLst>
                  <a:ext uri="{FF2B5EF4-FFF2-40B4-BE49-F238E27FC236}">
                    <a16:creationId xmlns:a16="http://schemas.microsoft.com/office/drawing/2014/main" id="{B3B35627-31CE-E23E-B15C-7AFB0A02DDAA}"/>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3" name="Freeform: Shape 48">
                <a:extLst>
                  <a:ext uri="{FF2B5EF4-FFF2-40B4-BE49-F238E27FC236}">
                    <a16:creationId xmlns:a16="http://schemas.microsoft.com/office/drawing/2014/main" id="{05FD8159-B48F-9206-B611-EE71C973ED96}"/>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4" name="Freeform: Shape 49">
                <a:extLst>
                  <a:ext uri="{FF2B5EF4-FFF2-40B4-BE49-F238E27FC236}">
                    <a16:creationId xmlns:a16="http://schemas.microsoft.com/office/drawing/2014/main" id="{AB81FA09-5A52-F5ED-CF17-664838636596}"/>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5" name="Freeform: Shape 50">
                <a:extLst>
                  <a:ext uri="{FF2B5EF4-FFF2-40B4-BE49-F238E27FC236}">
                    <a16:creationId xmlns:a16="http://schemas.microsoft.com/office/drawing/2014/main" id="{4CC626D7-C1E2-66FB-1FF4-E42671B24E12}"/>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6" name="Freeform: Shape 51">
                <a:extLst>
                  <a:ext uri="{FF2B5EF4-FFF2-40B4-BE49-F238E27FC236}">
                    <a16:creationId xmlns:a16="http://schemas.microsoft.com/office/drawing/2014/main" id="{F6AFD732-FEA2-4177-0BB0-049C520BA52A}"/>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7" name="Freeform: Shape 52">
                <a:extLst>
                  <a:ext uri="{FF2B5EF4-FFF2-40B4-BE49-F238E27FC236}">
                    <a16:creationId xmlns:a16="http://schemas.microsoft.com/office/drawing/2014/main" id="{05A241EF-181E-031F-76A3-0C46C9211482}"/>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90" name="Group 89">
              <a:extLst>
                <a:ext uri="{FF2B5EF4-FFF2-40B4-BE49-F238E27FC236}">
                  <a16:creationId xmlns:a16="http://schemas.microsoft.com/office/drawing/2014/main" id="{5F699AF9-5ED2-DE56-0D8E-1DB32516086C}"/>
                </a:ext>
              </a:extLst>
            </p:cNvPr>
            <p:cNvGrpSpPr/>
            <p:nvPr userDrawn="1"/>
          </p:nvGrpSpPr>
          <p:grpSpPr>
            <a:xfrm rot="10800000" flipV="1">
              <a:off x="2780760" y="2715971"/>
              <a:ext cx="53143" cy="379249"/>
              <a:chOff x="5390750" y="3681616"/>
              <a:chExt cx="73151" cy="522033"/>
            </a:xfrm>
          </p:grpSpPr>
          <p:sp>
            <p:nvSpPr>
              <p:cNvPr id="91" name="Freeform: Shape 26">
                <a:extLst>
                  <a:ext uri="{FF2B5EF4-FFF2-40B4-BE49-F238E27FC236}">
                    <a16:creationId xmlns:a16="http://schemas.microsoft.com/office/drawing/2014/main" id="{500B83B9-7108-22CC-FF73-3885AFF2500F}"/>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27">
                <a:extLst>
                  <a:ext uri="{FF2B5EF4-FFF2-40B4-BE49-F238E27FC236}">
                    <a16:creationId xmlns:a16="http://schemas.microsoft.com/office/drawing/2014/main" id="{9AE02ABE-3512-DCFE-A4C8-D1FC7E53AA71}"/>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28">
                <a:extLst>
                  <a:ext uri="{FF2B5EF4-FFF2-40B4-BE49-F238E27FC236}">
                    <a16:creationId xmlns:a16="http://schemas.microsoft.com/office/drawing/2014/main" id="{ABBFB1B3-6D53-E948-ED01-1B7ADA372109}"/>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29">
                <a:extLst>
                  <a:ext uri="{FF2B5EF4-FFF2-40B4-BE49-F238E27FC236}">
                    <a16:creationId xmlns:a16="http://schemas.microsoft.com/office/drawing/2014/main" id="{8819CF10-D940-01DE-5E09-06224D6675DF}"/>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30">
                <a:extLst>
                  <a:ext uri="{FF2B5EF4-FFF2-40B4-BE49-F238E27FC236}">
                    <a16:creationId xmlns:a16="http://schemas.microsoft.com/office/drawing/2014/main" id="{2AB11BE5-7791-61F5-2D95-C7E99CDDF943}"/>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31">
                <a:extLst>
                  <a:ext uri="{FF2B5EF4-FFF2-40B4-BE49-F238E27FC236}">
                    <a16:creationId xmlns:a16="http://schemas.microsoft.com/office/drawing/2014/main" id="{BFC17C7D-CAEA-CC88-5930-B2D426DBAF3F}"/>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32">
                <a:extLst>
                  <a:ext uri="{FF2B5EF4-FFF2-40B4-BE49-F238E27FC236}">
                    <a16:creationId xmlns:a16="http://schemas.microsoft.com/office/drawing/2014/main" id="{F72AF9E5-5F6A-75D7-2FCC-8B846948BDA8}"/>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pic>
        <p:nvPicPr>
          <p:cNvPr id="55" name="Graphic 54">
            <a:extLst>
              <a:ext uri="{FF2B5EF4-FFF2-40B4-BE49-F238E27FC236}">
                <a16:creationId xmlns:a16="http://schemas.microsoft.com/office/drawing/2014/main" id="{5352FA80-1A02-A3E3-4419-D785AEE01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72" y="1558035"/>
            <a:ext cx="457096" cy="369333"/>
          </a:xfrm>
          <a:prstGeom prst="rect">
            <a:avLst/>
          </a:prstGeom>
        </p:spPr>
      </p:pic>
      <p:pic>
        <p:nvPicPr>
          <p:cNvPr id="56" name="Graphic 55">
            <a:extLst>
              <a:ext uri="{FF2B5EF4-FFF2-40B4-BE49-F238E27FC236}">
                <a16:creationId xmlns:a16="http://schemas.microsoft.com/office/drawing/2014/main" id="{32D0A4E1-0ADB-0218-7820-7BDD6D6C0C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8334" y="1558035"/>
            <a:ext cx="457096" cy="369333"/>
          </a:xfrm>
          <a:prstGeom prst="rect">
            <a:avLst/>
          </a:prstGeom>
        </p:spPr>
      </p:pic>
      <p:sp>
        <p:nvSpPr>
          <p:cNvPr id="66" name="Picture Placeholder 2">
            <a:extLst>
              <a:ext uri="{FF2B5EF4-FFF2-40B4-BE49-F238E27FC236}">
                <a16:creationId xmlns:a16="http://schemas.microsoft.com/office/drawing/2014/main" id="{B6768A96-3683-5AC4-8556-B0483323A935}"/>
              </a:ext>
            </a:extLst>
          </p:cNvPr>
          <p:cNvSpPr>
            <a:spLocks noGrp="1"/>
          </p:cNvSpPr>
          <p:nvPr>
            <p:ph type="pic" idx="25" hasCustomPrompt="1"/>
          </p:nvPr>
        </p:nvSpPr>
        <p:spPr>
          <a:xfrm>
            <a:off x="869273" y="1639578"/>
            <a:ext cx="2528028" cy="2925472"/>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492731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512203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38305 w 2559369"/>
              <a:gd name="connsiteY2" fmla="*/ 522452 h 3738009"/>
              <a:gd name="connsiteX3" fmla="*/ 2559369 w 2559369"/>
              <a:gd name="connsiteY3" fmla="*/ 3738009 h 3738009"/>
              <a:gd name="connsiteX4" fmla="*/ 0 w 2559369"/>
              <a:gd name="connsiteY4" fmla="*/ 3738009 h 3738009"/>
              <a:gd name="connsiteX5" fmla="*/ 0 w 2559369"/>
              <a:gd name="connsiteY5" fmla="*/ 7257 h 3738009"/>
              <a:gd name="connsiteX0" fmla="*/ 0 w 2540212"/>
              <a:gd name="connsiteY0" fmla="*/ 7257 h 3738009"/>
              <a:gd name="connsiteX1" fmla="*/ 1903039 w 2540212"/>
              <a:gd name="connsiteY1" fmla="*/ 0 h 3738009"/>
              <a:gd name="connsiteX2" fmla="*/ 2538305 w 2540212"/>
              <a:gd name="connsiteY2" fmla="*/ 522452 h 3738009"/>
              <a:gd name="connsiteX3" fmla="*/ 2540212 w 2540212"/>
              <a:gd name="connsiteY3" fmla="*/ 3738009 h 3738009"/>
              <a:gd name="connsiteX4" fmla="*/ 0 w 2540212"/>
              <a:gd name="connsiteY4" fmla="*/ 3738009 h 3738009"/>
              <a:gd name="connsiteX5" fmla="*/ 0 w 2540212"/>
              <a:gd name="connsiteY5" fmla="*/ 7257 h 3738009"/>
              <a:gd name="connsiteX0" fmla="*/ 0 w 2542221"/>
              <a:gd name="connsiteY0" fmla="*/ 7257 h 3738009"/>
              <a:gd name="connsiteX1" fmla="*/ 1903039 w 2542221"/>
              <a:gd name="connsiteY1" fmla="*/ 0 h 3738009"/>
              <a:gd name="connsiteX2" fmla="*/ 2542137 w 2542221"/>
              <a:gd name="connsiteY2" fmla="*/ 507848 h 3738009"/>
              <a:gd name="connsiteX3" fmla="*/ 2540212 w 2542221"/>
              <a:gd name="connsiteY3" fmla="*/ 3738009 h 3738009"/>
              <a:gd name="connsiteX4" fmla="*/ 0 w 2542221"/>
              <a:gd name="connsiteY4" fmla="*/ 3738009 h 3738009"/>
              <a:gd name="connsiteX5" fmla="*/ 0 w 2542221"/>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2221" h="3738009">
                <a:moveTo>
                  <a:pt x="0" y="7257"/>
                </a:moveTo>
                <a:lnTo>
                  <a:pt x="1903039" y="0"/>
                </a:lnTo>
                <a:lnTo>
                  <a:pt x="2542137" y="507848"/>
                </a:lnTo>
                <a:cubicBezTo>
                  <a:pt x="2542773" y="1579700"/>
                  <a:pt x="2539576" y="2666157"/>
                  <a:pt x="2540212" y="3738009"/>
                </a:cubicBez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grpSp>
        <p:nvGrpSpPr>
          <p:cNvPr id="157" name="Group 156">
            <a:extLst>
              <a:ext uri="{FF2B5EF4-FFF2-40B4-BE49-F238E27FC236}">
                <a16:creationId xmlns:a16="http://schemas.microsoft.com/office/drawing/2014/main" id="{561912C4-C037-30AE-B710-B859E6E2005E}"/>
              </a:ext>
            </a:extLst>
          </p:cNvPr>
          <p:cNvGrpSpPr/>
          <p:nvPr userDrawn="1"/>
        </p:nvGrpSpPr>
        <p:grpSpPr>
          <a:xfrm>
            <a:off x="863228" y="1538741"/>
            <a:ext cx="2686939" cy="4160509"/>
            <a:chOff x="870155" y="1614714"/>
            <a:chExt cx="2686939" cy="4160509"/>
          </a:xfrm>
        </p:grpSpPr>
        <p:sp>
          <p:nvSpPr>
            <p:cNvPr id="67" name="Freeform 13">
              <a:extLst>
                <a:ext uri="{FF2B5EF4-FFF2-40B4-BE49-F238E27FC236}">
                  <a16:creationId xmlns:a16="http://schemas.microsoft.com/office/drawing/2014/main" id="{B7D856F9-1ADC-C610-D95E-F4EC5FC6F65B}"/>
                </a:ext>
              </a:extLst>
            </p:cNvPr>
            <p:cNvSpPr/>
            <p:nvPr userDrawn="1"/>
          </p:nvSpPr>
          <p:spPr>
            <a:xfrm>
              <a:off x="870155" y="1614714"/>
              <a:ext cx="2686939" cy="4160509"/>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0704" h="4202853">
                  <a:moveTo>
                    <a:pt x="102" y="0"/>
                  </a:moveTo>
                  <a:lnTo>
                    <a:pt x="1246205" y="2180"/>
                  </a:lnTo>
                  <a:cubicBezTo>
                    <a:pt x="1458228" y="206461"/>
                    <a:pt x="1563861" y="309661"/>
                    <a:pt x="1700076" y="435885"/>
                  </a:cubicBezTo>
                  <a:cubicBezTo>
                    <a:pt x="1701395" y="1750133"/>
                    <a:pt x="1715899" y="2927093"/>
                    <a:pt x="1720704" y="4202853"/>
                  </a:cubicBezTo>
                  <a:lnTo>
                    <a:pt x="1518326" y="4202853"/>
                  </a:lnTo>
                  <a:lnTo>
                    <a:pt x="0" y="4201611"/>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cxnSp>
          <p:nvCxnSpPr>
            <p:cNvPr id="156" name="Straight Connector 155">
              <a:extLst>
                <a:ext uri="{FF2B5EF4-FFF2-40B4-BE49-F238E27FC236}">
                  <a16:creationId xmlns:a16="http://schemas.microsoft.com/office/drawing/2014/main" id="{95227C6D-6903-B7BA-CB62-33BF2A19085F}"/>
                </a:ext>
              </a:extLst>
            </p:cNvPr>
            <p:cNvCxnSpPr>
              <a:cxnSpLocks/>
            </p:cNvCxnSpPr>
            <p:nvPr userDrawn="1"/>
          </p:nvCxnSpPr>
          <p:spPr>
            <a:xfrm>
              <a:off x="871134"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31" name="Picture Placeholder 2">
            <a:extLst>
              <a:ext uri="{FF2B5EF4-FFF2-40B4-BE49-F238E27FC236}">
                <a16:creationId xmlns:a16="http://schemas.microsoft.com/office/drawing/2014/main" id="{AA6D5D17-1369-D41A-E231-6A328644A8E7}"/>
              </a:ext>
            </a:extLst>
          </p:cNvPr>
          <p:cNvSpPr>
            <a:spLocks noGrp="1"/>
          </p:cNvSpPr>
          <p:nvPr>
            <p:ph type="pic" idx="29" hasCustomPrompt="1"/>
          </p:nvPr>
        </p:nvSpPr>
        <p:spPr>
          <a:xfrm>
            <a:off x="6554058" y="1639578"/>
            <a:ext cx="2528028" cy="2925472"/>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492731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512203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38305 w 2559369"/>
              <a:gd name="connsiteY2" fmla="*/ 522452 h 3738009"/>
              <a:gd name="connsiteX3" fmla="*/ 2559369 w 2559369"/>
              <a:gd name="connsiteY3" fmla="*/ 3738009 h 3738009"/>
              <a:gd name="connsiteX4" fmla="*/ 0 w 2559369"/>
              <a:gd name="connsiteY4" fmla="*/ 3738009 h 3738009"/>
              <a:gd name="connsiteX5" fmla="*/ 0 w 2559369"/>
              <a:gd name="connsiteY5" fmla="*/ 7257 h 3738009"/>
              <a:gd name="connsiteX0" fmla="*/ 0 w 2540212"/>
              <a:gd name="connsiteY0" fmla="*/ 7257 h 3738009"/>
              <a:gd name="connsiteX1" fmla="*/ 1903039 w 2540212"/>
              <a:gd name="connsiteY1" fmla="*/ 0 h 3738009"/>
              <a:gd name="connsiteX2" fmla="*/ 2538305 w 2540212"/>
              <a:gd name="connsiteY2" fmla="*/ 522452 h 3738009"/>
              <a:gd name="connsiteX3" fmla="*/ 2540212 w 2540212"/>
              <a:gd name="connsiteY3" fmla="*/ 3738009 h 3738009"/>
              <a:gd name="connsiteX4" fmla="*/ 0 w 2540212"/>
              <a:gd name="connsiteY4" fmla="*/ 3738009 h 3738009"/>
              <a:gd name="connsiteX5" fmla="*/ 0 w 2540212"/>
              <a:gd name="connsiteY5" fmla="*/ 7257 h 3738009"/>
              <a:gd name="connsiteX0" fmla="*/ 0 w 2542221"/>
              <a:gd name="connsiteY0" fmla="*/ 7257 h 3738009"/>
              <a:gd name="connsiteX1" fmla="*/ 1903039 w 2542221"/>
              <a:gd name="connsiteY1" fmla="*/ 0 h 3738009"/>
              <a:gd name="connsiteX2" fmla="*/ 2542137 w 2542221"/>
              <a:gd name="connsiteY2" fmla="*/ 507848 h 3738009"/>
              <a:gd name="connsiteX3" fmla="*/ 2540212 w 2542221"/>
              <a:gd name="connsiteY3" fmla="*/ 3738009 h 3738009"/>
              <a:gd name="connsiteX4" fmla="*/ 0 w 2542221"/>
              <a:gd name="connsiteY4" fmla="*/ 3738009 h 3738009"/>
              <a:gd name="connsiteX5" fmla="*/ 0 w 2542221"/>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2221" h="3738009">
                <a:moveTo>
                  <a:pt x="0" y="7257"/>
                </a:moveTo>
                <a:lnTo>
                  <a:pt x="1903039" y="0"/>
                </a:lnTo>
                <a:lnTo>
                  <a:pt x="2542137" y="507848"/>
                </a:lnTo>
                <a:cubicBezTo>
                  <a:pt x="2542773" y="1579700"/>
                  <a:pt x="2539576" y="2666157"/>
                  <a:pt x="2540212" y="3738009"/>
                </a:cubicBez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grpSp>
        <p:nvGrpSpPr>
          <p:cNvPr id="3" name="Group 2">
            <a:extLst>
              <a:ext uri="{FF2B5EF4-FFF2-40B4-BE49-F238E27FC236}">
                <a16:creationId xmlns:a16="http://schemas.microsoft.com/office/drawing/2014/main" id="{E788E78F-391A-2872-A824-09470CB9F5C7}"/>
              </a:ext>
            </a:extLst>
          </p:cNvPr>
          <p:cNvGrpSpPr/>
          <p:nvPr userDrawn="1"/>
        </p:nvGrpSpPr>
        <p:grpSpPr>
          <a:xfrm>
            <a:off x="1453024" y="5102934"/>
            <a:ext cx="1507346" cy="86513"/>
            <a:chOff x="1348801" y="4612172"/>
            <a:chExt cx="1507346" cy="86513"/>
          </a:xfrm>
        </p:grpSpPr>
        <p:sp>
          <p:nvSpPr>
            <p:cNvPr id="5" name="Graphic 15">
              <a:extLst>
                <a:ext uri="{FF2B5EF4-FFF2-40B4-BE49-F238E27FC236}">
                  <a16:creationId xmlns:a16="http://schemas.microsoft.com/office/drawing/2014/main" id="{6AC9CE43-ECA7-4539-595E-11ACC949D1D5}"/>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dirty="0"/>
            </a:p>
          </p:txBody>
        </p:sp>
        <p:sp>
          <p:nvSpPr>
            <p:cNvPr id="6" name="Graphic 15">
              <a:extLst>
                <a:ext uri="{FF2B5EF4-FFF2-40B4-BE49-F238E27FC236}">
                  <a16:creationId xmlns:a16="http://schemas.microsoft.com/office/drawing/2014/main" id="{6B91E0B8-6D48-BC63-C15C-F6F36F9C986F}"/>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dirty="0"/>
            </a:p>
          </p:txBody>
        </p:sp>
        <p:sp>
          <p:nvSpPr>
            <p:cNvPr id="8" name="Graphic 15">
              <a:extLst>
                <a:ext uri="{FF2B5EF4-FFF2-40B4-BE49-F238E27FC236}">
                  <a16:creationId xmlns:a16="http://schemas.microsoft.com/office/drawing/2014/main" id="{469A8622-56D4-BC38-D33A-42D35922BA36}"/>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dirty="0"/>
            </a:p>
          </p:txBody>
        </p:sp>
        <p:sp>
          <p:nvSpPr>
            <p:cNvPr id="9" name="Graphic 15">
              <a:extLst>
                <a:ext uri="{FF2B5EF4-FFF2-40B4-BE49-F238E27FC236}">
                  <a16:creationId xmlns:a16="http://schemas.microsoft.com/office/drawing/2014/main" id="{2ED0C889-8E96-EC7C-0F13-9C2CC9087C1B}"/>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dirty="0"/>
            </a:p>
          </p:txBody>
        </p:sp>
        <p:sp>
          <p:nvSpPr>
            <p:cNvPr id="10" name="Graphic 15">
              <a:extLst>
                <a:ext uri="{FF2B5EF4-FFF2-40B4-BE49-F238E27FC236}">
                  <a16:creationId xmlns:a16="http://schemas.microsoft.com/office/drawing/2014/main" id="{614E1A0E-E499-65F0-7E97-A1484C041055}"/>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dirty="0"/>
            </a:p>
          </p:txBody>
        </p:sp>
        <p:sp>
          <p:nvSpPr>
            <p:cNvPr id="11" name="Graphic 15">
              <a:extLst>
                <a:ext uri="{FF2B5EF4-FFF2-40B4-BE49-F238E27FC236}">
                  <a16:creationId xmlns:a16="http://schemas.microsoft.com/office/drawing/2014/main" id="{D67203A2-DFB3-8712-E966-2D756F24453F}"/>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dirty="0"/>
            </a:p>
          </p:txBody>
        </p:sp>
        <p:sp>
          <p:nvSpPr>
            <p:cNvPr id="12" name="Graphic 15">
              <a:extLst>
                <a:ext uri="{FF2B5EF4-FFF2-40B4-BE49-F238E27FC236}">
                  <a16:creationId xmlns:a16="http://schemas.microsoft.com/office/drawing/2014/main" id="{0FE216A7-9E3D-3949-F43A-C1E248CEB363}"/>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dirty="0"/>
            </a:p>
          </p:txBody>
        </p:sp>
      </p:grpSp>
      <p:grpSp>
        <p:nvGrpSpPr>
          <p:cNvPr id="13" name="Group 12">
            <a:extLst>
              <a:ext uri="{FF2B5EF4-FFF2-40B4-BE49-F238E27FC236}">
                <a16:creationId xmlns:a16="http://schemas.microsoft.com/office/drawing/2014/main" id="{DC5B6DDC-E17C-CBB2-EC7B-FA6CC1C4932C}"/>
              </a:ext>
            </a:extLst>
          </p:cNvPr>
          <p:cNvGrpSpPr/>
          <p:nvPr userDrawn="1"/>
        </p:nvGrpSpPr>
        <p:grpSpPr>
          <a:xfrm>
            <a:off x="7118860" y="5102934"/>
            <a:ext cx="1507346" cy="86513"/>
            <a:chOff x="1348801" y="4612172"/>
            <a:chExt cx="1507346" cy="86513"/>
          </a:xfrm>
        </p:grpSpPr>
        <p:sp>
          <p:nvSpPr>
            <p:cNvPr id="14" name="Graphic 15">
              <a:extLst>
                <a:ext uri="{FF2B5EF4-FFF2-40B4-BE49-F238E27FC236}">
                  <a16:creationId xmlns:a16="http://schemas.microsoft.com/office/drawing/2014/main" id="{0483CF11-261F-1F83-7A02-9CE3DB74FB30}"/>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dirty="0"/>
            </a:p>
          </p:txBody>
        </p:sp>
        <p:sp>
          <p:nvSpPr>
            <p:cNvPr id="15" name="Graphic 15">
              <a:extLst>
                <a:ext uri="{FF2B5EF4-FFF2-40B4-BE49-F238E27FC236}">
                  <a16:creationId xmlns:a16="http://schemas.microsoft.com/office/drawing/2014/main" id="{BED0FF39-2442-A513-C8FD-9BB9623B6D28}"/>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dirty="0"/>
            </a:p>
          </p:txBody>
        </p:sp>
        <p:sp>
          <p:nvSpPr>
            <p:cNvPr id="16" name="Graphic 15">
              <a:extLst>
                <a:ext uri="{FF2B5EF4-FFF2-40B4-BE49-F238E27FC236}">
                  <a16:creationId xmlns:a16="http://schemas.microsoft.com/office/drawing/2014/main" id="{9CE8F5D8-56C5-28F4-1FAE-19BC7DDC843B}"/>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dirty="0"/>
            </a:p>
          </p:txBody>
        </p:sp>
        <p:sp>
          <p:nvSpPr>
            <p:cNvPr id="17" name="Graphic 15">
              <a:extLst>
                <a:ext uri="{FF2B5EF4-FFF2-40B4-BE49-F238E27FC236}">
                  <a16:creationId xmlns:a16="http://schemas.microsoft.com/office/drawing/2014/main" id="{75B99CBF-7021-B4DA-1AEF-8D86F67CAB0D}"/>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dirty="0"/>
            </a:p>
          </p:txBody>
        </p:sp>
        <p:sp>
          <p:nvSpPr>
            <p:cNvPr id="18" name="Graphic 15">
              <a:extLst>
                <a:ext uri="{FF2B5EF4-FFF2-40B4-BE49-F238E27FC236}">
                  <a16:creationId xmlns:a16="http://schemas.microsoft.com/office/drawing/2014/main" id="{9CD290D6-9322-7705-E983-DFC12147DD90}"/>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dirty="0"/>
            </a:p>
          </p:txBody>
        </p:sp>
        <p:sp>
          <p:nvSpPr>
            <p:cNvPr id="19" name="Graphic 15">
              <a:extLst>
                <a:ext uri="{FF2B5EF4-FFF2-40B4-BE49-F238E27FC236}">
                  <a16:creationId xmlns:a16="http://schemas.microsoft.com/office/drawing/2014/main" id="{FF24B634-9151-7ADE-7E1A-A5990EEC0D27}"/>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dirty="0"/>
            </a:p>
          </p:txBody>
        </p:sp>
        <p:sp>
          <p:nvSpPr>
            <p:cNvPr id="21" name="Graphic 15">
              <a:extLst>
                <a:ext uri="{FF2B5EF4-FFF2-40B4-BE49-F238E27FC236}">
                  <a16:creationId xmlns:a16="http://schemas.microsoft.com/office/drawing/2014/main" id="{54ADA6CE-B46A-6453-4B0D-3985E17AD453}"/>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dirty="0"/>
            </a:p>
          </p:txBody>
        </p:sp>
      </p:grpSp>
      <p:sp>
        <p:nvSpPr>
          <p:cNvPr id="22" name="Title 21">
            <a:extLst>
              <a:ext uri="{FF2B5EF4-FFF2-40B4-BE49-F238E27FC236}">
                <a16:creationId xmlns:a16="http://schemas.microsoft.com/office/drawing/2014/main" id="{207136CA-CEC0-CBBA-48F2-400A71BB2B2C}"/>
              </a:ext>
            </a:extLst>
          </p:cNvPr>
          <p:cNvSpPr>
            <a:spLocks noGrp="1"/>
          </p:cNvSpPr>
          <p:nvPr>
            <p:ph type="title" hasCustomPrompt="1"/>
          </p:nvPr>
        </p:nvSpPr>
        <p:spPr/>
        <p:txBody>
          <a:bodyPr/>
          <a:lstStyle/>
          <a:p>
            <a:r>
              <a:rPr lang="en-US" dirty="0"/>
              <a:t>ADD TITLE</a:t>
            </a:r>
          </a:p>
        </p:txBody>
      </p:sp>
    </p:spTree>
    <p:extLst>
      <p:ext uri="{BB962C8B-B14F-4D97-AF65-F5344CB8AC3E}">
        <p14:creationId xmlns:p14="http://schemas.microsoft.com/office/powerpoint/2010/main" val="131181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esenter (3)">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918680" y="4718494"/>
            <a:ext cx="2468880" cy="276999"/>
          </a:xfrm>
        </p:spPr>
        <p:txBody>
          <a:bodyPr anchor="b" anchorCtr="0">
            <a:normAutofit/>
          </a:bodyPr>
          <a:lstStyle>
            <a:lvl1pPr marL="0" indent="0" algn="ctr">
              <a:spcBef>
                <a:spcPts val="600"/>
              </a:spcBef>
              <a:buFontTx/>
              <a:buNone/>
              <a:defRPr sz="2000" b="1" cap="all" baseline="0"/>
            </a:lvl1pPr>
          </a:lstStyle>
          <a:p>
            <a:pPr lvl="0"/>
            <a:r>
              <a:rPr lang="en-US"/>
              <a:t>NAME</a:t>
            </a:r>
          </a:p>
        </p:txBody>
      </p:sp>
      <p:sp>
        <p:nvSpPr>
          <p:cNvPr id="57" name="Rectangle 56">
            <a:extLst>
              <a:ext uri="{FF2B5EF4-FFF2-40B4-BE49-F238E27FC236}">
                <a16:creationId xmlns:a16="http://schemas.microsoft.com/office/drawing/2014/main" id="{D0C0782D-07C9-6C9A-899C-240F6B16CA2D}"/>
              </a:ext>
            </a:extLst>
          </p:cNvPr>
          <p:cNvSpPr/>
          <p:nvPr userDrawn="1"/>
        </p:nvSpPr>
        <p:spPr>
          <a:xfrm>
            <a:off x="0" y="1527343"/>
            <a:ext cx="511478" cy="41607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90000"/>
              </a:lnSpc>
              <a:spcBef>
                <a:spcPts val="800"/>
              </a:spcBef>
              <a:buFontTx/>
              <a:buNone/>
            </a:pPr>
            <a:endParaRPr lang="es-PE" dirty="0">
              <a:solidFill>
                <a:schemeClr val="bg1"/>
              </a:solidFill>
            </a:endParaRPr>
          </a:p>
        </p:txBody>
      </p:sp>
      <p:sp>
        <p:nvSpPr>
          <p:cNvPr id="122" name="Text Placeholder 121">
            <a:extLst>
              <a:ext uri="{FF2B5EF4-FFF2-40B4-BE49-F238E27FC236}">
                <a16:creationId xmlns:a16="http://schemas.microsoft.com/office/drawing/2014/main" id="{FFC28437-D28C-789A-C3FC-A6FE761726C6}"/>
              </a:ext>
            </a:extLst>
          </p:cNvPr>
          <p:cNvSpPr>
            <a:spLocks noGrp="1"/>
          </p:cNvSpPr>
          <p:nvPr userDrawn="1">
            <p:ph type="body" sz="quarter" idx="18" hasCustomPrompt="1"/>
          </p:nvPr>
        </p:nvSpPr>
        <p:spPr>
          <a:xfrm>
            <a:off x="918680" y="5985688"/>
            <a:ext cx="2468880" cy="166199"/>
          </a:xfrm>
        </p:spPr>
        <p:txBody>
          <a:bodyPr vert="horz" lIns="0" tIns="0" rIns="0" bIns="0" rtlCol="0" anchor="t" anchorCtr="0">
            <a:spAutoFit/>
          </a:bodyPr>
          <a:lstStyle>
            <a:lvl1pPr marL="342900" indent="-342900">
              <a:buFontTx/>
              <a:buNone/>
              <a:defRPr lang="en-US" sz="1200" b="0" dirty="0"/>
            </a:lvl1pPr>
          </a:lstStyle>
          <a:p>
            <a:pPr marL="0" lvl="0" indent="0" algn="ctr">
              <a:spcBef>
                <a:spcPts val="600"/>
              </a:spcBef>
              <a:buNone/>
            </a:pPr>
            <a:r>
              <a:rPr lang="en-US"/>
              <a:t>Company Name / logo</a:t>
            </a:r>
          </a:p>
        </p:txBody>
      </p:sp>
      <p:sp>
        <p:nvSpPr>
          <p:cNvPr id="4" name="Text Placeholder 3">
            <a:extLst>
              <a:ext uri="{FF2B5EF4-FFF2-40B4-BE49-F238E27FC236}">
                <a16:creationId xmlns:a16="http://schemas.microsoft.com/office/drawing/2014/main" id="{4317EB6B-AEC5-886D-77C5-7F250FACE5EB}"/>
              </a:ext>
            </a:extLst>
          </p:cNvPr>
          <p:cNvSpPr>
            <a:spLocks noGrp="1"/>
          </p:cNvSpPr>
          <p:nvPr>
            <p:ph type="body" sz="quarter" idx="21" hasCustomPrompt="1"/>
          </p:nvPr>
        </p:nvSpPr>
        <p:spPr>
          <a:xfrm>
            <a:off x="4664826" y="4718494"/>
            <a:ext cx="2468880" cy="276999"/>
          </a:xfrm>
        </p:spPr>
        <p:txBody>
          <a:bodyPr vert="horz" lIns="0" tIns="0" rIns="0" bIns="0" rtlCol="0" anchor="b" anchorCtr="0">
            <a:normAutofit/>
          </a:bodyPr>
          <a:lstStyle>
            <a:lvl1pPr marL="342900" indent="-342900">
              <a:buFontTx/>
              <a:buNone/>
              <a:defRPr lang="en-US" sz="2000" b="1" cap="all" baseline="0" dirty="0"/>
            </a:lvl1pPr>
          </a:lstStyle>
          <a:p>
            <a:pPr marL="0" lvl="0" indent="0" algn="ctr">
              <a:spcBef>
                <a:spcPts val="600"/>
              </a:spcBef>
              <a:buNone/>
            </a:pPr>
            <a:r>
              <a:rPr lang="en-US"/>
              <a:t>NAME</a:t>
            </a:r>
          </a:p>
        </p:txBody>
      </p:sp>
      <p:sp>
        <p:nvSpPr>
          <p:cNvPr id="7" name="Text Placeholder 85">
            <a:extLst>
              <a:ext uri="{FF2B5EF4-FFF2-40B4-BE49-F238E27FC236}">
                <a16:creationId xmlns:a16="http://schemas.microsoft.com/office/drawing/2014/main" id="{8D5B8CB7-AE78-FC23-54E6-71198BA7C4D6}"/>
              </a:ext>
            </a:extLst>
          </p:cNvPr>
          <p:cNvSpPr>
            <a:spLocks noGrp="1"/>
          </p:cNvSpPr>
          <p:nvPr>
            <p:ph type="body" sz="quarter" idx="22" hasCustomPrompt="1"/>
          </p:nvPr>
        </p:nvSpPr>
        <p:spPr>
          <a:xfrm>
            <a:off x="4664826" y="5314451"/>
            <a:ext cx="2468880" cy="192024"/>
          </a:xfrm>
        </p:spPr>
        <p:txBody>
          <a:bodyPr vert="horz" lIns="0" tIns="0" rIns="0" bIns="0" rtlCol="0" anchor="b" anchorCtr="0">
            <a:normAutofit/>
          </a:bodyPr>
          <a:lstStyle>
            <a:lvl1pPr marL="342900" indent="-342900">
              <a:buFontTx/>
              <a:buNone/>
              <a:defRPr lang="en-US" sz="1400" b="0" dirty="0"/>
            </a:lvl1pPr>
          </a:lstStyle>
          <a:p>
            <a:pPr marL="0" lvl="0" indent="0" algn="ctr">
              <a:spcBef>
                <a:spcPts val="600"/>
              </a:spcBef>
              <a:buNone/>
            </a:pPr>
            <a:r>
              <a:rPr lang="en-US"/>
              <a:t>Title</a:t>
            </a:r>
          </a:p>
        </p:txBody>
      </p:sp>
      <p:sp>
        <p:nvSpPr>
          <p:cNvPr id="42" name="Text Placeholder 121">
            <a:extLst>
              <a:ext uri="{FF2B5EF4-FFF2-40B4-BE49-F238E27FC236}">
                <a16:creationId xmlns:a16="http://schemas.microsoft.com/office/drawing/2014/main" id="{982DEC5A-87F3-D183-1BC9-D87A783B996D}"/>
              </a:ext>
            </a:extLst>
          </p:cNvPr>
          <p:cNvSpPr>
            <a:spLocks noGrp="1"/>
          </p:cNvSpPr>
          <p:nvPr>
            <p:ph type="body" sz="quarter" idx="23" hasCustomPrompt="1"/>
          </p:nvPr>
        </p:nvSpPr>
        <p:spPr>
          <a:xfrm>
            <a:off x="4664826" y="5985688"/>
            <a:ext cx="2468880" cy="166199"/>
          </a:xfrm>
        </p:spPr>
        <p:txBody>
          <a:bodyPr vert="horz" lIns="0" tIns="0" rIns="0" bIns="0" rtlCol="0" anchor="t" anchorCtr="0">
            <a:spAutoFit/>
          </a:bodyPr>
          <a:lstStyle>
            <a:lvl1pPr marL="342900" indent="-342900">
              <a:buFontTx/>
              <a:buNone/>
              <a:defRPr lang="en-US" sz="1200" b="0" dirty="0"/>
            </a:lvl1pPr>
          </a:lstStyle>
          <a:p>
            <a:pPr marL="0" lvl="0" indent="0" algn="ctr">
              <a:spcBef>
                <a:spcPts val="600"/>
              </a:spcBef>
              <a:buNone/>
            </a:pPr>
            <a:r>
              <a:rPr lang="en-US"/>
              <a:t>Company Name / logo</a:t>
            </a:r>
          </a:p>
        </p:txBody>
      </p:sp>
      <p:sp>
        <p:nvSpPr>
          <p:cNvPr id="134" name="Text Placeholder 133">
            <a:extLst>
              <a:ext uri="{FF2B5EF4-FFF2-40B4-BE49-F238E27FC236}">
                <a16:creationId xmlns:a16="http://schemas.microsoft.com/office/drawing/2014/main" id="{26BC94F3-AB96-959E-378F-8050EABF35F2}"/>
              </a:ext>
            </a:extLst>
          </p:cNvPr>
          <p:cNvSpPr>
            <a:spLocks noGrp="1"/>
          </p:cNvSpPr>
          <p:nvPr>
            <p:ph type="body" sz="quarter" idx="24" hasCustomPrompt="1"/>
          </p:nvPr>
        </p:nvSpPr>
        <p:spPr>
          <a:xfrm>
            <a:off x="918680" y="5315084"/>
            <a:ext cx="2468880" cy="192024"/>
          </a:xfrm>
        </p:spPr>
        <p:txBody>
          <a:bodyPr vert="horz" lIns="0" tIns="0" rIns="0" bIns="0" rtlCol="0" anchor="b" anchorCtr="0">
            <a:normAutofit/>
          </a:bodyPr>
          <a:lstStyle>
            <a:lvl1pPr marL="342900" indent="-342900">
              <a:buFontTx/>
              <a:buNone/>
              <a:defRPr lang="en-US" sz="1400" b="0" dirty="0"/>
            </a:lvl1pPr>
          </a:lstStyle>
          <a:p>
            <a:pPr marL="0" lvl="0" indent="0" algn="ctr">
              <a:spcBef>
                <a:spcPts val="600"/>
              </a:spcBef>
              <a:buNone/>
            </a:pPr>
            <a:r>
              <a:rPr lang="en-US"/>
              <a:t>Title</a:t>
            </a:r>
          </a:p>
        </p:txBody>
      </p:sp>
      <p:cxnSp>
        <p:nvCxnSpPr>
          <p:cNvPr id="22" name="Straight Connector 21">
            <a:extLst>
              <a:ext uri="{FF2B5EF4-FFF2-40B4-BE49-F238E27FC236}">
                <a16:creationId xmlns:a16="http://schemas.microsoft.com/office/drawing/2014/main" id="{FC1B2B28-C973-B571-8CC7-C5B99F1C6623}"/>
              </a:ext>
            </a:extLst>
          </p:cNvPr>
          <p:cNvCxnSpPr>
            <a:cxnSpLocks/>
          </p:cNvCxnSpPr>
          <p:nvPr userDrawn="1"/>
        </p:nvCxnSpPr>
        <p:spPr>
          <a:xfrm>
            <a:off x="5658842" y="5202688"/>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5E55E0C-65AA-D674-D305-2FC39224221A}"/>
              </a:ext>
            </a:extLst>
          </p:cNvPr>
          <p:cNvCxnSpPr>
            <a:cxnSpLocks/>
          </p:cNvCxnSpPr>
          <p:nvPr userDrawn="1"/>
        </p:nvCxnSpPr>
        <p:spPr>
          <a:xfrm>
            <a:off x="9406712" y="5202688"/>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Picture Placeholder 2">
            <a:extLst>
              <a:ext uri="{FF2B5EF4-FFF2-40B4-BE49-F238E27FC236}">
                <a16:creationId xmlns:a16="http://schemas.microsoft.com/office/drawing/2014/main" id="{CF09351A-52D5-12C7-F40D-65A76BDA51AC}"/>
              </a:ext>
            </a:extLst>
          </p:cNvPr>
          <p:cNvSpPr>
            <a:spLocks noGrp="1"/>
          </p:cNvSpPr>
          <p:nvPr>
            <p:ph type="pic" idx="37" hasCustomPrompt="1"/>
          </p:nvPr>
        </p:nvSpPr>
        <p:spPr>
          <a:xfrm>
            <a:off x="869273" y="1639578"/>
            <a:ext cx="2528028" cy="2925472"/>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492731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512203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38305 w 2559369"/>
              <a:gd name="connsiteY2" fmla="*/ 522452 h 3738009"/>
              <a:gd name="connsiteX3" fmla="*/ 2559369 w 2559369"/>
              <a:gd name="connsiteY3" fmla="*/ 3738009 h 3738009"/>
              <a:gd name="connsiteX4" fmla="*/ 0 w 2559369"/>
              <a:gd name="connsiteY4" fmla="*/ 3738009 h 3738009"/>
              <a:gd name="connsiteX5" fmla="*/ 0 w 2559369"/>
              <a:gd name="connsiteY5" fmla="*/ 7257 h 3738009"/>
              <a:gd name="connsiteX0" fmla="*/ 0 w 2540212"/>
              <a:gd name="connsiteY0" fmla="*/ 7257 h 3738009"/>
              <a:gd name="connsiteX1" fmla="*/ 1903039 w 2540212"/>
              <a:gd name="connsiteY1" fmla="*/ 0 h 3738009"/>
              <a:gd name="connsiteX2" fmla="*/ 2538305 w 2540212"/>
              <a:gd name="connsiteY2" fmla="*/ 522452 h 3738009"/>
              <a:gd name="connsiteX3" fmla="*/ 2540212 w 2540212"/>
              <a:gd name="connsiteY3" fmla="*/ 3738009 h 3738009"/>
              <a:gd name="connsiteX4" fmla="*/ 0 w 2540212"/>
              <a:gd name="connsiteY4" fmla="*/ 3738009 h 3738009"/>
              <a:gd name="connsiteX5" fmla="*/ 0 w 2540212"/>
              <a:gd name="connsiteY5" fmla="*/ 7257 h 3738009"/>
              <a:gd name="connsiteX0" fmla="*/ 0 w 2542221"/>
              <a:gd name="connsiteY0" fmla="*/ 7257 h 3738009"/>
              <a:gd name="connsiteX1" fmla="*/ 1903039 w 2542221"/>
              <a:gd name="connsiteY1" fmla="*/ 0 h 3738009"/>
              <a:gd name="connsiteX2" fmla="*/ 2542137 w 2542221"/>
              <a:gd name="connsiteY2" fmla="*/ 507848 h 3738009"/>
              <a:gd name="connsiteX3" fmla="*/ 2540212 w 2542221"/>
              <a:gd name="connsiteY3" fmla="*/ 3738009 h 3738009"/>
              <a:gd name="connsiteX4" fmla="*/ 0 w 2542221"/>
              <a:gd name="connsiteY4" fmla="*/ 3738009 h 3738009"/>
              <a:gd name="connsiteX5" fmla="*/ 0 w 2542221"/>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2221" h="3738009">
                <a:moveTo>
                  <a:pt x="0" y="7257"/>
                </a:moveTo>
                <a:lnTo>
                  <a:pt x="1903039" y="0"/>
                </a:lnTo>
                <a:lnTo>
                  <a:pt x="2542137" y="507848"/>
                </a:lnTo>
                <a:cubicBezTo>
                  <a:pt x="2542773" y="1579700"/>
                  <a:pt x="2539576" y="2666157"/>
                  <a:pt x="2540212" y="3738009"/>
                </a:cubicBez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sp>
        <p:nvSpPr>
          <p:cNvPr id="25" name="Picture Placeholder 2">
            <a:extLst>
              <a:ext uri="{FF2B5EF4-FFF2-40B4-BE49-F238E27FC236}">
                <a16:creationId xmlns:a16="http://schemas.microsoft.com/office/drawing/2014/main" id="{1B68F98E-C54E-E6BD-5BC6-9F303898E920}"/>
              </a:ext>
            </a:extLst>
          </p:cNvPr>
          <p:cNvSpPr>
            <a:spLocks noGrp="1"/>
          </p:cNvSpPr>
          <p:nvPr>
            <p:ph type="pic" idx="38" hasCustomPrompt="1"/>
          </p:nvPr>
        </p:nvSpPr>
        <p:spPr>
          <a:xfrm>
            <a:off x="4621281" y="1639578"/>
            <a:ext cx="2528028" cy="2925472"/>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492731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512203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38305 w 2559369"/>
              <a:gd name="connsiteY2" fmla="*/ 522452 h 3738009"/>
              <a:gd name="connsiteX3" fmla="*/ 2559369 w 2559369"/>
              <a:gd name="connsiteY3" fmla="*/ 3738009 h 3738009"/>
              <a:gd name="connsiteX4" fmla="*/ 0 w 2559369"/>
              <a:gd name="connsiteY4" fmla="*/ 3738009 h 3738009"/>
              <a:gd name="connsiteX5" fmla="*/ 0 w 2559369"/>
              <a:gd name="connsiteY5" fmla="*/ 7257 h 3738009"/>
              <a:gd name="connsiteX0" fmla="*/ 0 w 2540212"/>
              <a:gd name="connsiteY0" fmla="*/ 7257 h 3738009"/>
              <a:gd name="connsiteX1" fmla="*/ 1903039 w 2540212"/>
              <a:gd name="connsiteY1" fmla="*/ 0 h 3738009"/>
              <a:gd name="connsiteX2" fmla="*/ 2538305 w 2540212"/>
              <a:gd name="connsiteY2" fmla="*/ 522452 h 3738009"/>
              <a:gd name="connsiteX3" fmla="*/ 2540212 w 2540212"/>
              <a:gd name="connsiteY3" fmla="*/ 3738009 h 3738009"/>
              <a:gd name="connsiteX4" fmla="*/ 0 w 2540212"/>
              <a:gd name="connsiteY4" fmla="*/ 3738009 h 3738009"/>
              <a:gd name="connsiteX5" fmla="*/ 0 w 2540212"/>
              <a:gd name="connsiteY5" fmla="*/ 7257 h 3738009"/>
              <a:gd name="connsiteX0" fmla="*/ 0 w 2542221"/>
              <a:gd name="connsiteY0" fmla="*/ 7257 h 3738009"/>
              <a:gd name="connsiteX1" fmla="*/ 1903039 w 2542221"/>
              <a:gd name="connsiteY1" fmla="*/ 0 h 3738009"/>
              <a:gd name="connsiteX2" fmla="*/ 2542137 w 2542221"/>
              <a:gd name="connsiteY2" fmla="*/ 507848 h 3738009"/>
              <a:gd name="connsiteX3" fmla="*/ 2540212 w 2542221"/>
              <a:gd name="connsiteY3" fmla="*/ 3738009 h 3738009"/>
              <a:gd name="connsiteX4" fmla="*/ 0 w 2542221"/>
              <a:gd name="connsiteY4" fmla="*/ 3738009 h 3738009"/>
              <a:gd name="connsiteX5" fmla="*/ 0 w 2542221"/>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2221" h="3738009">
                <a:moveTo>
                  <a:pt x="0" y="7257"/>
                </a:moveTo>
                <a:lnTo>
                  <a:pt x="1903039" y="0"/>
                </a:lnTo>
                <a:lnTo>
                  <a:pt x="2542137" y="507848"/>
                </a:lnTo>
                <a:cubicBezTo>
                  <a:pt x="2542773" y="1579700"/>
                  <a:pt x="2539576" y="2666157"/>
                  <a:pt x="2540212" y="3738009"/>
                </a:cubicBez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grpSp>
        <p:nvGrpSpPr>
          <p:cNvPr id="26" name="Group 25">
            <a:extLst>
              <a:ext uri="{FF2B5EF4-FFF2-40B4-BE49-F238E27FC236}">
                <a16:creationId xmlns:a16="http://schemas.microsoft.com/office/drawing/2014/main" id="{B3DF2900-FCFE-9506-49C6-A5539762F93A}"/>
              </a:ext>
            </a:extLst>
          </p:cNvPr>
          <p:cNvGrpSpPr/>
          <p:nvPr userDrawn="1"/>
        </p:nvGrpSpPr>
        <p:grpSpPr>
          <a:xfrm>
            <a:off x="4609374" y="1540404"/>
            <a:ext cx="2686939" cy="4160509"/>
            <a:chOff x="870155" y="1614714"/>
            <a:chExt cx="2686939" cy="4160509"/>
          </a:xfrm>
        </p:grpSpPr>
        <p:sp>
          <p:nvSpPr>
            <p:cNvPr id="27" name="Freeform 13">
              <a:extLst>
                <a:ext uri="{FF2B5EF4-FFF2-40B4-BE49-F238E27FC236}">
                  <a16:creationId xmlns:a16="http://schemas.microsoft.com/office/drawing/2014/main" id="{C402A3F0-8B46-A43F-4869-D8712098A581}"/>
                </a:ext>
              </a:extLst>
            </p:cNvPr>
            <p:cNvSpPr/>
            <p:nvPr userDrawn="1"/>
          </p:nvSpPr>
          <p:spPr>
            <a:xfrm>
              <a:off x="870155" y="1614714"/>
              <a:ext cx="2686939" cy="4160509"/>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0704" h="4202853">
                  <a:moveTo>
                    <a:pt x="102" y="0"/>
                  </a:moveTo>
                  <a:lnTo>
                    <a:pt x="1246205" y="2180"/>
                  </a:lnTo>
                  <a:cubicBezTo>
                    <a:pt x="1458228" y="206461"/>
                    <a:pt x="1563861" y="309661"/>
                    <a:pt x="1700076" y="435885"/>
                  </a:cubicBezTo>
                  <a:cubicBezTo>
                    <a:pt x="1701395" y="1750133"/>
                    <a:pt x="1715899" y="2927093"/>
                    <a:pt x="1720704" y="4202853"/>
                  </a:cubicBezTo>
                  <a:lnTo>
                    <a:pt x="1518326" y="4202853"/>
                  </a:lnTo>
                  <a:lnTo>
                    <a:pt x="0" y="4201611"/>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cxnSp>
          <p:nvCxnSpPr>
            <p:cNvPr id="28" name="Straight Connector 27">
              <a:extLst>
                <a:ext uri="{FF2B5EF4-FFF2-40B4-BE49-F238E27FC236}">
                  <a16:creationId xmlns:a16="http://schemas.microsoft.com/office/drawing/2014/main" id="{17D89F99-0E08-3883-D411-063E80146662}"/>
                </a:ext>
              </a:extLst>
            </p:cNvPr>
            <p:cNvCxnSpPr>
              <a:cxnSpLocks/>
            </p:cNvCxnSpPr>
            <p:nvPr userDrawn="1"/>
          </p:nvCxnSpPr>
          <p:spPr>
            <a:xfrm>
              <a:off x="871134"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29" name="Picture Placeholder 2">
            <a:extLst>
              <a:ext uri="{FF2B5EF4-FFF2-40B4-BE49-F238E27FC236}">
                <a16:creationId xmlns:a16="http://schemas.microsoft.com/office/drawing/2014/main" id="{7DFBBF79-2EF9-A558-9382-2364CCAE3933}"/>
              </a:ext>
            </a:extLst>
          </p:cNvPr>
          <p:cNvSpPr>
            <a:spLocks noGrp="1"/>
          </p:cNvSpPr>
          <p:nvPr>
            <p:ph type="pic" idx="39" hasCustomPrompt="1"/>
          </p:nvPr>
        </p:nvSpPr>
        <p:spPr>
          <a:xfrm>
            <a:off x="8367427" y="1639578"/>
            <a:ext cx="2528028" cy="2925472"/>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492731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512203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38305 w 2559369"/>
              <a:gd name="connsiteY2" fmla="*/ 522452 h 3738009"/>
              <a:gd name="connsiteX3" fmla="*/ 2559369 w 2559369"/>
              <a:gd name="connsiteY3" fmla="*/ 3738009 h 3738009"/>
              <a:gd name="connsiteX4" fmla="*/ 0 w 2559369"/>
              <a:gd name="connsiteY4" fmla="*/ 3738009 h 3738009"/>
              <a:gd name="connsiteX5" fmla="*/ 0 w 2559369"/>
              <a:gd name="connsiteY5" fmla="*/ 7257 h 3738009"/>
              <a:gd name="connsiteX0" fmla="*/ 0 w 2540212"/>
              <a:gd name="connsiteY0" fmla="*/ 7257 h 3738009"/>
              <a:gd name="connsiteX1" fmla="*/ 1903039 w 2540212"/>
              <a:gd name="connsiteY1" fmla="*/ 0 h 3738009"/>
              <a:gd name="connsiteX2" fmla="*/ 2538305 w 2540212"/>
              <a:gd name="connsiteY2" fmla="*/ 522452 h 3738009"/>
              <a:gd name="connsiteX3" fmla="*/ 2540212 w 2540212"/>
              <a:gd name="connsiteY3" fmla="*/ 3738009 h 3738009"/>
              <a:gd name="connsiteX4" fmla="*/ 0 w 2540212"/>
              <a:gd name="connsiteY4" fmla="*/ 3738009 h 3738009"/>
              <a:gd name="connsiteX5" fmla="*/ 0 w 2540212"/>
              <a:gd name="connsiteY5" fmla="*/ 7257 h 3738009"/>
              <a:gd name="connsiteX0" fmla="*/ 0 w 2542221"/>
              <a:gd name="connsiteY0" fmla="*/ 7257 h 3738009"/>
              <a:gd name="connsiteX1" fmla="*/ 1903039 w 2542221"/>
              <a:gd name="connsiteY1" fmla="*/ 0 h 3738009"/>
              <a:gd name="connsiteX2" fmla="*/ 2542137 w 2542221"/>
              <a:gd name="connsiteY2" fmla="*/ 507848 h 3738009"/>
              <a:gd name="connsiteX3" fmla="*/ 2540212 w 2542221"/>
              <a:gd name="connsiteY3" fmla="*/ 3738009 h 3738009"/>
              <a:gd name="connsiteX4" fmla="*/ 0 w 2542221"/>
              <a:gd name="connsiteY4" fmla="*/ 3738009 h 3738009"/>
              <a:gd name="connsiteX5" fmla="*/ 0 w 2542221"/>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2221" h="3738009">
                <a:moveTo>
                  <a:pt x="0" y="7257"/>
                </a:moveTo>
                <a:lnTo>
                  <a:pt x="1903039" y="0"/>
                </a:lnTo>
                <a:lnTo>
                  <a:pt x="2542137" y="507848"/>
                </a:lnTo>
                <a:cubicBezTo>
                  <a:pt x="2542773" y="1579700"/>
                  <a:pt x="2539576" y="2666157"/>
                  <a:pt x="2540212" y="3738009"/>
                </a:cubicBez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grpSp>
        <p:nvGrpSpPr>
          <p:cNvPr id="30" name="Group 29">
            <a:extLst>
              <a:ext uri="{FF2B5EF4-FFF2-40B4-BE49-F238E27FC236}">
                <a16:creationId xmlns:a16="http://schemas.microsoft.com/office/drawing/2014/main" id="{9DE7FB41-6813-4F34-0CC6-018ADAA74DE2}"/>
              </a:ext>
            </a:extLst>
          </p:cNvPr>
          <p:cNvGrpSpPr/>
          <p:nvPr userDrawn="1"/>
        </p:nvGrpSpPr>
        <p:grpSpPr>
          <a:xfrm>
            <a:off x="8355520" y="1540404"/>
            <a:ext cx="2686939" cy="4160509"/>
            <a:chOff x="870155" y="1614714"/>
            <a:chExt cx="2686939" cy="4160509"/>
          </a:xfrm>
        </p:grpSpPr>
        <p:sp>
          <p:nvSpPr>
            <p:cNvPr id="32" name="Freeform 13">
              <a:extLst>
                <a:ext uri="{FF2B5EF4-FFF2-40B4-BE49-F238E27FC236}">
                  <a16:creationId xmlns:a16="http://schemas.microsoft.com/office/drawing/2014/main" id="{EA5262EF-B8A7-80FC-A659-0AF804074FA7}"/>
                </a:ext>
              </a:extLst>
            </p:cNvPr>
            <p:cNvSpPr/>
            <p:nvPr userDrawn="1"/>
          </p:nvSpPr>
          <p:spPr>
            <a:xfrm>
              <a:off x="870155" y="1614714"/>
              <a:ext cx="2686939" cy="4160509"/>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0704" h="4202853">
                  <a:moveTo>
                    <a:pt x="102" y="0"/>
                  </a:moveTo>
                  <a:lnTo>
                    <a:pt x="1246205" y="2180"/>
                  </a:lnTo>
                  <a:cubicBezTo>
                    <a:pt x="1458228" y="206461"/>
                    <a:pt x="1563861" y="309661"/>
                    <a:pt x="1700076" y="435885"/>
                  </a:cubicBezTo>
                  <a:cubicBezTo>
                    <a:pt x="1701395" y="1750133"/>
                    <a:pt x="1715899" y="2927093"/>
                    <a:pt x="1720704" y="4202853"/>
                  </a:cubicBezTo>
                  <a:lnTo>
                    <a:pt x="1518326" y="4202853"/>
                  </a:lnTo>
                  <a:lnTo>
                    <a:pt x="0" y="4201611"/>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cxnSp>
          <p:nvCxnSpPr>
            <p:cNvPr id="33" name="Straight Connector 32">
              <a:extLst>
                <a:ext uri="{FF2B5EF4-FFF2-40B4-BE49-F238E27FC236}">
                  <a16:creationId xmlns:a16="http://schemas.microsoft.com/office/drawing/2014/main" id="{929C7FDB-13FE-8411-B926-915579702DB7}"/>
                </a:ext>
              </a:extLst>
            </p:cNvPr>
            <p:cNvCxnSpPr>
              <a:cxnSpLocks/>
            </p:cNvCxnSpPr>
            <p:nvPr userDrawn="1"/>
          </p:nvCxnSpPr>
          <p:spPr>
            <a:xfrm>
              <a:off x="871134"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cxnSp>
        <p:nvCxnSpPr>
          <p:cNvPr id="34" name="Straight Connector 33">
            <a:extLst>
              <a:ext uri="{FF2B5EF4-FFF2-40B4-BE49-F238E27FC236}">
                <a16:creationId xmlns:a16="http://schemas.microsoft.com/office/drawing/2014/main" id="{5A7C5CE6-1D02-4FDE-2A0A-AF92937954CE}"/>
              </a:ext>
            </a:extLst>
          </p:cNvPr>
          <p:cNvCxnSpPr>
            <a:cxnSpLocks/>
          </p:cNvCxnSpPr>
          <p:nvPr userDrawn="1"/>
        </p:nvCxnSpPr>
        <p:spPr>
          <a:xfrm>
            <a:off x="1912696" y="5202688"/>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244073BD-5E15-5582-2205-0F25F6806948}"/>
              </a:ext>
            </a:extLst>
          </p:cNvPr>
          <p:cNvGrpSpPr/>
          <p:nvPr userDrawn="1"/>
        </p:nvGrpSpPr>
        <p:grpSpPr>
          <a:xfrm>
            <a:off x="863228" y="1540404"/>
            <a:ext cx="2686939" cy="4158351"/>
            <a:chOff x="870155" y="1616872"/>
            <a:chExt cx="2686939" cy="4158351"/>
          </a:xfrm>
        </p:grpSpPr>
        <p:sp>
          <p:nvSpPr>
            <p:cNvPr id="36" name="Freeform 13">
              <a:extLst>
                <a:ext uri="{FF2B5EF4-FFF2-40B4-BE49-F238E27FC236}">
                  <a16:creationId xmlns:a16="http://schemas.microsoft.com/office/drawing/2014/main" id="{579ECB5C-D89E-78F8-789D-0CCBA504B5DC}"/>
                </a:ext>
              </a:extLst>
            </p:cNvPr>
            <p:cNvSpPr/>
            <p:nvPr userDrawn="1"/>
          </p:nvSpPr>
          <p:spPr>
            <a:xfrm>
              <a:off x="870155" y="1616872"/>
              <a:ext cx="2686939" cy="4158351"/>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13215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3978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0704" h="4200673">
                  <a:moveTo>
                    <a:pt x="102" y="3978"/>
                  </a:moveTo>
                  <a:lnTo>
                    <a:pt x="1246205" y="0"/>
                  </a:lnTo>
                  <a:cubicBezTo>
                    <a:pt x="1458228" y="204281"/>
                    <a:pt x="1563861" y="307481"/>
                    <a:pt x="1700076" y="433705"/>
                  </a:cubicBezTo>
                  <a:cubicBezTo>
                    <a:pt x="1701395" y="1747953"/>
                    <a:pt x="1715899" y="2924913"/>
                    <a:pt x="1720704" y="4200673"/>
                  </a:cubicBezTo>
                  <a:lnTo>
                    <a:pt x="1518326" y="4200673"/>
                  </a:lnTo>
                  <a:lnTo>
                    <a:pt x="0" y="4199431"/>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cxnSp>
          <p:nvCxnSpPr>
            <p:cNvPr id="37" name="Straight Connector 36">
              <a:extLst>
                <a:ext uri="{FF2B5EF4-FFF2-40B4-BE49-F238E27FC236}">
                  <a16:creationId xmlns:a16="http://schemas.microsoft.com/office/drawing/2014/main" id="{927B5861-A732-E840-02BF-FA49939BEA0B}"/>
                </a:ext>
              </a:extLst>
            </p:cNvPr>
            <p:cNvCxnSpPr>
              <a:cxnSpLocks/>
            </p:cNvCxnSpPr>
            <p:nvPr userDrawn="1"/>
          </p:nvCxnSpPr>
          <p:spPr>
            <a:xfrm>
              <a:off x="871134"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50ECF823-7CF5-490D-0728-183E99D6A02E}"/>
              </a:ext>
            </a:extLst>
          </p:cNvPr>
          <p:cNvGrpSpPr/>
          <p:nvPr userDrawn="1"/>
        </p:nvGrpSpPr>
        <p:grpSpPr>
          <a:xfrm>
            <a:off x="3609721" y="2075272"/>
            <a:ext cx="53143" cy="1085389"/>
            <a:chOff x="2780760" y="2009831"/>
            <a:chExt cx="53143" cy="1085389"/>
          </a:xfrm>
        </p:grpSpPr>
        <p:grpSp>
          <p:nvGrpSpPr>
            <p:cNvPr id="39" name="Graphic 42">
              <a:extLst>
                <a:ext uri="{FF2B5EF4-FFF2-40B4-BE49-F238E27FC236}">
                  <a16:creationId xmlns:a16="http://schemas.microsoft.com/office/drawing/2014/main" id="{361EB519-181C-4E7A-13DD-10E4B01C5EA5}"/>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49" name="Freeform: Shape 33">
                <a:extLst>
                  <a:ext uri="{FF2B5EF4-FFF2-40B4-BE49-F238E27FC236}">
                    <a16:creationId xmlns:a16="http://schemas.microsoft.com/office/drawing/2014/main" id="{3D217E01-C267-0768-2AEF-D95639615F8E}"/>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0" name="Freeform: Shape 34">
                <a:extLst>
                  <a:ext uri="{FF2B5EF4-FFF2-40B4-BE49-F238E27FC236}">
                    <a16:creationId xmlns:a16="http://schemas.microsoft.com/office/drawing/2014/main" id="{B930544D-C80D-D359-7D61-F913CD12A00C}"/>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1" name="Freeform: Shape 35">
                <a:extLst>
                  <a:ext uri="{FF2B5EF4-FFF2-40B4-BE49-F238E27FC236}">
                    <a16:creationId xmlns:a16="http://schemas.microsoft.com/office/drawing/2014/main" id="{0A740598-87AB-37F0-AE97-648E11F23776}"/>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2" name="Freeform: Shape 36">
                <a:extLst>
                  <a:ext uri="{FF2B5EF4-FFF2-40B4-BE49-F238E27FC236}">
                    <a16:creationId xmlns:a16="http://schemas.microsoft.com/office/drawing/2014/main" id="{812D55E2-B335-2E82-62BA-E578092D5B3F}"/>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3" name="Freeform: Shape 37">
                <a:extLst>
                  <a:ext uri="{FF2B5EF4-FFF2-40B4-BE49-F238E27FC236}">
                    <a16:creationId xmlns:a16="http://schemas.microsoft.com/office/drawing/2014/main" id="{685BBD10-3ABF-29F4-58EC-600DAE2FDA2B}"/>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4" name="Freeform: Shape 38">
                <a:extLst>
                  <a:ext uri="{FF2B5EF4-FFF2-40B4-BE49-F238E27FC236}">
                    <a16:creationId xmlns:a16="http://schemas.microsoft.com/office/drawing/2014/main" id="{49254031-EF25-81CE-1B62-D920BC588EC4}"/>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8" name="Freeform: Shape 39">
                <a:extLst>
                  <a:ext uri="{FF2B5EF4-FFF2-40B4-BE49-F238E27FC236}">
                    <a16:creationId xmlns:a16="http://schemas.microsoft.com/office/drawing/2014/main" id="{D3103BC2-FCF2-E092-B17A-CC69C6655DF0}"/>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9" name="Freeform: Shape 40">
                <a:extLst>
                  <a:ext uri="{FF2B5EF4-FFF2-40B4-BE49-F238E27FC236}">
                    <a16:creationId xmlns:a16="http://schemas.microsoft.com/office/drawing/2014/main" id="{096B247E-3C95-3304-F1AE-1442DF3344C0}"/>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0" name="Freeform: Shape 41">
                <a:extLst>
                  <a:ext uri="{FF2B5EF4-FFF2-40B4-BE49-F238E27FC236}">
                    <a16:creationId xmlns:a16="http://schemas.microsoft.com/office/drawing/2014/main" id="{FD07B08C-080B-4BC7-C0C7-5C740EAE5390}"/>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1" name="Freeform: Shape 42">
                <a:extLst>
                  <a:ext uri="{FF2B5EF4-FFF2-40B4-BE49-F238E27FC236}">
                    <a16:creationId xmlns:a16="http://schemas.microsoft.com/office/drawing/2014/main" id="{57C70C47-B4D9-8D70-7BDF-05F6EA450D2C}"/>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43">
                <a:extLst>
                  <a:ext uri="{FF2B5EF4-FFF2-40B4-BE49-F238E27FC236}">
                    <a16:creationId xmlns:a16="http://schemas.microsoft.com/office/drawing/2014/main" id="{D8B16C64-961F-03ED-EBA5-B7709E053732}"/>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44">
                <a:extLst>
                  <a:ext uri="{FF2B5EF4-FFF2-40B4-BE49-F238E27FC236}">
                    <a16:creationId xmlns:a16="http://schemas.microsoft.com/office/drawing/2014/main" id="{BD2764F8-F144-1625-7E44-2410858D7ECF}"/>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45">
                <a:extLst>
                  <a:ext uri="{FF2B5EF4-FFF2-40B4-BE49-F238E27FC236}">
                    <a16:creationId xmlns:a16="http://schemas.microsoft.com/office/drawing/2014/main" id="{CB8B882D-FC99-E7FD-872E-F76B104EF047}"/>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5" name="Freeform: Shape 46">
                <a:extLst>
                  <a:ext uri="{FF2B5EF4-FFF2-40B4-BE49-F238E27FC236}">
                    <a16:creationId xmlns:a16="http://schemas.microsoft.com/office/drawing/2014/main" id="{8B637976-7014-729E-D6BC-2055CC7664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47">
                <a:extLst>
                  <a:ext uri="{FF2B5EF4-FFF2-40B4-BE49-F238E27FC236}">
                    <a16:creationId xmlns:a16="http://schemas.microsoft.com/office/drawing/2014/main" id="{39205395-FB3A-4601-5C77-DFA59393BAE0}"/>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48">
                <a:extLst>
                  <a:ext uri="{FF2B5EF4-FFF2-40B4-BE49-F238E27FC236}">
                    <a16:creationId xmlns:a16="http://schemas.microsoft.com/office/drawing/2014/main" id="{AE133EAD-BC02-944C-98AD-A410EE92A67C}"/>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49">
                <a:extLst>
                  <a:ext uri="{FF2B5EF4-FFF2-40B4-BE49-F238E27FC236}">
                    <a16:creationId xmlns:a16="http://schemas.microsoft.com/office/drawing/2014/main" id="{758D8B1E-244F-1F3C-1B49-A5C968B148AA}"/>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8" name="Freeform: Shape 50">
                <a:extLst>
                  <a:ext uri="{FF2B5EF4-FFF2-40B4-BE49-F238E27FC236}">
                    <a16:creationId xmlns:a16="http://schemas.microsoft.com/office/drawing/2014/main" id="{DCF609A8-8939-3CF8-1C0A-2E5325489DE2}"/>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9" name="Freeform: Shape 51">
                <a:extLst>
                  <a:ext uri="{FF2B5EF4-FFF2-40B4-BE49-F238E27FC236}">
                    <a16:creationId xmlns:a16="http://schemas.microsoft.com/office/drawing/2014/main" id="{50A4D6E9-4F1C-F864-7C64-9EC78192DEF2}"/>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0" name="Freeform: Shape 52">
                <a:extLst>
                  <a:ext uri="{FF2B5EF4-FFF2-40B4-BE49-F238E27FC236}">
                    <a16:creationId xmlns:a16="http://schemas.microsoft.com/office/drawing/2014/main" id="{A8DEBBDD-037D-F65D-305D-BD9E5A50B9C3}"/>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40" name="Group 39">
              <a:extLst>
                <a:ext uri="{FF2B5EF4-FFF2-40B4-BE49-F238E27FC236}">
                  <a16:creationId xmlns:a16="http://schemas.microsoft.com/office/drawing/2014/main" id="{8D9A79FD-6B3E-AADA-93FC-F5559F26E1F6}"/>
                </a:ext>
              </a:extLst>
            </p:cNvPr>
            <p:cNvGrpSpPr/>
            <p:nvPr userDrawn="1"/>
          </p:nvGrpSpPr>
          <p:grpSpPr>
            <a:xfrm rot="10800000" flipV="1">
              <a:off x="2780760" y="2715971"/>
              <a:ext cx="53143" cy="379249"/>
              <a:chOff x="5390750" y="3681616"/>
              <a:chExt cx="73151" cy="522033"/>
            </a:xfrm>
          </p:grpSpPr>
          <p:sp>
            <p:nvSpPr>
              <p:cNvPr id="41" name="Freeform: Shape 26">
                <a:extLst>
                  <a:ext uri="{FF2B5EF4-FFF2-40B4-BE49-F238E27FC236}">
                    <a16:creationId xmlns:a16="http://schemas.microsoft.com/office/drawing/2014/main" id="{6119B11F-AC23-BBA1-4BB8-68DF6241FD05}"/>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27">
                <a:extLst>
                  <a:ext uri="{FF2B5EF4-FFF2-40B4-BE49-F238E27FC236}">
                    <a16:creationId xmlns:a16="http://schemas.microsoft.com/office/drawing/2014/main" id="{93F36BCA-92F1-F141-746F-95185D3CA3CD}"/>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4" name="Freeform: Shape 28">
                <a:extLst>
                  <a:ext uri="{FF2B5EF4-FFF2-40B4-BE49-F238E27FC236}">
                    <a16:creationId xmlns:a16="http://schemas.microsoft.com/office/drawing/2014/main" id="{AA9C5275-AD7B-A589-3D0E-7C25C9A43D6D}"/>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29">
                <a:extLst>
                  <a:ext uri="{FF2B5EF4-FFF2-40B4-BE49-F238E27FC236}">
                    <a16:creationId xmlns:a16="http://schemas.microsoft.com/office/drawing/2014/main" id="{BAB64509-375C-A30D-6F15-0FF51A8A741E}"/>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30">
                <a:extLst>
                  <a:ext uri="{FF2B5EF4-FFF2-40B4-BE49-F238E27FC236}">
                    <a16:creationId xmlns:a16="http://schemas.microsoft.com/office/drawing/2014/main" id="{92397A24-BCEF-9235-D6CC-DEB23EF6E346}"/>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31">
                <a:extLst>
                  <a:ext uri="{FF2B5EF4-FFF2-40B4-BE49-F238E27FC236}">
                    <a16:creationId xmlns:a16="http://schemas.microsoft.com/office/drawing/2014/main" id="{830BF5C4-4DD3-9E82-A6D1-528BBD5C86C6}"/>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8" name="Freeform: Shape 32">
                <a:extLst>
                  <a:ext uri="{FF2B5EF4-FFF2-40B4-BE49-F238E27FC236}">
                    <a16:creationId xmlns:a16="http://schemas.microsoft.com/office/drawing/2014/main" id="{5C861AF0-94D4-00F4-41F9-264B2DFFDC31}"/>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grpSp>
        <p:nvGrpSpPr>
          <p:cNvPr id="121" name="Group 120">
            <a:extLst>
              <a:ext uri="{FF2B5EF4-FFF2-40B4-BE49-F238E27FC236}">
                <a16:creationId xmlns:a16="http://schemas.microsoft.com/office/drawing/2014/main" id="{BFB8F86C-4E20-6CFF-2B12-1088B8523F37}"/>
              </a:ext>
            </a:extLst>
          </p:cNvPr>
          <p:cNvGrpSpPr/>
          <p:nvPr userDrawn="1"/>
        </p:nvGrpSpPr>
        <p:grpSpPr>
          <a:xfrm>
            <a:off x="7360592" y="2075272"/>
            <a:ext cx="53143" cy="1085389"/>
            <a:chOff x="2780760" y="2009831"/>
            <a:chExt cx="53143" cy="1085389"/>
          </a:xfrm>
        </p:grpSpPr>
        <p:grpSp>
          <p:nvGrpSpPr>
            <p:cNvPr id="123" name="Graphic 42">
              <a:extLst>
                <a:ext uri="{FF2B5EF4-FFF2-40B4-BE49-F238E27FC236}">
                  <a16:creationId xmlns:a16="http://schemas.microsoft.com/office/drawing/2014/main" id="{90096649-CB63-BCAD-976D-C7DD358601DD}"/>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132" name="Freeform: Shape 33">
                <a:extLst>
                  <a:ext uri="{FF2B5EF4-FFF2-40B4-BE49-F238E27FC236}">
                    <a16:creationId xmlns:a16="http://schemas.microsoft.com/office/drawing/2014/main" id="{FCB81E6C-22C2-C751-04BE-6152FFB7A692}"/>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3" name="Freeform: Shape 34">
                <a:extLst>
                  <a:ext uri="{FF2B5EF4-FFF2-40B4-BE49-F238E27FC236}">
                    <a16:creationId xmlns:a16="http://schemas.microsoft.com/office/drawing/2014/main" id="{74555FD9-C543-0D5D-0FF4-250E898A1497}"/>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5" name="Freeform: Shape 35">
                <a:extLst>
                  <a:ext uri="{FF2B5EF4-FFF2-40B4-BE49-F238E27FC236}">
                    <a16:creationId xmlns:a16="http://schemas.microsoft.com/office/drawing/2014/main" id="{ED0E4C40-B7FA-0902-545B-5D0C419C6C6A}"/>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6" name="Freeform: Shape 36">
                <a:extLst>
                  <a:ext uri="{FF2B5EF4-FFF2-40B4-BE49-F238E27FC236}">
                    <a16:creationId xmlns:a16="http://schemas.microsoft.com/office/drawing/2014/main" id="{597AA916-46EB-3A8C-8D84-C278CB92341F}"/>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7" name="Freeform: Shape 37">
                <a:extLst>
                  <a:ext uri="{FF2B5EF4-FFF2-40B4-BE49-F238E27FC236}">
                    <a16:creationId xmlns:a16="http://schemas.microsoft.com/office/drawing/2014/main" id="{7798E9C5-259D-7FE1-71B0-3C35C71947E7}"/>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8" name="Freeform: Shape 38">
                <a:extLst>
                  <a:ext uri="{FF2B5EF4-FFF2-40B4-BE49-F238E27FC236}">
                    <a16:creationId xmlns:a16="http://schemas.microsoft.com/office/drawing/2014/main" id="{82CA90F3-4CA8-DB78-2DE1-A3099E2A2509}"/>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9" name="Freeform: Shape 39">
                <a:extLst>
                  <a:ext uri="{FF2B5EF4-FFF2-40B4-BE49-F238E27FC236}">
                    <a16:creationId xmlns:a16="http://schemas.microsoft.com/office/drawing/2014/main" id="{8D6BBE11-8E7A-8AEC-56EA-F20B887F1EB1}"/>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0" name="Freeform: Shape 40">
                <a:extLst>
                  <a:ext uri="{FF2B5EF4-FFF2-40B4-BE49-F238E27FC236}">
                    <a16:creationId xmlns:a16="http://schemas.microsoft.com/office/drawing/2014/main" id="{AEB623A0-B85B-4583-276A-D186E5B8579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1" name="Freeform: Shape 41">
                <a:extLst>
                  <a:ext uri="{FF2B5EF4-FFF2-40B4-BE49-F238E27FC236}">
                    <a16:creationId xmlns:a16="http://schemas.microsoft.com/office/drawing/2014/main" id="{D26BAA4A-936C-B0CC-8724-4BC4641F5299}"/>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2" name="Freeform: Shape 42">
                <a:extLst>
                  <a:ext uri="{FF2B5EF4-FFF2-40B4-BE49-F238E27FC236}">
                    <a16:creationId xmlns:a16="http://schemas.microsoft.com/office/drawing/2014/main" id="{400533CC-C0A7-4EFB-F92E-FB3053A3E014}"/>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3" name="Freeform: Shape 43">
                <a:extLst>
                  <a:ext uri="{FF2B5EF4-FFF2-40B4-BE49-F238E27FC236}">
                    <a16:creationId xmlns:a16="http://schemas.microsoft.com/office/drawing/2014/main" id="{1C368032-D90E-F785-11FB-E37D3467EBAF}"/>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4" name="Freeform: Shape 44">
                <a:extLst>
                  <a:ext uri="{FF2B5EF4-FFF2-40B4-BE49-F238E27FC236}">
                    <a16:creationId xmlns:a16="http://schemas.microsoft.com/office/drawing/2014/main" id="{16511F16-37B8-F620-9EAB-40A1A85A9327}"/>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5" name="Freeform: Shape 45">
                <a:extLst>
                  <a:ext uri="{FF2B5EF4-FFF2-40B4-BE49-F238E27FC236}">
                    <a16:creationId xmlns:a16="http://schemas.microsoft.com/office/drawing/2014/main" id="{A403FDCC-F909-533B-18A1-85C6A1A53A08}"/>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6" name="Freeform: Shape 46">
                <a:extLst>
                  <a:ext uri="{FF2B5EF4-FFF2-40B4-BE49-F238E27FC236}">
                    <a16:creationId xmlns:a16="http://schemas.microsoft.com/office/drawing/2014/main" id="{C06B778C-72EE-C8DF-88C8-51E68B6BD30C}"/>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7" name="Freeform: Shape 47">
                <a:extLst>
                  <a:ext uri="{FF2B5EF4-FFF2-40B4-BE49-F238E27FC236}">
                    <a16:creationId xmlns:a16="http://schemas.microsoft.com/office/drawing/2014/main" id="{8259D700-A02D-CA4B-EB99-938287C18EE8}"/>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8" name="Freeform: Shape 48">
                <a:extLst>
                  <a:ext uri="{FF2B5EF4-FFF2-40B4-BE49-F238E27FC236}">
                    <a16:creationId xmlns:a16="http://schemas.microsoft.com/office/drawing/2014/main" id="{699C176D-7A76-A5D6-5EF6-AD9379EC0F43}"/>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9" name="Freeform: Shape 49">
                <a:extLst>
                  <a:ext uri="{FF2B5EF4-FFF2-40B4-BE49-F238E27FC236}">
                    <a16:creationId xmlns:a16="http://schemas.microsoft.com/office/drawing/2014/main" id="{5B715E87-57C6-7C9B-EB9D-952ED4C8D279}"/>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0" name="Freeform: Shape 50">
                <a:extLst>
                  <a:ext uri="{FF2B5EF4-FFF2-40B4-BE49-F238E27FC236}">
                    <a16:creationId xmlns:a16="http://schemas.microsoft.com/office/drawing/2014/main" id="{2E5F4CBB-A816-3FDB-496C-4D0A5FBA2805}"/>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1" name="Freeform: Shape 51">
                <a:extLst>
                  <a:ext uri="{FF2B5EF4-FFF2-40B4-BE49-F238E27FC236}">
                    <a16:creationId xmlns:a16="http://schemas.microsoft.com/office/drawing/2014/main" id="{ADC8E7E8-DF1E-8485-2FA8-1DFDEB47BB75}"/>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2" name="Freeform: Shape 52">
                <a:extLst>
                  <a:ext uri="{FF2B5EF4-FFF2-40B4-BE49-F238E27FC236}">
                    <a16:creationId xmlns:a16="http://schemas.microsoft.com/office/drawing/2014/main" id="{24416868-8B2B-8FEC-F5DB-2F6924848703}"/>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24" name="Group 123">
              <a:extLst>
                <a:ext uri="{FF2B5EF4-FFF2-40B4-BE49-F238E27FC236}">
                  <a16:creationId xmlns:a16="http://schemas.microsoft.com/office/drawing/2014/main" id="{5519682B-3DF4-DE92-B0EA-73BBE3187D5A}"/>
                </a:ext>
              </a:extLst>
            </p:cNvPr>
            <p:cNvGrpSpPr/>
            <p:nvPr userDrawn="1"/>
          </p:nvGrpSpPr>
          <p:grpSpPr>
            <a:xfrm rot="10800000" flipV="1">
              <a:off x="2780760" y="2715971"/>
              <a:ext cx="53143" cy="379249"/>
              <a:chOff x="5390750" y="3681616"/>
              <a:chExt cx="73151" cy="522033"/>
            </a:xfrm>
          </p:grpSpPr>
          <p:sp>
            <p:nvSpPr>
              <p:cNvPr id="125" name="Freeform: Shape 26">
                <a:extLst>
                  <a:ext uri="{FF2B5EF4-FFF2-40B4-BE49-F238E27FC236}">
                    <a16:creationId xmlns:a16="http://schemas.microsoft.com/office/drawing/2014/main" id="{114F51BF-0B5E-5CFE-076B-46AE555FFC89}"/>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6" name="Freeform: Shape 27">
                <a:extLst>
                  <a:ext uri="{FF2B5EF4-FFF2-40B4-BE49-F238E27FC236}">
                    <a16:creationId xmlns:a16="http://schemas.microsoft.com/office/drawing/2014/main" id="{0A1AE548-7870-7A2F-900E-EDA67FFE6253}"/>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7" name="Freeform: Shape 28">
                <a:extLst>
                  <a:ext uri="{FF2B5EF4-FFF2-40B4-BE49-F238E27FC236}">
                    <a16:creationId xmlns:a16="http://schemas.microsoft.com/office/drawing/2014/main" id="{5D5462E1-5D68-2645-D841-5C0DB6B82CF2}"/>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8" name="Freeform: Shape 29">
                <a:extLst>
                  <a:ext uri="{FF2B5EF4-FFF2-40B4-BE49-F238E27FC236}">
                    <a16:creationId xmlns:a16="http://schemas.microsoft.com/office/drawing/2014/main" id="{AFFA8A34-1BA1-58FB-7890-26CA61F88ECA}"/>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9" name="Freeform: Shape 30">
                <a:extLst>
                  <a:ext uri="{FF2B5EF4-FFF2-40B4-BE49-F238E27FC236}">
                    <a16:creationId xmlns:a16="http://schemas.microsoft.com/office/drawing/2014/main" id="{9918AC76-7AAD-D870-8EE4-9675138990F0}"/>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0" name="Freeform: Shape 31">
                <a:extLst>
                  <a:ext uri="{FF2B5EF4-FFF2-40B4-BE49-F238E27FC236}">
                    <a16:creationId xmlns:a16="http://schemas.microsoft.com/office/drawing/2014/main" id="{C18016B4-A1F5-914B-C81E-90C3F45BCABC}"/>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1" name="Freeform: Shape 32">
                <a:extLst>
                  <a:ext uri="{FF2B5EF4-FFF2-40B4-BE49-F238E27FC236}">
                    <a16:creationId xmlns:a16="http://schemas.microsoft.com/office/drawing/2014/main" id="{DAC71D5A-AEF4-615E-7197-B497558AF9C8}"/>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grpSp>
        <p:nvGrpSpPr>
          <p:cNvPr id="153" name="Group 152">
            <a:extLst>
              <a:ext uri="{FF2B5EF4-FFF2-40B4-BE49-F238E27FC236}">
                <a16:creationId xmlns:a16="http://schemas.microsoft.com/office/drawing/2014/main" id="{9513AE1F-0A54-3F28-8525-8E029DE4B083}"/>
              </a:ext>
            </a:extLst>
          </p:cNvPr>
          <p:cNvGrpSpPr/>
          <p:nvPr userDrawn="1"/>
        </p:nvGrpSpPr>
        <p:grpSpPr>
          <a:xfrm>
            <a:off x="11131149" y="2075272"/>
            <a:ext cx="53143" cy="1085389"/>
            <a:chOff x="2780760" y="2009831"/>
            <a:chExt cx="53143" cy="1085389"/>
          </a:xfrm>
        </p:grpSpPr>
        <p:grpSp>
          <p:nvGrpSpPr>
            <p:cNvPr id="154" name="Graphic 42">
              <a:extLst>
                <a:ext uri="{FF2B5EF4-FFF2-40B4-BE49-F238E27FC236}">
                  <a16:creationId xmlns:a16="http://schemas.microsoft.com/office/drawing/2014/main" id="{D144B76B-0F4D-573F-069C-2453A3B98606}"/>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198" name="Freeform: Shape 33">
                <a:extLst>
                  <a:ext uri="{FF2B5EF4-FFF2-40B4-BE49-F238E27FC236}">
                    <a16:creationId xmlns:a16="http://schemas.microsoft.com/office/drawing/2014/main" id="{7A6E42E1-2641-C22A-5DA5-EC8919E2DBD8}"/>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9" name="Freeform: Shape 34">
                <a:extLst>
                  <a:ext uri="{FF2B5EF4-FFF2-40B4-BE49-F238E27FC236}">
                    <a16:creationId xmlns:a16="http://schemas.microsoft.com/office/drawing/2014/main" id="{9BA9FCB7-90BE-4864-D5C0-2F493E848A91}"/>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0" name="Freeform: Shape 35">
                <a:extLst>
                  <a:ext uri="{FF2B5EF4-FFF2-40B4-BE49-F238E27FC236}">
                    <a16:creationId xmlns:a16="http://schemas.microsoft.com/office/drawing/2014/main" id="{DD0B43A5-BB64-E4BC-EB44-E0683A112D7D}"/>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1" name="Freeform: Shape 36">
                <a:extLst>
                  <a:ext uri="{FF2B5EF4-FFF2-40B4-BE49-F238E27FC236}">
                    <a16:creationId xmlns:a16="http://schemas.microsoft.com/office/drawing/2014/main" id="{959F067E-D054-6E42-13CB-36C819BB34D1}"/>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2" name="Freeform: Shape 37">
                <a:extLst>
                  <a:ext uri="{FF2B5EF4-FFF2-40B4-BE49-F238E27FC236}">
                    <a16:creationId xmlns:a16="http://schemas.microsoft.com/office/drawing/2014/main" id="{031CF615-199C-1B6E-104C-C65FE089FE92}"/>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3" name="Freeform: Shape 38">
                <a:extLst>
                  <a:ext uri="{FF2B5EF4-FFF2-40B4-BE49-F238E27FC236}">
                    <a16:creationId xmlns:a16="http://schemas.microsoft.com/office/drawing/2014/main" id="{704163D0-1B09-34C4-D2B4-935EE691FF02}"/>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4" name="Freeform: Shape 39">
                <a:extLst>
                  <a:ext uri="{FF2B5EF4-FFF2-40B4-BE49-F238E27FC236}">
                    <a16:creationId xmlns:a16="http://schemas.microsoft.com/office/drawing/2014/main" id="{6A7E3F0A-6D11-1AFE-82C6-C9B28990CE8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5" name="Freeform: Shape 40">
                <a:extLst>
                  <a:ext uri="{FF2B5EF4-FFF2-40B4-BE49-F238E27FC236}">
                    <a16:creationId xmlns:a16="http://schemas.microsoft.com/office/drawing/2014/main" id="{DDE79EDB-6074-42E5-676A-9EE3EB110664}"/>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6" name="Freeform: Shape 41">
                <a:extLst>
                  <a:ext uri="{FF2B5EF4-FFF2-40B4-BE49-F238E27FC236}">
                    <a16:creationId xmlns:a16="http://schemas.microsoft.com/office/drawing/2014/main" id="{7291C7F1-3E46-E6AF-A1E9-3BA5EF965342}"/>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7" name="Freeform: Shape 42">
                <a:extLst>
                  <a:ext uri="{FF2B5EF4-FFF2-40B4-BE49-F238E27FC236}">
                    <a16:creationId xmlns:a16="http://schemas.microsoft.com/office/drawing/2014/main" id="{274D06D7-3E18-FD67-E81C-B5CF54684BE0}"/>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8" name="Freeform: Shape 43">
                <a:extLst>
                  <a:ext uri="{FF2B5EF4-FFF2-40B4-BE49-F238E27FC236}">
                    <a16:creationId xmlns:a16="http://schemas.microsoft.com/office/drawing/2014/main" id="{394A2592-5404-6C98-CA26-80EA953971BE}"/>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09" name="Freeform: Shape 44">
                <a:extLst>
                  <a:ext uri="{FF2B5EF4-FFF2-40B4-BE49-F238E27FC236}">
                    <a16:creationId xmlns:a16="http://schemas.microsoft.com/office/drawing/2014/main" id="{FBF25311-87F4-9F4F-5F24-BF3FAAD87165}"/>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0" name="Freeform: Shape 45">
                <a:extLst>
                  <a:ext uri="{FF2B5EF4-FFF2-40B4-BE49-F238E27FC236}">
                    <a16:creationId xmlns:a16="http://schemas.microsoft.com/office/drawing/2014/main" id="{BE8FA1DE-6D15-35F7-17B8-58D1384B3D0C}"/>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1" name="Freeform: Shape 46">
                <a:extLst>
                  <a:ext uri="{FF2B5EF4-FFF2-40B4-BE49-F238E27FC236}">
                    <a16:creationId xmlns:a16="http://schemas.microsoft.com/office/drawing/2014/main" id="{E7788F8C-2689-CF51-7CD0-557D0E49392A}"/>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2" name="Freeform: Shape 47">
                <a:extLst>
                  <a:ext uri="{FF2B5EF4-FFF2-40B4-BE49-F238E27FC236}">
                    <a16:creationId xmlns:a16="http://schemas.microsoft.com/office/drawing/2014/main" id="{62F70B68-9352-0DAB-D9DE-A1CBE5267DF7}"/>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3" name="Freeform: Shape 48">
                <a:extLst>
                  <a:ext uri="{FF2B5EF4-FFF2-40B4-BE49-F238E27FC236}">
                    <a16:creationId xmlns:a16="http://schemas.microsoft.com/office/drawing/2014/main" id="{B4E5F79C-8AD1-42A5-1263-78DB92157799}"/>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4" name="Freeform: Shape 49">
                <a:extLst>
                  <a:ext uri="{FF2B5EF4-FFF2-40B4-BE49-F238E27FC236}">
                    <a16:creationId xmlns:a16="http://schemas.microsoft.com/office/drawing/2014/main" id="{986DA7D6-6934-9AD1-06E7-96A5EFD36680}"/>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5" name="Freeform: Shape 50">
                <a:extLst>
                  <a:ext uri="{FF2B5EF4-FFF2-40B4-BE49-F238E27FC236}">
                    <a16:creationId xmlns:a16="http://schemas.microsoft.com/office/drawing/2014/main" id="{E8071EC3-729A-B8E6-18AE-3A513DE08B81}"/>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6" name="Freeform: Shape 51">
                <a:extLst>
                  <a:ext uri="{FF2B5EF4-FFF2-40B4-BE49-F238E27FC236}">
                    <a16:creationId xmlns:a16="http://schemas.microsoft.com/office/drawing/2014/main" id="{E69D30E2-01CA-ADFC-ECF9-4E4689BC06FF}"/>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7" name="Freeform: Shape 52">
                <a:extLst>
                  <a:ext uri="{FF2B5EF4-FFF2-40B4-BE49-F238E27FC236}">
                    <a16:creationId xmlns:a16="http://schemas.microsoft.com/office/drawing/2014/main" id="{76221B4C-D66C-BD1C-278A-8E8739015A36}"/>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55" name="Group 154">
              <a:extLst>
                <a:ext uri="{FF2B5EF4-FFF2-40B4-BE49-F238E27FC236}">
                  <a16:creationId xmlns:a16="http://schemas.microsoft.com/office/drawing/2014/main" id="{28AFB191-6C90-0CD5-5389-7CBA77226AD2}"/>
                </a:ext>
              </a:extLst>
            </p:cNvPr>
            <p:cNvGrpSpPr/>
            <p:nvPr userDrawn="1"/>
          </p:nvGrpSpPr>
          <p:grpSpPr>
            <a:xfrm rot="10800000" flipV="1">
              <a:off x="2780760" y="2715971"/>
              <a:ext cx="53143" cy="379249"/>
              <a:chOff x="5390750" y="3681616"/>
              <a:chExt cx="73151" cy="522033"/>
            </a:xfrm>
          </p:grpSpPr>
          <p:sp>
            <p:nvSpPr>
              <p:cNvPr id="188" name="Freeform: Shape 26">
                <a:extLst>
                  <a:ext uri="{FF2B5EF4-FFF2-40B4-BE49-F238E27FC236}">
                    <a16:creationId xmlns:a16="http://schemas.microsoft.com/office/drawing/2014/main" id="{AEFAC855-1F30-2127-4C12-7520E8A00C84}"/>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2" name="Freeform: Shape 27">
                <a:extLst>
                  <a:ext uri="{FF2B5EF4-FFF2-40B4-BE49-F238E27FC236}">
                    <a16:creationId xmlns:a16="http://schemas.microsoft.com/office/drawing/2014/main" id="{82A19123-8B88-8C32-AF54-2373BE61FDAD}"/>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3" name="Freeform: Shape 28">
                <a:extLst>
                  <a:ext uri="{FF2B5EF4-FFF2-40B4-BE49-F238E27FC236}">
                    <a16:creationId xmlns:a16="http://schemas.microsoft.com/office/drawing/2014/main" id="{B675A5A2-A312-6BC8-3DB6-9048D9631BF7}"/>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4" name="Freeform: Shape 29">
                <a:extLst>
                  <a:ext uri="{FF2B5EF4-FFF2-40B4-BE49-F238E27FC236}">
                    <a16:creationId xmlns:a16="http://schemas.microsoft.com/office/drawing/2014/main" id="{169986AC-68F3-967F-1CEF-408F16E829F3}"/>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5" name="Freeform: Shape 30">
                <a:extLst>
                  <a:ext uri="{FF2B5EF4-FFF2-40B4-BE49-F238E27FC236}">
                    <a16:creationId xmlns:a16="http://schemas.microsoft.com/office/drawing/2014/main" id="{ECB1E19E-9DE3-98D7-9C00-B49BA9EA8EF2}"/>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6" name="Freeform: Shape 31">
                <a:extLst>
                  <a:ext uri="{FF2B5EF4-FFF2-40B4-BE49-F238E27FC236}">
                    <a16:creationId xmlns:a16="http://schemas.microsoft.com/office/drawing/2014/main" id="{8AD0A154-9130-7D4B-6AC9-BA5FC698E08D}"/>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7" name="Freeform: Shape 32">
                <a:extLst>
                  <a:ext uri="{FF2B5EF4-FFF2-40B4-BE49-F238E27FC236}">
                    <a16:creationId xmlns:a16="http://schemas.microsoft.com/office/drawing/2014/main" id="{71D7AC64-D599-C8A1-6DE2-CC911EDE7122}"/>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pic>
        <p:nvPicPr>
          <p:cNvPr id="218" name="Graphic 217">
            <a:extLst>
              <a:ext uri="{FF2B5EF4-FFF2-40B4-BE49-F238E27FC236}">
                <a16:creationId xmlns:a16="http://schemas.microsoft.com/office/drawing/2014/main" id="{40B1AEDE-04A9-107B-F649-BEA0803B81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51036" y="1547149"/>
            <a:ext cx="457096" cy="369333"/>
          </a:xfrm>
          <a:prstGeom prst="rect">
            <a:avLst/>
          </a:prstGeom>
        </p:spPr>
      </p:pic>
      <p:pic>
        <p:nvPicPr>
          <p:cNvPr id="219" name="Graphic 218">
            <a:extLst>
              <a:ext uri="{FF2B5EF4-FFF2-40B4-BE49-F238E27FC236}">
                <a16:creationId xmlns:a16="http://schemas.microsoft.com/office/drawing/2014/main" id="{76FC1B23-AEA8-12D8-6E8F-2689E8A3CF9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75693" y="1547149"/>
            <a:ext cx="457096" cy="369333"/>
          </a:xfrm>
          <a:prstGeom prst="rect">
            <a:avLst/>
          </a:prstGeom>
        </p:spPr>
      </p:pic>
      <p:pic>
        <p:nvPicPr>
          <p:cNvPr id="220" name="Graphic 219">
            <a:extLst>
              <a:ext uri="{FF2B5EF4-FFF2-40B4-BE49-F238E27FC236}">
                <a16:creationId xmlns:a16="http://schemas.microsoft.com/office/drawing/2014/main" id="{C91E33EE-DB2D-4A05-0327-E1288F024A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33088" y="1547149"/>
            <a:ext cx="457096" cy="369333"/>
          </a:xfrm>
          <a:prstGeom prst="rect">
            <a:avLst/>
          </a:prstGeom>
        </p:spPr>
      </p:pic>
      <p:sp>
        <p:nvSpPr>
          <p:cNvPr id="222" name="Text Placeholder 221">
            <a:extLst>
              <a:ext uri="{FF2B5EF4-FFF2-40B4-BE49-F238E27FC236}">
                <a16:creationId xmlns:a16="http://schemas.microsoft.com/office/drawing/2014/main" id="{77895720-D7E0-198B-C16E-271FDC542E84}"/>
              </a:ext>
            </a:extLst>
          </p:cNvPr>
          <p:cNvSpPr>
            <a:spLocks noGrp="1"/>
          </p:cNvSpPr>
          <p:nvPr>
            <p:ph type="body" sz="quarter" idx="40" hasCustomPrompt="1"/>
          </p:nvPr>
        </p:nvSpPr>
        <p:spPr>
          <a:xfrm>
            <a:off x="8412696" y="4719139"/>
            <a:ext cx="2468880" cy="292100"/>
          </a:xfrm>
        </p:spPr>
        <p:txBody>
          <a:bodyPr vert="horz" lIns="0" tIns="0" rIns="0" bIns="0" rtlCol="0" anchor="b" anchorCtr="0">
            <a:normAutofit/>
          </a:bodyPr>
          <a:lstStyle>
            <a:lvl1pPr marL="342900" indent="-342900">
              <a:buFontTx/>
              <a:buNone/>
              <a:defRPr lang="en-US" sz="2000" b="1" cap="all" baseline="0" smtClean="0"/>
            </a:lvl1pPr>
            <a:lvl2pPr>
              <a:defRPr lang="en-US" smtClean="0"/>
            </a:lvl2pPr>
            <a:lvl3pPr>
              <a:defRPr lang="en-US" smtClean="0"/>
            </a:lvl3pPr>
            <a:lvl4pPr>
              <a:defRPr lang="en-US" smtClean="0"/>
            </a:lvl4pPr>
            <a:lvl5pPr>
              <a:defRPr lang="en-US"/>
            </a:lvl5pPr>
          </a:lstStyle>
          <a:p>
            <a:pPr marL="0" lvl="0" indent="0" algn="ctr">
              <a:spcBef>
                <a:spcPts val="600"/>
              </a:spcBef>
              <a:buNone/>
            </a:pPr>
            <a:r>
              <a:rPr lang="en-US"/>
              <a:t>NAME</a:t>
            </a:r>
          </a:p>
        </p:txBody>
      </p:sp>
      <p:sp>
        <p:nvSpPr>
          <p:cNvPr id="224" name="Text Placeholder 223">
            <a:extLst>
              <a:ext uri="{FF2B5EF4-FFF2-40B4-BE49-F238E27FC236}">
                <a16:creationId xmlns:a16="http://schemas.microsoft.com/office/drawing/2014/main" id="{57D41083-4A4D-3A31-7B4B-D15C12243471}"/>
              </a:ext>
            </a:extLst>
          </p:cNvPr>
          <p:cNvSpPr>
            <a:spLocks noGrp="1"/>
          </p:cNvSpPr>
          <p:nvPr>
            <p:ph type="body" sz="quarter" idx="41" hasCustomPrompt="1"/>
          </p:nvPr>
        </p:nvSpPr>
        <p:spPr>
          <a:xfrm>
            <a:off x="8412696" y="5314451"/>
            <a:ext cx="2468880" cy="192024"/>
          </a:xfrm>
        </p:spPr>
        <p:txBody>
          <a:bodyPr vert="horz" lIns="0" tIns="0" rIns="0" bIns="0" rtlCol="0" anchor="b" anchorCtr="0">
            <a:normAutofit/>
          </a:bodyPr>
          <a:lstStyle>
            <a:lvl1pPr marL="342900" indent="-342900">
              <a:buFontTx/>
              <a:buNone/>
              <a:defRPr lang="en-US" sz="1400" b="0" smtClean="0"/>
            </a:lvl1pPr>
            <a:lvl2pPr>
              <a:defRPr lang="en-US" smtClean="0"/>
            </a:lvl2pPr>
            <a:lvl3pPr>
              <a:defRPr lang="en-US" smtClean="0"/>
            </a:lvl3pPr>
            <a:lvl4pPr>
              <a:defRPr lang="en-US" smtClean="0"/>
            </a:lvl4pPr>
            <a:lvl5pPr>
              <a:defRPr lang="en-US"/>
            </a:lvl5pPr>
          </a:lstStyle>
          <a:p>
            <a:pPr marL="0" lvl="0" indent="0" algn="ctr">
              <a:spcBef>
                <a:spcPts val="600"/>
              </a:spcBef>
              <a:buNone/>
            </a:pPr>
            <a:r>
              <a:rPr lang="en-US"/>
              <a:t>Title</a:t>
            </a:r>
          </a:p>
        </p:txBody>
      </p:sp>
      <p:sp>
        <p:nvSpPr>
          <p:cNvPr id="226" name="Text Placeholder 225">
            <a:extLst>
              <a:ext uri="{FF2B5EF4-FFF2-40B4-BE49-F238E27FC236}">
                <a16:creationId xmlns:a16="http://schemas.microsoft.com/office/drawing/2014/main" id="{8991E0AE-ECC8-4D7F-D5FC-D103334CF263}"/>
              </a:ext>
            </a:extLst>
          </p:cNvPr>
          <p:cNvSpPr>
            <a:spLocks noGrp="1"/>
          </p:cNvSpPr>
          <p:nvPr>
            <p:ph type="body" sz="quarter" idx="42" hasCustomPrompt="1"/>
          </p:nvPr>
        </p:nvSpPr>
        <p:spPr>
          <a:xfrm>
            <a:off x="8412696" y="5985688"/>
            <a:ext cx="2468880" cy="166199"/>
          </a:xfrm>
        </p:spPr>
        <p:txBody>
          <a:bodyPr vert="horz" lIns="0" tIns="0" rIns="0" bIns="0" rtlCol="0" anchor="t" anchorCtr="0">
            <a:spAutoFit/>
          </a:bodyPr>
          <a:lstStyle>
            <a:lvl1pPr marL="342900" indent="-342900">
              <a:buFontTx/>
              <a:buNone/>
              <a:defRPr lang="en-US" sz="1200" b="0" smtClean="0"/>
            </a:lvl1pPr>
            <a:lvl2pPr>
              <a:defRPr lang="en-US" smtClean="0"/>
            </a:lvl2pPr>
            <a:lvl3pPr>
              <a:defRPr lang="en-US" smtClean="0"/>
            </a:lvl3pPr>
            <a:lvl4pPr>
              <a:defRPr lang="en-US" smtClean="0"/>
            </a:lvl4pPr>
            <a:lvl5pPr>
              <a:defRPr lang="en-US"/>
            </a:lvl5pPr>
          </a:lstStyle>
          <a:p>
            <a:pPr marL="0" lvl="0" indent="0" algn="ctr">
              <a:spcBef>
                <a:spcPts val="600"/>
              </a:spcBef>
              <a:buNone/>
            </a:pPr>
            <a:r>
              <a:rPr lang="en-US"/>
              <a:t>Company Name / logo</a:t>
            </a:r>
          </a:p>
        </p:txBody>
      </p:sp>
      <p:grpSp>
        <p:nvGrpSpPr>
          <p:cNvPr id="227" name="Group 226">
            <a:extLst>
              <a:ext uri="{FF2B5EF4-FFF2-40B4-BE49-F238E27FC236}">
                <a16:creationId xmlns:a16="http://schemas.microsoft.com/office/drawing/2014/main" id="{C05C168F-1E44-DE55-9111-66D0DA82D0B2}"/>
              </a:ext>
            </a:extLst>
          </p:cNvPr>
          <p:cNvGrpSpPr>
            <a:grpSpLocks noChangeAspect="1"/>
          </p:cNvGrpSpPr>
          <p:nvPr userDrawn="1"/>
        </p:nvGrpSpPr>
        <p:grpSpPr>
          <a:xfrm flipH="1">
            <a:off x="10617301" y="6372899"/>
            <a:ext cx="1574697" cy="184647"/>
            <a:chOff x="-8365" y="6414219"/>
            <a:chExt cx="3024563" cy="354656"/>
          </a:xfrm>
          <a:gradFill>
            <a:gsLst>
              <a:gs pos="1000">
                <a:schemeClr val="tx1">
                  <a:alpha val="50000"/>
                </a:schemeClr>
              </a:gs>
              <a:gs pos="40000">
                <a:schemeClr val="bg1">
                  <a:alpha val="0"/>
                </a:schemeClr>
              </a:gs>
            </a:gsLst>
            <a:lin ang="0" scaled="0"/>
          </a:gradFill>
        </p:grpSpPr>
        <p:sp>
          <p:nvSpPr>
            <p:cNvPr id="228" name="Freeform: Shape 227">
              <a:extLst>
                <a:ext uri="{FF2B5EF4-FFF2-40B4-BE49-F238E27FC236}">
                  <a16:creationId xmlns:a16="http://schemas.microsoft.com/office/drawing/2014/main" id="{1D29522D-F45B-F0F4-1159-24CAF1B7EEB9}"/>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29" name="Freeform: Shape 228">
              <a:extLst>
                <a:ext uri="{FF2B5EF4-FFF2-40B4-BE49-F238E27FC236}">
                  <a16:creationId xmlns:a16="http://schemas.microsoft.com/office/drawing/2014/main" id="{0F010EF5-5008-5514-2A45-D9B661C6D27E}"/>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dirty="0"/>
            </a:p>
          </p:txBody>
        </p:sp>
        <p:sp>
          <p:nvSpPr>
            <p:cNvPr id="230" name="Freeform: Shape 229">
              <a:extLst>
                <a:ext uri="{FF2B5EF4-FFF2-40B4-BE49-F238E27FC236}">
                  <a16:creationId xmlns:a16="http://schemas.microsoft.com/office/drawing/2014/main" id="{721CEB80-697F-5432-B149-FBC22EF22D32}"/>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31" name="Freeform: Shape 230">
              <a:extLst>
                <a:ext uri="{FF2B5EF4-FFF2-40B4-BE49-F238E27FC236}">
                  <a16:creationId xmlns:a16="http://schemas.microsoft.com/office/drawing/2014/main" id="{57209E39-19B8-B317-4A91-1967A3876517}"/>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232" name="Freeform: Shape 231">
              <a:extLst>
                <a:ext uri="{FF2B5EF4-FFF2-40B4-BE49-F238E27FC236}">
                  <a16:creationId xmlns:a16="http://schemas.microsoft.com/office/drawing/2014/main" id="{0A5EB731-7EA7-513E-BD84-FC0DD184A4A6}"/>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33" name="Freeform: Shape 232">
              <a:extLst>
                <a:ext uri="{FF2B5EF4-FFF2-40B4-BE49-F238E27FC236}">
                  <a16:creationId xmlns:a16="http://schemas.microsoft.com/office/drawing/2014/main" id="{563042E8-E601-A5C9-1012-E0BB5210F970}"/>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dirty="0"/>
            </a:p>
          </p:txBody>
        </p:sp>
        <p:sp>
          <p:nvSpPr>
            <p:cNvPr id="234" name="Freeform: Shape 233">
              <a:extLst>
                <a:ext uri="{FF2B5EF4-FFF2-40B4-BE49-F238E27FC236}">
                  <a16:creationId xmlns:a16="http://schemas.microsoft.com/office/drawing/2014/main" id="{F49D1642-A90A-166E-FDDE-EC9C9445BAE4}"/>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dirty="0"/>
            </a:p>
          </p:txBody>
        </p:sp>
        <p:sp>
          <p:nvSpPr>
            <p:cNvPr id="235" name="Freeform: Shape 234">
              <a:extLst>
                <a:ext uri="{FF2B5EF4-FFF2-40B4-BE49-F238E27FC236}">
                  <a16:creationId xmlns:a16="http://schemas.microsoft.com/office/drawing/2014/main" id="{ED466A41-2B15-5F48-DA8B-AD733CF7CCF8}"/>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236" name="Freeform: Shape 235">
              <a:extLst>
                <a:ext uri="{FF2B5EF4-FFF2-40B4-BE49-F238E27FC236}">
                  <a16:creationId xmlns:a16="http://schemas.microsoft.com/office/drawing/2014/main" id="{2AC8F7CA-8D79-F04B-6A0A-B0D7F5B3D9FF}"/>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37" name="Freeform: Shape 236">
              <a:extLst>
                <a:ext uri="{FF2B5EF4-FFF2-40B4-BE49-F238E27FC236}">
                  <a16:creationId xmlns:a16="http://schemas.microsoft.com/office/drawing/2014/main" id="{1BFCC732-351E-50DA-640B-1EF0A8D03F8D}"/>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dirty="0"/>
            </a:p>
          </p:txBody>
        </p:sp>
        <p:sp>
          <p:nvSpPr>
            <p:cNvPr id="238" name="Freeform: Shape 237">
              <a:extLst>
                <a:ext uri="{FF2B5EF4-FFF2-40B4-BE49-F238E27FC236}">
                  <a16:creationId xmlns:a16="http://schemas.microsoft.com/office/drawing/2014/main" id="{F6E195FC-CCF1-BA09-1625-F44A1EEAF7B8}"/>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dirty="0"/>
            </a:p>
          </p:txBody>
        </p:sp>
        <p:sp>
          <p:nvSpPr>
            <p:cNvPr id="239" name="Freeform: Shape 238">
              <a:extLst>
                <a:ext uri="{FF2B5EF4-FFF2-40B4-BE49-F238E27FC236}">
                  <a16:creationId xmlns:a16="http://schemas.microsoft.com/office/drawing/2014/main" id="{B93DF079-E5C7-FDA1-AD31-3E354E358CA8}"/>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dirty="0"/>
            </a:p>
          </p:txBody>
        </p:sp>
        <p:sp>
          <p:nvSpPr>
            <p:cNvPr id="240" name="Freeform: Shape 239">
              <a:extLst>
                <a:ext uri="{FF2B5EF4-FFF2-40B4-BE49-F238E27FC236}">
                  <a16:creationId xmlns:a16="http://schemas.microsoft.com/office/drawing/2014/main" id="{549BF4D0-8280-AF99-70F6-0A51E6B0FD8E}"/>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41" name="Freeform: Shape 240">
              <a:extLst>
                <a:ext uri="{FF2B5EF4-FFF2-40B4-BE49-F238E27FC236}">
                  <a16:creationId xmlns:a16="http://schemas.microsoft.com/office/drawing/2014/main" id="{96639A25-C526-BA14-1096-25C602B8D078}"/>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dirty="0"/>
            </a:p>
          </p:txBody>
        </p:sp>
        <p:sp>
          <p:nvSpPr>
            <p:cNvPr id="242" name="Freeform: Shape 241">
              <a:extLst>
                <a:ext uri="{FF2B5EF4-FFF2-40B4-BE49-F238E27FC236}">
                  <a16:creationId xmlns:a16="http://schemas.microsoft.com/office/drawing/2014/main" id="{8889131C-268C-8881-4176-678F31414F54}"/>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sp>
          <p:nvSpPr>
            <p:cNvPr id="243" name="Freeform: Shape 242">
              <a:extLst>
                <a:ext uri="{FF2B5EF4-FFF2-40B4-BE49-F238E27FC236}">
                  <a16:creationId xmlns:a16="http://schemas.microsoft.com/office/drawing/2014/main" id="{3267EEF0-5604-70ED-2AA9-4E56B924A445}"/>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grpSp>
      <p:sp>
        <p:nvSpPr>
          <p:cNvPr id="3" name="Title 2">
            <a:extLst>
              <a:ext uri="{FF2B5EF4-FFF2-40B4-BE49-F238E27FC236}">
                <a16:creationId xmlns:a16="http://schemas.microsoft.com/office/drawing/2014/main" id="{DF149CAC-6777-F138-A7AB-EFCD358FE46A}"/>
              </a:ext>
            </a:extLst>
          </p:cNvPr>
          <p:cNvSpPr>
            <a:spLocks noGrp="1"/>
          </p:cNvSpPr>
          <p:nvPr>
            <p:ph type="title" hasCustomPrompt="1"/>
          </p:nvPr>
        </p:nvSpPr>
        <p:spPr/>
        <p:txBody>
          <a:bodyPr/>
          <a:lstStyle/>
          <a:p>
            <a:r>
              <a:rPr lang="en-US" dirty="0"/>
              <a:t>ADD TITLE</a:t>
            </a:r>
          </a:p>
        </p:txBody>
      </p:sp>
    </p:spTree>
    <p:extLst>
      <p:ext uri="{BB962C8B-B14F-4D97-AF65-F5344CB8AC3E}">
        <p14:creationId xmlns:p14="http://schemas.microsoft.com/office/powerpoint/2010/main" val="821017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esenter (4)">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AC923037-76E7-083B-E716-2F6599047A2E}"/>
              </a:ext>
            </a:extLst>
          </p:cNvPr>
          <p:cNvGrpSpPr/>
          <p:nvPr userDrawn="1"/>
        </p:nvGrpSpPr>
        <p:grpSpPr>
          <a:xfrm>
            <a:off x="860932" y="1542728"/>
            <a:ext cx="2338382" cy="4162926"/>
            <a:chOff x="862265" y="1612232"/>
            <a:chExt cx="2338382" cy="4162926"/>
          </a:xfrm>
        </p:grpSpPr>
        <p:grpSp>
          <p:nvGrpSpPr>
            <p:cNvPr id="18" name="Group 17">
              <a:extLst>
                <a:ext uri="{FF2B5EF4-FFF2-40B4-BE49-F238E27FC236}">
                  <a16:creationId xmlns:a16="http://schemas.microsoft.com/office/drawing/2014/main" id="{B73D9E96-6D04-CF58-DFC8-0D4B17367991}"/>
                </a:ext>
              </a:extLst>
            </p:cNvPr>
            <p:cNvGrpSpPr/>
            <p:nvPr userDrawn="1"/>
          </p:nvGrpSpPr>
          <p:grpSpPr>
            <a:xfrm>
              <a:off x="3147504" y="2061539"/>
              <a:ext cx="53143" cy="1085389"/>
              <a:chOff x="2780760" y="2009831"/>
              <a:chExt cx="53143" cy="1085389"/>
            </a:xfrm>
          </p:grpSpPr>
          <p:grpSp>
            <p:nvGrpSpPr>
              <p:cNvPr id="20" name="Graphic 42">
                <a:extLst>
                  <a:ext uri="{FF2B5EF4-FFF2-40B4-BE49-F238E27FC236}">
                    <a16:creationId xmlns:a16="http://schemas.microsoft.com/office/drawing/2014/main" id="{448CA28D-111D-776B-4D60-4AA669480874}"/>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29" name="Freeform: Shape 33">
                  <a:extLst>
                    <a:ext uri="{FF2B5EF4-FFF2-40B4-BE49-F238E27FC236}">
                      <a16:creationId xmlns:a16="http://schemas.microsoft.com/office/drawing/2014/main" id="{CCDFAC58-5131-458F-C34F-2AD02EF5F148}"/>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 name="Freeform: Shape 34">
                  <a:extLst>
                    <a:ext uri="{FF2B5EF4-FFF2-40B4-BE49-F238E27FC236}">
                      <a16:creationId xmlns:a16="http://schemas.microsoft.com/office/drawing/2014/main" id="{9D14880D-D2A2-1252-8285-166AB0A180B4}"/>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 name="Freeform: Shape 35">
                  <a:extLst>
                    <a:ext uri="{FF2B5EF4-FFF2-40B4-BE49-F238E27FC236}">
                      <a16:creationId xmlns:a16="http://schemas.microsoft.com/office/drawing/2014/main" id="{10CE4AB4-B9E6-0361-60B1-916FF65D27D7}"/>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 name="Freeform: Shape 36">
                  <a:extLst>
                    <a:ext uri="{FF2B5EF4-FFF2-40B4-BE49-F238E27FC236}">
                      <a16:creationId xmlns:a16="http://schemas.microsoft.com/office/drawing/2014/main" id="{168CF0C5-82AD-DD34-16E0-9AC69013478F}"/>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3" name="Freeform: Shape 37">
                  <a:extLst>
                    <a:ext uri="{FF2B5EF4-FFF2-40B4-BE49-F238E27FC236}">
                      <a16:creationId xmlns:a16="http://schemas.microsoft.com/office/drawing/2014/main" id="{8E44B1F8-921B-D664-8B00-8AD860F28B12}"/>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4" name="Freeform: Shape 38">
                  <a:extLst>
                    <a:ext uri="{FF2B5EF4-FFF2-40B4-BE49-F238E27FC236}">
                      <a16:creationId xmlns:a16="http://schemas.microsoft.com/office/drawing/2014/main" id="{112533DF-028F-6EB4-2AA5-DBB3F93DC2C0}"/>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5" name="Freeform: Shape 39">
                  <a:extLst>
                    <a:ext uri="{FF2B5EF4-FFF2-40B4-BE49-F238E27FC236}">
                      <a16:creationId xmlns:a16="http://schemas.microsoft.com/office/drawing/2014/main" id="{43A6496A-E328-135F-0E09-99BF9576552C}"/>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6" name="Freeform: Shape 40">
                  <a:extLst>
                    <a:ext uri="{FF2B5EF4-FFF2-40B4-BE49-F238E27FC236}">
                      <a16:creationId xmlns:a16="http://schemas.microsoft.com/office/drawing/2014/main" id="{89FFCB27-549C-1C79-7611-A1A902ED2DDF}"/>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7" name="Freeform: Shape 41">
                  <a:extLst>
                    <a:ext uri="{FF2B5EF4-FFF2-40B4-BE49-F238E27FC236}">
                      <a16:creationId xmlns:a16="http://schemas.microsoft.com/office/drawing/2014/main" id="{F44A6B2F-325C-4285-F37B-9B8F94CF4B6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8" name="Freeform: Shape 42">
                  <a:extLst>
                    <a:ext uri="{FF2B5EF4-FFF2-40B4-BE49-F238E27FC236}">
                      <a16:creationId xmlns:a16="http://schemas.microsoft.com/office/drawing/2014/main" id="{8C26B916-174F-F58B-B7AD-87560A6D8F33}"/>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9" name="Freeform: Shape 43">
                  <a:extLst>
                    <a:ext uri="{FF2B5EF4-FFF2-40B4-BE49-F238E27FC236}">
                      <a16:creationId xmlns:a16="http://schemas.microsoft.com/office/drawing/2014/main" id="{562E6E53-F7D4-00B0-F6BB-83A913E18E0D}"/>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0" name="Freeform: Shape 44">
                  <a:extLst>
                    <a:ext uri="{FF2B5EF4-FFF2-40B4-BE49-F238E27FC236}">
                      <a16:creationId xmlns:a16="http://schemas.microsoft.com/office/drawing/2014/main" id="{584334FA-79C4-9FA9-D9D0-AE61510BE103}"/>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1" name="Freeform: Shape 45">
                  <a:extLst>
                    <a:ext uri="{FF2B5EF4-FFF2-40B4-BE49-F238E27FC236}">
                      <a16:creationId xmlns:a16="http://schemas.microsoft.com/office/drawing/2014/main" id="{BBE1D073-993E-D6E5-EC3E-FC6CA8D9886B}"/>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2" name="Freeform: Shape 46">
                  <a:extLst>
                    <a:ext uri="{FF2B5EF4-FFF2-40B4-BE49-F238E27FC236}">
                      <a16:creationId xmlns:a16="http://schemas.microsoft.com/office/drawing/2014/main" id="{83F764FD-8E27-B379-9FAE-1D289E34A787}"/>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47">
                  <a:extLst>
                    <a:ext uri="{FF2B5EF4-FFF2-40B4-BE49-F238E27FC236}">
                      <a16:creationId xmlns:a16="http://schemas.microsoft.com/office/drawing/2014/main" id="{F35E4914-347A-1977-0E33-6136EA18B88C}"/>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4" name="Freeform: Shape 48">
                  <a:extLst>
                    <a:ext uri="{FF2B5EF4-FFF2-40B4-BE49-F238E27FC236}">
                      <a16:creationId xmlns:a16="http://schemas.microsoft.com/office/drawing/2014/main" id="{F00340EA-3F31-5C24-7ABE-CB245856435A}"/>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49">
                  <a:extLst>
                    <a:ext uri="{FF2B5EF4-FFF2-40B4-BE49-F238E27FC236}">
                      <a16:creationId xmlns:a16="http://schemas.microsoft.com/office/drawing/2014/main" id="{EFFF877C-AB18-41CC-14F0-0D5FBC6FCCCD}"/>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50">
                  <a:extLst>
                    <a:ext uri="{FF2B5EF4-FFF2-40B4-BE49-F238E27FC236}">
                      <a16:creationId xmlns:a16="http://schemas.microsoft.com/office/drawing/2014/main" id="{31915A05-629F-E346-2AB3-D63B2E064626}"/>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51">
                  <a:extLst>
                    <a:ext uri="{FF2B5EF4-FFF2-40B4-BE49-F238E27FC236}">
                      <a16:creationId xmlns:a16="http://schemas.microsoft.com/office/drawing/2014/main" id="{D2FC5AD3-4D90-669E-B4FF-B8B811E21E2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8" name="Freeform: Shape 52">
                  <a:extLst>
                    <a:ext uri="{FF2B5EF4-FFF2-40B4-BE49-F238E27FC236}">
                      <a16:creationId xmlns:a16="http://schemas.microsoft.com/office/drawing/2014/main" id="{BD2BEE39-4C0A-54D1-0FB4-CA9A4C4DB9D9}"/>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1" name="Group 20">
                <a:extLst>
                  <a:ext uri="{FF2B5EF4-FFF2-40B4-BE49-F238E27FC236}">
                    <a16:creationId xmlns:a16="http://schemas.microsoft.com/office/drawing/2014/main" id="{0454AF3C-3A34-48A0-94CE-87992504E68E}"/>
                  </a:ext>
                </a:extLst>
              </p:cNvPr>
              <p:cNvGrpSpPr/>
              <p:nvPr userDrawn="1"/>
            </p:nvGrpSpPr>
            <p:grpSpPr>
              <a:xfrm rot="10800000" flipV="1">
                <a:off x="2780760" y="2715971"/>
                <a:ext cx="53143" cy="379249"/>
                <a:chOff x="5390750" y="3681616"/>
                <a:chExt cx="73151" cy="522033"/>
              </a:xfrm>
            </p:grpSpPr>
            <p:sp>
              <p:nvSpPr>
                <p:cNvPr id="22" name="Freeform: Shape 26">
                  <a:extLst>
                    <a:ext uri="{FF2B5EF4-FFF2-40B4-BE49-F238E27FC236}">
                      <a16:creationId xmlns:a16="http://schemas.microsoft.com/office/drawing/2014/main" id="{52B1A317-B762-C6F1-2116-0373123DDA35}"/>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 name="Freeform: Shape 27">
                  <a:extLst>
                    <a:ext uri="{FF2B5EF4-FFF2-40B4-BE49-F238E27FC236}">
                      <a16:creationId xmlns:a16="http://schemas.microsoft.com/office/drawing/2014/main" id="{5E73A686-6F33-D02A-87E0-9D0F4850169D}"/>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4" name="Freeform: Shape 28">
                  <a:extLst>
                    <a:ext uri="{FF2B5EF4-FFF2-40B4-BE49-F238E27FC236}">
                      <a16:creationId xmlns:a16="http://schemas.microsoft.com/office/drawing/2014/main" id="{875AD4CC-6314-C2CB-D780-BFC2C4AC09CA}"/>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 name="Freeform: Shape 29">
                  <a:extLst>
                    <a:ext uri="{FF2B5EF4-FFF2-40B4-BE49-F238E27FC236}">
                      <a16:creationId xmlns:a16="http://schemas.microsoft.com/office/drawing/2014/main" id="{679E0774-0140-F7FE-9E56-373FA1B30A83}"/>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 name="Freeform: Shape 30">
                  <a:extLst>
                    <a:ext uri="{FF2B5EF4-FFF2-40B4-BE49-F238E27FC236}">
                      <a16:creationId xmlns:a16="http://schemas.microsoft.com/office/drawing/2014/main" id="{378F7077-11BD-2255-56DF-CCF08D622BD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 name="Freeform: Shape 31">
                  <a:extLst>
                    <a:ext uri="{FF2B5EF4-FFF2-40B4-BE49-F238E27FC236}">
                      <a16:creationId xmlns:a16="http://schemas.microsoft.com/office/drawing/2014/main" id="{CDF31240-81CC-B9E6-4DD4-F357E67983D8}"/>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8" name="Freeform: Shape 32">
                  <a:extLst>
                    <a:ext uri="{FF2B5EF4-FFF2-40B4-BE49-F238E27FC236}">
                      <a16:creationId xmlns:a16="http://schemas.microsoft.com/office/drawing/2014/main" id="{46F2587C-0849-DF2A-CBBE-07EE294EA7FC}"/>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9" name="Freeform 13">
              <a:extLst>
                <a:ext uri="{FF2B5EF4-FFF2-40B4-BE49-F238E27FC236}">
                  <a16:creationId xmlns:a16="http://schemas.microsoft.com/office/drawing/2014/main" id="{1980AD73-00B3-9D84-22DF-391143F54AE0}"/>
                </a:ext>
              </a:extLst>
            </p:cNvPr>
            <p:cNvSpPr/>
            <p:nvPr userDrawn="1"/>
          </p:nvSpPr>
          <p:spPr>
            <a:xfrm>
              <a:off x="862265" y="1612232"/>
              <a:ext cx="2224760" cy="4162926"/>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0 h 4202853"/>
                <a:gd name="connsiteX1" fmla="*/ 212558 w 1720704"/>
                <a:gd name="connsiteY1" fmla="*/ 1544 h 4202853"/>
                <a:gd name="connsiteX2" fmla="*/ 1246205 w 1720704"/>
                <a:gd name="connsiteY2" fmla="*/ 2180 h 4202853"/>
                <a:gd name="connsiteX3" fmla="*/ 1700076 w 1720704"/>
                <a:gd name="connsiteY3" fmla="*/ 435885 h 4202853"/>
                <a:gd name="connsiteX4" fmla="*/ 1720704 w 1720704"/>
                <a:gd name="connsiteY4" fmla="*/ 4202853 h 4202853"/>
                <a:gd name="connsiteX5" fmla="*/ 1518326 w 1720704"/>
                <a:gd name="connsiteY5" fmla="*/ 4202853 h 4202853"/>
                <a:gd name="connsiteX6" fmla="*/ 0 w 1720704"/>
                <a:gd name="connsiteY6" fmla="*/ 4201611 h 4202853"/>
                <a:gd name="connsiteX0" fmla="*/ 212558 w 1720704"/>
                <a:gd name="connsiteY0" fmla="*/ 0 h 4201309"/>
                <a:gd name="connsiteX1" fmla="*/ 1246205 w 1720704"/>
                <a:gd name="connsiteY1" fmla="*/ 636 h 4201309"/>
                <a:gd name="connsiteX2" fmla="*/ 1700076 w 1720704"/>
                <a:gd name="connsiteY2" fmla="*/ 434341 h 4201309"/>
                <a:gd name="connsiteX3" fmla="*/ 1720704 w 1720704"/>
                <a:gd name="connsiteY3" fmla="*/ 4201309 h 4201309"/>
                <a:gd name="connsiteX4" fmla="*/ 1518326 w 1720704"/>
                <a:gd name="connsiteY4" fmla="*/ 4201309 h 4201309"/>
                <a:gd name="connsiteX5" fmla="*/ 0 w 1720704"/>
                <a:gd name="connsiteY5" fmla="*/ 4200067 h 4201309"/>
                <a:gd name="connsiteX0" fmla="*/ 212558 w 1720704"/>
                <a:gd name="connsiteY0" fmla="*/ 0 h 4205294"/>
                <a:gd name="connsiteX1" fmla="*/ 1246205 w 1720704"/>
                <a:gd name="connsiteY1" fmla="*/ 636 h 4205294"/>
                <a:gd name="connsiteX2" fmla="*/ 1700076 w 1720704"/>
                <a:gd name="connsiteY2" fmla="*/ 434341 h 4205294"/>
                <a:gd name="connsiteX3" fmla="*/ 1720704 w 1720704"/>
                <a:gd name="connsiteY3" fmla="*/ 4201309 h 4205294"/>
                <a:gd name="connsiteX4" fmla="*/ 1518326 w 1720704"/>
                <a:gd name="connsiteY4" fmla="*/ 4201309 h 4205294"/>
                <a:gd name="connsiteX5" fmla="*/ 217694 w 1720704"/>
                <a:gd name="connsiteY5" fmla="*/ 4205294 h 4205294"/>
                <a:gd name="connsiteX6" fmla="*/ 0 w 1720704"/>
                <a:gd name="connsiteY6" fmla="*/ 4200067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305768 w 1508146"/>
                <a:gd name="connsiteY4" fmla="*/ 4201309 h 4205294"/>
                <a:gd name="connsiteX5" fmla="*/ 5136 w 1508146"/>
                <a:gd name="connsiteY5" fmla="*/ 4205294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424134 w 1508146"/>
                <a:gd name="connsiteY4" fmla="*/ 4202255 h 4205294"/>
                <a:gd name="connsiteX5" fmla="*/ 1305768 w 1508146"/>
                <a:gd name="connsiteY5" fmla="*/ 4201309 h 4205294"/>
                <a:gd name="connsiteX6" fmla="*/ 5136 w 1508146"/>
                <a:gd name="connsiteY6" fmla="*/ 4205294 h 4205294"/>
                <a:gd name="connsiteX0" fmla="*/ 0 w 1509361"/>
                <a:gd name="connsiteY0" fmla="*/ 0 h 4205294"/>
                <a:gd name="connsiteX1" fmla="*/ 1033647 w 1509361"/>
                <a:gd name="connsiteY1" fmla="*/ 636 h 4205294"/>
                <a:gd name="connsiteX2" fmla="*/ 1487518 w 1509361"/>
                <a:gd name="connsiteY2" fmla="*/ 434341 h 4205294"/>
                <a:gd name="connsiteX3" fmla="*/ 1424134 w 1509361"/>
                <a:gd name="connsiteY3" fmla="*/ 4202255 h 4205294"/>
                <a:gd name="connsiteX4" fmla="*/ 1305768 w 1509361"/>
                <a:gd name="connsiteY4" fmla="*/ 4201309 h 4205294"/>
                <a:gd name="connsiteX5" fmla="*/ 5136 w 1509361"/>
                <a:gd name="connsiteY5" fmla="*/ 4205294 h 4205294"/>
                <a:gd name="connsiteX0" fmla="*/ 0 w 1509361"/>
                <a:gd name="connsiteY0" fmla="*/ 0 h 4205294"/>
                <a:gd name="connsiteX1" fmla="*/ 1033647 w 1509361"/>
                <a:gd name="connsiteY1" fmla="*/ 636 h 4205294"/>
                <a:gd name="connsiteX2" fmla="*/ 1422915 w 1509361"/>
                <a:gd name="connsiteY2" fmla="*/ 376572 h 4205294"/>
                <a:gd name="connsiteX3" fmla="*/ 1487518 w 1509361"/>
                <a:gd name="connsiteY3" fmla="*/ 434341 h 4205294"/>
                <a:gd name="connsiteX4" fmla="*/ 1424134 w 1509361"/>
                <a:gd name="connsiteY4" fmla="*/ 4202255 h 4205294"/>
                <a:gd name="connsiteX5" fmla="*/ 1305768 w 1509361"/>
                <a:gd name="connsiteY5" fmla="*/ 4201309 h 4205294"/>
                <a:gd name="connsiteX6" fmla="*/ 5136 w 1509361"/>
                <a:gd name="connsiteY6" fmla="*/ 4205294 h 4205294"/>
                <a:gd name="connsiteX0" fmla="*/ 0 w 1457094"/>
                <a:gd name="connsiteY0" fmla="*/ 50479 h 4255773"/>
                <a:gd name="connsiteX1" fmla="*/ 1033647 w 1457094"/>
                <a:gd name="connsiteY1" fmla="*/ 51115 h 4255773"/>
                <a:gd name="connsiteX2" fmla="*/ 1422915 w 1457094"/>
                <a:gd name="connsiteY2" fmla="*/ 427051 h 4255773"/>
                <a:gd name="connsiteX3" fmla="*/ 1424134 w 1457094"/>
                <a:gd name="connsiteY3" fmla="*/ 4252734 h 4255773"/>
                <a:gd name="connsiteX4" fmla="*/ 1305768 w 1457094"/>
                <a:gd name="connsiteY4" fmla="*/ 4251788 h 4255773"/>
                <a:gd name="connsiteX5" fmla="*/ 5136 w 1457094"/>
                <a:gd name="connsiteY5" fmla="*/ 4255773 h 4255773"/>
                <a:gd name="connsiteX0" fmla="*/ 0 w 1432100"/>
                <a:gd name="connsiteY0" fmla="*/ 50479 h 4255773"/>
                <a:gd name="connsiteX1" fmla="*/ 1033647 w 1432100"/>
                <a:gd name="connsiteY1" fmla="*/ 51115 h 4255773"/>
                <a:gd name="connsiteX2" fmla="*/ 1422915 w 1432100"/>
                <a:gd name="connsiteY2" fmla="*/ 427051 h 4255773"/>
                <a:gd name="connsiteX3" fmla="*/ 1424134 w 1432100"/>
                <a:gd name="connsiteY3" fmla="*/ 4252734 h 4255773"/>
                <a:gd name="connsiteX4" fmla="*/ 1305768 w 1432100"/>
                <a:gd name="connsiteY4" fmla="*/ 4251788 h 4255773"/>
                <a:gd name="connsiteX5" fmla="*/ 5136 w 1432100"/>
                <a:gd name="connsiteY5" fmla="*/ 4255773 h 4255773"/>
                <a:gd name="connsiteX0" fmla="*/ 0 w 1434720"/>
                <a:gd name="connsiteY0" fmla="*/ 50479 h 4255773"/>
                <a:gd name="connsiteX1" fmla="*/ 1033647 w 1434720"/>
                <a:gd name="connsiteY1" fmla="*/ 51115 h 4255773"/>
                <a:gd name="connsiteX2" fmla="*/ 1422915 w 1434720"/>
                <a:gd name="connsiteY2" fmla="*/ 427051 h 4255773"/>
                <a:gd name="connsiteX3" fmla="*/ 1424134 w 1434720"/>
                <a:gd name="connsiteY3" fmla="*/ 4252734 h 4255773"/>
                <a:gd name="connsiteX4" fmla="*/ 1305768 w 1434720"/>
                <a:gd name="connsiteY4" fmla="*/ 4251788 h 4255773"/>
                <a:gd name="connsiteX5" fmla="*/ 5136 w 1434720"/>
                <a:gd name="connsiteY5" fmla="*/ 4255773 h 4255773"/>
                <a:gd name="connsiteX0" fmla="*/ 0 w 1432860"/>
                <a:gd name="connsiteY0" fmla="*/ 50479 h 4255773"/>
                <a:gd name="connsiteX1" fmla="*/ 1033647 w 1432860"/>
                <a:gd name="connsiteY1" fmla="*/ 51115 h 4255773"/>
                <a:gd name="connsiteX2" fmla="*/ 1422915 w 1432860"/>
                <a:gd name="connsiteY2" fmla="*/ 427051 h 4255773"/>
                <a:gd name="connsiteX3" fmla="*/ 1424134 w 1432860"/>
                <a:gd name="connsiteY3" fmla="*/ 4252734 h 4255773"/>
                <a:gd name="connsiteX4" fmla="*/ 1305768 w 1432860"/>
                <a:gd name="connsiteY4" fmla="*/ 4251788 h 4255773"/>
                <a:gd name="connsiteX5" fmla="*/ 5136 w 1432860"/>
                <a:gd name="connsiteY5" fmla="*/ 4255773 h 4255773"/>
                <a:gd name="connsiteX0" fmla="*/ 0 w 1424727"/>
                <a:gd name="connsiteY0" fmla="*/ 50479 h 4255773"/>
                <a:gd name="connsiteX1" fmla="*/ 1033647 w 1424727"/>
                <a:gd name="connsiteY1" fmla="*/ 51115 h 4255773"/>
                <a:gd name="connsiteX2" fmla="*/ 1422915 w 1424727"/>
                <a:gd name="connsiteY2" fmla="*/ 427051 h 4255773"/>
                <a:gd name="connsiteX3" fmla="*/ 1424134 w 1424727"/>
                <a:gd name="connsiteY3" fmla="*/ 4252734 h 4255773"/>
                <a:gd name="connsiteX4" fmla="*/ 1305768 w 1424727"/>
                <a:gd name="connsiteY4" fmla="*/ 4251788 h 4255773"/>
                <a:gd name="connsiteX5" fmla="*/ 5136 w 1424727"/>
                <a:gd name="connsiteY5" fmla="*/ 4255773 h 4255773"/>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4727" h="4205294">
                  <a:moveTo>
                    <a:pt x="0" y="0"/>
                  </a:moveTo>
                  <a:lnTo>
                    <a:pt x="1033647" y="636"/>
                  </a:lnTo>
                  <a:cubicBezTo>
                    <a:pt x="1263479" y="213500"/>
                    <a:pt x="1167521" y="115063"/>
                    <a:pt x="1422915" y="376572"/>
                  </a:cubicBezTo>
                  <a:cubicBezTo>
                    <a:pt x="1424558" y="1178834"/>
                    <a:pt x="1425359" y="3578270"/>
                    <a:pt x="1424134" y="4202255"/>
                  </a:cubicBezTo>
                  <a:lnTo>
                    <a:pt x="1305768" y="4201309"/>
                  </a:lnTo>
                  <a:lnTo>
                    <a:pt x="5136" y="4205294"/>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grpSp>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a:t>add title</a:t>
            </a:r>
          </a:p>
        </p:txBody>
      </p:sp>
      <p:sp>
        <p:nvSpPr>
          <p:cNvPr id="57" name="Rectangle 56">
            <a:extLst>
              <a:ext uri="{FF2B5EF4-FFF2-40B4-BE49-F238E27FC236}">
                <a16:creationId xmlns:a16="http://schemas.microsoft.com/office/drawing/2014/main" id="{D0C0782D-07C9-6C9A-899C-240F6B16CA2D}"/>
              </a:ext>
            </a:extLst>
          </p:cNvPr>
          <p:cNvSpPr/>
          <p:nvPr userDrawn="1"/>
        </p:nvSpPr>
        <p:spPr>
          <a:xfrm>
            <a:off x="0" y="1527343"/>
            <a:ext cx="511478" cy="41607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58" name="Text Placeholder 3">
            <a:extLst>
              <a:ext uri="{FF2B5EF4-FFF2-40B4-BE49-F238E27FC236}">
                <a16:creationId xmlns:a16="http://schemas.microsoft.com/office/drawing/2014/main" id="{E52D23A9-739E-7103-45A8-08E68C80B34A}"/>
              </a:ext>
            </a:extLst>
          </p:cNvPr>
          <p:cNvSpPr>
            <a:spLocks noGrp="1"/>
          </p:cNvSpPr>
          <p:nvPr>
            <p:ph type="body" sz="quarter" idx="15" hasCustomPrompt="1"/>
          </p:nvPr>
        </p:nvSpPr>
        <p:spPr>
          <a:xfrm>
            <a:off x="878882" y="4737565"/>
            <a:ext cx="2103120"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59" name="Text Placeholder 85">
            <a:extLst>
              <a:ext uri="{FF2B5EF4-FFF2-40B4-BE49-F238E27FC236}">
                <a16:creationId xmlns:a16="http://schemas.microsoft.com/office/drawing/2014/main" id="{01FDCED4-F296-8D2C-D085-A7266F35E9BD}"/>
              </a:ext>
            </a:extLst>
          </p:cNvPr>
          <p:cNvSpPr>
            <a:spLocks noGrp="1"/>
          </p:cNvSpPr>
          <p:nvPr>
            <p:ph type="body" sz="quarter" idx="17" hasCustomPrompt="1"/>
          </p:nvPr>
        </p:nvSpPr>
        <p:spPr>
          <a:xfrm>
            <a:off x="828514" y="5327301"/>
            <a:ext cx="2286000"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60" name="Text Placeholder 121">
            <a:extLst>
              <a:ext uri="{FF2B5EF4-FFF2-40B4-BE49-F238E27FC236}">
                <a16:creationId xmlns:a16="http://schemas.microsoft.com/office/drawing/2014/main" id="{C2504015-3812-BDB5-95CF-6382A417FDB5}"/>
              </a:ext>
            </a:extLst>
          </p:cNvPr>
          <p:cNvSpPr>
            <a:spLocks noGrp="1"/>
          </p:cNvSpPr>
          <p:nvPr>
            <p:ph type="body" sz="quarter" idx="18" hasCustomPrompt="1"/>
          </p:nvPr>
        </p:nvSpPr>
        <p:spPr>
          <a:xfrm>
            <a:off x="1055670" y="5959804"/>
            <a:ext cx="1828800" cy="166199"/>
          </a:xfrm>
        </p:spPr>
        <p:txBody>
          <a:bodyPr vert="horz"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sp>
        <p:nvSpPr>
          <p:cNvPr id="62" name="Text Placeholder 3">
            <a:extLst>
              <a:ext uri="{FF2B5EF4-FFF2-40B4-BE49-F238E27FC236}">
                <a16:creationId xmlns:a16="http://schemas.microsoft.com/office/drawing/2014/main" id="{AF2C3772-2C69-6BB2-9EC4-6BD3DBC2A39C}"/>
              </a:ext>
            </a:extLst>
          </p:cNvPr>
          <p:cNvSpPr>
            <a:spLocks noGrp="1"/>
          </p:cNvSpPr>
          <p:nvPr>
            <p:ph type="body" sz="quarter" idx="21" hasCustomPrompt="1"/>
          </p:nvPr>
        </p:nvSpPr>
        <p:spPr>
          <a:xfrm>
            <a:off x="3730835" y="4737565"/>
            <a:ext cx="2103120"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63" name="Text Placeholder 85">
            <a:extLst>
              <a:ext uri="{FF2B5EF4-FFF2-40B4-BE49-F238E27FC236}">
                <a16:creationId xmlns:a16="http://schemas.microsoft.com/office/drawing/2014/main" id="{22737C18-8C44-19DF-0BE8-E56592E66587}"/>
              </a:ext>
            </a:extLst>
          </p:cNvPr>
          <p:cNvSpPr>
            <a:spLocks noGrp="1"/>
          </p:cNvSpPr>
          <p:nvPr>
            <p:ph type="body" sz="quarter" idx="22" hasCustomPrompt="1"/>
          </p:nvPr>
        </p:nvSpPr>
        <p:spPr>
          <a:xfrm>
            <a:off x="3680467" y="5327301"/>
            <a:ext cx="2286000"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64" name="Text Placeholder 121">
            <a:extLst>
              <a:ext uri="{FF2B5EF4-FFF2-40B4-BE49-F238E27FC236}">
                <a16:creationId xmlns:a16="http://schemas.microsoft.com/office/drawing/2014/main" id="{35BC947F-53F0-4E72-BC4C-7B3991654D62}"/>
              </a:ext>
            </a:extLst>
          </p:cNvPr>
          <p:cNvSpPr>
            <a:spLocks noGrp="1"/>
          </p:cNvSpPr>
          <p:nvPr>
            <p:ph type="body" sz="quarter" idx="23" hasCustomPrompt="1"/>
          </p:nvPr>
        </p:nvSpPr>
        <p:spPr>
          <a:xfrm>
            <a:off x="3907623" y="5959804"/>
            <a:ext cx="1828800" cy="166199"/>
          </a:xfrm>
        </p:spPr>
        <p:txBody>
          <a:bodyPr vert="horz"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sp>
        <p:nvSpPr>
          <p:cNvPr id="66" name="Text Placeholder 3">
            <a:extLst>
              <a:ext uri="{FF2B5EF4-FFF2-40B4-BE49-F238E27FC236}">
                <a16:creationId xmlns:a16="http://schemas.microsoft.com/office/drawing/2014/main" id="{FDCCB271-4287-D3B7-6512-439C25F54A75}"/>
              </a:ext>
            </a:extLst>
          </p:cNvPr>
          <p:cNvSpPr>
            <a:spLocks noGrp="1"/>
          </p:cNvSpPr>
          <p:nvPr>
            <p:ph type="body" sz="quarter" idx="25" hasCustomPrompt="1"/>
          </p:nvPr>
        </p:nvSpPr>
        <p:spPr>
          <a:xfrm>
            <a:off x="6605145" y="4737565"/>
            <a:ext cx="2103120"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67" name="Text Placeholder 85">
            <a:extLst>
              <a:ext uri="{FF2B5EF4-FFF2-40B4-BE49-F238E27FC236}">
                <a16:creationId xmlns:a16="http://schemas.microsoft.com/office/drawing/2014/main" id="{DC8ABA07-92AD-FBF2-96C8-AE3C7CDB720D}"/>
              </a:ext>
            </a:extLst>
          </p:cNvPr>
          <p:cNvSpPr>
            <a:spLocks noGrp="1"/>
          </p:cNvSpPr>
          <p:nvPr>
            <p:ph type="body" sz="quarter" idx="26" hasCustomPrompt="1"/>
          </p:nvPr>
        </p:nvSpPr>
        <p:spPr>
          <a:xfrm>
            <a:off x="6554777" y="5327301"/>
            <a:ext cx="2286000"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85" name="Text Placeholder 121">
            <a:extLst>
              <a:ext uri="{FF2B5EF4-FFF2-40B4-BE49-F238E27FC236}">
                <a16:creationId xmlns:a16="http://schemas.microsoft.com/office/drawing/2014/main" id="{FAAE4BC0-4C70-E6D6-5013-0E6C80F4BB93}"/>
              </a:ext>
            </a:extLst>
          </p:cNvPr>
          <p:cNvSpPr>
            <a:spLocks noGrp="1"/>
          </p:cNvSpPr>
          <p:nvPr>
            <p:ph type="body" sz="quarter" idx="27" hasCustomPrompt="1"/>
          </p:nvPr>
        </p:nvSpPr>
        <p:spPr>
          <a:xfrm>
            <a:off x="6781933" y="5959804"/>
            <a:ext cx="1828800" cy="166199"/>
          </a:xfrm>
        </p:spPr>
        <p:txBody>
          <a:bodyPr vert="horz"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cxnSp>
        <p:nvCxnSpPr>
          <p:cNvPr id="155" name="Straight Connector 154">
            <a:extLst>
              <a:ext uri="{FF2B5EF4-FFF2-40B4-BE49-F238E27FC236}">
                <a16:creationId xmlns:a16="http://schemas.microsoft.com/office/drawing/2014/main" id="{C092F8B2-2CDC-D8E0-3322-4AE25823EADE}"/>
              </a:ext>
            </a:extLst>
          </p:cNvPr>
          <p:cNvCxnSpPr>
            <a:cxnSpLocks/>
          </p:cNvCxnSpPr>
          <p:nvPr userDrawn="1"/>
        </p:nvCxnSpPr>
        <p:spPr>
          <a:xfrm>
            <a:off x="1692208" y="5222566"/>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0CCD68B8-5573-DDFA-D016-F416C7DFD548}"/>
              </a:ext>
            </a:extLst>
          </p:cNvPr>
          <p:cNvCxnSpPr>
            <a:cxnSpLocks/>
          </p:cNvCxnSpPr>
          <p:nvPr userDrawn="1"/>
        </p:nvCxnSpPr>
        <p:spPr>
          <a:xfrm>
            <a:off x="4546044" y="5222566"/>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6" name="Text Placeholder 3">
            <a:extLst>
              <a:ext uri="{FF2B5EF4-FFF2-40B4-BE49-F238E27FC236}">
                <a16:creationId xmlns:a16="http://schemas.microsoft.com/office/drawing/2014/main" id="{590205EF-F2BF-E457-3107-126622315822}"/>
              </a:ext>
            </a:extLst>
          </p:cNvPr>
          <p:cNvSpPr>
            <a:spLocks noGrp="1"/>
          </p:cNvSpPr>
          <p:nvPr>
            <p:ph type="body" sz="quarter" idx="29" hasCustomPrompt="1"/>
          </p:nvPr>
        </p:nvSpPr>
        <p:spPr>
          <a:xfrm>
            <a:off x="9474310" y="4737565"/>
            <a:ext cx="2103120"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227" name="Text Placeholder 85">
            <a:extLst>
              <a:ext uri="{FF2B5EF4-FFF2-40B4-BE49-F238E27FC236}">
                <a16:creationId xmlns:a16="http://schemas.microsoft.com/office/drawing/2014/main" id="{6F5D37F2-D532-52AA-6E6D-352C405B6CD9}"/>
              </a:ext>
            </a:extLst>
          </p:cNvPr>
          <p:cNvSpPr>
            <a:spLocks noGrp="1"/>
          </p:cNvSpPr>
          <p:nvPr>
            <p:ph type="body" sz="quarter" idx="30" hasCustomPrompt="1"/>
          </p:nvPr>
        </p:nvSpPr>
        <p:spPr>
          <a:xfrm>
            <a:off x="9423942" y="5327301"/>
            <a:ext cx="2286000"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228" name="Text Placeholder 121">
            <a:extLst>
              <a:ext uri="{FF2B5EF4-FFF2-40B4-BE49-F238E27FC236}">
                <a16:creationId xmlns:a16="http://schemas.microsoft.com/office/drawing/2014/main" id="{1CA57A0D-9F47-BC0E-A542-B4E5697E6514}"/>
              </a:ext>
            </a:extLst>
          </p:cNvPr>
          <p:cNvSpPr>
            <a:spLocks noGrp="1"/>
          </p:cNvSpPr>
          <p:nvPr>
            <p:ph type="body" sz="quarter" idx="31" hasCustomPrompt="1"/>
          </p:nvPr>
        </p:nvSpPr>
        <p:spPr>
          <a:xfrm>
            <a:off x="9651098" y="5959804"/>
            <a:ext cx="1828800" cy="166199"/>
          </a:xfrm>
        </p:spPr>
        <p:txBody>
          <a:bodyPr vert="horz"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grpSp>
        <p:nvGrpSpPr>
          <p:cNvPr id="271" name="Group 270">
            <a:extLst>
              <a:ext uri="{FF2B5EF4-FFF2-40B4-BE49-F238E27FC236}">
                <a16:creationId xmlns:a16="http://schemas.microsoft.com/office/drawing/2014/main" id="{B239310B-1FB7-3CDC-4D73-3B5DFD6B9339}"/>
              </a:ext>
            </a:extLst>
          </p:cNvPr>
          <p:cNvGrpSpPr>
            <a:grpSpLocks noChangeAspect="1"/>
          </p:cNvGrpSpPr>
          <p:nvPr userDrawn="1"/>
        </p:nvGrpSpPr>
        <p:grpSpPr>
          <a:xfrm flipH="1">
            <a:off x="10617301" y="6372899"/>
            <a:ext cx="1574697" cy="184647"/>
            <a:chOff x="-8365" y="6414219"/>
            <a:chExt cx="3024563" cy="354656"/>
          </a:xfrm>
          <a:gradFill>
            <a:gsLst>
              <a:gs pos="1000">
                <a:schemeClr val="tx1">
                  <a:alpha val="50000"/>
                </a:schemeClr>
              </a:gs>
              <a:gs pos="40000">
                <a:schemeClr val="bg1">
                  <a:alpha val="0"/>
                </a:schemeClr>
              </a:gs>
            </a:gsLst>
            <a:lin ang="0" scaled="0"/>
          </a:gradFill>
        </p:grpSpPr>
        <p:sp>
          <p:nvSpPr>
            <p:cNvPr id="272" name="Freeform: Shape 271">
              <a:extLst>
                <a:ext uri="{FF2B5EF4-FFF2-40B4-BE49-F238E27FC236}">
                  <a16:creationId xmlns:a16="http://schemas.microsoft.com/office/drawing/2014/main" id="{7CAE7D53-C0CD-009E-38EE-2A7F9109B370}"/>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73" name="Freeform: Shape 272">
              <a:extLst>
                <a:ext uri="{FF2B5EF4-FFF2-40B4-BE49-F238E27FC236}">
                  <a16:creationId xmlns:a16="http://schemas.microsoft.com/office/drawing/2014/main" id="{FC2E9697-4503-807F-677D-BD68BE3AAB4D}"/>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dirty="0"/>
            </a:p>
          </p:txBody>
        </p:sp>
        <p:sp>
          <p:nvSpPr>
            <p:cNvPr id="274" name="Freeform: Shape 273">
              <a:extLst>
                <a:ext uri="{FF2B5EF4-FFF2-40B4-BE49-F238E27FC236}">
                  <a16:creationId xmlns:a16="http://schemas.microsoft.com/office/drawing/2014/main" id="{EE8DB4C9-5AC8-CC40-F8E5-DF81265EDB1A}"/>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75" name="Freeform: Shape 274">
              <a:extLst>
                <a:ext uri="{FF2B5EF4-FFF2-40B4-BE49-F238E27FC236}">
                  <a16:creationId xmlns:a16="http://schemas.microsoft.com/office/drawing/2014/main" id="{7516B739-ECCC-8CB6-F940-250AB83F1A24}"/>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276" name="Freeform: Shape 275">
              <a:extLst>
                <a:ext uri="{FF2B5EF4-FFF2-40B4-BE49-F238E27FC236}">
                  <a16:creationId xmlns:a16="http://schemas.microsoft.com/office/drawing/2014/main" id="{262D0217-448B-2A7C-7E68-7153A32E2A64}"/>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77" name="Freeform: Shape 276">
              <a:extLst>
                <a:ext uri="{FF2B5EF4-FFF2-40B4-BE49-F238E27FC236}">
                  <a16:creationId xmlns:a16="http://schemas.microsoft.com/office/drawing/2014/main" id="{75D72FE6-3BF4-D1C8-A191-D85E73E94371}"/>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dirty="0"/>
            </a:p>
          </p:txBody>
        </p:sp>
        <p:sp>
          <p:nvSpPr>
            <p:cNvPr id="278" name="Freeform: Shape 277">
              <a:extLst>
                <a:ext uri="{FF2B5EF4-FFF2-40B4-BE49-F238E27FC236}">
                  <a16:creationId xmlns:a16="http://schemas.microsoft.com/office/drawing/2014/main" id="{1AB2A8E1-DEC0-288D-0BD8-6780CFF6006A}"/>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dirty="0"/>
            </a:p>
          </p:txBody>
        </p:sp>
        <p:sp>
          <p:nvSpPr>
            <p:cNvPr id="279" name="Freeform: Shape 278">
              <a:extLst>
                <a:ext uri="{FF2B5EF4-FFF2-40B4-BE49-F238E27FC236}">
                  <a16:creationId xmlns:a16="http://schemas.microsoft.com/office/drawing/2014/main" id="{A1A82FD9-3C02-8D60-D768-FB33B5ED03AE}"/>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280" name="Freeform: Shape 279">
              <a:extLst>
                <a:ext uri="{FF2B5EF4-FFF2-40B4-BE49-F238E27FC236}">
                  <a16:creationId xmlns:a16="http://schemas.microsoft.com/office/drawing/2014/main" id="{B2D975E4-35F1-0162-241A-5A5C433F7577}"/>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81" name="Freeform: Shape 280">
              <a:extLst>
                <a:ext uri="{FF2B5EF4-FFF2-40B4-BE49-F238E27FC236}">
                  <a16:creationId xmlns:a16="http://schemas.microsoft.com/office/drawing/2014/main" id="{9F99DF58-F0ED-C9D2-F393-B1EC6194AC06}"/>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dirty="0"/>
            </a:p>
          </p:txBody>
        </p:sp>
        <p:sp>
          <p:nvSpPr>
            <p:cNvPr id="282" name="Freeform: Shape 281">
              <a:extLst>
                <a:ext uri="{FF2B5EF4-FFF2-40B4-BE49-F238E27FC236}">
                  <a16:creationId xmlns:a16="http://schemas.microsoft.com/office/drawing/2014/main" id="{0B52CA7D-C93F-6A49-134F-B0B0DFF023A8}"/>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dirty="0"/>
            </a:p>
          </p:txBody>
        </p:sp>
        <p:sp>
          <p:nvSpPr>
            <p:cNvPr id="283" name="Freeform: Shape 282">
              <a:extLst>
                <a:ext uri="{FF2B5EF4-FFF2-40B4-BE49-F238E27FC236}">
                  <a16:creationId xmlns:a16="http://schemas.microsoft.com/office/drawing/2014/main" id="{22282DB2-6793-0022-8D24-9EBD202C4BFB}"/>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dirty="0"/>
            </a:p>
          </p:txBody>
        </p:sp>
        <p:sp>
          <p:nvSpPr>
            <p:cNvPr id="284" name="Freeform: Shape 283">
              <a:extLst>
                <a:ext uri="{FF2B5EF4-FFF2-40B4-BE49-F238E27FC236}">
                  <a16:creationId xmlns:a16="http://schemas.microsoft.com/office/drawing/2014/main" id="{FE1360A7-D4D6-A837-458C-A0E6ECC3F66E}"/>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85" name="Freeform: Shape 284">
              <a:extLst>
                <a:ext uri="{FF2B5EF4-FFF2-40B4-BE49-F238E27FC236}">
                  <a16:creationId xmlns:a16="http://schemas.microsoft.com/office/drawing/2014/main" id="{30514559-A078-83F0-A80F-4C922FA68E75}"/>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dirty="0"/>
            </a:p>
          </p:txBody>
        </p:sp>
        <p:sp>
          <p:nvSpPr>
            <p:cNvPr id="286" name="Freeform: Shape 285">
              <a:extLst>
                <a:ext uri="{FF2B5EF4-FFF2-40B4-BE49-F238E27FC236}">
                  <a16:creationId xmlns:a16="http://schemas.microsoft.com/office/drawing/2014/main" id="{23350A40-970C-ECAB-0F57-B35717E37D47}"/>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sp>
          <p:nvSpPr>
            <p:cNvPr id="287" name="Freeform: Shape 286">
              <a:extLst>
                <a:ext uri="{FF2B5EF4-FFF2-40B4-BE49-F238E27FC236}">
                  <a16:creationId xmlns:a16="http://schemas.microsoft.com/office/drawing/2014/main" id="{E335E10E-9E79-7B7E-430A-776ADE86EC75}"/>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grpSp>
      <p:cxnSp>
        <p:nvCxnSpPr>
          <p:cNvPr id="288" name="Straight Connector 287">
            <a:extLst>
              <a:ext uri="{FF2B5EF4-FFF2-40B4-BE49-F238E27FC236}">
                <a16:creationId xmlns:a16="http://schemas.microsoft.com/office/drawing/2014/main" id="{1C1E5F21-CA4E-124C-2CC1-C972E04287BB}"/>
              </a:ext>
            </a:extLst>
          </p:cNvPr>
          <p:cNvCxnSpPr>
            <a:cxnSpLocks/>
          </p:cNvCxnSpPr>
          <p:nvPr userDrawn="1"/>
        </p:nvCxnSpPr>
        <p:spPr>
          <a:xfrm>
            <a:off x="7425196" y="5222566"/>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1CD8660A-9C2E-CEF7-302F-F0AD2BA899E5}"/>
              </a:ext>
            </a:extLst>
          </p:cNvPr>
          <p:cNvCxnSpPr>
            <a:cxnSpLocks/>
          </p:cNvCxnSpPr>
          <p:nvPr userDrawn="1"/>
        </p:nvCxnSpPr>
        <p:spPr>
          <a:xfrm>
            <a:off x="10289423" y="5222566"/>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Picture Placeholder 2">
            <a:extLst>
              <a:ext uri="{FF2B5EF4-FFF2-40B4-BE49-F238E27FC236}">
                <a16:creationId xmlns:a16="http://schemas.microsoft.com/office/drawing/2014/main" id="{9F4D885A-BD41-90CE-F8F1-6AAF23142C70}"/>
              </a:ext>
            </a:extLst>
          </p:cNvPr>
          <p:cNvSpPr>
            <a:spLocks noGrp="1"/>
          </p:cNvSpPr>
          <p:nvPr>
            <p:ph type="pic" idx="34" hasCustomPrompt="1"/>
          </p:nvPr>
        </p:nvSpPr>
        <p:spPr>
          <a:xfrm>
            <a:off x="877185" y="1639807"/>
            <a:ext cx="2084832" cy="2926080"/>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4360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69" h="3738009">
                <a:moveTo>
                  <a:pt x="0" y="7257"/>
                </a:moveTo>
                <a:lnTo>
                  <a:pt x="1943609" y="0"/>
                </a:lnTo>
                <a:lnTo>
                  <a:pt x="2550405" y="400234"/>
                </a:lnTo>
                <a:lnTo>
                  <a:pt x="2559369" y="3738009"/>
                </a:ln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grpSp>
        <p:nvGrpSpPr>
          <p:cNvPr id="51" name="Group 50">
            <a:extLst>
              <a:ext uri="{FF2B5EF4-FFF2-40B4-BE49-F238E27FC236}">
                <a16:creationId xmlns:a16="http://schemas.microsoft.com/office/drawing/2014/main" id="{D80A3CCD-54AD-C5C0-03EB-0A79A8E18349}"/>
              </a:ext>
            </a:extLst>
          </p:cNvPr>
          <p:cNvGrpSpPr/>
          <p:nvPr userDrawn="1"/>
        </p:nvGrpSpPr>
        <p:grpSpPr>
          <a:xfrm>
            <a:off x="3732852" y="1542728"/>
            <a:ext cx="2338382" cy="4162926"/>
            <a:chOff x="862265" y="1612232"/>
            <a:chExt cx="2338382" cy="4162926"/>
          </a:xfrm>
        </p:grpSpPr>
        <p:grpSp>
          <p:nvGrpSpPr>
            <p:cNvPr id="52" name="Group 51">
              <a:extLst>
                <a:ext uri="{FF2B5EF4-FFF2-40B4-BE49-F238E27FC236}">
                  <a16:creationId xmlns:a16="http://schemas.microsoft.com/office/drawing/2014/main" id="{21BEA514-05F4-4697-92F5-2E45455BA04C}"/>
                </a:ext>
              </a:extLst>
            </p:cNvPr>
            <p:cNvGrpSpPr/>
            <p:nvPr userDrawn="1"/>
          </p:nvGrpSpPr>
          <p:grpSpPr>
            <a:xfrm>
              <a:off x="3147504" y="2061539"/>
              <a:ext cx="53143" cy="1085389"/>
              <a:chOff x="2780760" y="2009831"/>
              <a:chExt cx="53143" cy="1085389"/>
            </a:xfrm>
          </p:grpSpPr>
          <p:grpSp>
            <p:nvGrpSpPr>
              <p:cNvPr id="54" name="Graphic 42">
                <a:extLst>
                  <a:ext uri="{FF2B5EF4-FFF2-40B4-BE49-F238E27FC236}">
                    <a16:creationId xmlns:a16="http://schemas.microsoft.com/office/drawing/2014/main" id="{1724FA00-81FA-58C0-4018-ED239D3918E0}"/>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74" name="Freeform: Shape 33">
                  <a:extLst>
                    <a:ext uri="{FF2B5EF4-FFF2-40B4-BE49-F238E27FC236}">
                      <a16:creationId xmlns:a16="http://schemas.microsoft.com/office/drawing/2014/main" id="{B1924BC8-EEA6-7942-E271-7C1A17B2BDC7}"/>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5" name="Freeform: Shape 34">
                  <a:extLst>
                    <a:ext uri="{FF2B5EF4-FFF2-40B4-BE49-F238E27FC236}">
                      <a16:creationId xmlns:a16="http://schemas.microsoft.com/office/drawing/2014/main" id="{ED596803-C66F-2FFB-C58C-2F4A4630235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35">
                  <a:extLst>
                    <a:ext uri="{FF2B5EF4-FFF2-40B4-BE49-F238E27FC236}">
                      <a16:creationId xmlns:a16="http://schemas.microsoft.com/office/drawing/2014/main" id="{9FC5A271-A640-BEFB-5D64-160829BA4F9C}"/>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36">
                  <a:extLst>
                    <a:ext uri="{FF2B5EF4-FFF2-40B4-BE49-F238E27FC236}">
                      <a16:creationId xmlns:a16="http://schemas.microsoft.com/office/drawing/2014/main" id="{3FEEFA9A-6BCA-CA77-27CA-EDA67F716F2A}"/>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37">
                  <a:extLst>
                    <a:ext uri="{FF2B5EF4-FFF2-40B4-BE49-F238E27FC236}">
                      <a16:creationId xmlns:a16="http://schemas.microsoft.com/office/drawing/2014/main" id="{77A06DDC-D0F2-FAE3-D450-8DAACC70F695}"/>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38">
                  <a:extLst>
                    <a:ext uri="{FF2B5EF4-FFF2-40B4-BE49-F238E27FC236}">
                      <a16:creationId xmlns:a16="http://schemas.microsoft.com/office/drawing/2014/main" id="{56A6C680-F16E-2795-9319-2A5423243928}"/>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39">
                  <a:extLst>
                    <a:ext uri="{FF2B5EF4-FFF2-40B4-BE49-F238E27FC236}">
                      <a16:creationId xmlns:a16="http://schemas.microsoft.com/office/drawing/2014/main" id="{9FC13C3F-A8A8-857F-E25A-0149615CB959}"/>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40">
                  <a:extLst>
                    <a:ext uri="{FF2B5EF4-FFF2-40B4-BE49-F238E27FC236}">
                      <a16:creationId xmlns:a16="http://schemas.microsoft.com/office/drawing/2014/main" id="{DA8C2DCF-D346-B3F9-105D-927202486D53}"/>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2" name="Freeform: Shape 41">
                  <a:extLst>
                    <a:ext uri="{FF2B5EF4-FFF2-40B4-BE49-F238E27FC236}">
                      <a16:creationId xmlns:a16="http://schemas.microsoft.com/office/drawing/2014/main" id="{34C337AB-D19B-0E29-15F4-301786E42A09}"/>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42">
                  <a:extLst>
                    <a:ext uri="{FF2B5EF4-FFF2-40B4-BE49-F238E27FC236}">
                      <a16:creationId xmlns:a16="http://schemas.microsoft.com/office/drawing/2014/main" id="{FD44BF94-7CB3-6F43-7797-E1FB2070865D}"/>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43">
                  <a:extLst>
                    <a:ext uri="{FF2B5EF4-FFF2-40B4-BE49-F238E27FC236}">
                      <a16:creationId xmlns:a16="http://schemas.microsoft.com/office/drawing/2014/main" id="{8F82EEDD-A82F-899A-4805-5D542C1BC81A}"/>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44">
                  <a:extLst>
                    <a:ext uri="{FF2B5EF4-FFF2-40B4-BE49-F238E27FC236}">
                      <a16:creationId xmlns:a16="http://schemas.microsoft.com/office/drawing/2014/main" id="{0260BA2E-97F7-F62E-112E-156B5EDC954D}"/>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45">
                  <a:extLst>
                    <a:ext uri="{FF2B5EF4-FFF2-40B4-BE49-F238E27FC236}">
                      <a16:creationId xmlns:a16="http://schemas.microsoft.com/office/drawing/2014/main" id="{A9F702D9-742A-B09B-0CC6-399789BD22F7}"/>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46">
                  <a:extLst>
                    <a:ext uri="{FF2B5EF4-FFF2-40B4-BE49-F238E27FC236}">
                      <a16:creationId xmlns:a16="http://schemas.microsoft.com/office/drawing/2014/main" id="{413F6C73-7AA6-F78F-2D34-861D425F5EFC}"/>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47">
                  <a:extLst>
                    <a:ext uri="{FF2B5EF4-FFF2-40B4-BE49-F238E27FC236}">
                      <a16:creationId xmlns:a16="http://schemas.microsoft.com/office/drawing/2014/main" id="{41927416-F8E4-B015-A9C0-73EA21589E9F}"/>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48">
                  <a:extLst>
                    <a:ext uri="{FF2B5EF4-FFF2-40B4-BE49-F238E27FC236}">
                      <a16:creationId xmlns:a16="http://schemas.microsoft.com/office/drawing/2014/main" id="{876A8016-C16D-DCD0-8DD5-BA18244BB28F}"/>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49">
                  <a:extLst>
                    <a:ext uri="{FF2B5EF4-FFF2-40B4-BE49-F238E27FC236}">
                      <a16:creationId xmlns:a16="http://schemas.microsoft.com/office/drawing/2014/main" id="{F1514961-2068-07C9-42FD-B104EE69608E}"/>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50">
                  <a:extLst>
                    <a:ext uri="{FF2B5EF4-FFF2-40B4-BE49-F238E27FC236}">
                      <a16:creationId xmlns:a16="http://schemas.microsoft.com/office/drawing/2014/main" id="{14FBF0A8-A6BA-5CBF-14C2-3E421FEFF66E}"/>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51">
                  <a:extLst>
                    <a:ext uri="{FF2B5EF4-FFF2-40B4-BE49-F238E27FC236}">
                      <a16:creationId xmlns:a16="http://schemas.microsoft.com/office/drawing/2014/main" id="{03422FE4-2981-109F-BCAD-807E3CD6173B}"/>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52">
                  <a:extLst>
                    <a:ext uri="{FF2B5EF4-FFF2-40B4-BE49-F238E27FC236}">
                      <a16:creationId xmlns:a16="http://schemas.microsoft.com/office/drawing/2014/main" id="{E90DF328-C325-9F47-F793-154A7D5D7BB5}"/>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55" name="Group 54">
                <a:extLst>
                  <a:ext uri="{FF2B5EF4-FFF2-40B4-BE49-F238E27FC236}">
                    <a16:creationId xmlns:a16="http://schemas.microsoft.com/office/drawing/2014/main" id="{82086F27-3796-53D2-7A4F-E42B99A6AF47}"/>
                  </a:ext>
                </a:extLst>
              </p:cNvPr>
              <p:cNvGrpSpPr/>
              <p:nvPr userDrawn="1"/>
            </p:nvGrpSpPr>
            <p:grpSpPr>
              <a:xfrm rot="10800000" flipV="1">
                <a:off x="2780760" y="2715971"/>
                <a:ext cx="53143" cy="379249"/>
                <a:chOff x="5390750" y="3681616"/>
                <a:chExt cx="73151" cy="522033"/>
              </a:xfrm>
            </p:grpSpPr>
            <p:sp>
              <p:nvSpPr>
                <p:cNvPr id="56" name="Freeform: Shape 26">
                  <a:extLst>
                    <a:ext uri="{FF2B5EF4-FFF2-40B4-BE49-F238E27FC236}">
                      <a16:creationId xmlns:a16="http://schemas.microsoft.com/office/drawing/2014/main" id="{007EC7D6-49C3-E77F-2680-34FC98113583}"/>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8" name="Freeform: Shape 27">
                  <a:extLst>
                    <a:ext uri="{FF2B5EF4-FFF2-40B4-BE49-F238E27FC236}">
                      <a16:creationId xmlns:a16="http://schemas.microsoft.com/office/drawing/2014/main" id="{93C2EAC3-FF27-24E8-D7AE-2618243EDCC4}"/>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9" name="Freeform: Shape 28">
                  <a:extLst>
                    <a:ext uri="{FF2B5EF4-FFF2-40B4-BE49-F238E27FC236}">
                      <a16:creationId xmlns:a16="http://schemas.microsoft.com/office/drawing/2014/main" id="{2D73ABC3-D88E-AD24-1702-4E386314F74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0" name="Freeform: Shape 29">
                  <a:extLst>
                    <a:ext uri="{FF2B5EF4-FFF2-40B4-BE49-F238E27FC236}">
                      <a16:creationId xmlns:a16="http://schemas.microsoft.com/office/drawing/2014/main" id="{9A6D17DB-3144-73DF-5BC0-3E0FAAC02176}"/>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1" name="Freeform: Shape 30">
                  <a:extLst>
                    <a:ext uri="{FF2B5EF4-FFF2-40B4-BE49-F238E27FC236}">
                      <a16:creationId xmlns:a16="http://schemas.microsoft.com/office/drawing/2014/main" id="{FAB2A645-FB55-58EF-D59E-7D0D43DD40AC}"/>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2" name="Freeform: Shape 31">
                  <a:extLst>
                    <a:ext uri="{FF2B5EF4-FFF2-40B4-BE49-F238E27FC236}">
                      <a16:creationId xmlns:a16="http://schemas.microsoft.com/office/drawing/2014/main" id="{573C44F1-EA25-C85C-5D5B-F7B4D25592C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3" name="Freeform: Shape 32">
                  <a:extLst>
                    <a:ext uri="{FF2B5EF4-FFF2-40B4-BE49-F238E27FC236}">
                      <a16:creationId xmlns:a16="http://schemas.microsoft.com/office/drawing/2014/main" id="{999EF71C-D366-A42B-5BDC-142563B83178}"/>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53" name="Freeform 13">
              <a:extLst>
                <a:ext uri="{FF2B5EF4-FFF2-40B4-BE49-F238E27FC236}">
                  <a16:creationId xmlns:a16="http://schemas.microsoft.com/office/drawing/2014/main" id="{E9334C02-A525-26DF-BFBB-C169D9E1280D}"/>
                </a:ext>
              </a:extLst>
            </p:cNvPr>
            <p:cNvSpPr/>
            <p:nvPr userDrawn="1"/>
          </p:nvSpPr>
          <p:spPr>
            <a:xfrm>
              <a:off x="862265" y="1612232"/>
              <a:ext cx="2224760" cy="4162926"/>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0 h 4202853"/>
                <a:gd name="connsiteX1" fmla="*/ 212558 w 1720704"/>
                <a:gd name="connsiteY1" fmla="*/ 1544 h 4202853"/>
                <a:gd name="connsiteX2" fmla="*/ 1246205 w 1720704"/>
                <a:gd name="connsiteY2" fmla="*/ 2180 h 4202853"/>
                <a:gd name="connsiteX3" fmla="*/ 1700076 w 1720704"/>
                <a:gd name="connsiteY3" fmla="*/ 435885 h 4202853"/>
                <a:gd name="connsiteX4" fmla="*/ 1720704 w 1720704"/>
                <a:gd name="connsiteY4" fmla="*/ 4202853 h 4202853"/>
                <a:gd name="connsiteX5" fmla="*/ 1518326 w 1720704"/>
                <a:gd name="connsiteY5" fmla="*/ 4202853 h 4202853"/>
                <a:gd name="connsiteX6" fmla="*/ 0 w 1720704"/>
                <a:gd name="connsiteY6" fmla="*/ 4201611 h 4202853"/>
                <a:gd name="connsiteX0" fmla="*/ 212558 w 1720704"/>
                <a:gd name="connsiteY0" fmla="*/ 0 h 4201309"/>
                <a:gd name="connsiteX1" fmla="*/ 1246205 w 1720704"/>
                <a:gd name="connsiteY1" fmla="*/ 636 h 4201309"/>
                <a:gd name="connsiteX2" fmla="*/ 1700076 w 1720704"/>
                <a:gd name="connsiteY2" fmla="*/ 434341 h 4201309"/>
                <a:gd name="connsiteX3" fmla="*/ 1720704 w 1720704"/>
                <a:gd name="connsiteY3" fmla="*/ 4201309 h 4201309"/>
                <a:gd name="connsiteX4" fmla="*/ 1518326 w 1720704"/>
                <a:gd name="connsiteY4" fmla="*/ 4201309 h 4201309"/>
                <a:gd name="connsiteX5" fmla="*/ 0 w 1720704"/>
                <a:gd name="connsiteY5" fmla="*/ 4200067 h 4201309"/>
                <a:gd name="connsiteX0" fmla="*/ 212558 w 1720704"/>
                <a:gd name="connsiteY0" fmla="*/ 0 h 4205294"/>
                <a:gd name="connsiteX1" fmla="*/ 1246205 w 1720704"/>
                <a:gd name="connsiteY1" fmla="*/ 636 h 4205294"/>
                <a:gd name="connsiteX2" fmla="*/ 1700076 w 1720704"/>
                <a:gd name="connsiteY2" fmla="*/ 434341 h 4205294"/>
                <a:gd name="connsiteX3" fmla="*/ 1720704 w 1720704"/>
                <a:gd name="connsiteY3" fmla="*/ 4201309 h 4205294"/>
                <a:gd name="connsiteX4" fmla="*/ 1518326 w 1720704"/>
                <a:gd name="connsiteY4" fmla="*/ 4201309 h 4205294"/>
                <a:gd name="connsiteX5" fmla="*/ 217694 w 1720704"/>
                <a:gd name="connsiteY5" fmla="*/ 4205294 h 4205294"/>
                <a:gd name="connsiteX6" fmla="*/ 0 w 1720704"/>
                <a:gd name="connsiteY6" fmla="*/ 4200067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305768 w 1508146"/>
                <a:gd name="connsiteY4" fmla="*/ 4201309 h 4205294"/>
                <a:gd name="connsiteX5" fmla="*/ 5136 w 1508146"/>
                <a:gd name="connsiteY5" fmla="*/ 4205294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424134 w 1508146"/>
                <a:gd name="connsiteY4" fmla="*/ 4202255 h 4205294"/>
                <a:gd name="connsiteX5" fmla="*/ 1305768 w 1508146"/>
                <a:gd name="connsiteY5" fmla="*/ 4201309 h 4205294"/>
                <a:gd name="connsiteX6" fmla="*/ 5136 w 1508146"/>
                <a:gd name="connsiteY6" fmla="*/ 4205294 h 4205294"/>
                <a:gd name="connsiteX0" fmla="*/ 0 w 1509361"/>
                <a:gd name="connsiteY0" fmla="*/ 0 h 4205294"/>
                <a:gd name="connsiteX1" fmla="*/ 1033647 w 1509361"/>
                <a:gd name="connsiteY1" fmla="*/ 636 h 4205294"/>
                <a:gd name="connsiteX2" fmla="*/ 1487518 w 1509361"/>
                <a:gd name="connsiteY2" fmla="*/ 434341 h 4205294"/>
                <a:gd name="connsiteX3" fmla="*/ 1424134 w 1509361"/>
                <a:gd name="connsiteY3" fmla="*/ 4202255 h 4205294"/>
                <a:gd name="connsiteX4" fmla="*/ 1305768 w 1509361"/>
                <a:gd name="connsiteY4" fmla="*/ 4201309 h 4205294"/>
                <a:gd name="connsiteX5" fmla="*/ 5136 w 1509361"/>
                <a:gd name="connsiteY5" fmla="*/ 4205294 h 4205294"/>
                <a:gd name="connsiteX0" fmla="*/ 0 w 1509361"/>
                <a:gd name="connsiteY0" fmla="*/ 0 h 4205294"/>
                <a:gd name="connsiteX1" fmla="*/ 1033647 w 1509361"/>
                <a:gd name="connsiteY1" fmla="*/ 636 h 4205294"/>
                <a:gd name="connsiteX2" fmla="*/ 1422915 w 1509361"/>
                <a:gd name="connsiteY2" fmla="*/ 376572 h 4205294"/>
                <a:gd name="connsiteX3" fmla="*/ 1487518 w 1509361"/>
                <a:gd name="connsiteY3" fmla="*/ 434341 h 4205294"/>
                <a:gd name="connsiteX4" fmla="*/ 1424134 w 1509361"/>
                <a:gd name="connsiteY4" fmla="*/ 4202255 h 4205294"/>
                <a:gd name="connsiteX5" fmla="*/ 1305768 w 1509361"/>
                <a:gd name="connsiteY5" fmla="*/ 4201309 h 4205294"/>
                <a:gd name="connsiteX6" fmla="*/ 5136 w 1509361"/>
                <a:gd name="connsiteY6" fmla="*/ 4205294 h 4205294"/>
                <a:gd name="connsiteX0" fmla="*/ 0 w 1457094"/>
                <a:gd name="connsiteY0" fmla="*/ 50479 h 4255773"/>
                <a:gd name="connsiteX1" fmla="*/ 1033647 w 1457094"/>
                <a:gd name="connsiteY1" fmla="*/ 51115 h 4255773"/>
                <a:gd name="connsiteX2" fmla="*/ 1422915 w 1457094"/>
                <a:gd name="connsiteY2" fmla="*/ 427051 h 4255773"/>
                <a:gd name="connsiteX3" fmla="*/ 1424134 w 1457094"/>
                <a:gd name="connsiteY3" fmla="*/ 4252734 h 4255773"/>
                <a:gd name="connsiteX4" fmla="*/ 1305768 w 1457094"/>
                <a:gd name="connsiteY4" fmla="*/ 4251788 h 4255773"/>
                <a:gd name="connsiteX5" fmla="*/ 5136 w 1457094"/>
                <a:gd name="connsiteY5" fmla="*/ 4255773 h 4255773"/>
                <a:gd name="connsiteX0" fmla="*/ 0 w 1432100"/>
                <a:gd name="connsiteY0" fmla="*/ 50479 h 4255773"/>
                <a:gd name="connsiteX1" fmla="*/ 1033647 w 1432100"/>
                <a:gd name="connsiteY1" fmla="*/ 51115 h 4255773"/>
                <a:gd name="connsiteX2" fmla="*/ 1422915 w 1432100"/>
                <a:gd name="connsiteY2" fmla="*/ 427051 h 4255773"/>
                <a:gd name="connsiteX3" fmla="*/ 1424134 w 1432100"/>
                <a:gd name="connsiteY3" fmla="*/ 4252734 h 4255773"/>
                <a:gd name="connsiteX4" fmla="*/ 1305768 w 1432100"/>
                <a:gd name="connsiteY4" fmla="*/ 4251788 h 4255773"/>
                <a:gd name="connsiteX5" fmla="*/ 5136 w 1432100"/>
                <a:gd name="connsiteY5" fmla="*/ 4255773 h 4255773"/>
                <a:gd name="connsiteX0" fmla="*/ 0 w 1434720"/>
                <a:gd name="connsiteY0" fmla="*/ 50479 h 4255773"/>
                <a:gd name="connsiteX1" fmla="*/ 1033647 w 1434720"/>
                <a:gd name="connsiteY1" fmla="*/ 51115 h 4255773"/>
                <a:gd name="connsiteX2" fmla="*/ 1422915 w 1434720"/>
                <a:gd name="connsiteY2" fmla="*/ 427051 h 4255773"/>
                <a:gd name="connsiteX3" fmla="*/ 1424134 w 1434720"/>
                <a:gd name="connsiteY3" fmla="*/ 4252734 h 4255773"/>
                <a:gd name="connsiteX4" fmla="*/ 1305768 w 1434720"/>
                <a:gd name="connsiteY4" fmla="*/ 4251788 h 4255773"/>
                <a:gd name="connsiteX5" fmla="*/ 5136 w 1434720"/>
                <a:gd name="connsiteY5" fmla="*/ 4255773 h 4255773"/>
                <a:gd name="connsiteX0" fmla="*/ 0 w 1432860"/>
                <a:gd name="connsiteY0" fmla="*/ 50479 h 4255773"/>
                <a:gd name="connsiteX1" fmla="*/ 1033647 w 1432860"/>
                <a:gd name="connsiteY1" fmla="*/ 51115 h 4255773"/>
                <a:gd name="connsiteX2" fmla="*/ 1422915 w 1432860"/>
                <a:gd name="connsiteY2" fmla="*/ 427051 h 4255773"/>
                <a:gd name="connsiteX3" fmla="*/ 1424134 w 1432860"/>
                <a:gd name="connsiteY3" fmla="*/ 4252734 h 4255773"/>
                <a:gd name="connsiteX4" fmla="*/ 1305768 w 1432860"/>
                <a:gd name="connsiteY4" fmla="*/ 4251788 h 4255773"/>
                <a:gd name="connsiteX5" fmla="*/ 5136 w 1432860"/>
                <a:gd name="connsiteY5" fmla="*/ 4255773 h 4255773"/>
                <a:gd name="connsiteX0" fmla="*/ 0 w 1424727"/>
                <a:gd name="connsiteY0" fmla="*/ 50479 h 4255773"/>
                <a:gd name="connsiteX1" fmla="*/ 1033647 w 1424727"/>
                <a:gd name="connsiteY1" fmla="*/ 51115 h 4255773"/>
                <a:gd name="connsiteX2" fmla="*/ 1422915 w 1424727"/>
                <a:gd name="connsiteY2" fmla="*/ 427051 h 4255773"/>
                <a:gd name="connsiteX3" fmla="*/ 1424134 w 1424727"/>
                <a:gd name="connsiteY3" fmla="*/ 4252734 h 4255773"/>
                <a:gd name="connsiteX4" fmla="*/ 1305768 w 1424727"/>
                <a:gd name="connsiteY4" fmla="*/ 4251788 h 4255773"/>
                <a:gd name="connsiteX5" fmla="*/ 5136 w 1424727"/>
                <a:gd name="connsiteY5" fmla="*/ 4255773 h 4255773"/>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4727" h="4205294">
                  <a:moveTo>
                    <a:pt x="0" y="0"/>
                  </a:moveTo>
                  <a:lnTo>
                    <a:pt x="1033647" y="636"/>
                  </a:lnTo>
                  <a:cubicBezTo>
                    <a:pt x="1263479" y="213500"/>
                    <a:pt x="1167521" y="115063"/>
                    <a:pt x="1422915" y="376572"/>
                  </a:cubicBezTo>
                  <a:cubicBezTo>
                    <a:pt x="1424558" y="1178834"/>
                    <a:pt x="1425359" y="3578270"/>
                    <a:pt x="1424134" y="4202255"/>
                  </a:cubicBezTo>
                  <a:lnTo>
                    <a:pt x="1305768" y="4201309"/>
                  </a:lnTo>
                  <a:lnTo>
                    <a:pt x="5136" y="4205294"/>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grpSp>
      <p:cxnSp>
        <p:nvCxnSpPr>
          <p:cNvPr id="261" name="Straight Connector 260">
            <a:extLst>
              <a:ext uri="{FF2B5EF4-FFF2-40B4-BE49-F238E27FC236}">
                <a16:creationId xmlns:a16="http://schemas.microsoft.com/office/drawing/2014/main" id="{6CBC48FF-4255-EE45-B7B0-ECB043E444FB}"/>
              </a:ext>
            </a:extLst>
          </p:cNvPr>
          <p:cNvCxnSpPr>
            <a:cxnSpLocks/>
          </p:cNvCxnSpPr>
          <p:nvPr userDrawn="1"/>
        </p:nvCxnSpPr>
        <p:spPr>
          <a:xfrm>
            <a:off x="874598" y="5508832"/>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B9E6072C-BEA6-41B6-210C-D1D16F41401C}"/>
              </a:ext>
            </a:extLst>
          </p:cNvPr>
          <p:cNvCxnSpPr>
            <a:cxnSpLocks/>
          </p:cNvCxnSpPr>
          <p:nvPr userDrawn="1"/>
        </p:nvCxnSpPr>
        <p:spPr>
          <a:xfrm>
            <a:off x="3746324" y="5508832"/>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292" name="Group 291">
            <a:extLst>
              <a:ext uri="{FF2B5EF4-FFF2-40B4-BE49-F238E27FC236}">
                <a16:creationId xmlns:a16="http://schemas.microsoft.com/office/drawing/2014/main" id="{6F25117A-C96A-767C-57F6-12199054FD2A}"/>
              </a:ext>
            </a:extLst>
          </p:cNvPr>
          <p:cNvGrpSpPr/>
          <p:nvPr userDrawn="1"/>
        </p:nvGrpSpPr>
        <p:grpSpPr>
          <a:xfrm>
            <a:off x="6603439" y="1542728"/>
            <a:ext cx="2338382" cy="4162926"/>
            <a:chOff x="6603439" y="1612232"/>
            <a:chExt cx="2338382" cy="4162926"/>
          </a:xfrm>
        </p:grpSpPr>
        <p:grpSp>
          <p:nvGrpSpPr>
            <p:cNvPr id="98" name="Group 97">
              <a:extLst>
                <a:ext uri="{FF2B5EF4-FFF2-40B4-BE49-F238E27FC236}">
                  <a16:creationId xmlns:a16="http://schemas.microsoft.com/office/drawing/2014/main" id="{B3919971-5242-DEC6-E44A-113A5A0E88CF}"/>
                </a:ext>
              </a:extLst>
            </p:cNvPr>
            <p:cNvGrpSpPr/>
            <p:nvPr userDrawn="1"/>
          </p:nvGrpSpPr>
          <p:grpSpPr>
            <a:xfrm>
              <a:off x="6603439" y="1612232"/>
              <a:ext cx="2338382" cy="4162926"/>
              <a:chOff x="862265" y="1612232"/>
              <a:chExt cx="2338382" cy="4162926"/>
            </a:xfrm>
          </p:grpSpPr>
          <p:grpSp>
            <p:nvGrpSpPr>
              <p:cNvPr id="99" name="Group 98">
                <a:extLst>
                  <a:ext uri="{FF2B5EF4-FFF2-40B4-BE49-F238E27FC236}">
                    <a16:creationId xmlns:a16="http://schemas.microsoft.com/office/drawing/2014/main" id="{CE4E7000-6C6C-0255-BF4A-C21E26617D81}"/>
                  </a:ext>
                </a:extLst>
              </p:cNvPr>
              <p:cNvGrpSpPr/>
              <p:nvPr userDrawn="1"/>
            </p:nvGrpSpPr>
            <p:grpSpPr>
              <a:xfrm>
                <a:off x="3147504" y="2061539"/>
                <a:ext cx="53143" cy="1085389"/>
                <a:chOff x="2780760" y="2009831"/>
                <a:chExt cx="53143" cy="1085389"/>
              </a:xfrm>
            </p:grpSpPr>
            <p:grpSp>
              <p:nvGrpSpPr>
                <p:cNvPr id="101" name="Graphic 42">
                  <a:extLst>
                    <a:ext uri="{FF2B5EF4-FFF2-40B4-BE49-F238E27FC236}">
                      <a16:creationId xmlns:a16="http://schemas.microsoft.com/office/drawing/2014/main" id="{C93DC850-0E56-AF21-E227-30E3A511A41B}"/>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110" name="Freeform: Shape 33">
                    <a:extLst>
                      <a:ext uri="{FF2B5EF4-FFF2-40B4-BE49-F238E27FC236}">
                        <a16:creationId xmlns:a16="http://schemas.microsoft.com/office/drawing/2014/main" id="{BF73F5A6-9BB1-6549-CCCC-A13044F7850A}"/>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1" name="Freeform: Shape 34">
                    <a:extLst>
                      <a:ext uri="{FF2B5EF4-FFF2-40B4-BE49-F238E27FC236}">
                        <a16:creationId xmlns:a16="http://schemas.microsoft.com/office/drawing/2014/main" id="{44DDAEEF-45F1-E03A-E5CE-A8F6A7E64C16}"/>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2" name="Freeform: Shape 35">
                    <a:extLst>
                      <a:ext uri="{FF2B5EF4-FFF2-40B4-BE49-F238E27FC236}">
                        <a16:creationId xmlns:a16="http://schemas.microsoft.com/office/drawing/2014/main" id="{A9252D01-81AC-DBA3-7D7E-0F7268A277D6}"/>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3" name="Freeform: Shape 36">
                    <a:extLst>
                      <a:ext uri="{FF2B5EF4-FFF2-40B4-BE49-F238E27FC236}">
                        <a16:creationId xmlns:a16="http://schemas.microsoft.com/office/drawing/2014/main" id="{A8AD8A7D-FFBC-DD50-8690-8B36D328A692}"/>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4" name="Freeform: Shape 37">
                    <a:extLst>
                      <a:ext uri="{FF2B5EF4-FFF2-40B4-BE49-F238E27FC236}">
                        <a16:creationId xmlns:a16="http://schemas.microsoft.com/office/drawing/2014/main" id="{A0A2B38E-1E95-9619-783E-ADF3BEE129D9}"/>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5" name="Freeform: Shape 38">
                    <a:extLst>
                      <a:ext uri="{FF2B5EF4-FFF2-40B4-BE49-F238E27FC236}">
                        <a16:creationId xmlns:a16="http://schemas.microsoft.com/office/drawing/2014/main" id="{5E08C8E9-EB12-9B22-DB2A-510BB5DB7385}"/>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6" name="Freeform: Shape 39">
                    <a:extLst>
                      <a:ext uri="{FF2B5EF4-FFF2-40B4-BE49-F238E27FC236}">
                        <a16:creationId xmlns:a16="http://schemas.microsoft.com/office/drawing/2014/main" id="{B3C02560-DAFD-1E8B-FC71-7174C7D768D3}"/>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7" name="Freeform: Shape 40">
                    <a:extLst>
                      <a:ext uri="{FF2B5EF4-FFF2-40B4-BE49-F238E27FC236}">
                        <a16:creationId xmlns:a16="http://schemas.microsoft.com/office/drawing/2014/main" id="{3CC571E0-1B2D-7E89-72BC-7226E05B57A9}"/>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8" name="Freeform: Shape 41">
                    <a:extLst>
                      <a:ext uri="{FF2B5EF4-FFF2-40B4-BE49-F238E27FC236}">
                        <a16:creationId xmlns:a16="http://schemas.microsoft.com/office/drawing/2014/main" id="{06A899AE-DF57-E8DF-59C7-382B517E083B}"/>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9" name="Freeform: Shape 42">
                    <a:extLst>
                      <a:ext uri="{FF2B5EF4-FFF2-40B4-BE49-F238E27FC236}">
                        <a16:creationId xmlns:a16="http://schemas.microsoft.com/office/drawing/2014/main" id="{730356B6-0677-C389-19A0-1BD3B4C58E69}"/>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2" name="Freeform: Shape 43">
                    <a:extLst>
                      <a:ext uri="{FF2B5EF4-FFF2-40B4-BE49-F238E27FC236}">
                        <a16:creationId xmlns:a16="http://schemas.microsoft.com/office/drawing/2014/main" id="{1DD83C8B-982F-6F8E-9373-891BFC52495C}"/>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3" name="Freeform: Shape 44">
                    <a:extLst>
                      <a:ext uri="{FF2B5EF4-FFF2-40B4-BE49-F238E27FC236}">
                        <a16:creationId xmlns:a16="http://schemas.microsoft.com/office/drawing/2014/main" id="{48604E3E-6E1D-C243-EBEA-CC52E9B0134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4" name="Freeform: Shape 45">
                    <a:extLst>
                      <a:ext uri="{FF2B5EF4-FFF2-40B4-BE49-F238E27FC236}">
                        <a16:creationId xmlns:a16="http://schemas.microsoft.com/office/drawing/2014/main" id="{BFF081E7-5FE0-A25F-3BAC-B4F1472DCF36}"/>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4" name="Freeform: Shape 46">
                    <a:extLst>
                      <a:ext uri="{FF2B5EF4-FFF2-40B4-BE49-F238E27FC236}">
                        <a16:creationId xmlns:a16="http://schemas.microsoft.com/office/drawing/2014/main" id="{CFB01C3B-4079-CB09-810F-10B115C08277}"/>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5" name="Freeform: Shape 47">
                    <a:extLst>
                      <a:ext uri="{FF2B5EF4-FFF2-40B4-BE49-F238E27FC236}">
                        <a16:creationId xmlns:a16="http://schemas.microsoft.com/office/drawing/2014/main" id="{AD2960A2-69C1-D917-5B5B-F0AE47B4D113}"/>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6" name="Freeform: Shape 48">
                    <a:extLst>
                      <a:ext uri="{FF2B5EF4-FFF2-40B4-BE49-F238E27FC236}">
                        <a16:creationId xmlns:a16="http://schemas.microsoft.com/office/drawing/2014/main" id="{126DB3C7-67EC-78EE-B18B-1682510FDB58}"/>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7" name="Freeform: Shape 49">
                    <a:extLst>
                      <a:ext uri="{FF2B5EF4-FFF2-40B4-BE49-F238E27FC236}">
                        <a16:creationId xmlns:a16="http://schemas.microsoft.com/office/drawing/2014/main" id="{1FB83E26-0C24-86CE-41E0-DD518451D4F1}"/>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8" name="Freeform: Shape 50">
                    <a:extLst>
                      <a:ext uri="{FF2B5EF4-FFF2-40B4-BE49-F238E27FC236}">
                        <a16:creationId xmlns:a16="http://schemas.microsoft.com/office/drawing/2014/main" id="{5AD29198-7A4A-0C04-B1A3-881BDC486517}"/>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9" name="Freeform: Shape 51">
                    <a:extLst>
                      <a:ext uri="{FF2B5EF4-FFF2-40B4-BE49-F238E27FC236}">
                        <a16:creationId xmlns:a16="http://schemas.microsoft.com/office/drawing/2014/main" id="{D1108AE3-3ADD-6F50-957C-AF6B4E3553B3}"/>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0" name="Freeform: Shape 52">
                    <a:extLst>
                      <a:ext uri="{FF2B5EF4-FFF2-40B4-BE49-F238E27FC236}">
                        <a16:creationId xmlns:a16="http://schemas.microsoft.com/office/drawing/2014/main" id="{7F46CB31-A77A-0F3E-F117-4C2587120757}"/>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02" name="Group 101">
                  <a:extLst>
                    <a:ext uri="{FF2B5EF4-FFF2-40B4-BE49-F238E27FC236}">
                      <a16:creationId xmlns:a16="http://schemas.microsoft.com/office/drawing/2014/main" id="{B80819A2-71D0-F114-F77A-83D7B90A6A09}"/>
                    </a:ext>
                  </a:extLst>
                </p:cNvPr>
                <p:cNvGrpSpPr/>
                <p:nvPr userDrawn="1"/>
              </p:nvGrpSpPr>
              <p:grpSpPr>
                <a:xfrm rot="10800000" flipV="1">
                  <a:off x="2780760" y="2715971"/>
                  <a:ext cx="53143" cy="379249"/>
                  <a:chOff x="5390750" y="3681616"/>
                  <a:chExt cx="73151" cy="522033"/>
                </a:xfrm>
              </p:grpSpPr>
              <p:sp>
                <p:nvSpPr>
                  <p:cNvPr id="103" name="Freeform: Shape 26">
                    <a:extLst>
                      <a:ext uri="{FF2B5EF4-FFF2-40B4-BE49-F238E27FC236}">
                        <a16:creationId xmlns:a16="http://schemas.microsoft.com/office/drawing/2014/main" id="{8B0F0C36-C3A4-8971-D8E0-D5FD697A7C8E}"/>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4" name="Freeform: Shape 27">
                    <a:extLst>
                      <a:ext uri="{FF2B5EF4-FFF2-40B4-BE49-F238E27FC236}">
                        <a16:creationId xmlns:a16="http://schemas.microsoft.com/office/drawing/2014/main" id="{E25549F9-BB4F-E824-E49B-EBD369AB0095}"/>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5" name="Freeform: Shape 28">
                    <a:extLst>
                      <a:ext uri="{FF2B5EF4-FFF2-40B4-BE49-F238E27FC236}">
                        <a16:creationId xmlns:a16="http://schemas.microsoft.com/office/drawing/2014/main" id="{2F9E81C5-4E0E-EA93-A791-192C329435BC}"/>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6" name="Freeform: Shape 29">
                    <a:extLst>
                      <a:ext uri="{FF2B5EF4-FFF2-40B4-BE49-F238E27FC236}">
                        <a16:creationId xmlns:a16="http://schemas.microsoft.com/office/drawing/2014/main" id="{BB5478DC-9F7A-972A-90BC-F93F848CB0C5}"/>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7" name="Freeform: Shape 30">
                    <a:extLst>
                      <a:ext uri="{FF2B5EF4-FFF2-40B4-BE49-F238E27FC236}">
                        <a16:creationId xmlns:a16="http://schemas.microsoft.com/office/drawing/2014/main" id="{212D1BD4-1E14-32CA-CC32-A6A262486B11}"/>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8" name="Freeform: Shape 31">
                    <a:extLst>
                      <a:ext uri="{FF2B5EF4-FFF2-40B4-BE49-F238E27FC236}">
                        <a16:creationId xmlns:a16="http://schemas.microsoft.com/office/drawing/2014/main" id="{92B4EFB4-0188-B584-C6B1-BAD1E2006EBF}"/>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9" name="Freeform: Shape 32">
                    <a:extLst>
                      <a:ext uri="{FF2B5EF4-FFF2-40B4-BE49-F238E27FC236}">
                        <a16:creationId xmlns:a16="http://schemas.microsoft.com/office/drawing/2014/main" id="{393FD982-A5A0-4231-39D7-D076B331BD2A}"/>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0" name="Freeform 13">
                <a:extLst>
                  <a:ext uri="{FF2B5EF4-FFF2-40B4-BE49-F238E27FC236}">
                    <a16:creationId xmlns:a16="http://schemas.microsoft.com/office/drawing/2014/main" id="{55910CD3-845E-B953-6854-18CBEE412135}"/>
                  </a:ext>
                </a:extLst>
              </p:cNvPr>
              <p:cNvSpPr/>
              <p:nvPr userDrawn="1"/>
            </p:nvSpPr>
            <p:spPr>
              <a:xfrm>
                <a:off x="862265" y="1612232"/>
                <a:ext cx="2224760" cy="4162926"/>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0 h 4202853"/>
                  <a:gd name="connsiteX1" fmla="*/ 212558 w 1720704"/>
                  <a:gd name="connsiteY1" fmla="*/ 1544 h 4202853"/>
                  <a:gd name="connsiteX2" fmla="*/ 1246205 w 1720704"/>
                  <a:gd name="connsiteY2" fmla="*/ 2180 h 4202853"/>
                  <a:gd name="connsiteX3" fmla="*/ 1700076 w 1720704"/>
                  <a:gd name="connsiteY3" fmla="*/ 435885 h 4202853"/>
                  <a:gd name="connsiteX4" fmla="*/ 1720704 w 1720704"/>
                  <a:gd name="connsiteY4" fmla="*/ 4202853 h 4202853"/>
                  <a:gd name="connsiteX5" fmla="*/ 1518326 w 1720704"/>
                  <a:gd name="connsiteY5" fmla="*/ 4202853 h 4202853"/>
                  <a:gd name="connsiteX6" fmla="*/ 0 w 1720704"/>
                  <a:gd name="connsiteY6" fmla="*/ 4201611 h 4202853"/>
                  <a:gd name="connsiteX0" fmla="*/ 212558 w 1720704"/>
                  <a:gd name="connsiteY0" fmla="*/ 0 h 4201309"/>
                  <a:gd name="connsiteX1" fmla="*/ 1246205 w 1720704"/>
                  <a:gd name="connsiteY1" fmla="*/ 636 h 4201309"/>
                  <a:gd name="connsiteX2" fmla="*/ 1700076 w 1720704"/>
                  <a:gd name="connsiteY2" fmla="*/ 434341 h 4201309"/>
                  <a:gd name="connsiteX3" fmla="*/ 1720704 w 1720704"/>
                  <a:gd name="connsiteY3" fmla="*/ 4201309 h 4201309"/>
                  <a:gd name="connsiteX4" fmla="*/ 1518326 w 1720704"/>
                  <a:gd name="connsiteY4" fmla="*/ 4201309 h 4201309"/>
                  <a:gd name="connsiteX5" fmla="*/ 0 w 1720704"/>
                  <a:gd name="connsiteY5" fmla="*/ 4200067 h 4201309"/>
                  <a:gd name="connsiteX0" fmla="*/ 212558 w 1720704"/>
                  <a:gd name="connsiteY0" fmla="*/ 0 h 4205294"/>
                  <a:gd name="connsiteX1" fmla="*/ 1246205 w 1720704"/>
                  <a:gd name="connsiteY1" fmla="*/ 636 h 4205294"/>
                  <a:gd name="connsiteX2" fmla="*/ 1700076 w 1720704"/>
                  <a:gd name="connsiteY2" fmla="*/ 434341 h 4205294"/>
                  <a:gd name="connsiteX3" fmla="*/ 1720704 w 1720704"/>
                  <a:gd name="connsiteY3" fmla="*/ 4201309 h 4205294"/>
                  <a:gd name="connsiteX4" fmla="*/ 1518326 w 1720704"/>
                  <a:gd name="connsiteY4" fmla="*/ 4201309 h 4205294"/>
                  <a:gd name="connsiteX5" fmla="*/ 217694 w 1720704"/>
                  <a:gd name="connsiteY5" fmla="*/ 4205294 h 4205294"/>
                  <a:gd name="connsiteX6" fmla="*/ 0 w 1720704"/>
                  <a:gd name="connsiteY6" fmla="*/ 4200067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305768 w 1508146"/>
                  <a:gd name="connsiteY4" fmla="*/ 4201309 h 4205294"/>
                  <a:gd name="connsiteX5" fmla="*/ 5136 w 1508146"/>
                  <a:gd name="connsiteY5" fmla="*/ 4205294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424134 w 1508146"/>
                  <a:gd name="connsiteY4" fmla="*/ 4202255 h 4205294"/>
                  <a:gd name="connsiteX5" fmla="*/ 1305768 w 1508146"/>
                  <a:gd name="connsiteY5" fmla="*/ 4201309 h 4205294"/>
                  <a:gd name="connsiteX6" fmla="*/ 5136 w 1508146"/>
                  <a:gd name="connsiteY6" fmla="*/ 4205294 h 4205294"/>
                  <a:gd name="connsiteX0" fmla="*/ 0 w 1509361"/>
                  <a:gd name="connsiteY0" fmla="*/ 0 h 4205294"/>
                  <a:gd name="connsiteX1" fmla="*/ 1033647 w 1509361"/>
                  <a:gd name="connsiteY1" fmla="*/ 636 h 4205294"/>
                  <a:gd name="connsiteX2" fmla="*/ 1487518 w 1509361"/>
                  <a:gd name="connsiteY2" fmla="*/ 434341 h 4205294"/>
                  <a:gd name="connsiteX3" fmla="*/ 1424134 w 1509361"/>
                  <a:gd name="connsiteY3" fmla="*/ 4202255 h 4205294"/>
                  <a:gd name="connsiteX4" fmla="*/ 1305768 w 1509361"/>
                  <a:gd name="connsiteY4" fmla="*/ 4201309 h 4205294"/>
                  <a:gd name="connsiteX5" fmla="*/ 5136 w 1509361"/>
                  <a:gd name="connsiteY5" fmla="*/ 4205294 h 4205294"/>
                  <a:gd name="connsiteX0" fmla="*/ 0 w 1509361"/>
                  <a:gd name="connsiteY0" fmla="*/ 0 h 4205294"/>
                  <a:gd name="connsiteX1" fmla="*/ 1033647 w 1509361"/>
                  <a:gd name="connsiteY1" fmla="*/ 636 h 4205294"/>
                  <a:gd name="connsiteX2" fmla="*/ 1422915 w 1509361"/>
                  <a:gd name="connsiteY2" fmla="*/ 376572 h 4205294"/>
                  <a:gd name="connsiteX3" fmla="*/ 1487518 w 1509361"/>
                  <a:gd name="connsiteY3" fmla="*/ 434341 h 4205294"/>
                  <a:gd name="connsiteX4" fmla="*/ 1424134 w 1509361"/>
                  <a:gd name="connsiteY4" fmla="*/ 4202255 h 4205294"/>
                  <a:gd name="connsiteX5" fmla="*/ 1305768 w 1509361"/>
                  <a:gd name="connsiteY5" fmla="*/ 4201309 h 4205294"/>
                  <a:gd name="connsiteX6" fmla="*/ 5136 w 1509361"/>
                  <a:gd name="connsiteY6" fmla="*/ 4205294 h 4205294"/>
                  <a:gd name="connsiteX0" fmla="*/ 0 w 1457094"/>
                  <a:gd name="connsiteY0" fmla="*/ 50479 h 4255773"/>
                  <a:gd name="connsiteX1" fmla="*/ 1033647 w 1457094"/>
                  <a:gd name="connsiteY1" fmla="*/ 51115 h 4255773"/>
                  <a:gd name="connsiteX2" fmla="*/ 1422915 w 1457094"/>
                  <a:gd name="connsiteY2" fmla="*/ 427051 h 4255773"/>
                  <a:gd name="connsiteX3" fmla="*/ 1424134 w 1457094"/>
                  <a:gd name="connsiteY3" fmla="*/ 4252734 h 4255773"/>
                  <a:gd name="connsiteX4" fmla="*/ 1305768 w 1457094"/>
                  <a:gd name="connsiteY4" fmla="*/ 4251788 h 4255773"/>
                  <a:gd name="connsiteX5" fmla="*/ 5136 w 1457094"/>
                  <a:gd name="connsiteY5" fmla="*/ 4255773 h 4255773"/>
                  <a:gd name="connsiteX0" fmla="*/ 0 w 1432100"/>
                  <a:gd name="connsiteY0" fmla="*/ 50479 h 4255773"/>
                  <a:gd name="connsiteX1" fmla="*/ 1033647 w 1432100"/>
                  <a:gd name="connsiteY1" fmla="*/ 51115 h 4255773"/>
                  <a:gd name="connsiteX2" fmla="*/ 1422915 w 1432100"/>
                  <a:gd name="connsiteY2" fmla="*/ 427051 h 4255773"/>
                  <a:gd name="connsiteX3" fmla="*/ 1424134 w 1432100"/>
                  <a:gd name="connsiteY3" fmla="*/ 4252734 h 4255773"/>
                  <a:gd name="connsiteX4" fmla="*/ 1305768 w 1432100"/>
                  <a:gd name="connsiteY4" fmla="*/ 4251788 h 4255773"/>
                  <a:gd name="connsiteX5" fmla="*/ 5136 w 1432100"/>
                  <a:gd name="connsiteY5" fmla="*/ 4255773 h 4255773"/>
                  <a:gd name="connsiteX0" fmla="*/ 0 w 1434720"/>
                  <a:gd name="connsiteY0" fmla="*/ 50479 h 4255773"/>
                  <a:gd name="connsiteX1" fmla="*/ 1033647 w 1434720"/>
                  <a:gd name="connsiteY1" fmla="*/ 51115 h 4255773"/>
                  <a:gd name="connsiteX2" fmla="*/ 1422915 w 1434720"/>
                  <a:gd name="connsiteY2" fmla="*/ 427051 h 4255773"/>
                  <a:gd name="connsiteX3" fmla="*/ 1424134 w 1434720"/>
                  <a:gd name="connsiteY3" fmla="*/ 4252734 h 4255773"/>
                  <a:gd name="connsiteX4" fmla="*/ 1305768 w 1434720"/>
                  <a:gd name="connsiteY4" fmla="*/ 4251788 h 4255773"/>
                  <a:gd name="connsiteX5" fmla="*/ 5136 w 1434720"/>
                  <a:gd name="connsiteY5" fmla="*/ 4255773 h 4255773"/>
                  <a:gd name="connsiteX0" fmla="*/ 0 w 1432860"/>
                  <a:gd name="connsiteY0" fmla="*/ 50479 h 4255773"/>
                  <a:gd name="connsiteX1" fmla="*/ 1033647 w 1432860"/>
                  <a:gd name="connsiteY1" fmla="*/ 51115 h 4255773"/>
                  <a:gd name="connsiteX2" fmla="*/ 1422915 w 1432860"/>
                  <a:gd name="connsiteY2" fmla="*/ 427051 h 4255773"/>
                  <a:gd name="connsiteX3" fmla="*/ 1424134 w 1432860"/>
                  <a:gd name="connsiteY3" fmla="*/ 4252734 h 4255773"/>
                  <a:gd name="connsiteX4" fmla="*/ 1305768 w 1432860"/>
                  <a:gd name="connsiteY4" fmla="*/ 4251788 h 4255773"/>
                  <a:gd name="connsiteX5" fmla="*/ 5136 w 1432860"/>
                  <a:gd name="connsiteY5" fmla="*/ 4255773 h 4255773"/>
                  <a:gd name="connsiteX0" fmla="*/ 0 w 1424727"/>
                  <a:gd name="connsiteY0" fmla="*/ 50479 h 4255773"/>
                  <a:gd name="connsiteX1" fmla="*/ 1033647 w 1424727"/>
                  <a:gd name="connsiteY1" fmla="*/ 51115 h 4255773"/>
                  <a:gd name="connsiteX2" fmla="*/ 1422915 w 1424727"/>
                  <a:gd name="connsiteY2" fmla="*/ 427051 h 4255773"/>
                  <a:gd name="connsiteX3" fmla="*/ 1424134 w 1424727"/>
                  <a:gd name="connsiteY3" fmla="*/ 4252734 h 4255773"/>
                  <a:gd name="connsiteX4" fmla="*/ 1305768 w 1424727"/>
                  <a:gd name="connsiteY4" fmla="*/ 4251788 h 4255773"/>
                  <a:gd name="connsiteX5" fmla="*/ 5136 w 1424727"/>
                  <a:gd name="connsiteY5" fmla="*/ 4255773 h 4255773"/>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4727" h="4205294">
                    <a:moveTo>
                      <a:pt x="0" y="0"/>
                    </a:moveTo>
                    <a:lnTo>
                      <a:pt x="1033647" y="636"/>
                    </a:lnTo>
                    <a:cubicBezTo>
                      <a:pt x="1263479" y="213500"/>
                      <a:pt x="1167521" y="115063"/>
                      <a:pt x="1422915" y="376572"/>
                    </a:cubicBezTo>
                    <a:cubicBezTo>
                      <a:pt x="1424558" y="1178834"/>
                      <a:pt x="1425359" y="3578270"/>
                      <a:pt x="1424134" y="4202255"/>
                    </a:cubicBezTo>
                    <a:lnTo>
                      <a:pt x="1305768" y="4201309"/>
                    </a:lnTo>
                    <a:lnTo>
                      <a:pt x="5136" y="4205294"/>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grpSp>
        <p:cxnSp>
          <p:nvCxnSpPr>
            <p:cNvPr id="291" name="Straight Connector 290">
              <a:extLst>
                <a:ext uri="{FF2B5EF4-FFF2-40B4-BE49-F238E27FC236}">
                  <a16:creationId xmlns:a16="http://schemas.microsoft.com/office/drawing/2014/main" id="{4954E923-BCDD-8FB0-E53A-F003085CB827}"/>
                </a:ext>
              </a:extLst>
            </p:cNvPr>
            <p:cNvCxnSpPr>
              <a:cxnSpLocks/>
            </p:cNvCxnSpPr>
            <p:nvPr userDrawn="1"/>
          </p:nvCxnSpPr>
          <p:spPr>
            <a:xfrm>
              <a:off x="6607131"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grpSp>
        <p:nvGrpSpPr>
          <p:cNvPr id="296" name="Group 295">
            <a:extLst>
              <a:ext uri="{FF2B5EF4-FFF2-40B4-BE49-F238E27FC236}">
                <a16:creationId xmlns:a16="http://schemas.microsoft.com/office/drawing/2014/main" id="{783355F1-73EC-26D7-5888-043CA961DFD8}"/>
              </a:ext>
            </a:extLst>
          </p:cNvPr>
          <p:cNvGrpSpPr/>
          <p:nvPr userDrawn="1"/>
        </p:nvGrpSpPr>
        <p:grpSpPr>
          <a:xfrm>
            <a:off x="9479695" y="1542728"/>
            <a:ext cx="2338382" cy="4162926"/>
            <a:chOff x="6603439" y="1612232"/>
            <a:chExt cx="2338382" cy="4162926"/>
          </a:xfrm>
        </p:grpSpPr>
        <p:grpSp>
          <p:nvGrpSpPr>
            <p:cNvPr id="297" name="Group 296">
              <a:extLst>
                <a:ext uri="{FF2B5EF4-FFF2-40B4-BE49-F238E27FC236}">
                  <a16:creationId xmlns:a16="http://schemas.microsoft.com/office/drawing/2014/main" id="{749F5A03-34E6-9524-A50D-64260FB8E630}"/>
                </a:ext>
              </a:extLst>
            </p:cNvPr>
            <p:cNvGrpSpPr/>
            <p:nvPr userDrawn="1"/>
          </p:nvGrpSpPr>
          <p:grpSpPr>
            <a:xfrm>
              <a:off x="6603439" y="1612232"/>
              <a:ext cx="2338382" cy="4162926"/>
              <a:chOff x="862265" y="1612232"/>
              <a:chExt cx="2338382" cy="4162926"/>
            </a:xfrm>
          </p:grpSpPr>
          <p:grpSp>
            <p:nvGrpSpPr>
              <p:cNvPr id="299" name="Group 298">
                <a:extLst>
                  <a:ext uri="{FF2B5EF4-FFF2-40B4-BE49-F238E27FC236}">
                    <a16:creationId xmlns:a16="http://schemas.microsoft.com/office/drawing/2014/main" id="{DED3E377-E0BB-F294-8344-50F122694203}"/>
                  </a:ext>
                </a:extLst>
              </p:cNvPr>
              <p:cNvGrpSpPr/>
              <p:nvPr userDrawn="1"/>
            </p:nvGrpSpPr>
            <p:grpSpPr>
              <a:xfrm>
                <a:off x="3147504" y="2061539"/>
                <a:ext cx="53143" cy="1085389"/>
                <a:chOff x="2780760" y="2009831"/>
                <a:chExt cx="53143" cy="1085389"/>
              </a:xfrm>
            </p:grpSpPr>
            <p:grpSp>
              <p:nvGrpSpPr>
                <p:cNvPr id="301" name="Graphic 42">
                  <a:extLst>
                    <a:ext uri="{FF2B5EF4-FFF2-40B4-BE49-F238E27FC236}">
                      <a16:creationId xmlns:a16="http://schemas.microsoft.com/office/drawing/2014/main" id="{39A1C890-7A5D-C101-EA3A-6077A2CF3F33}"/>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310" name="Freeform: Shape 33">
                    <a:extLst>
                      <a:ext uri="{FF2B5EF4-FFF2-40B4-BE49-F238E27FC236}">
                        <a16:creationId xmlns:a16="http://schemas.microsoft.com/office/drawing/2014/main" id="{55E319B1-A3B2-B14C-23B5-D5B1EFE16535}"/>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1" name="Freeform: Shape 34">
                    <a:extLst>
                      <a:ext uri="{FF2B5EF4-FFF2-40B4-BE49-F238E27FC236}">
                        <a16:creationId xmlns:a16="http://schemas.microsoft.com/office/drawing/2014/main" id="{EA453C38-F190-5862-FFC9-6D84266899A8}"/>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2" name="Freeform: Shape 35">
                    <a:extLst>
                      <a:ext uri="{FF2B5EF4-FFF2-40B4-BE49-F238E27FC236}">
                        <a16:creationId xmlns:a16="http://schemas.microsoft.com/office/drawing/2014/main" id="{6832A062-8CAC-79B2-0D97-9673A90ACD90}"/>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3" name="Freeform: Shape 36">
                    <a:extLst>
                      <a:ext uri="{FF2B5EF4-FFF2-40B4-BE49-F238E27FC236}">
                        <a16:creationId xmlns:a16="http://schemas.microsoft.com/office/drawing/2014/main" id="{BF21098E-692F-7BE5-53DB-EFAB31E92331}"/>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4" name="Freeform: Shape 37">
                    <a:extLst>
                      <a:ext uri="{FF2B5EF4-FFF2-40B4-BE49-F238E27FC236}">
                        <a16:creationId xmlns:a16="http://schemas.microsoft.com/office/drawing/2014/main" id="{FE8CBC63-047F-4380-F897-76EA954882C5}"/>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5" name="Freeform: Shape 38">
                    <a:extLst>
                      <a:ext uri="{FF2B5EF4-FFF2-40B4-BE49-F238E27FC236}">
                        <a16:creationId xmlns:a16="http://schemas.microsoft.com/office/drawing/2014/main" id="{D4135910-5028-73F9-83D5-7F221DF1C947}"/>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6" name="Freeform: Shape 39">
                    <a:extLst>
                      <a:ext uri="{FF2B5EF4-FFF2-40B4-BE49-F238E27FC236}">
                        <a16:creationId xmlns:a16="http://schemas.microsoft.com/office/drawing/2014/main" id="{1D1B19DC-3430-D679-3738-B4DFDDB2C1BE}"/>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7" name="Freeform: Shape 40">
                    <a:extLst>
                      <a:ext uri="{FF2B5EF4-FFF2-40B4-BE49-F238E27FC236}">
                        <a16:creationId xmlns:a16="http://schemas.microsoft.com/office/drawing/2014/main" id="{A81854D1-B5E7-A190-109D-FC31726E2A5F}"/>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8" name="Freeform: Shape 41">
                    <a:extLst>
                      <a:ext uri="{FF2B5EF4-FFF2-40B4-BE49-F238E27FC236}">
                        <a16:creationId xmlns:a16="http://schemas.microsoft.com/office/drawing/2014/main" id="{9C64E827-AACB-C162-3431-C24DCA9664B9}"/>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9" name="Freeform: Shape 42">
                    <a:extLst>
                      <a:ext uri="{FF2B5EF4-FFF2-40B4-BE49-F238E27FC236}">
                        <a16:creationId xmlns:a16="http://schemas.microsoft.com/office/drawing/2014/main" id="{10A85175-C092-E948-7D08-8AB1AB2D0F76}"/>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0" name="Freeform: Shape 43">
                    <a:extLst>
                      <a:ext uri="{FF2B5EF4-FFF2-40B4-BE49-F238E27FC236}">
                        <a16:creationId xmlns:a16="http://schemas.microsoft.com/office/drawing/2014/main" id="{AFDEB71B-C3D7-E5D2-5C72-45B38AA625FA}"/>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1" name="Freeform: Shape 44">
                    <a:extLst>
                      <a:ext uri="{FF2B5EF4-FFF2-40B4-BE49-F238E27FC236}">
                        <a16:creationId xmlns:a16="http://schemas.microsoft.com/office/drawing/2014/main" id="{000DD5EA-35E6-1E65-54F0-3A47E16AAC9C}"/>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2" name="Freeform: Shape 45">
                    <a:extLst>
                      <a:ext uri="{FF2B5EF4-FFF2-40B4-BE49-F238E27FC236}">
                        <a16:creationId xmlns:a16="http://schemas.microsoft.com/office/drawing/2014/main" id="{E35E6EB3-F66B-C8E6-DFD4-6BF2326CC85F}"/>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3" name="Freeform: Shape 46">
                    <a:extLst>
                      <a:ext uri="{FF2B5EF4-FFF2-40B4-BE49-F238E27FC236}">
                        <a16:creationId xmlns:a16="http://schemas.microsoft.com/office/drawing/2014/main" id="{34A70CD7-1D10-633B-FCA6-DE18F07F3AFE}"/>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4" name="Freeform: Shape 47">
                    <a:extLst>
                      <a:ext uri="{FF2B5EF4-FFF2-40B4-BE49-F238E27FC236}">
                        <a16:creationId xmlns:a16="http://schemas.microsoft.com/office/drawing/2014/main" id="{2FA5D3BC-D954-52B6-3C85-6D2B434EA21A}"/>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5" name="Freeform: Shape 48">
                    <a:extLst>
                      <a:ext uri="{FF2B5EF4-FFF2-40B4-BE49-F238E27FC236}">
                        <a16:creationId xmlns:a16="http://schemas.microsoft.com/office/drawing/2014/main" id="{01B72E5E-EE8F-6426-9341-3171833610F7}"/>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6" name="Freeform: Shape 49">
                    <a:extLst>
                      <a:ext uri="{FF2B5EF4-FFF2-40B4-BE49-F238E27FC236}">
                        <a16:creationId xmlns:a16="http://schemas.microsoft.com/office/drawing/2014/main" id="{9A06CF65-FDCB-ECB6-4D0A-781D21AC206A}"/>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7" name="Freeform: Shape 50">
                    <a:extLst>
                      <a:ext uri="{FF2B5EF4-FFF2-40B4-BE49-F238E27FC236}">
                        <a16:creationId xmlns:a16="http://schemas.microsoft.com/office/drawing/2014/main" id="{2D274FD1-4CCA-85EB-EB6B-051E882D0ABA}"/>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8" name="Freeform: Shape 51">
                    <a:extLst>
                      <a:ext uri="{FF2B5EF4-FFF2-40B4-BE49-F238E27FC236}">
                        <a16:creationId xmlns:a16="http://schemas.microsoft.com/office/drawing/2014/main" id="{666EBB35-C55E-722D-1E8E-9628924D9BDF}"/>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9" name="Freeform: Shape 52">
                    <a:extLst>
                      <a:ext uri="{FF2B5EF4-FFF2-40B4-BE49-F238E27FC236}">
                        <a16:creationId xmlns:a16="http://schemas.microsoft.com/office/drawing/2014/main" id="{EAACA669-9B2A-8F06-2CDA-87BCAB11F491}"/>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302" name="Group 301">
                  <a:extLst>
                    <a:ext uri="{FF2B5EF4-FFF2-40B4-BE49-F238E27FC236}">
                      <a16:creationId xmlns:a16="http://schemas.microsoft.com/office/drawing/2014/main" id="{F7EE04BF-D1BF-4612-8673-FDE750B685BE}"/>
                    </a:ext>
                  </a:extLst>
                </p:cNvPr>
                <p:cNvGrpSpPr/>
                <p:nvPr userDrawn="1"/>
              </p:nvGrpSpPr>
              <p:grpSpPr>
                <a:xfrm rot="10800000" flipV="1">
                  <a:off x="2780760" y="2715971"/>
                  <a:ext cx="53143" cy="379249"/>
                  <a:chOff x="5390750" y="3681616"/>
                  <a:chExt cx="73151" cy="522033"/>
                </a:xfrm>
              </p:grpSpPr>
              <p:sp>
                <p:nvSpPr>
                  <p:cNvPr id="303" name="Freeform: Shape 26">
                    <a:extLst>
                      <a:ext uri="{FF2B5EF4-FFF2-40B4-BE49-F238E27FC236}">
                        <a16:creationId xmlns:a16="http://schemas.microsoft.com/office/drawing/2014/main" id="{7BC1CF32-04D0-5CCB-3FCD-900526F182C6}"/>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4" name="Freeform: Shape 27">
                    <a:extLst>
                      <a:ext uri="{FF2B5EF4-FFF2-40B4-BE49-F238E27FC236}">
                        <a16:creationId xmlns:a16="http://schemas.microsoft.com/office/drawing/2014/main" id="{A88DF581-81A4-3C2A-C228-A4D5A593EE08}"/>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5" name="Freeform: Shape 28">
                    <a:extLst>
                      <a:ext uri="{FF2B5EF4-FFF2-40B4-BE49-F238E27FC236}">
                        <a16:creationId xmlns:a16="http://schemas.microsoft.com/office/drawing/2014/main" id="{5680C2F6-5DD0-B105-8740-580A9827E891}"/>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6" name="Freeform: Shape 29">
                    <a:extLst>
                      <a:ext uri="{FF2B5EF4-FFF2-40B4-BE49-F238E27FC236}">
                        <a16:creationId xmlns:a16="http://schemas.microsoft.com/office/drawing/2014/main" id="{1DD26439-9E61-323C-830D-2D3145C6317B}"/>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7" name="Freeform: Shape 30">
                    <a:extLst>
                      <a:ext uri="{FF2B5EF4-FFF2-40B4-BE49-F238E27FC236}">
                        <a16:creationId xmlns:a16="http://schemas.microsoft.com/office/drawing/2014/main" id="{1203A586-196F-670D-4A4B-BE27CBBA7CB4}"/>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8" name="Freeform: Shape 31">
                    <a:extLst>
                      <a:ext uri="{FF2B5EF4-FFF2-40B4-BE49-F238E27FC236}">
                        <a16:creationId xmlns:a16="http://schemas.microsoft.com/office/drawing/2014/main" id="{7F4FFCCA-190E-D42F-227F-3E075C34F03F}"/>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9" name="Freeform: Shape 32">
                    <a:extLst>
                      <a:ext uri="{FF2B5EF4-FFF2-40B4-BE49-F238E27FC236}">
                        <a16:creationId xmlns:a16="http://schemas.microsoft.com/office/drawing/2014/main" id="{34A0F86B-C6DE-975F-3D3A-3D25178E9A51}"/>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300" name="Freeform 13">
                <a:extLst>
                  <a:ext uri="{FF2B5EF4-FFF2-40B4-BE49-F238E27FC236}">
                    <a16:creationId xmlns:a16="http://schemas.microsoft.com/office/drawing/2014/main" id="{B6ADA8B0-F03D-6550-CAD4-259475E705EE}"/>
                  </a:ext>
                </a:extLst>
              </p:cNvPr>
              <p:cNvSpPr/>
              <p:nvPr userDrawn="1"/>
            </p:nvSpPr>
            <p:spPr>
              <a:xfrm>
                <a:off x="862265" y="1612232"/>
                <a:ext cx="2224760" cy="4162926"/>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0 h 4202853"/>
                  <a:gd name="connsiteX1" fmla="*/ 212558 w 1720704"/>
                  <a:gd name="connsiteY1" fmla="*/ 1544 h 4202853"/>
                  <a:gd name="connsiteX2" fmla="*/ 1246205 w 1720704"/>
                  <a:gd name="connsiteY2" fmla="*/ 2180 h 4202853"/>
                  <a:gd name="connsiteX3" fmla="*/ 1700076 w 1720704"/>
                  <a:gd name="connsiteY3" fmla="*/ 435885 h 4202853"/>
                  <a:gd name="connsiteX4" fmla="*/ 1720704 w 1720704"/>
                  <a:gd name="connsiteY4" fmla="*/ 4202853 h 4202853"/>
                  <a:gd name="connsiteX5" fmla="*/ 1518326 w 1720704"/>
                  <a:gd name="connsiteY5" fmla="*/ 4202853 h 4202853"/>
                  <a:gd name="connsiteX6" fmla="*/ 0 w 1720704"/>
                  <a:gd name="connsiteY6" fmla="*/ 4201611 h 4202853"/>
                  <a:gd name="connsiteX0" fmla="*/ 212558 w 1720704"/>
                  <a:gd name="connsiteY0" fmla="*/ 0 h 4201309"/>
                  <a:gd name="connsiteX1" fmla="*/ 1246205 w 1720704"/>
                  <a:gd name="connsiteY1" fmla="*/ 636 h 4201309"/>
                  <a:gd name="connsiteX2" fmla="*/ 1700076 w 1720704"/>
                  <a:gd name="connsiteY2" fmla="*/ 434341 h 4201309"/>
                  <a:gd name="connsiteX3" fmla="*/ 1720704 w 1720704"/>
                  <a:gd name="connsiteY3" fmla="*/ 4201309 h 4201309"/>
                  <a:gd name="connsiteX4" fmla="*/ 1518326 w 1720704"/>
                  <a:gd name="connsiteY4" fmla="*/ 4201309 h 4201309"/>
                  <a:gd name="connsiteX5" fmla="*/ 0 w 1720704"/>
                  <a:gd name="connsiteY5" fmla="*/ 4200067 h 4201309"/>
                  <a:gd name="connsiteX0" fmla="*/ 212558 w 1720704"/>
                  <a:gd name="connsiteY0" fmla="*/ 0 h 4205294"/>
                  <a:gd name="connsiteX1" fmla="*/ 1246205 w 1720704"/>
                  <a:gd name="connsiteY1" fmla="*/ 636 h 4205294"/>
                  <a:gd name="connsiteX2" fmla="*/ 1700076 w 1720704"/>
                  <a:gd name="connsiteY2" fmla="*/ 434341 h 4205294"/>
                  <a:gd name="connsiteX3" fmla="*/ 1720704 w 1720704"/>
                  <a:gd name="connsiteY3" fmla="*/ 4201309 h 4205294"/>
                  <a:gd name="connsiteX4" fmla="*/ 1518326 w 1720704"/>
                  <a:gd name="connsiteY4" fmla="*/ 4201309 h 4205294"/>
                  <a:gd name="connsiteX5" fmla="*/ 217694 w 1720704"/>
                  <a:gd name="connsiteY5" fmla="*/ 4205294 h 4205294"/>
                  <a:gd name="connsiteX6" fmla="*/ 0 w 1720704"/>
                  <a:gd name="connsiteY6" fmla="*/ 4200067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305768 w 1508146"/>
                  <a:gd name="connsiteY4" fmla="*/ 4201309 h 4205294"/>
                  <a:gd name="connsiteX5" fmla="*/ 5136 w 1508146"/>
                  <a:gd name="connsiteY5" fmla="*/ 4205294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424134 w 1508146"/>
                  <a:gd name="connsiteY4" fmla="*/ 4202255 h 4205294"/>
                  <a:gd name="connsiteX5" fmla="*/ 1305768 w 1508146"/>
                  <a:gd name="connsiteY5" fmla="*/ 4201309 h 4205294"/>
                  <a:gd name="connsiteX6" fmla="*/ 5136 w 1508146"/>
                  <a:gd name="connsiteY6" fmla="*/ 4205294 h 4205294"/>
                  <a:gd name="connsiteX0" fmla="*/ 0 w 1509361"/>
                  <a:gd name="connsiteY0" fmla="*/ 0 h 4205294"/>
                  <a:gd name="connsiteX1" fmla="*/ 1033647 w 1509361"/>
                  <a:gd name="connsiteY1" fmla="*/ 636 h 4205294"/>
                  <a:gd name="connsiteX2" fmla="*/ 1487518 w 1509361"/>
                  <a:gd name="connsiteY2" fmla="*/ 434341 h 4205294"/>
                  <a:gd name="connsiteX3" fmla="*/ 1424134 w 1509361"/>
                  <a:gd name="connsiteY3" fmla="*/ 4202255 h 4205294"/>
                  <a:gd name="connsiteX4" fmla="*/ 1305768 w 1509361"/>
                  <a:gd name="connsiteY4" fmla="*/ 4201309 h 4205294"/>
                  <a:gd name="connsiteX5" fmla="*/ 5136 w 1509361"/>
                  <a:gd name="connsiteY5" fmla="*/ 4205294 h 4205294"/>
                  <a:gd name="connsiteX0" fmla="*/ 0 w 1509361"/>
                  <a:gd name="connsiteY0" fmla="*/ 0 h 4205294"/>
                  <a:gd name="connsiteX1" fmla="*/ 1033647 w 1509361"/>
                  <a:gd name="connsiteY1" fmla="*/ 636 h 4205294"/>
                  <a:gd name="connsiteX2" fmla="*/ 1422915 w 1509361"/>
                  <a:gd name="connsiteY2" fmla="*/ 376572 h 4205294"/>
                  <a:gd name="connsiteX3" fmla="*/ 1487518 w 1509361"/>
                  <a:gd name="connsiteY3" fmla="*/ 434341 h 4205294"/>
                  <a:gd name="connsiteX4" fmla="*/ 1424134 w 1509361"/>
                  <a:gd name="connsiteY4" fmla="*/ 4202255 h 4205294"/>
                  <a:gd name="connsiteX5" fmla="*/ 1305768 w 1509361"/>
                  <a:gd name="connsiteY5" fmla="*/ 4201309 h 4205294"/>
                  <a:gd name="connsiteX6" fmla="*/ 5136 w 1509361"/>
                  <a:gd name="connsiteY6" fmla="*/ 4205294 h 4205294"/>
                  <a:gd name="connsiteX0" fmla="*/ 0 w 1457094"/>
                  <a:gd name="connsiteY0" fmla="*/ 50479 h 4255773"/>
                  <a:gd name="connsiteX1" fmla="*/ 1033647 w 1457094"/>
                  <a:gd name="connsiteY1" fmla="*/ 51115 h 4255773"/>
                  <a:gd name="connsiteX2" fmla="*/ 1422915 w 1457094"/>
                  <a:gd name="connsiteY2" fmla="*/ 427051 h 4255773"/>
                  <a:gd name="connsiteX3" fmla="*/ 1424134 w 1457094"/>
                  <a:gd name="connsiteY3" fmla="*/ 4252734 h 4255773"/>
                  <a:gd name="connsiteX4" fmla="*/ 1305768 w 1457094"/>
                  <a:gd name="connsiteY4" fmla="*/ 4251788 h 4255773"/>
                  <a:gd name="connsiteX5" fmla="*/ 5136 w 1457094"/>
                  <a:gd name="connsiteY5" fmla="*/ 4255773 h 4255773"/>
                  <a:gd name="connsiteX0" fmla="*/ 0 w 1432100"/>
                  <a:gd name="connsiteY0" fmla="*/ 50479 h 4255773"/>
                  <a:gd name="connsiteX1" fmla="*/ 1033647 w 1432100"/>
                  <a:gd name="connsiteY1" fmla="*/ 51115 h 4255773"/>
                  <a:gd name="connsiteX2" fmla="*/ 1422915 w 1432100"/>
                  <a:gd name="connsiteY2" fmla="*/ 427051 h 4255773"/>
                  <a:gd name="connsiteX3" fmla="*/ 1424134 w 1432100"/>
                  <a:gd name="connsiteY3" fmla="*/ 4252734 h 4255773"/>
                  <a:gd name="connsiteX4" fmla="*/ 1305768 w 1432100"/>
                  <a:gd name="connsiteY4" fmla="*/ 4251788 h 4255773"/>
                  <a:gd name="connsiteX5" fmla="*/ 5136 w 1432100"/>
                  <a:gd name="connsiteY5" fmla="*/ 4255773 h 4255773"/>
                  <a:gd name="connsiteX0" fmla="*/ 0 w 1434720"/>
                  <a:gd name="connsiteY0" fmla="*/ 50479 h 4255773"/>
                  <a:gd name="connsiteX1" fmla="*/ 1033647 w 1434720"/>
                  <a:gd name="connsiteY1" fmla="*/ 51115 h 4255773"/>
                  <a:gd name="connsiteX2" fmla="*/ 1422915 w 1434720"/>
                  <a:gd name="connsiteY2" fmla="*/ 427051 h 4255773"/>
                  <a:gd name="connsiteX3" fmla="*/ 1424134 w 1434720"/>
                  <a:gd name="connsiteY3" fmla="*/ 4252734 h 4255773"/>
                  <a:gd name="connsiteX4" fmla="*/ 1305768 w 1434720"/>
                  <a:gd name="connsiteY4" fmla="*/ 4251788 h 4255773"/>
                  <a:gd name="connsiteX5" fmla="*/ 5136 w 1434720"/>
                  <a:gd name="connsiteY5" fmla="*/ 4255773 h 4255773"/>
                  <a:gd name="connsiteX0" fmla="*/ 0 w 1432860"/>
                  <a:gd name="connsiteY0" fmla="*/ 50479 h 4255773"/>
                  <a:gd name="connsiteX1" fmla="*/ 1033647 w 1432860"/>
                  <a:gd name="connsiteY1" fmla="*/ 51115 h 4255773"/>
                  <a:gd name="connsiteX2" fmla="*/ 1422915 w 1432860"/>
                  <a:gd name="connsiteY2" fmla="*/ 427051 h 4255773"/>
                  <a:gd name="connsiteX3" fmla="*/ 1424134 w 1432860"/>
                  <a:gd name="connsiteY3" fmla="*/ 4252734 h 4255773"/>
                  <a:gd name="connsiteX4" fmla="*/ 1305768 w 1432860"/>
                  <a:gd name="connsiteY4" fmla="*/ 4251788 h 4255773"/>
                  <a:gd name="connsiteX5" fmla="*/ 5136 w 1432860"/>
                  <a:gd name="connsiteY5" fmla="*/ 4255773 h 4255773"/>
                  <a:gd name="connsiteX0" fmla="*/ 0 w 1424727"/>
                  <a:gd name="connsiteY0" fmla="*/ 50479 h 4255773"/>
                  <a:gd name="connsiteX1" fmla="*/ 1033647 w 1424727"/>
                  <a:gd name="connsiteY1" fmla="*/ 51115 h 4255773"/>
                  <a:gd name="connsiteX2" fmla="*/ 1422915 w 1424727"/>
                  <a:gd name="connsiteY2" fmla="*/ 427051 h 4255773"/>
                  <a:gd name="connsiteX3" fmla="*/ 1424134 w 1424727"/>
                  <a:gd name="connsiteY3" fmla="*/ 4252734 h 4255773"/>
                  <a:gd name="connsiteX4" fmla="*/ 1305768 w 1424727"/>
                  <a:gd name="connsiteY4" fmla="*/ 4251788 h 4255773"/>
                  <a:gd name="connsiteX5" fmla="*/ 5136 w 1424727"/>
                  <a:gd name="connsiteY5" fmla="*/ 4255773 h 4255773"/>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4727" h="4205294">
                    <a:moveTo>
                      <a:pt x="0" y="0"/>
                    </a:moveTo>
                    <a:lnTo>
                      <a:pt x="1033647" y="636"/>
                    </a:lnTo>
                    <a:cubicBezTo>
                      <a:pt x="1263479" y="213500"/>
                      <a:pt x="1167521" y="115063"/>
                      <a:pt x="1422915" y="376572"/>
                    </a:cubicBezTo>
                    <a:cubicBezTo>
                      <a:pt x="1424558" y="1178834"/>
                      <a:pt x="1425359" y="3578270"/>
                      <a:pt x="1424134" y="4202255"/>
                    </a:cubicBezTo>
                    <a:lnTo>
                      <a:pt x="1305768" y="4201309"/>
                    </a:lnTo>
                    <a:lnTo>
                      <a:pt x="5136" y="4205294"/>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grpSp>
        <p:cxnSp>
          <p:nvCxnSpPr>
            <p:cNvPr id="298" name="Straight Connector 297">
              <a:extLst>
                <a:ext uri="{FF2B5EF4-FFF2-40B4-BE49-F238E27FC236}">
                  <a16:creationId xmlns:a16="http://schemas.microsoft.com/office/drawing/2014/main" id="{D10D6B42-A417-8FFD-63BE-102F2A786A0C}"/>
                </a:ext>
              </a:extLst>
            </p:cNvPr>
            <p:cNvCxnSpPr>
              <a:cxnSpLocks/>
            </p:cNvCxnSpPr>
            <p:nvPr userDrawn="1"/>
          </p:nvCxnSpPr>
          <p:spPr>
            <a:xfrm>
              <a:off x="6607131"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87" name="Picture Placeholder 2">
            <a:extLst>
              <a:ext uri="{FF2B5EF4-FFF2-40B4-BE49-F238E27FC236}">
                <a16:creationId xmlns:a16="http://schemas.microsoft.com/office/drawing/2014/main" id="{D7C055B4-CBE4-0F98-EAC2-AF375C889C9B}"/>
              </a:ext>
            </a:extLst>
          </p:cNvPr>
          <p:cNvSpPr>
            <a:spLocks noGrp="1"/>
          </p:cNvSpPr>
          <p:nvPr>
            <p:ph type="pic" idx="38" hasCustomPrompt="1"/>
          </p:nvPr>
        </p:nvSpPr>
        <p:spPr>
          <a:xfrm>
            <a:off x="3735431" y="1639807"/>
            <a:ext cx="2084832" cy="2926080"/>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4360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69" h="3738009">
                <a:moveTo>
                  <a:pt x="0" y="7257"/>
                </a:moveTo>
                <a:lnTo>
                  <a:pt x="1943609" y="0"/>
                </a:lnTo>
                <a:lnTo>
                  <a:pt x="2550405" y="400234"/>
                </a:lnTo>
                <a:lnTo>
                  <a:pt x="2559369" y="3738009"/>
                </a:ln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sp>
        <p:nvSpPr>
          <p:cNvPr id="120" name="Picture Placeholder 2">
            <a:extLst>
              <a:ext uri="{FF2B5EF4-FFF2-40B4-BE49-F238E27FC236}">
                <a16:creationId xmlns:a16="http://schemas.microsoft.com/office/drawing/2014/main" id="{020D715F-5930-81DC-E7D1-DCFEC4BE7E88}"/>
              </a:ext>
            </a:extLst>
          </p:cNvPr>
          <p:cNvSpPr>
            <a:spLocks noGrp="1"/>
          </p:cNvSpPr>
          <p:nvPr>
            <p:ph type="pic" idx="39" hasCustomPrompt="1"/>
          </p:nvPr>
        </p:nvSpPr>
        <p:spPr>
          <a:xfrm>
            <a:off x="6624383" y="1639807"/>
            <a:ext cx="2084832" cy="2926080"/>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4360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69" h="3738009">
                <a:moveTo>
                  <a:pt x="0" y="7257"/>
                </a:moveTo>
                <a:lnTo>
                  <a:pt x="1943609" y="0"/>
                </a:lnTo>
                <a:lnTo>
                  <a:pt x="2550405" y="400234"/>
                </a:lnTo>
                <a:lnTo>
                  <a:pt x="2559369" y="3738009"/>
                </a:ln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sp>
        <p:nvSpPr>
          <p:cNvPr id="121" name="Picture Placeholder 2">
            <a:extLst>
              <a:ext uri="{FF2B5EF4-FFF2-40B4-BE49-F238E27FC236}">
                <a16:creationId xmlns:a16="http://schemas.microsoft.com/office/drawing/2014/main" id="{422E1DE3-FFCA-606F-98DD-AF284237E2B7}"/>
              </a:ext>
            </a:extLst>
          </p:cNvPr>
          <p:cNvSpPr>
            <a:spLocks noGrp="1"/>
          </p:cNvSpPr>
          <p:nvPr>
            <p:ph type="pic" idx="40" hasCustomPrompt="1"/>
          </p:nvPr>
        </p:nvSpPr>
        <p:spPr>
          <a:xfrm>
            <a:off x="9489412" y="1639807"/>
            <a:ext cx="2084832" cy="2926080"/>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4360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69" h="3738009">
                <a:moveTo>
                  <a:pt x="0" y="7257"/>
                </a:moveTo>
                <a:lnTo>
                  <a:pt x="1943609" y="0"/>
                </a:lnTo>
                <a:lnTo>
                  <a:pt x="2550405" y="400234"/>
                </a:lnTo>
                <a:lnTo>
                  <a:pt x="2559369" y="3738009"/>
                </a:ln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spTree>
    <p:extLst>
      <p:ext uri="{BB962C8B-B14F-4D97-AF65-F5344CB8AC3E}">
        <p14:creationId xmlns:p14="http://schemas.microsoft.com/office/powerpoint/2010/main" val="328481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 Image (1)">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83093" y="5059333"/>
            <a:ext cx="475488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503103" y="5396933"/>
            <a:ext cx="45720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529443" y="6399289"/>
            <a:ext cx="374904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a:t>Add Date</a:t>
            </a:r>
          </a:p>
        </p:txBody>
      </p:sp>
      <p:sp>
        <p:nvSpPr>
          <p:cNvPr id="2" name="Title 1"/>
          <p:cNvSpPr>
            <a:spLocks noGrp="1"/>
          </p:cNvSpPr>
          <p:nvPr>
            <p:ph type="ctrTitle" hasCustomPrompt="1"/>
          </p:nvPr>
        </p:nvSpPr>
        <p:spPr bwMode="ltGray">
          <a:xfrm>
            <a:off x="473422"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0" y="6017774"/>
            <a:ext cx="2892560" cy="215304"/>
          </a:xfrm>
          <a:prstGeom prst="rect">
            <a:avLst/>
          </a:prstGeom>
        </p:spPr>
      </p:pic>
      <p:grpSp>
        <p:nvGrpSpPr>
          <p:cNvPr id="5" name="Group 4">
            <a:extLst>
              <a:ext uri="{FF2B5EF4-FFF2-40B4-BE49-F238E27FC236}">
                <a16:creationId xmlns:a16="http://schemas.microsoft.com/office/drawing/2014/main" id="{738FCC23-BDD1-F710-B482-0FABFC7EB531}"/>
              </a:ext>
            </a:extLst>
          </p:cNvPr>
          <p:cNvGrpSpPr/>
          <p:nvPr userDrawn="1"/>
        </p:nvGrpSpPr>
        <p:grpSpPr>
          <a:xfrm>
            <a:off x="5098163" y="-455836"/>
            <a:ext cx="8421905" cy="7945936"/>
            <a:chOff x="5098163" y="-455836"/>
            <a:chExt cx="8421905" cy="7945936"/>
          </a:xfrm>
          <a:blipFill>
            <a:blip r:embed="rId4"/>
            <a:stretch>
              <a:fillRect/>
            </a:stretch>
          </a:blipFill>
        </p:grpSpPr>
        <p:sp>
          <p:nvSpPr>
            <p:cNvPr id="13" name="Freeform: Shape 12">
              <a:extLst>
                <a:ext uri="{FF2B5EF4-FFF2-40B4-BE49-F238E27FC236}">
                  <a16:creationId xmlns:a16="http://schemas.microsoft.com/office/drawing/2014/main" id="{44EDEC61-755F-847C-3A1C-15F6C4CEE1CD}"/>
                </a:ext>
              </a:extLst>
            </p:cNvPr>
            <p:cNvSpPr/>
            <p:nvPr userDrawn="1"/>
          </p:nvSpPr>
          <p:spPr>
            <a:xfrm rot="13821780">
              <a:off x="5239135" y="-596808"/>
              <a:ext cx="5190684" cy="5472628"/>
            </a:xfrm>
            <a:custGeom>
              <a:avLst/>
              <a:gdLst>
                <a:gd name="connsiteX0" fmla="*/ 5190684 w 5190684"/>
                <a:gd name="connsiteY0" fmla="*/ 2965814 h 5472628"/>
                <a:gd name="connsiteX1" fmla="*/ 3114139 w 5190684"/>
                <a:gd name="connsiteY1" fmla="*/ 5472628 h 5472628"/>
                <a:gd name="connsiteX2" fmla="*/ 0 w 5190684"/>
                <a:gd name="connsiteY2" fmla="*/ 0 h 5472628"/>
                <a:gd name="connsiteX3" fmla="*/ 3133747 w 5190684"/>
                <a:gd name="connsiteY3" fmla="*/ 0 h 5472628"/>
                <a:gd name="connsiteX4" fmla="*/ 3518511 w 5190684"/>
                <a:gd name="connsiteY4" fmla="*/ 169 h 5472628"/>
                <a:gd name="connsiteX5" fmla="*/ 5190684 w 5190684"/>
                <a:gd name="connsiteY5" fmla="*/ 2965814 h 547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0684" h="5472628">
                  <a:moveTo>
                    <a:pt x="5190684" y="2965814"/>
                  </a:moveTo>
                  <a:lnTo>
                    <a:pt x="3114139" y="5472628"/>
                  </a:lnTo>
                  <a:lnTo>
                    <a:pt x="0" y="0"/>
                  </a:lnTo>
                  <a:lnTo>
                    <a:pt x="3133747" y="0"/>
                  </a:lnTo>
                  <a:lnTo>
                    <a:pt x="3518511" y="169"/>
                  </a:lnTo>
                  <a:lnTo>
                    <a:pt x="5190684" y="2965814"/>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4" name="Freeform: Shape 13">
              <a:extLst>
                <a:ext uri="{FF2B5EF4-FFF2-40B4-BE49-F238E27FC236}">
                  <a16:creationId xmlns:a16="http://schemas.microsoft.com/office/drawing/2014/main" id="{950952AD-C5FA-6E40-C6D7-55FCAC2EDF0B}"/>
                </a:ext>
              </a:extLst>
            </p:cNvPr>
            <p:cNvSpPr/>
            <p:nvPr userDrawn="1"/>
          </p:nvSpPr>
          <p:spPr>
            <a:xfrm rot="13821780">
              <a:off x="8007792" y="1977824"/>
              <a:ext cx="5029645" cy="5994907"/>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5" name="Freeform: Shape 14">
              <a:extLst>
                <a:ext uri="{FF2B5EF4-FFF2-40B4-BE49-F238E27FC236}">
                  <a16:creationId xmlns:a16="http://schemas.microsoft.com/office/drawing/2014/main" id="{E1D634A7-584F-529A-3A17-000833E3576C}"/>
                </a:ext>
              </a:extLst>
            </p:cNvPr>
            <p:cNvSpPr/>
            <p:nvPr userDrawn="1"/>
          </p:nvSpPr>
          <p:spPr>
            <a:xfrm>
              <a:off x="9497710" y="0"/>
              <a:ext cx="2694290" cy="2106092"/>
            </a:xfrm>
            <a:custGeom>
              <a:avLst/>
              <a:gdLst>
                <a:gd name="connsiteX0" fmla="*/ 802401 w 2694290"/>
                <a:gd name="connsiteY0" fmla="*/ 0 h 2106092"/>
                <a:gd name="connsiteX1" fmla="*/ 2694290 w 2694290"/>
                <a:gd name="connsiteY1" fmla="*/ 0 h 2106092"/>
                <a:gd name="connsiteX2" fmla="*/ 2694290 w 2694290"/>
                <a:gd name="connsiteY2" fmla="*/ 1678210 h 2106092"/>
                <a:gd name="connsiteX3" fmla="*/ 0 w 2694290"/>
                <a:gd name="connsiteY3" fmla="*/ 2106092 h 2106092"/>
                <a:gd name="connsiteX4" fmla="*/ 802401 w 2694290"/>
                <a:gd name="connsiteY4" fmla="*/ 0 h 210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290" h="2106092">
                  <a:moveTo>
                    <a:pt x="802401" y="0"/>
                  </a:moveTo>
                  <a:lnTo>
                    <a:pt x="2694290" y="0"/>
                  </a:lnTo>
                  <a:lnTo>
                    <a:pt x="2694290" y="1678210"/>
                  </a:lnTo>
                  <a:lnTo>
                    <a:pt x="0" y="2106092"/>
                  </a:lnTo>
                  <a:lnTo>
                    <a:pt x="80240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grpSp>
      <p:sp>
        <p:nvSpPr>
          <p:cNvPr id="16" name="Freeform: Shape 15">
            <a:extLst>
              <a:ext uri="{FF2B5EF4-FFF2-40B4-BE49-F238E27FC236}">
                <a16:creationId xmlns:a16="http://schemas.microsoft.com/office/drawing/2014/main" id="{86BA9175-7396-D667-D2ED-43F3ABC9A0EB}"/>
              </a:ext>
            </a:extLst>
          </p:cNvPr>
          <p:cNvSpPr/>
          <p:nvPr userDrawn="1"/>
        </p:nvSpPr>
        <p:spPr>
          <a:xfrm rot="13821780">
            <a:off x="8007167" y="1970199"/>
            <a:ext cx="5029645" cy="6007608"/>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solidFill>
            <a:schemeClr val="accent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spcBef>
                <a:spcPts val="800"/>
              </a:spcBef>
            </a:pPr>
            <a:endParaRPr lang="en-US" dirty="0">
              <a:solidFill>
                <a:schemeClr val="bg1"/>
              </a:solidFill>
            </a:endParaRPr>
          </a:p>
        </p:txBody>
      </p:sp>
      <p:pic>
        <p:nvPicPr>
          <p:cNvPr id="4" name="Graphic 3">
            <a:extLst>
              <a:ext uri="{FF2B5EF4-FFF2-40B4-BE49-F238E27FC236}">
                <a16:creationId xmlns:a16="http://schemas.microsoft.com/office/drawing/2014/main" id="{2C4A6574-8A66-618C-A89B-1893945C3B0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03103" y="442968"/>
            <a:ext cx="2020616" cy="731520"/>
          </a:xfrm>
          <a:prstGeom prst="rect">
            <a:avLst/>
          </a:prstGeom>
        </p:spPr>
      </p:pic>
    </p:spTree>
    <p:extLst>
      <p:ext uri="{BB962C8B-B14F-4D97-AF65-F5344CB8AC3E}">
        <p14:creationId xmlns:p14="http://schemas.microsoft.com/office/powerpoint/2010/main" val="420778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resenter (5)">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D0C0782D-07C9-6C9A-899C-240F6B16CA2D}"/>
              </a:ext>
            </a:extLst>
          </p:cNvPr>
          <p:cNvSpPr/>
          <p:nvPr userDrawn="1"/>
        </p:nvSpPr>
        <p:spPr>
          <a:xfrm>
            <a:off x="0" y="1527343"/>
            <a:ext cx="511478" cy="41607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90000"/>
              </a:lnSpc>
              <a:spcBef>
                <a:spcPts val="800"/>
              </a:spcBef>
              <a:buFontTx/>
              <a:buNone/>
            </a:pPr>
            <a:endParaRPr lang="es-PE" dirty="0">
              <a:solidFill>
                <a:schemeClr val="bg1"/>
              </a:solidFill>
            </a:endParaRPr>
          </a:p>
        </p:txBody>
      </p:sp>
      <p:grpSp>
        <p:nvGrpSpPr>
          <p:cNvPr id="22" name="Group 21">
            <a:extLst>
              <a:ext uri="{FF2B5EF4-FFF2-40B4-BE49-F238E27FC236}">
                <a16:creationId xmlns:a16="http://schemas.microsoft.com/office/drawing/2014/main" id="{BF6D9166-51D3-8629-51B4-43463D8D622A}"/>
              </a:ext>
            </a:extLst>
          </p:cNvPr>
          <p:cNvGrpSpPr/>
          <p:nvPr userDrawn="1"/>
        </p:nvGrpSpPr>
        <p:grpSpPr>
          <a:xfrm>
            <a:off x="2900147" y="1995726"/>
            <a:ext cx="53143" cy="1085389"/>
            <a:chOff x="2780760" y="2009831"/>
            <a:chExt cx="53143" cy="1085389"/>
          </a:xfrm>
        </p:grpSpPr>
        <p:grpSp>
          <p:nvGrpSpPr>
            <p:cNvPr id="23" name="Graphic 42">
              <a:extLst>
                <a:ext uri="{FF2B5EF4-FFF2-40B4-BE49-F238E27FC236}">
                  <a16:creationId xmlns:a16="http://schemas.microsoft.com/office/drawing/2014/main" id="{73DEF57B-C8D6-629B-438E-F9A5D935C2DE}"/>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33" name="Freeform: Shape 33">
                <a:extLst>
                  <a:ext uri="{FF2B5EF4-FFF2-40B4-BE49-F238E27FC236}">
                    <a16:creationId xmlns:a16="http://schemas.microsoft.com/office/drawing/2014/main" id="{B0E743C2-F335-8B65-6436-CD4FC7974B02}"/>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4" name="Freeform: Shape 34">
                <a:extLst>
                  <a:ext uri="{FF2B5EF4-FFF2-40B4-BE49-F238E27FC236}">
                    <a16:creationId xmlns:a16="http://schemas.microsoft.com/office/drawing/2014/main" id="{54973389-5C3D-9E63-A162-2EE2BE8E492F}"/>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5" name="Freeform: Shape 35">
                <a:extLst>
                  <a:ext uri="{FF2B5EF4-FFF2-40B4-BE49-F238E27FC236}">
                    <a16:creationId xmlns:a16="http://schemas.microsoft.com/office/drawing/2014/main" id="{8CF85674-F55A-7F96-50DA-0633189F3F4D}"/>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6" name="Freeform: Shape 36">
                <a:extLst>
                  <a:ext uri="{FF2B5EF4-FFF2-40B4-BE49-F238E27FC236}">
                    <a16:creationId xmlns:a16="http://schemas.microsoft.com/office/drawing/2014/main" id="{697AD771-B0A2-119C-D594-26D8DB18D4F6}"/>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7" name="Freeform: Shape 37">
                <a:extLst>
                  <a:ext uri="{FF2B5EF4-FFF2-40B4-BE49-F238E27FC236}">
                    <a16:creationId xmlns:a16="http://schemas.microsoft.com/office/drawing/2014/main" id="{AF814FBA-41BE-A29C-9ED7-BCA4FA0E458A}"/>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8" name="Freeform: Shape 38">
                <a:extLst>
                  <a:ext uri="{FF2B5EF4-FFF2-40B4-BE49-F238E27FC236}">
                    <a16:creationId xmlns:a16="http://schemas.microsoft.com/office/drawing/2014/main" id="{E2CEBFCD-5385-E92F-5557-DD843000121E}"/>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9" name="Freeform: Shape 39">
                <a:extLst>
                  <a:ext uri="{FF2B5EF4-FFF2-40B4-BE49-F238E27FC236}">
                    <a16:creationId xmlns:a16="http://schemas.microsoft.com/office/drawing/2014/main" id="{81377E7B-D578-1A65-7106-10D91CECD3C2}"/>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0" name="Freeform: Shape 40">
                <a:extLst>
                  <a:ext uri="{FF2B5EF4-FFF2-40B4-BE49-F238E27FC236}">
                    <a16:creationId xmlns:a16="http://schemas.microsoft.com/office/drawing/2014/main" id="{E7363192-A903-C884-4DDB-7C29DCF40A27}"/>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1" name="Freeform: Shape 41">
                <a:extLst>
                  <a:ext uri="{FF2B5EF4-FFF2-40B4-BE49-F238E27FC236}">
                    <a16:creationId xmlns:a16="http://schemas.microsoft.com/office/drawing/2014/main" id="{AFD36CCA-36FD-8141-341B-C1A9587E2310}"/>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42">
                <a:extLst>
                  <a:ext uri="{FF2B5EF4-FFF2-40B4-BE49-F238E27FC236}">
                    <a16:creationId xmlns:a16="http://schemas.microsoft.com/office/drawing/2014/main" id="{1E15D03A-D48D-C9EE-2822-21E21E51CB13}"/>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4" name="Freeform: Shape 43">
                <a:extLst>
                  <a:ext uri="{FF2B5EF4-FFF2-40B4-BE49-F238E27FC236}">
                    <a16:creationId xmlns:a16="http://schemas.microsoft.com/office/drawing/2014/main" id="{2A4CB6FA-442B-59C4-50AD-9CD723D6650C}"/>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44">
                <a:extLst>
                  <a:ext uri="{FF2B5EF4-FFF2-40B4-BE49-F238E27FC236}">
                    <a16:creationId xmlns:a16="http://schemas.microsoft.com/office/drawing/2014/main" id="{804D5AFF-0C56-F860-3414-6808EEF4DC61}"/>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45">
                <a:extLst>
                  <a:ext uri="{FF2B5EF4-FFF2-40B4-BE49-F238E27FC236}">
                    <a16:creationId xmlns:a16="http://schemas.microsoft.com/office/drawing/2014/main" id="{2AD01124-9066-606B-1BF4-0156341AA2EB}"/>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46">
                <a:extLst>
                  <a:ext uri="{FF2B5EF4-FFF2-40B4-BE49-F238E27FC236}">
                    <a16:creationId xmlns:a16="http://schemas.microsoft.com/office/drawing/2014/main" id="{10E1BBF8-AB99-AAED-B99C-1F5F3C71C832}"/>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8" name="Freeform: Shape 47">
                <a:extLst>
                  <a:ext uri="{FF2B5EF4-FFF2-40B4-BE49-F238E27FC236}">
                    <a16:creationId xmlns:a16="http://schemas.microsoft.com/office/drawing/2014/main" id="{5BA22620-155D-8E8E-FD69-2603A6453244}"/>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9" name="Freeform: Shape 48">
                <a:extLst>
                  <a:ext uri="{FF2B5EF4-FFF2-40B4-BE49-F238E27FC236}">
                    <a16:creationId xmlns:a16="http://schemas.microsoft.com/office/drawing/2014/main" id="{6CEF19BA-E300-E140-F779-977C2DF50522}"/>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0" name="Freeform: Shape 49">
                <a:extLst>
                  <a:ext uri="{FF2B5EF4-FFF2-40B4-BE49-F238E27FC236}">
                    <a16:creationId xmlns:a16="http://schemas.microsoft.com/office/drawing/2014/main" id="{11944DB3-E7FA-14F4-FC79-D119BAA9B61B}"/>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1" name="Freeform: Shape 50">
                <a:extLst>
                  <a:ext uri="{FF2B5EF4-FFF2-40B4-BE49-F238E27FC236}">
                    <a16:creationId xmlns:a16="http://schemas.microsoft.com/office/drawing/2014/main" id="{52E4301A-0FA2-3A42-6D6F-76D13C352D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2" name="Freeform: Shape 51">
                <a:extLst>
                  <a:ext uri="{FF2B5EF4-FFF2-40B4-BE49-F238E27FC236}">
                    <a16:creationId xmlns:a16="http://schemas.microsoft.com/office/drawing/2014/main" id="{2D6F7530-6824-2BEB-0454-5E81C16A1071}"/>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3" name="Freeform: Shape 52">
                <a:extLst>
                  <a:ext uri="{FF2B5EF4-FFF2-40B4-BE49-F238E27FC236}">
                    <a16:creationId xmlns:a16="http://schemas.microsoft.com/office/drawing/2014/main" id="{478E2EC0-1995-D023-E385-C421B1CE92F6}"/>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4" name="Group 23">
              <a:extLst>
                <a:ext uri="{FF2B5EF4-FFF2-40B4-BE49-F238E27FC236}">
                  <a16:creationId xmlns:a16="http://schemas.microsoft.com/office/drawing/2014/main" id="{7DAB04E7-230F-0F3B-B942-C027739B2350}"/>
                </a:ext>
              </a:extLst>
            </p:cNvPr>
            <p:cNvGrpSpPr/>
            <p:nvPr userDrawn="1"/>
          </p:nvGrpSpPr>
          <p:grpSpPr>
            <a:xfrm rot="10800000" flipV="1">
              <a:off x="2780760" y="2715971"/>
              <a:ext cx="53143" cy="379249"/>
              <a:chOff x="5390750" y="3681616"/>
              <a:chExt cx="73151" cy="522033"/>
            </a:xfrm>
          </p:grpSpPr>
          <p:sp>
            <p:nvSpPr>
              <p:cNvPr id="25" name="Freeform: Shape 26">
                <a:extLst>
                  <a:ext uri="{FF2B5EF4-FFF2-40B4-BE49-F238E27FC236}">
                    <a16:creationId xmlns:a16="http://schemas.microsoft.com/office/drawing/2014/main" id="{F5DC6201-20C0-7C0E-02D1-3334FE5B5BAA}"/>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 name="Freeform: Shape 27">
                <a:extLst>
                  <a:ext uri="{FF2B5EF4-FFF2-40B4-BE49-F238E27FC236}">
                    <a16:creationId xmlns:a16="http://schemas.microsoft.com/office/drawing/2014/main" id="{D9E71D11-CC43-2B72-3F32-A62DB07D3282}"/>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 name="Freeform: Shape 28">
                <a:extLst>
                  <a:ext uri="{FF2B5EF4-FFF2-40B4-BE49-F238E27FC236}">
                    <a16:creationId xmlns:a16="http://schemas.microsoft.com/office/drawing/2014/main" id="{2B458BC9-1789-E439-A700-356B87D9DE50}"/>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8" name="Freeform: Shape 29">
                <a:extLst>
                  <a:ext uri="{FF2B5EF4-FFF2-40B4-BE49-F238E27FC236}">
                    <a16:creationId xmlns:a16="http://schemas.microsoft.com/office/drawing/2014/main" id="{3290A057-678A-01F6-8049-CDF911644297}"/>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 name="Freeform: Shape 30">
                <a:extLst>
                  <a:ext uri="{FF2B5EF4-FFF2-40B4-BE49-F238E27FC236}">
                    <a16:creationId xmlns:a16="http://schemas.microsoft.com/office/drawing/2014/main" id="{10502484-1BB0-04A7-BC37-9B6F2EB40AC6}"/>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 name="Freeform: Shape 31">
                <a:extLst>
                  <a:ext uri="{FF2B5EF4-FFF2-40B4-BE49-F238E27FC236}">
                    <a16:creationId xmlns:a16="http://schemas.microsoft.com/office/drawing/2014/main" id="{9C3E21EB-26D5-159E-9180-1C2FB31A6616}"/>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 name="Freeform: Shape 32">
                <a:extLst>
                  <a:ext uri="{FF2B5EF4-FFF2-40B4-BE49-F238E27FC236}">
                    <a16:creationId xmlns:a16="http://schemas.microsoft.com/office/drawing/2014/main" id="{2730BD8E-D778-F60B-7A39-0ECBDA4E985A}"/>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54" name="Text Placeholder 3">
            <a:extLst>
              <a:ext uri="{FF2B5EF4-FFF2-40B4-BE49-F238E27FC236}">
                <a16:creationId xmlns:a16="http://schemas.microsoft.com/office/drawing/2014/main" id="{1ACFCCA7-95F9-2D91-94BB-27740C69A8AA}"/>
              </a:ext>
            </a:extLst>
          </p:cNvPr>
          <p:cNvSpPr>
            <a:spLocks noGrp="1"/>
          </p:cNvSpPr>
          <p:nvPr>
            <p:ph type="body" sz="quarter" idx="15" hasCustomPrompt="1"/>
          </p:nvPr>
        </p:nvSpPr>
        <p:spPr>
          <a:xfrm>
            <a:off x="1054984" y="4748451"/>
            <a:ext cx="1530642"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58" name="Text Placeholder 85">
            <a:extLst>
              <a:ext uri="{FF2B5EF4-FFF2-40B4-BE49-F238E27FC236}">
                <a16:creationId xmlns:a16="http://schemas.microsoft.com/office/drawing/2014/main" id="{8F712D96-C2F2-841D-C731-D75F48FBC168}"/>
              </a:ext>
            </a:extLst>
          </p:cNvPr>
          <p:cNvSpPr>
            <a:spLocks noGrp="1"/>
          </p:cNvSpPr>
          <p:nvPr>
            <p:ph type="body" sz="quarter" idx="17" hasCustomPrompt="1"/>
          </p:nvPr>
        </p:nvSpPr>
        <p:spPr>
          <a:xfrm>
            <a:off x="988435" y="5338187"/>
            <a:ext cx="1663741"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59" name="Text Placeholder 121">
            <a:extLst>
              <a:ext uri="{FF2B5EF4-FFF2-40B4-BE49-F238E27FC236}">
                <a16:creationId xmlns:a16="http://schemas.microsoft.com/office/drawing/2014/main" id="{0DAFF921-ADCA-7FC5-CDA7-1DD531715F22}"/>
              </a:ext>
            </a:extLst>
          </p:cNvPr>
          <p:cNvSpPr>
            <a:spLocks noGrp="1"/>
          </p:cNvSpPr>
          <p:nvPr>
            <p:ph type="body" sz="quarter" idx="18" hasCustomPrompt="1"/>
          </p:nvPr>
        </p:nvSpPr>
        <p:spPr>
          <a:xfrm>
            <a:off x="905905" y="5928291"/>
            <a:ext cx="1828800" cy="166199"/>
          </a:xfrm>
        </p:spPr>
        <p:txBody>
          <a:bodyPr vert="horz" wrap="square"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cxnSp>
        <p:nvCxnSpPr>
          <p:cNvPr id="60" name="Straight Connector 59">
            <a:extLst>
              <a:ext uri="{FF2B5EF4-FFF2-40B4-BE49-F238E27FC236}">
                <a16:creationId xmlns:a16="http://schemas.microsoft.com/office/drawing/2014/main" id="{C2A23E5D-FD4B-8F34-4FC4-9B48D1D7893C}"/>
              </a:ext>
            </a:extLst>
          </p:cNvPr>
          <p:cNvCxnSpPr>
            <a:cxnSpLocks/>
          </p:cNvCxnSpPr>
          <p:nvPr userDrawn="1"/>
        </p:nvCxnSpPr>
        <p:spPr>
          <a:xfrm>
            <a:off x="1579881" y="5186797"/>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F263EE14-ABAE-5E48-7AFB-45B060823B7A}"/>
              </a:ext>
            </a:extLst>
          </p:cNvPr>
          <p:cNvGrpSpPr>
            <a:grpSpLocks noChangeAspect="1"/>
          </p:cNvGrpSpPr>
          <p:nvPr userDrawn="1"/>
        </p:nvGrpSpPr>
        <p:grpSpPr>
          <a:xfrm flipH="1">
            <a:off x="10617301" y="6372899"/>
            <a:ext cx="1574697" cy="184647"/>
            <a:chOff x="-8365" y="6414219"/>
            <a:chExt cx="3024563" cy="354656"/>
          </a:xfrm>
          <a:gradFill>
            <a:gsLst>
              <a:gs pos="1000">
                <a:schemeClr val="tx1">
                  <a:alpha val="50000"/>
                </a:schemeClr>
              </a:gs>
              <a:gs pos="40000">
                <a:schemeClr val="bg1">
                  <a:alpha val="0"/>
                </a:schemeClr>
              </a:gs>
            </a:gsLst>
            <a:lin ang="0" scaled="0"/>
          </a:gradFill>
        </p:grpSpPr>
        <p:sp>
          <p:nvSpPr>
            <p:cNvPr id="62" name="Freeform: Shape 61">
              <a:extLst>
                <a:ext uri="{FF2B5EF4-FFF2-40B4-BE49-F238E27FC236}">
                  <a16:creationId xmlns:a16="http://schemas.microsoft.com/office/drawing/2014/main" id="{E1B4C1D3-DDFC-FAD5-77B2-718FCB3EF3BE}"/>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E3B8AE58-ED7E-13A7-22F8-6423EB86275D}"/>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23A35FA2-74CC-35F7-B3FF-D54ECA4CAABE}"/>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C157F92C-B6C9-C243-FC04-187A4BDD6D87}"/>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85" name="Freeform: Shape 84">
              <a:extLst>
                <a:ext uri="{FF2B5EF4-FFF2-40B4-BE49-F238E27FC236}">
                  <a16:creationId xmlns:a16="http://schemas.microsoft.com/office/drawing/2014/main" id="{A21B822B-2E83-38AB-AC3A-23701B3DD6DA}"/>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11579581-0DB7-CC3D-2AC6-7A6D84200EFF}"/>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dirty="0"/>
            </a:p>
          </p:txBody>
        </p:sp>
        <p:sp>
          <p:nvSpPr>
            <p:cNvPr id="87" name="Freeform: Shape 86">
              <a:extLst>
                <a:ext uri="{FF2B5EF4-FFF2-40B4-BE49-F238E27FC236}">
                  <a16:creationId xmlns:a16="http://schemas.microsoft.com/office/drawing/2014/main" id="{1C900B8D-FEDD-F229-91AC-DAF625C205D8}"/>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7F9E5540-2B3F-A1F8-6DBF-A6C62185CDD2}"/>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119" name="Freeform: Shape 118">
              <a:extLst>
                <a:ext uri="{FF2B5EF4-FFF2-40B4-BE49-F238E27FC236}">
                  <a16:creationId xmlns:a16="http://schemas.microsoft.com/office/drawing/2014/main" id="{58A73531-C8EA-B926-8528-3042B84543C1}"/>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120" name="Freeform: Shape 119">
              <a:extLst>
                <a:ext uri="{FF2B5EF4-FFF2-40B4-BE49-F238E27FC236}">
                  <a16:creationId xmlns:a16="http://schemas.microsoft.com/office/drawing/2014/main" id="{D94A08CE-DBF2-7440-C85D-ACD97436661D}"/>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dirty="0"/>
            </a:p>
          </p:txBody>
        </p:sp>
        <p:sp>
          <p:nvSpPr>
            <p:cNvPr id="121" name="Freeform: Shape 120">
              <a:extLst>
                <a:ext uri="{FF2B5EF4-FFF2-40B4-BE49-F238E27FC236}">
                  <a16:creationId xmlns:a16="http://schemas.microsoft.com/office/drawing/2014/main" id="{9AB374AD-7628-DBAF-F8DE-5818973F0E66}"/>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dirty="0"/>
            </a:p>
          </p:txBody>
        </p:sp>
        <p:sp>
          <p:nvSpPr>
            <p:cNvPr id="123" name="Freeform: Shape 122">
              <a:extLst>
                <a:ext uri="{FF2B5EF4-FFF2-40B4-BE49-F238E27FC236}">
                  <a16:creationId xmlns:a16="http://schemas.microsoft.com/office/drawing/2014/main" id="{E8573A19-D668-1ED5-78E1-9ECF2BFC41E8}"/>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85D944F2-354D-99E6-8748-DBA49985683F}"/>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125" name="Freeform: Shape 124">
              <a:extLst>
                <a:ext uri="{FF2B5EF4-FFF2-40B4-BE49-F238E27FC236}">
                  <a16:creationId xmlns:a16="http://schemas.microsoft.com/office/drawing/2014/main" id="{24791425-5E2B-3992-E40D-91483419EEB2}"/>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dirty="0"/>
            </a:p>
          </p:txBody>
        </p:sp>
        <p:sp>
          <p:nvSpPr>
            <p:cNvPr id="126" name="Freeform: Shape 125">
              <a:extLst>
                <a:ext uri="{FF2B5EF4-FFF2-40B4-BE49-F238E27FC236}">
                  <a16:creationId xmlns:a16="http://schemas.microsoft.com/office/drawing/2014/main" id="{D1BB4712-A739-7787-69FB-CD7ADC5A7084}"/>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sp>
          <p:nvSpPr>
            <p:cNvPr id="127" name="Freeform: Shape 126">
              <a:extLst>
                <a:ext uri="{FF2B5EF4-FFF2-40B4-BE49-F238E27FC236}">
                  <a16:creationId xmlns:a16="http://schemas.microsoft.com/office/drawing/2014/main" id="{F4ED0E95-08E0-D444-A759-6CD2B214CD41}"/>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grpSp>
      <p:sp>
        <p:nvSpPr>
          <p:cNvPr id="128" name="Freeform: Shape 127">
            <a:extLst>
              <a:ext uri="{FF2B5EF4-FFF2-40B4-BE49-F238E27FC236}">
                <a16:creationId xmlns:a16="http://schemas.microsoft.com/office/drawing/2014/main" id="{361CE355-529E-2EDC-1E57-5871DC2093FE}"/>
              </a:ext>
            </a:extLst>
          </p:cNvPr>
          <p:cNvSpPr/>
          <p:nvPr userDrawn="1"/>
        </p:nvSpPr>
        <p:spPr>
          <a:xfrm>
            <a:off x="873479" y="1536478"/>
            <a:ext cx="1967446" cy="4159775"/>
          </a:xfrm>
          <a:custGeom>
            <a:avLst/>
            <a:gdLst>
              <a:gd name="connsiteX0" fmla="*/ 0 w 1967446"/>
              <a:gd name="connsiteY0" fmla="*/ 0 h 4159775"/>
              <a:gd name="connsiteX1" fmla="*/ 1320904 w 1967446"/>
              <a:gd name="connsiteY1" fmla="*/ 487 h 4159775"/>
              <a:gd name="connsiteX2" fmla="*/ 1964449 w 1967446"/>
              <a:gd name="connsiteY2" fmla="*/ 372635 h 4159775"/>
              <a:gd name="connsiteX3" fmla="*/ 1966465 w 1967446"/>
              <a:gd name="connsiteY3" fmla="*/ 4159775 h 4159775"/>
              <a:gd name="connsiteX4" fmla="*/ 1957861 w 1967446"/>
              <a:gd name="connsiteY4" fmla="*/ 4159734 h 4159775"/>
              <a:gd name="connsiteX5" fmla="*/ 1958180 w 1967446"/>
              <a:gd name="connsiteY5" fmla="*/ 4032801 h 4159775"/>
              <a:gd name="connsiteX6" fmla="*/ 1955823 w 1967446"/>
              <a:gd name="connsiteY6" fmla="*/ 381261 h 4159775"/>
              <a:gd name="connsiteX7" fmla="*/ 1312278 w 1967446"/>
              <a:gd name="connsiteY7" fmla="*/ 9113 h 4159775"/>
              <a:gd name="connsiteX8" fmla="*/ 0 w 1967446"/>
              <a:gd name="connsiteY8" fmla="*/ 8629 h 415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7446" h="4159775">
                <a:moveTo>
                  <a:pt x="0" y="0"/>
                </a:moveTo>
                <a:lnTo>
                  <a:pt x="1320904" y="487"/>
                </a:lnTo>
                <a:cubicBezTo>
                  <a:pt x="1700867" y="211206"/>
                  <a:pt x="1542227" y="113761"/>
                  <a:pt x="1964449" y="372635"/>
                </a:cubicBezTo>
                <a:cubicBezTo>
                  <a:pt x="1967166" y="1166815"/>
                  <a:pt x="1968490" y="3542076"/>
                  <a:pt x="1966465" y="4159775"/>
                </a:cubicBezTo>
                <a:lnTo>
                  <a:pt x="1957861" y="4159734"/>
                </a:lnTo>
                <a:lnTo>
                  <a:pt x="1958180" y="4032801"/>
                </a:lnTo>
                <a:cubicBezTo>
                  <a:pt x="1959693" y="3259971"/>
                  <a:pt x="1958370" y="1125805"/>
                  <a:pt x="1955823" y="381261"/>
                </a:cubicBezTo>
                <a:cubicBezTo>
                  <a:pt x="1533601" y="122387"/>
                  <a:pt x="1692241" y="219832"/>
                  <a:pt x="1312278" y="9113"/>
                </a:cubicBezTo>
                <a:lnTo>
                  <a:pt x="0" y="8629"/>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nvGrpSpPr>
          <p:cNvPr id="129" name="Group 128">
            <a:extLst>
              <a:ext uri="{FF2B5EF4-FFF2-40B4-BE49-F238E27FC236}">
                <a16:creationId xmlns:a16="http://schemas.microsoft.com/office/drawing/2014/main" id="{3B765C6E-71A5-DB29-C00F-362F27987251}"/>
              </a:ext>
            </a:extLst>
          </p:cNvPr>
          <p:cNvGrpSpPr/>
          <p:nvPr userDrawn="1"/>
        </p:nvGrpSpPr>
        <p:grpSpPr>
          <a:xfrm>
            <a:off x="831053" y="5512894"/>
            <a:ext cx="2004060" cy="188794"/>
            <a:chOff x="864207" y="5578707"/>
            <a:chExt cx="2004060" cy="188794"/>
          </a:xfrm>
        </p:grpSpPr>
        <p:cxnSp>
          <p:nvCxnSpPr>
            <p:cNvPr id="130" name="Straight Connector 129">
              <a:extLst>
                <a:ext uri="{FF2B5EF4-FFF2-40B4-BE49-F238E27FC236}">
                  <a16:creationId xmlns:a16="http://schemas.microsoft.com/office/drawing/2014/main" id="{B59D9732-5A29-E93E-51AA-F41064F44CE9}"/>
                </a:ext>
              </a:extLst>
            </p:cNvPr>
            <p:cNvCxnSpPr>
              <a:cxnSpLocks/>
            </p:cNvCxnSpPr>
            <p:nvPr userDrawn="1"/>
          </p:nvCxnSpPr>
          <p:spPr>
            <a:xfrm>
              <a:off x="864207" y="5578707"/>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721D652-0075-88DC-9B23-7F984BBAF4C4}"/>
                </a:ext>
              </a:extLst>
            </p:cNvPr>
            <p:cNvCxnSpPr>
              <a:cxnSpLocks/>
            </p:cNvCxnSpPr>
            <p:nvPr userDrawn="1"/>
          </p:nvCxnSpPr>
          <p:spPr>
            <a:xfrm rot="5400000">
              <a:off x="1871571" y="4770805"/>
              <a:ext cx="0" cy="1993392"/>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132" name="Picture Placeholder 2">
            <a:extLst>
              <a:ext uri="{FF2B5EF4-FFF2-40B4-BE49-F238E27FC236}">
                <a16:creationId xmlns:a16="http://schemas.microsoft.com/office/drawing/2014/main" id="{86D78227-E6FD-760B-A863-F327B922AF98}"/>
              </a:ext>
            </a:extLst>
          </p:cNvPr>
          <p:cNvSpPr>
            <a:spLocks noGrp="1"/>
          </p:cNvSpPr>
          <p:nvPr>
            <p:ph type="pic" idx="34" hasCustomPrompt="1"/>
          </p:nvPr>
        </p:nvSpPr>
        <p:spPr>
          <a:xfrm>
            <a:off x="873479" y="1638969"/>
            <a:ext cx="1865609" cy="2931395"/>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243749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43749 w 2559369"/>
              <a:gd name="connsiteY5" fmla="*/ 7257 h 3738009"/>
              <a:gd name="connsiteX0" fmla="*/ 263158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63158 w 2559369"/>
              <a:gd name="connsiteY5" fmla="*/ 7257 h 3738009"/>
              <a:gd name="connsiteX0" fmla="*/ 289036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89036 w 2559369"/>
              <a:gd name="connsiteY5" fmla="*/ 7257 h 3738009"/>
              <a:gd name="connsiteX0" fmla="*/ 30253 w 2300586"/>
              <a:gd name="connsiteY0" fmla="*/ 7257 h 3744800"/>
              <a:gd name="connsiteX1" fmla="*/ 1644256 w 2300586"/>
              <a:gd name="connsiteY1" fmla="*/ 0 h 3744800"/>
              <a:gd name="connsiteX2" fmla="*/ 2291622 w 2300586"/>
              <a:gd name="connsiteY2" fmla="*/ 400234 h 3744800"/>
              <a:gd name="connsiteX3" fmla="*/ 2300586 w 2300586"/>
              <a:gd name="connsiteY3" fmla="*/ 3738009 h 3744800"/>
              <a:gd name="connsiteX4" fmla="*/ 0 w 2300586"/>
              <a:gd name="connsiteY4" fmla="*/ 3744800 h 3744800"/>
              <a:gd name="connsiteX5" fmla="*/ 30253 w 2300586"/>
              <a:gd name="connsiteY5" fmla="*/ 7257 h 3744800"/>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731217 h 3738009"/>
              <a:gd name="connsiteX5" fmla="*/ 0 w 2270333"/>
              <a:gd name="connsiteY5" fmla="*/ 7257 h 3738009"/>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690468 h 3738009"/>
              <a:gd name="connsiteX5" fmla="*/ 0 w 2270333"/>
              <a:gd name="connsiteY5" fmla="*/ 7257 h 3738009"/>
              <a:gd name="connsiteX0" fmla="*/ 0 w 2270333"/>
              <a:gd name="connsiteY0" fmla="*/ 7257 h 3744799"/>
              <a:gd name="connsiteX1" fmla="*/ 1614003 w 2270333"/>
              <a:gd name="connsiteY1" fmla="*/ 0 h 3744799"/>
              <a:gd name="connsiteX2" fmla="*/ 2261369 w 2270333"/>
              <a:gd name="connsiteY2" fmla="*/ 400234 h 3744799"/>
              <a:gd name="connsiteX3" fmla="*/ 2270333 w 2270333"/>
              <a:gd name="connsiteY3" fmla="*/ 3738009 h 3744799"/>
              <a:gd name="connsiteX4" fmla="*/ 2096 w 2270333"/>
              <a:gd name="connsiteY4" fmla="*/ 3744799 h 3744799"/>
              <a:gd name="connsiteX5" fmla="*/ 0 w 2270333"/>
              <a:gd name="connsiteY5" fmla="*/ 7257 h 374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0333" h="3744799">
                <a:moveTo>
                  <a:pt x="0" y="7257"/>
                </a:moveTo>
                <a:lnTo>
                  <a:pt x="1614003" y="0"/>
                </a:lnTo>
                <a:lnTo>
                  <a:pt x="2261369" y="400234"/>
                </a:lnTo>
                <a:lnTo>
                  <a:pt x="2270333" y="3738009"/>
                </a:lnTo>
                <a:lnTo>
                  <a:pt x="2096" y="3744799"/>
                </a:lnTo>
                <a:cubicBezTo>
                  <a:pt x="1397" y="2498952"/>
                  <a:pt x="699" y="1253104"/>
                  <a:pt x="0" y="7257"/>
                </a:cubicBez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grpSp>
        <p:nvGrpSpPr>
          <p:cNvPr id="133" name="Group 132">
            <a:extLst>
              <a:ext uri="{FF2B5EF4-FFF2-40B4-BE49-F238E27FC236}">
                <a16:creationId xmlns:a16="http://schemas.microsoft.com/office/drawing/2014/main" id="{66E3841D-97ED-D2A9-B748-58C92D29F362}"/>
              </a:ext>
            </a:extLst>
          </p:cNvPr>
          <p:cNvGrpSpPr/>
          <p:nvPr userDrawn="1"/>
        </p:nvGrpSpPr>
        <p:grpSpPr>
          <a:xfrm>
            <a:off x="5117835" y="1995726"/>
            <a:ext cx="53143" cy="1085389"/>
            <a:chOff x="2780760" y="2009831"/>
            <a:chExt cx="53143" cy="1085389"/>
          </a:xfrm>
        </p:grpSpPr>
        <p:grpSp>
          <p:nvGrpSpPr>
            <p:cNvPr id="135" name="Graphic 42">
              <a:extLst>
                <a:ext uri="{FF2B5EF4-FFF2-40B4-BE49-F238E27FC236}">
                  <a16:creationId xmlns:a16="http://schemas.microsoft.com/office/drawing/2014/main" id="{CB963FBB-537F-DA27-8613-D9F72AAF7C8A}"/>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144" name="Freeform: Shape 33">
                <a:extLst>
                  <a:ext uri="{FF2B5EF4-FFF2-40B4-BE49-F238E27FC236}">
                    <a16:creationId xmlns:a16="http://schemas.microsoft.com/office/drawing/2014/main" id="{7B6223EC-EAB1-76DA-A07E-E282683E9EF3}"/>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5" name="Freeform: Shape 34">
                <a:extLst>
                  <a:ext uri="{FF2B5EF4-FFF2-40B4-BE49-F238E27FC236}">
                    <a16:creationId xmlns:a16="http://schemas.microsoft.com/office/drawing/2014/main" id="{6E0BBA09-0410-74A6-310F-BBE32F192B96}"/>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6" name="Freeform: Shape 35">
                <a:extLst>
                  <a:ext uri="{FF2B5EF4-FFF2-40B4-BE49-F238E27FC236}">
                    <a16:creationId xmlns:a16="http://schemas.microsoft.com/office/drawing/2014/main" id="{98FE1469-9F45-1D09-0C43-EACBE15CE49C}"/>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7" name="Freeform: Shape 36">
                <a:extLst>
                  <a:ext uri="{FF2B5EF4-FFF2-40B4-BE49-F238E27FC236}">
                    <a16:creationId xmlns:a16="http://schemas.microsoft.com/office/drawing/2014/main" id="{A0290E56-91E0-C83C-043A-52ABD85AA3FF}"/>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8" name="Freeform: Shape 37">
                <a:extLst>
                  <a:ext uri="{FF2B5EF4-FFF2-40B4-BE49-F238E27FC236}">
                    <a16:creationId xmlns:a16="http://schemas.microsoft.com/office/drawing/2014/main" id="{B76D89D3-CBF1-23D7-0BC8-E2ACC12C639B}"/>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9" name="Freeform: Shape 38">
                <a:extLst>
                  <a:ext uri="{FF2B5EF4-FFF2-40B4-BE49-F238E27FC236}">
                    <a16:creationId xmlns:a16="http://schemas.microsoft.com/office/drawing/2014/main" id="{0FBBDB43-3178-38C9-1678-024F07365EF8}"/>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0" name="Freeform: Shape 39">
                <a:extLst>
                  <a:ext uri="{FF2B5EF4-FFF2-40B4-BE49-F238E27FC236}">
                    <a16:creationId xmlns:a16="http://schemas.microsoft.com/office/drawing/2014/main" id="{C5B78AAB-F3E5-6A4F-DA9D-FB539FDCA19C}"/>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1" name="Freeform: Shape 40">
                <a:extLst>
                  <a:ext uri="{FF2B5EF4-FFF2-40B4-BE49-F238E27FC236}">
                    <a16:creationId xmlns:a16="http://schemas.microsoft.com/office/drawing/2014/main" id="{800B9A74-D3C3-4CEA-C79C-0A948F057A68}"/>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2" name="Freeform: Shape 41">
                <a:extLst>
                  <a:ext uri="{FF2B5EF4-FFF2-40B4-BE49-F238E27FC236}">
                    <a16:creationId xmlns:a16="http://schemas.microsoft.com/office/drawing/2014/main" id="{53A09F6B-1F30-1DDC-4247-B13061D299C6}"/>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3" name="Freeform: Shape 42">
                <a:extLst>
                  <a:ext uri="{FF2B5EF4-FFF2-40B4-BE49-F238E27FC236}">
                    <a16:creationId xmlns:a16="http://schemas.microsoft.com/office/drawing/2014/main" id="{8BE65CE3-1A56-A446-B319-C4E67178CBFF}"/>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4" name="Freeform: Shape 43">
                <a:extLst>
                  <a:ext uri="{FF2B5EF4-FFF2-40B4-BE49-F238E27FC236}">
                    <a16:creationId xmlns:a16="http://schemas.microsoft.com/office/drawing/2014/main" id="{9FBFAC52-CEBE-CF7C-E8B7-2ADE7A1EF661}"/>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55" name="Freeform: Shape 44">
                <a:extLst>
                  <a:ext uri="{FF2B5EF4-FFF2-40B4-BE49-F238E27FC236}">
                    <a16:creationId xmlns:a16="http://schemas.microsoft.com/office/drawing/2014/main" id="{89E74C73-91C3-E263-4CBF-4A0C48207CE1}"/>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8" name="Freeform: Shape 45">
                <a:extLst>
                  <a:ext uri="{FF2B5EF4-FFF2-40B4-BE49-F238E27FC236}">
                    <a16:creationId xmlns:a16="http://schemas.microsoft.com/office/drawing/2014/main" id="{179E3DE7-79BE-D9C7-253B-B1B0C1929501}"/>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2" name="Freeform: Shape 46">
                <a:extLst>
                  <a:ext uri="{FF2B5EF4-FFF2-40B4-BE49-F238E27FC236}">
                    <a16:creationId xmlns:a16="http://schemas.microsoft.com/office/drawing/2014/main" id="{FA75261C-1061-30A1-48D4-652C8211A742}"/>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3" name="Freeform: Shape 47">
                <a:extLst>
                  <a:ext uri="{FF2B5EF4-FFF2-40B4-BE49-F238E27FC236}">
                    <a16:creationId xmlns:a16="http://schemas.microsoft.com/office/drawing/2014/main" id="{7701409F-C720-66E4-9B13-3497990E15D9}"/>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4" name="Freeform: Shape 48">
                <a:extLst>
                  <a:ext uri="{FF2B5EF4-FFF2-40B4-BE49-F238E27FC236}">
                    <a16:creationId xmlns:a16="http://schemas.microsoft.com/office/drawing/2014/main" id="{EAE476F8-6E50-9694-99AC-EB4FBF876643}"/>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5" name="Freeform: Shape 49">
                <a:extLst>
                  <a:ext uri="{FF2B5EF4-FFF2-40B4-BE49-F238E27FC236}">
                    <a16:creationId xmlns:a16="http://schemas.microsoft.com/office/drawing/2014/main" id="{EB35C1BB-0EDC-E08F-AC17-5B288B717818}"/>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6" name="Freeform: Shape 50">
                <a:extLst>
                  <a:ext uri="{FF2B5EF4-FFF2-40B4-BE49-F238E27FC236}">
                    <a16:creationId xmlns:a16="http://schemas.microsoft.com/office/drawing/2014/main" id="{C32DAAB7-A4B0-ED63-FBF3-ACD4846D1B99}"/>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7" name="Freeform: Shape 51">
                <a:extLst>
                  <a:ext uri="{FF2B5EF4-FFF2-40B4-BE49-F238E27FC236}">
                    <a16:creationId xmlns:a16="http://schemas.microsoft.com/office/drawing/2014/main" id="{6B678D06-ECA8-B44C-F163-DA1F6C4958D8}"/>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8" name="Freeform: Shape 52">
                <a:extLst>
                  <a:ext uri="{FF2B5EF4-FFF2-40B4-BE49-F238E27FC236}">
                    <a16:creationId xmlns:a16="http://schemas.microsoft.com/office/drawing/2014/main" id="{292AEA8C-563F-A838-23AC-726A46690814}"/>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36" name="Group 135">
              <a:extLst>
                <a:ext uri="{FF2B5EF4-FFF2-40B4-BE49-F238E27FC236}">
                  <a16:creationId xmlns:a16="http://schemas.microsoft.com/office/drawing/2014/main" id="{F4F7364F-B31E-6BB4-8891-E211F20910AB}"/>
                </a:ext>
              </a:extLst>
            </p:cNvPr>
            <p:cNvGrpSpPr/>
            <p:nvPr userDrawn="1"/>
          </p:nvGrpSpPr>
          <p:grpSpPr>
            <a:xfrm rot="10800000" flipV="1">
              <a:off x="2780760" y="2715971"/>
              <a:ext cx="53143" cy="379249"/>
              <a:chOff x="5390750" y="3681616"/>
              <a:chExt cx="73151" cy="522033"/>
            </a:xfrm>
          </p:grpSpPr>
          <p:sp>
            <p:nvSpPr>
              <p:cNvPr id="137" name="Freeform: Shape 26">
                <a:extLst>
                  <a:ext uri="{FF2B5EF4-FFF2-40B4-BE49-F238E27FC236}">
                    <a16:creationId xmlns:a16="http://schemas.microsoft.com/office/drawing/2014/main" id="{D3FD6EFC-3F0B-452A-7E0C-2C67C854882B}"/>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8" name="Freeform: Shape 27">
                <a:extLst>
                  <a:ext uri="{FF2B5EF4-FFF2-40B4-BE49-F238E27FC236}">
                    <a16:creationId xmlns:a16="http://schemas.microsoft.com/office/drawing/2014/main" id="{5F4070E2-3441-2C36-E80F-732CA8A5B665}"/>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9" name="Freeform: Shape 28">
                <a:extLst>
                  <a:ext uri="{FF2B5EF4-FFF2-40B4-BE49-F238E27FC236}">
                    <a16:creationId xmlns:a16="http://schemas.microsoft.com/office/drawing/2014/main" id="{6B4F1DEE-BBAD-DEEE-1AAE-A7F2EF37B80D}"/>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0" name="Freeform: Shape 29">
                <a:extLst>
                  <a:ext uri="{FF2B5EF4-FFF2-40B4-BE49-F238E27FC236}">
                    <a16:creationId xmlns:a16="http://schemas.microsoft.com/office/drawing/2014/main" id="{92A89736-7C12-1889-6355-8849ADB90630}"/>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1" name="Freeform: Shape 30">
                <a:extLst>
                  <a:ext uri="{FF2B5EF4-FFF2-40B4-BE49-F238E27FC236}">
                    <a16:creationId xmlns:a16="http://schemas.microsoft.com/office/drawing/2014/main" id="{1D9A9B88-E72E-3C1C-3A37-88FBBB61A5B4}"/>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2" name="Freeform: Shape 31">
                <a:extLst>
                  <a:ext uri="{FF2B5EF4-FFF2-40B4-BE49-F238E27FC236}">
                    <a16:creationId xmlns:a16="http://schemas.microsoft.com/office/drawing/2014/main" id="{3CE2A129-3C8B-DDF7-6C24-509D59ABEA6E}"/>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43" name="Freeform: Shape 32">
                <a:extLst>
                  <a:ext uri="{FF2B5EF4-FFF2-40B4-BE49-F238E27FC236}">
                    <a16:creationId xmlns:a16="http://schemas.microsoft.com/office/drawing/2014/main" id="{F88EF78B-1D41-7FAE-E326-66C56CF7F51A}"/>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99" name="Text Placeholder 3">
            <a:extLst>
              <a:ext uri="{FF2B5EF4-FFF2-40B4-BE49-F238E27FC236}">
                <a16:creationId xmlns:a16="http://schemas.microsoft.com/office/drawing/2014/main" id="{4AFB487F-5B5E-B512-4E0E-207129A53B69}"/>
              </a:ext>
            </a:extLst>
          </p:cNvPr>
          <p:cNvSpPr>
            <a:spLocks noGrp="1"/>
          </p:cNvSpPr>
          <p:nvPr>
            <p:ph type="body" sz="quarter" idx="35" hasCustomPrompt="1"/>
          </p:nvPr>
        </p:nvSpPr>
        <p:spPr>
          <a:xfrm>
            <a:off x="3272672" y="4748451"/>
            <a:ext cx="1530642"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200" name="Text Placeholder 85">
            <a:extLst>
              <a:ext uri="{FF2B5EF4-FFF2-40B4-BE49-F238E27FC236}">
                <a16:creationId xmlns:a16="http://schemas.microsoft.com/office/drawing/2014/main" id="{42CA032E-C441-B650-F106-D9882CE5A1E4}"/>
              </a:ext>
            </a:extLst>
          </p:cNvPr>
          <p:cNvSpPr>
            <a:spLocks noGrp="1"/>
          </p:cNvSpPr>
          <p:nvPr>
            <p:ph type="body" sz="quarter" idx="36" hasCustomPrompt="1"/>
          </p:nvPr>
        </p:nvSpPr>
        <p:spPr>
          <a:xfrm>
            <a:off x="3206123" y="5338187"/>
            <a:ext cx="1663741"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201" name="Text Placeholder 121">
            <a:extLst>
              <a:ext uri="{FF2B5EF4-FFF2-40B4-BE49-F238E27FC236}">
                <a16:creationId xmlns:a16="http://schemas.microsoft.com/office/drawing/2014/main" id="{6E4D7B37-50F1-415A-8672-1B7384BCEF0D}"/>
              </a:ext>
            </a:extLst>
          </p:cNvPr>
          <p:cNvSpPr>
            <a:spLocks noGrp="1"/>
          </p:cNvSpPr>
          <p:nvPr>
            <p:ph type="body" sz="quarter" idx="37" hasCustomPrompt="1"/>
          </p:nvPr>
        </p:nvSpPr>
        <p:spPr>
          <a:xfrm>
            <a:off x="3123593" y="5928291"/>
            <a:ext cx="1828800" cy="166199"/>
          </a:xfrm>
        </p:spPr>
        <p:txBody>
          <a:bodyPr vert="horz" wrap="square"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cxnSp>
        <p:nvCxnSpPr>
          <p:cNvPr id="202" name="Straight Connector 201">
            <a:extLst>
              <a:ext uri="{FF2B5EF4-FFF2-40B4-BE49-F238E27FC236}">
                <a16:creationId xmlns:a16="http://schemas.microsoft.com/office/drawing/2014/main" id="{0CB59476-7CBA-67B7-5243-460A465F8105}"/>
              </a:ext>
            </a:extLst>
          </p:cNvPr>
          <p:cNvCxnSpPr>
            <a:cxnSpLocks/>
          </p:cNvCxnSpPr>
          <p:nvPr userDrawn="1"/>
        </p:nvCxnSpPr>
        <p:spPr>
          <a:xfrm>
            <a:off x="3797569" y="5186797"/>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D971BA77-A425-6E1E-3D1E-0FF9848C0759}"/>
              </a:ext>
            </a:extLst>
          </p:cNvPr>
          <p:cNvSpPr/>
          <p:nvPr userDrawn="1"/>
        </p:nvSpPr>
        <p:spPr>
          <a:xfrm>
            <a:off x="3091167" y="1548202"/>
            <a:ext cx="1967446" cy="4159775"/>
          </a:xfrm>
          <a:custGeom>
            <a:avLst/>
            <a:gdLst>
              <a:gd name="connsiteX0" fmla="*/ 0 w 1967446"/>
              <a:gd name="connsiteY0" fmla="*/ 0 h 4159775"/>
              <a:gd name="connsiteX1" fmla="*/ 1320904 w 1967446"/>
              <a:gd name="connsiteY1" fmla="*/ 487 h 4159775"/>
              <a:gd name="connsiteX2" fmla="*/ 1964449 w 1967446"/>
              <a:gd name="connsiteY2" fmla="*/ 372635 h 4159775"/>
              <a:gd name="connsiteX3" fmla="*/ 1966465 w 1967446"/>
              <a:gd name="connsiteY3" fmla="*/ 4159775 h 4159775"/>
              <a:gd name="connsiteX4" fmla="*/ 1957861 w 1967446"/>
              <a:gd name="connsiteY4" fmla="*/ 4159734 h 4159775"/>
              <a:gd name="connsiteX5" fmla="*/ 1958180 w 1967446"/>
              <a:gd name="connsiteY5" fmla="*/ 4032801 h 4159775"/>
              <a:gd name="connsiteX6" fmla="*/ 1955823 w 1967446"/>
              <a:gd name="connsiteY6" fmla="*/ 381261 h 4159775"/>
              <a:gd name="connsiteX7" fmla="*/ 1312278 w 1967446"/>
              <a:gd name="connsiteY7" fmla="*/ 9113 h 4159775"/>
              <a:gd name="connsiteX8" fmla="*/ 0 w 1967446"/>
              <a:gd name="connsiteY8" fmla="*/ 8629 h 415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7446" h="4159775">
                <a:moveTo>
                  <a:pt x="0" y="0"/>
                </a:moveTo>
                <a:lnTo>
                  <a:pt x="1320904" y="487"/>
                </a:lnTo>
                <a:cubicBezTo>
                  <a:pt x="1700867" y="211206"/>
                  <a:pt x="1542227" y="113761"/>
                  <a:pt x="1964449" y="372635"/>
                </a:cubicBezTo>
                <a:cubicBezTo>
                  <a:pt x="1967166" y="1166815"/>
                  <a:pt x="1968490" y="3542076"/>
                  <a:pt x="1966465" y="4159775"/>
                </a:cubicBezTo>
                <a:lnTo>
                  <a:pt x="1957861" y="4159734"/>
                </a:lnTo>
                <a:lnTo>
                  <a:pt x="1958180" y="4032801"/>
                </a:lnTo>
                <a:cubicBezTo>
                  <a:pt x="1959693" y="3259971"/>
                  <a:pt x="1958370" y="1125805"/>
                  <a:pt x="1955823" y="381261"/>
                </a:cubicBezTo>
                <a:cubicBezTo>
                  <a:pt x="1533601" y="122387"/>
                  <a:pt x="1692241" y="219832"/>
                  <a:pt x="1312278" y="9113"/>
                </a:cubicBezTo>
                <a:lnTo>
                  <a:pt x="0" y="8629"/>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nvGrpSpPr>
          <p:cNvPr id="204" name="Group 203">
            <a:extLst>
              <a:ext uri="{FF2B5EF4-FFF2-40B4-BE49-F238E27FC236}">
                <a16:creationId xmlns:a16="http://schemas.microsoft.com/office/drawing/2014/main" id="{A7BE5CB0-A57C-FF67-906C-39A6FB88E117}"/>
              </a:ext>
            </a:extLst>
          </p:cNvPr>
          <p:cNvGrpSpPr/>
          <p:nvPr userDrawn="1"/>
        </p:nvGrpSpPr>
        <p:grpSpPr>
          <a:xfrm>
            <a:off x="3048741" y="5512894"/>
            <a:ext cx="2004060" cy="188794"/>
            <a:chOff x="864207" y="5578707"/>
            <a:chExt cx="2004060" cy="188794"/>
          </a:xfrm>
        </p:grpSpPr>
        <p:cxnSp>
          <p:nvCxnSpPr>
            <p:cNvPr id="205" name="Straight Connector 204">
              <a:extLst>
                <a:ext uri="{FF2B5EF4-FFF2-40B4-BE49-F238E27FC236}">
                  <a16:creationId xmlns:a16="http://schemas.microsoft.com/office/drawing/2014/main" id="{47B56BED-CB96-59B2-41F4-D4E27F64D169}"/>
                </a:ext>
              </a:extLst>
            </p:cNvPr>
            <p:cNvCxnSpPr>
              <a:cxnSpLocks/>
            </p:cNvCxnSpPr>
            <p:nvPr userDrawn="1"/>
          </p:nvCxnSpPr>
          <p:spPr>
            <a:xfrm>
              <a:off x="864207" y="5578707"/>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2B8CE197-9428-B36D-8987-E1C9ECB30BDB}"/>
                </a:ext>
              </a:extLst>
            </p:cNvPr>
            <p:cNvCxnSpPr>
              <a:cxnSpLocks/>
            </p:cNvCxnSpPr>
            <p:nvPr userDrawn="1"/>
          </p:nvCxnSpPr>
          <p:spPr>
            <a:xfrm rot="5400000">
              <a:off x="1871571" y="4770805"/>
              <a:ext cx="0" cy="1993392"/>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207" name="Picture Placeholder 2">
            <a:extLst>
              <a:ext uri="{FF2B5EF4-FFF2-40B4-BE49-F238E27FC236}">
                <a16:creationId xmlns:a16="http://schemas.microsoft.com/office/drawing/2014/main" id="{B9E76ADA-4D4E-2786-F300-2F2609AA28D5}"/>
              </a:ext>
            </a:extLst>
          </p:cNvPr>
          <p:cNvSpPr>
            <a:spLocks noGrp="1"/>
          </p:cNvSpPr>
          <p:nvPr>
            <p:ph type="pic" idx="38" hasCustomPrompt="1"/>
          </p:nvPr>
        </p:nvSpPr>
        <p:spPr>
          <a:xfrm>
            <a:off x="3091167" y="1638969"/>
            <a:ext cx="1865609" cy="2931395"/>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243749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43749 w 2559369"/>
              <a:gd name="connsiteY5" fmla="*/ 7257 h 3738009"/>
              <a:gd name="connsiteX0" fmla="*/ 263158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63158 w 2559369"/>
              <a:gd name="connsiteY5" fmla="*/ 7257 h 3738009"/>
              <a:gd name="connsiteX0" fmla="*/ 289036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89036 w 2559369"/>
              <a:gd name="connsiteY5" fmla="*/ 7257 h 3738009"/>
              <a:gd name="connsiteX0" fmla="*/ 30253 w 2300586"/>
              <a:gd name="connsiteY0" fmla="*/ 7257 h 3744800"/>
              <a:gd name="connsiteX1" fmla="*/ 1644256 w 2300586"/>
              <a:gd name="connsiteY1" fmla="*/ 0 h 3744800"/>
              <a:gd name="connsiteX2" fmla="*/ 2291622 w 2300586"/>
              <a:gd name="connsiteY2" fmla="*/ 400234 h 3744800"/>
              <a:gd name="connsiteX3" fmla="*/ 2300586 w 2300586"/>
              <a:gd name="connsiteY3" fmla="*/ 3738009 h 3744800"/>
              <a:gd name="connsiteX4" fmla="*/ 0 w 2300586"/>
              <a:gd name="connsiteY4" fmla="*/ 3744800 h 3744800"/>
              <a:gd name="connsiteX5" fmla="*/ 30253 w 2300586"/>
              <a:gd name="connsiteY5" fmla="*/ 7257 h 3744800"/>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731217 h 3738009"/>
              <a:gd name="connsiteX5" fmla="*/ 0 w 2270333"/>
              <a:gd name="connsiteY5" fmla="*/ 7257 h 3738009"/>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690468 h 3738009"/>
              <a:gd name="connsiteX5" fmla="*/ 0 w 2270333"/>
              <a:gd name="connsiteY5" fmla="*/ 7257 h 3738009"/>
              <a:gd name="connsiteX0" fmla="*/ 0 w 2270333"/>
              <a:gd name="connsiteY0" fmla="*/ 7257 h 3744799"/>
              <a:gd name="connsiteX1" fmla="*/ 1614003 w 2270333"/>
              <a:gd name="connsiteY1" fmla="*/ 0 h 3744799"/>
              <a:gd name="connsiteX2" fmla="*/ 2261369 w 2270333"/>
              <a:gd name="connsiteY2" fmla="*/ 400234 h 3744799"/>
              <a:gd name="connsiteX3" fmla="*/ 2270333 w 2270333"/>
              <a:gd name="connsiteY3" fmla="*/ 3738009 h 3744799"/>
              <a:gd name="connsiteX4" fmla="*/ 2096 w 2270333"/>
              <a:gd name="connsiteY4" fmla="*/ 3744799 h 3744799"/>
              <a:gd name="connsiteX5" fmla="*/ 0 w 2270333"/>
              <a:gd name="connsiteY5" fmla="*/ 7257 h 374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0333" h="3744799">
                <a:moveTo>
                  <a:pt x="0" y="7257"/>
                </a:moveTo>
                <a:lnTo>
                  <a:pt x="1614003" y="0"/>
                </a:lnTo>
                <a:lnTo>
                  <a:pt x="2261369" y="400234"/>
                </a:lnTo>
                <a:lnTo>
                  <a:pt x="2270333" y="3738009"/>
                </a:lnTo>
                <a:lnTo>
                  <a:pt x="2096" y="3744799"/>
                </a:lnTo>
                <a:cubicBezTo>
                  <a:pt x="1397" y="2498952"/>
                  <a:pt x="699" y="1253104"/>
                  <a:pt x="0" y="7257"/>
                </a:cubicBez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grpSp>
        <p:nvGrpSpPr>
          <p:cNvPr id="208" name="Group 207">
            <a:extLst>
              <a:ext uri="{FF2B5EF4-FFF2-40B4-BE49-F238E27FC236}">
                <a16:creationId xmlns:a16="http://schemas.microsoft.com/office/drawing/2014/main" id="{B8B6E6BC-0E67-BA3F-9DA2-5FC921DAEAF5}"/>
              </a:ext>
            </a:extLst>
          </p:cNvPr>
          <p:cNvGrpSpPr/>
          <p:nvPr userDrawn="1"/>
        </p:nvGrpSpPr>
        <p:grpSpPr>
          <a:xfrm>
            <a:off x="7323531" y="1995726"/>
            <a:ext cx="53143" cy="1085389"/>
            <a:chOff x="2780760" y="2009831"/>
            <a:chExt cx="53143" cy="1085389"/>
          </a:xfrm>
        </p:grpSpPr>
        <p:grpSp>
          <p:nvGrpSpPr>
            <p:cNvPr id="209" name="Graphic 42">
              <a:extLst>
                <a:ext uri="{FF2B5EF4-FFF2-40B4-BE49-F238E27FC236}">
                  <a16:creationId xmlns:a16="http://schemas.microsoft.com/office/drawing/2014/main" id="{9EBAAEC2-D0DD-4B50-FFC3-45D7955111F4}"/>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218" name="Freeform: Shape 33">
                <a:extLst>
                  <a:ext uri="{FF2B5EF4-FFF2-40B4-BE49-F238E27FC236}">
                    <a16:creationId xmlns:a16="http://schemas.microsoft.com/office/drawing/2014/main" id="{E267707C-B1E9-1F96-1B3C-E833B4D683FA}"/>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9" name="Freeform: Shape 34">
                <a:extLst>
                  <a:ext uri="{FF2B5EF4-FFF2-40B4-BE49-F238E27FC236}">
                    <a16:creationId xmlns:a16="http://schemas.microsoft.com/office/drawing/2014/main" id="{D23829D4-9C77-36D3-AEA2-FE2E98CF959A}"/>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0" name="Freeform: Shape 35">
                <a:extLst>
                  <a:ext uri="{FF2B5EF4-FFF2-40B4-BE49-F238E27FC236}">
                    <a16:creationId xmlns:a16="http://schemas.microsoft.com/office/drawing/2014/main" id="{2255803C-FF9B-5446-1449-1CBB1D9E5B3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1" name="Freeform: Shape 36">
                <a:extLst>
                  <a:ext uri="{FF2B5EF4-FFF2-40B4-BE49-F238E27FC236}">
                    <a16:creationId xmlns:a16="http://schemas.microsoft.com/office/drawing/2014/main" id="{7E370767-9392-D954-56F6-6F69EF2B012C}"/>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2" name="Freeform: Shape 37">
                <a:extLst>
                  <a:ext uri="{FF2B5EF4-FFF2-40B4-BE49-F238E27FC236}">
                    <a16:creationId xmlns:a16="http://schemas.microsoft.com/office/drawing/2014/main" id="{663F10CE-7B21-4FF3-1A4E-1065469E0113}"/>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3" name="Freeform: Shape 38">
                <a:extLst>
                  <a:ext uri="{FF2B5EF4-FFF2-40B4-BE49-F238E27FC236}">
                    <a16:creationId xmlns:a16="http://schemas.microsoft.com/office/drawing/2014/main" id="{ABCA32C2-DA22-598B-C10A-EECD7A3D31DA}"/>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4" name="Freeform: Shape 39">
                <a:extLst>
                  <a:ext uri="{FF2B5EF4-FFF2-40B4-BE49-F238E27FC236}">
                    <a16:creationId xmlns:a16="http://schemas.microsoft.com/office/drawing/2014/main" id="{C355529F-67D6-A882-906A-1D2A268013B2}"/>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5" name="Freeform: Shape 40">
                <a:extLst>
                  <a:ext uri="{FF2B5EF4-FFF2-40B4-BE49-F238E27FC236}">
                    <a16:creationId xmlns:a16="http://schemas.microsoft.com/office/drawing/2014/main" id="{7CFD3B29-46D9-B597-00CF-DE19ACC6CABC}"/>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6" name="Freeform: Shape 41">
                <a:extLst>
                  <a:ext uri="{FF2B5EF4-FFF2-40B4-BE49-F238E27FC236}">
                    <a16:creationId xmlns:a16="http://schemas.microsoft.com/office/drawing/2014/main" id="{A40BAE3C-613B-3971-D710-13897804296A}"/>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7" name="Freeform: Shape 42">
                <a:extLst>
                  <a:ext uri="{FF2B5EF4-FFF2-40B4-BE49-F238E27FC236}">
                    <a16:creationId xmlns:a16="http://schemas.microsoft.com/office/drawing/2014/main" id="{C447F65B-B460-9C12-319B-62E2C6A3581A}"/>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8" name="Freeform: Shape 43">
                <a:extLst>
                  <a:ext uri="{FF2B5EF4-FFF2-40B4-BE49-F238E27FC236}">
                    <a16:creationId xmlns:a16="http://schemas.microsoft.com/office/drawing/2014/main" id="{71881D51-0AFB-B15D-F1F3-65193010CEDC}"/>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9" name="Freeform: Shape 44">
                <a:extLst>
                  <a:ext uri="{FF2B5EF4-FFF2-40B4-BE49-F238E27FC236}">
                    <a16:creationId xmlns:a16="http://schemas.microsoft.com/office/drawing/2014/main" id="{863F381D-AB7B-8F00-CA04-06C655A50BA7}"/>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0" name="Freeform: Shape 45">
                <a:extLst>
                  <a:ext uri="{FF2B5EF4-FFF2-40B4-BE49-F238E27FC236}">
                    <a16:creationId xmlns:a16="http://schemas.microsoft.com/office/drawing/2014/main" id="{689936A6-B483-B7FC-6B2C-2A21BC334FF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1" name="Freeform: Shape 46">
                <a:extLst>
                  <a:ext uri="{FF2B5EF4-FFF2-40B4-BE49-F238E27FC236}">
                    <a16:creationId xmlns:a16="http://schemas.microsoft.com/office/drawing/2014/main" id="{9C1159CA-B3EB-7C82-82A5-E3BC894AD1A6}"/>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2" name="Freeform: Shape 47">
                <a:extLst>
                  <a:ext uri="{FF2B5EF4-FFF2-40B4-BE49-F238E27FC236}">
                    <a16:creationId xmlns:a16="http://schemas.microsoft.com/office/drawing/2014/main" id="{F19E6C7B-F8A9-F5B6-F327-5EC92C38CFC8}"/>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3" name="Freeform: Shape 48">
                <a:extLst>
                  <a:ext uri="{FF2B5EF4-FFF2-40B4-BE49-F238E27FC236}">
                    <a16:creationId xmlns:a16="http://schemas.microsoft.com/office/drawing/2014/main" id="{0BF5BF7D-7A29-4DD4-7DC0-CAF7EEE25A80}"/>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4" name="Freeform: Shape 49">
                <a:extLst>
                  <a:ext uri="{FF2B5EF4-FFF2-40B4-BE49-F238E27FC236}">
                    <a16:creationId xmlns:a16="http://schemas.microsoft.com/office/drawing/2014/main" id="{F9D41298-7285-D852-BF30-1A8D6B85AEB9}"/>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5" name="Freeform: Shape 50">
                <a:extLst>
                  <a:ext uri="{FF2B5EF4-FFF2-40B4-BE49-F238E27FC236}">
                    <a16:creationId xmlns:a16="http://schemas.microsoft.com/office/drawing/2014/main" id="{00F1183A-D766-4EEB-4228-96EC5A3D578E}"/>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6" name="Freeform: Shape 51">
                <a:extLst>
                  <a:ext uri="{FF2B5EF4-FFF2-40B4-BE49-F238E27FC236}">
                    <a16:creationId xmlns:a16="http://schemas.microsoft.com/office/drawing/2014/main" id="{18B8A8FB-D8FB-2C30-0ACC-FC59EA02FE1A}"/>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7" name="Freeform: Shape 52">
                <a:extLst>
                  <a:ext uri="{FF2B5EF4-FFF2-40B4-BE49-F238E27FC236}">
                    <a16:creationId xmlns:a16="http://schemas.microsoft.com/office/drawing/2014/main" id="{2D793503-63DF-AD8C-8D78-A50B65D00C35}"/>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10" name="Group 209">
              <a:extLst>
                <a:ext uri="{FF2B5EF4-FFF2-40B4-BE49-F238E27FC236}">
                  <a16:creationId xmlns:a16="http://schemas.microsoft.com/office/drawing/2014/main" id="{41FD7C72-F58B-3116-2E33-35FA92DF6AB0}"/>
                </a:ext>
              </a:extLst>
            </p:cNvPr>
            <p:cNvGrpSpPr/>
            <p:nvPr userDrawn="1"/>
          </p:nvGrpSpPr>
          <p:grpSpPr>
            <a:xfrm rot="10800000" flipV="1">
              <a:off x="2780760" y="2715971"/>
              <a:ext cx="53143" cy="379249"/>
              <a:chOff x="5390750" y="3681616"/>
              <a:chExt cx="73151" cy="522033"/>
            </a:xfrm>
          </p:grpSpPr>
          <p:sp>
            <p:nvSpPr>
              <p:cNvPr id="211" name="Freeform: Shape 26">
                <a:extLst>
                  <a:ext uri="{FF2B5EF4-FFF2-40B4-BE49-F238E27FC236}">
                    <a16:creationId xmlns:a16="http://schemas.microsoft.com/office/drawing/2014/main" id="{D638DB53-2ECE-77A6-F4D4-3B50947F553A}"/>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2" name="Freeform: Shape 27">
                <a:extLst>
                  <a:ext uri="{FF2B5EF4-FFF2-40B4-BE49-F238E27FC236}">
                    <a16:creationId xmlns:a16="http://schemas.microsoft.com/office/drawing/2014/main" id="{FDE0C6BC-AFAA-3893-6D60-4ECF19041729}"/>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3" name="Freeform: Shape 28">
                <a:extLst>
                  <a:ext uri="{FF2B5EF4-FFF2-40B4-BE49-F238E27FC236}">
                    <a16:creationId xmlns:a16="http://schemas.microsoft.com/office/drawing/2014/main" id="{58353251-5513-87A0-6798-554F1A688C09}"/>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4" name="Freeform: Shape 29">
                <a:extLst>
                  <a:ext uri="{FF2B5EF4-FFF2-40B4-BE49-F238E27FC236}">
                    <a16:creationId xmlns:a16="http://schemas.microsoft.com/office/drawing/2014/main" id="{603E17B4-B676-0513-4ECF-0CF0F4636669}"/>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5" name="Freeform: Shape 30">
                <a:extLst>
                  <a:ext uri="{FF2B5EF4-FFF2-40B4-BE49-F238E27FC236}">
                    <a16:creationId xmlns:a16="http://schemas.microsoft.com/office/drawing/2014/main" id="{665EDE21-5109-DC0C-9E0A-B90FC0DD48D6}"/>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6" name="Freeform: Shape 31">
                <a:extLst>
                  <a:ext uri="{FF2B5EF4-FFF2-40B4-BE49-F238E27FC236}">
                    <a16:creationId xmlns:a16="http://schemas.microsoft.com/office/drawing/2014/main" id="{7730BA70-00BE-78F7-8CEF-5BE0A6786FE7}"/>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17" name="Freeform: Shape 32">
                <a:extLst>
                  <a:ext uri="{FF2B5EF4-FFF2-40B4-BE49-F238E27FC236}">
                    <a16:creationId xmlns:a16="http://schemas.microsoft.com/office/drawing/2014/main" id="{054CA6DB-23D0-62C3-A1FB-D73DF0EF7977}"/>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238" name="Text Placeholder 3">
            <a:extLst>
              <a:ext uri="{FF2B5EF4-FFF2-40B4-BE49-F238E27FC236}">
                <a16:creationId xmlns:a16="http://schemas.microsoft.com/office/drawing/2014/main" id="{0CEC474C-7821-D0C3-AEBD-E1AB660DADA4}"/>
              </a:ext>
            </a:extLst>
          </p:cNvPr>
          <p:cNvSpPr>
            <a:spLocks noGrp="1"/>
          </p:cNvSpPr>
          <p:nvPr>
            <p:ph type="body" sz="quarter" idx="39" hasCustomPrompt="1"/>
          </p:nvPr>
        </p:nvSpPr>
        <p:spPr>
          <a:xfrm>
            <a:off x="5478368" y="4748451"/>
            <a:ext cx="1530642"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239" name="Text Placeholder 85">
            <a:extLst>
              <a:ext uri="{FF2B5EF4-FFF2-40B4-BE49-F238E27FC236}">
                <a16:creationId xmlns:a16="http://schemas.microsoft.com/office/drawing/2014/main" id="{0D87EFF3-00C1-F5BA-1F71-0E42E65F3F01}"/>
              </a:ext>
            </a:extLst>
          </p:cNvPr>
          <p:cNvSpPr>
            <a:spLocks noGrp="1"/>
          </p:cNvSpPr>
          <p:nvPr>
            <p:ph type="body" sz="quarter" idx="40" hasCustomPrompt="1"/>
          </p:nvPr>
        </p:nvSpPr>
        <p:spPr>
          <a:xfrm>
            <a:off x="5411819" y="5338187"/>
            <a:ext cx="1663741"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240" name="Text Placeholder 121">
            <a:extLst>
              <a:ext uri="{FF2B5EF4-FFF2-40B4-BE49-F238E27FC236}">
                <a16:creationId xmlns:a16="http://schemas.microsoft.com/office/drawing/2014/main" id="{C042AC9C-AE30-8D3E-A721-61CC179CF959}"/>
              </a:ext>
            </a:extLst>
          </p:cNvPr>
          <p:cNvSpPr>
            <a:spLocks noGrp="1"/>
          </p:cNvSpPr>
          <p:nvPr>
            <p:ph type="body" sz="quarter" idx="41" hasCustomPrompt="1"/>
          </p:nvPr>
        </p:nvSpPr>
        <p:spPr>
          <a:xfrm>
            <a:off x="5329289" y="5928291"/>
            <a:ext cx="1828800" cy="166199"/>
          </a:xfrm>
        </p:spPr>
        <p:txBody>
          <a:bodyPr vert="horz" wrap="square"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cxnSp>
        <p:nvCxnSpPr>
          <p:cNvPr id="241" name="Straight Connector 240">
            <a:extLst>
              <a:ext uri="{FF2B5EF4-FFF2-40B4-BE49-F238E27FC236}">
                <a16:creationId xmlns:a16="http://schemas.microsoft.com/office/drawing/2014/main" id="{02C65335-2804-E00C-96EB-006BAEA12D07}"/>
              </a:ext>
            </a:extLst>
          </p:cNvPr>
          <p:cNvCxnSpPr>
            <a:cxnSpLocks/>
          </p:cNvCxnSpPr>
          <p:nvPr userDrawn="1"/>
        </p:nvCxnSpPr>
        <p:spPr>
          <a:xfrm>
            <a:off x="6003265" y="5186797"/>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42" name="Freeform: Shape 241">
            <a:extLst>
              <a:ext uri="{FF2B5EF4-FFF2-40B4-BE49-F238E27FC236}">
                <a16:creationId xmlns:a16="http://schemas.microsoft.com/office/drawing/2014/main" id="{A29AC7C3-8C8C-BF15-A6A3-2EAFB185FA9E}"/>
              </a:ext>
            </a:extLst>
          </p:cNvPr>
          <p:cNvSpPr/>
          <p:nvPr userDrawn="1"/>
        </p:nvSpPr>
        <p:spPr>
          <a:xfrm>
            <a:off x="5296863" y="1548202"/>
            <a:ext cx="1967446" cy="4159775"/>
          </a:xfrm>
          <a:custGeom>
            <a:avLst/>
            <a:gdLst>
              <a:gd name="connsiteX0" fmla="*/ 0 w 1967446"/>
              <a:gd name="connsiteY0" fmla="*/ 0 h 4159775"/>
              <a:gd name="connsiteX1" fmla="*/ 1320904 w 1967446"/>
              <a:gd name="connsiteY1" fmla="*/ 487 h 4159775"/>
              <a:gd name="connsiteX2" fmla="*/ 1964449 w 1967446"/>
              <a:gd name="connsiteY2" fmla="*/ 372635 h 4159775"/>
              <a:gd name="connsiteX3" fmla="*/ 1966465 w 1967446"/>
              <a:gd name="connsiteY3" fmla="*/ 4159775 h 4159775"/>
              <a:gd name="connsiteX4" fmla="*/ 1957861 w 1967446"/>
              <a:gd name="connsiteY4" fmla="*/ 4159734 h 4159775"/>
              <a:gd name="connsiteX5" fmla="*/ 1958180 w 1967446"/>
              <a:gd name="connsiteY5" fmla="*/ 4032801 h 4159775"/>
              <a:gd name="connsiteX6" fmla="*/ 1955823 w 1967446"/>
              <a:gd name="connsiteY6" fmla="*/ 381261 h 4159775"/>
              <a:gd name="connsiteX7" fmla="*/ 1312278 w 1967446"/>
              <a:gd name="connsiteY7" fmla="*/ 9113 h 4159775"/>
              <a:gd name="connsiteX8" fmla="*/ 0 w 1967446"/>
              <a:gd name="connsiteY8" fmla="*/ 8629 h 415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7446" h="4159775">
                <a:moveTo>
                  <a:pt x="0" y="0"/>
                </a:moveTo>
                <a:lnTo>
                  <a:pt x="1320904" y="487"/>
                </a:lnTo>
                <a:cubicBezTo>
                  <a:pt x="1700867" y="211206"/>
                  <a:pt x="1542227" y="113761"/>
                  <a:pt x="1964449" y="372635"/>
                </a:cubicBezTo>
                <a:cubicBezTo>
                  <a:pt x="1967166" y="1166815"/>
                  <a:pt x="1968490" y="3542076"/>
                  <a:pt x="1966465" y="4159775"/>
                </a:cubicBezTo>
                <a:lnTo>
                  <a:pt x="1957861" y="4159734"/>
                </a:lnTo>
                <a:lnTo>
                  <a:pt x="1958180" y="4032801"/>
                </a:lnTo>
                <a:cubicBezTo>
                  <a:pt x="1959693" y="3259971"/>
                  <a:pt x="1958370" y="1125805"/>
                  <a:pt x="1955823" y="381261"/>
                </a:cubicBezTo>
                <a:cubicBezTo>
                  <a:pt x="1533601" y="122387"/>
                  <a:pt x="1692241" y="219832"/>
                  <a:pt x="1312278" y="9113"/>
                </a:cubicBezTo>
                <a:lnTo>
                  <a:pt x="0" y="8629"/>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nvGrpSpPr>
          <p:cNvPr id="243" name="Group 242">
            <a:extLst>
              <a:ext uri="{FF2B5EF4-FFF2-40B4-BE49-F238E27FC236}">
                <a16:creationId xmlns:a16="http://schemas.microsoft.com/office/drawing/2014/main" id="{A1A981F2-C639-E958-5EAF-94B37720E6D3}"/>
              </a:ext>
            </a:extLst>
          </p:cNvPr>
          <p:cNvGrpSpPr/>
          <p:nvPr userDrawn="1"/>
        </p:nvGrpSpPr>
        <p:grpSpPr>
          <a:xfrm>
            <a:off x="5254437" y="5512894"/>
            <a:ext cx="2004060" cy="188794"/>
            <a:chOff x="864207" y="5578707"/>
            <a:chExt cx="2004060" cy="188794"/>
          </a:xfrm>
        </p:grpSpPr>
        <p:cxnSp>
          <p:nvCxnSpPr>
            <p:cNvPr id="244" name="Straight Connector 243">
              <a:extLst>
                <a:ext uri="{FF2B5EF4-FFF2-40B4-BE49-F238E27FC236}">
                  <a16:creationId xmlns:a16="http://schemas.microsoft.com/office/drawing/2014/main" id="{EE3D03ED-D18B-92CF-2B4B-8D4FBD1D8CA6}"/>
                </a:ext>
              </a:extLst>
            </p:cNvPr>
            <p:cNvCxnSpPr>
              <a:cxnSpLocks/>
            </p:cNvCxnSpPr>
            <p:nvPr userDrawn="1"/>
          </p:nvCxnSpPr>
          <p:spPr>
            <a:xfrm>
              <a:off x="864207" y="5578707"/>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77FCCEB-F6A8-946E-3660-38B0943252E4}"/>
                </a:ext>
              </a:extLst>
            </p:cNvPr>
            <p:cNvCxnSpPr>
              <a:cxnSpLocks/>
            </p:cNvCxnSpPr>
            <p:nvPr userDrawn="1"/>
          </p:nvCxnSpPr>
          <p:spPr>
            <a:xfrm rot="5400000">
              <a:off x="1871571" y="4770805"/>
              <a:ext cx="0" cy="1993392"/>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246" name="Picture Placeholder 2">
            <a:extLst>
              <a:ext uri="{FF2B5EF4-FFF2-40B4-BE49-F238E27FC236}">
                <a16:creationId xmlns:a16="http://schemas.microsoft.com/office/drawing/2014/main" id="{627612C3-2819-AA40-4557-FC33F1CBF1C6}"/>
              </a:ext>
            </a:extLst>
          </p:cNvPr>
          <p:cNvSpPr>
            <a:spLocks noGrp="1"/>
          </p:cNvSpPr>
          <p:nvPr>
            <p:ph type="pic" idx="42" hasCustomPrompt="1"/>
          </p:nvPr>
        </p:nvSpPr>
        <p:spPr>
          <a:xfrm>
            <a:off x="5296863" y="1638969"/>
            <a:ext cx="1865609" cy="2931395"/>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243749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43749 w 2559369"/>
              <a:gd name="connsiteY5" fmla="*/ 7257 h 3738009"/>
              <a:gd name="connsiteX0" fmla="*/ 263158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63158 w 2559369"/>
              <a:gd name="connsiteY5" fmla="*/ 7257 h 3738009"/>
              <a:gd name="connsiteX0" fmla="*/ 289036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89036 w 2559369"/>
              <a:gd name="connsiteY5" fmla="*/ 7257 h 3738009"/>
              <a:gd name="connsiteX0" fmla="*/ 30253 w 2300586"/>
              <a:gd name="connsiteY0" fmla="*/ 7257 h 3744800"/>
              <a:gd name="connsiteX1" fmla="*/ 1644256 w 2300586"/>
              <a:gd name="connsiteY1" fmla="*/ 0 h 3744800"/>
              <a:gd name="connsiteX2" fmla="*/ 2291622 w 2300586"/>
              <a:gd name="connsiteY2" fmla="*/ 400234 h 3744800"/>
              <a:gd name="connsiteX3" fmla="*/ 2300586 w 2300586"/>
              <a:gd name="connsiteY3" fmla="*/ 3738009 h 3744800"/>
              <a:gd name="connsiteX4" fmla="*/ 0 w 2300586"/>
              <a:gd name="connsiteY4" fmla="*/ 3744800 h 3744800"/>
              <a:gd name="connsiteX5" fmla="*/ 30253 w 2300586"/>
              <a:gd name="connsiteY5" fmla="*/ 7257 h 3744800"/>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731217 h 3738009"/>
              <a:gd name="connsiteX5" fmla="*/ 0 w 2270333"/>
              <a:gd name="connsiteY5" fmla="*/ 7257 h 3738009"/>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690468 h 3738009"/>
              <a:gd name="connsiteX5" fmla="*/ 0 w 2270333"/>
              <a:gd name="connsiteY5" fmla="*/ 7257 h 3738009"/>
              <a:gd name="connsiteX0" fmla="*/ 0 w 2270333"/>
              <a:gd name="connsiteY0" fmla="*/ 7257 h 3744799"/>
              <a:gd name="connsiteX1" fmla="*/ 1614003 w 2270333"/>
              <a:gd name="connsiteY1" fmla="*/ 0 h 3744799"/>
              <a:gd name="connsiteX2" fmla="*/ 2261369 w 2270333"/>
              <a:gd name="connsiteY2" fmla="*/ 400234 h 3744799"/>
              <a:gd name="connsiteX3" fmla="*/ 2270333 w 2270333"/>
              <a:gd name="connsiteY3" fmla="*/ 3738009 h 3744799"/>
              <a:gd name="connsiteX4" fmla="*/ 2096 w 2270333"/>
              <a:gd name="connsiteY4" fmla="*/ 3744799 h 3744799"/>
              <a:gd name="connsiteX5" fmla="*/ 0 w 2270333"/>
              <a:gd name="connsiteY5" fmla="*/ 7257 h 374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0333" h="3744799">
                <a:moveTo>
                  <a:pt x="0" y="7257"/>
                </a:moveTo>
                <a:lnTo>
                  <a:pt x="1614003" y="0"/>
                </a:lnTo>
                <a:lnTo>
                  <a:pt x="2261369" y="400234"/>
                </a:lnTo>
                <a:lnTo>
                  <a:pt x="2270333" y="3738009"/>
                </a:lnTo>
                <a:lnTo>
                  <a:pt x="2096" y="3744799"/>
                </a:lnTo>
                <a:cubicBezTo>
                  <a:pt x="1397" y="2498952"/>
                  <a:pt x="699" y="1253104"/>
                  <a:pt x="0" y="7257"/>
                </a:cubicBez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grpSp>
        <p:nvGrpSpPr>
          <p:cNvPr id="247" name="Group 246">
            <a:extLst>
              <a:ext uri="{FF2B5EF4-FFF2-40B4-BE49-F238E27FC236}">
                <a16:creationId xmlns:a16="http://schemas.microsoft.com/office/drawing/2014/main" id="{E221F4F1-589E-C924-E53F-41D166FF5D18}"/>
              </a:ext>
            </a:extLst>
          </p:cNvPr>
          <p:cNvGrpSpPr/>
          <p:nvPr userDrawn="1"/>
        </p:nvGrpSpPr>
        <p:grpSpPr>
          <a:xfrm>
            <a:off x="9529226" y="1995726"/>
            <a:ext cx="53143" cy="1085389"/>
            <a:chOff x="2780760" y="2009831"/>
            <a:chExt cx="53143" cy="1085389"/>
          </a:xfrm>
        </p:grpSpPr>
        <p:grpSp>
          <p:nvGrpSpPr>
            <p:cNvPr id="248" name="Graphic 42">
              <a:extLst>
                <a:ext uri="{FF2B5EF4-FFF2-40B4-BE49-F238E27FC236}">
                  <a16:creationId xmlns:a16="http://schemas.microsoft.com/office/drawing/2014/main" id="{D8D99149-398D-21EB-4A99-EAEF387B6162}"/>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257" name="Freeform: Shape 33">
                <a:extLst>
                  <a:ext uri="{FF2B5EF4-FFF2-40B4-BE49-F238E27FC236}">
                    <a16:creationId xmlns:a16="http://schemas.microsoft.com/office/drawing/2014/main" id="{E64FC4F2-19B8-C530-AB92-935B714999A3}"/>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8" name="Freeform: Shape 34">
                <a:extLst>
                  <a:ext uri="{FF2B5EF4-FFF2-40B4-BE49-F238E27FC236}">
                    <a16:creationId xmlns:a16="http://schemas.microsoft.com/office/drawing/2014/main" id="{8F7EBF57-DFF4-1A73-0032-8F39DEBC5E52}"/>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9" name="Freeform: Shape 35">
                <a:extLst>
                  <a:ext uri="{FF2B5EF4-FFF2-40B4-BE49-F238E27FC236}">
                    <a16:creationId xmlns:a16="http://schemas.microsoft.com/office/drawing/2014/main" id="{166A5646-66B3-3B56-1CD5-9FE2C2B3E290}"/>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0" name="Freeform: Shape 36">
                <a:extLst>
                  <a:ext uri="{FF2B5EF4-FFF2-40B4-BE49-F238E27FC236}">
                    <a16:creationId xmlns:a16="http://schemas.microsoft.com/office/drawing/2014/main" id="{DF8186A3-9F44-DA21-D522-B68253AD843D}"/>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1" name="Freeform: Shape 37">
                <a:extLst>
                  <a:ext uri="{FF2B5EF4-FFF2-40B4-BE49-F238E27FC236}">
                    <a16:creationId xmlns:a16="http://schemas.microsoft.com/office/drawing/2014/main" id="{42822B8E-2557-84B1-8BE2-2AAC01B0C75F}"/>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2" name="Freeform: Shape 38">
                <a:extLst>
                  <a:ext uri="{FF2B5EF4-FFF2-40B4-BE49-F238E27FC236}">
                    <a16:creationId xmlns:a16="http://schemas.microsoft.com/office/drawing/2014/main" id="{07490151-9785-7BCC-5CAD-3EF5E261CEF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3" name="Freeform: Shape 39">
                <a:extLst>
                  <a:ext uri="{FF2B5EF4-FFF2-40B4-BE49-F238E27FC236}">
                    <a16:creationId xmlns:a16="http://schemas.microsoft.com/office/drawing/2014/main" id="{11A17D26-3275-05D3-DEE2-96411B249EB3}"/>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4" name="Freeform: Shape 40">
                <a:extLst>
                  <a:ext uri="{FF2B5EF4-FFF2-40B4-BE49-F238E27FC236}">
                    <a16:creationId xmlns:a16="http://schemas.microsoft.com/office/drawing/2014/main" id="{8A2A3DD8-BE12-C66E-FF45-FB373A32F536}"/>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5" name="Freeform: Shape 41">
                <a:extLst>
                  <a:ext uri="{FF2B5EF4-FFF2-40B4-BE49-F238E27FC236}">
                    <a16:creationId xmlns:a16="http://schemas.microsoft.com/office/drawing/2014/main" id="{B482A1E6-B8E4-E08A-2510-53742346CE14}"/>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6" name="Freeform: Shape 42">
                <a:extLst>
                  <a:ext uri="{FF2B5EF4-FFF2-40B4-BE49-F238E27FC236}">
                    <a16:creationId xmlns:a16="http://schemas.microsoft.com/office/drawing/2014/main" id="{233F7946-97D8-F6BB-52A9-36BF5B3312E1}"/>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7" name="Freeform: Shape 43">
                <a:extLst>
                  <a:ext uri="{FF2B5EF4-FFF2-40B4-BE49-F238E27FC236}">
                    <a16:creationId xmlns:a16="http://schemas.microsoft.com/office/drawing/2014/main" id="{4EA6ECD9-28EA-59EC-EA73-3E6E16E71179}"/>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8" name="Freeform: Shape 44">
                <a:extLst>
                  <a:ext uri="{FF2B5EF4-FFF2-40B4-BE49-F238E27FC236}">
                    <a16:creationId xmlns:a16="http://schemas.microsoft.com/office/drawing/2014/main" id="{4034491F-D574-6919-8F75-8733A199186C}"/>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9" name="Freeform: Shape 45">
                <a:extLst>
                  <a:ext uri="{FF2B5EF4-FFF2-40B4-BE49-F238E27FC236}">
                    <a16:creationId xmlns:a16="http://schemas.microsoft.com/office/drawing/2014/main" id="{55AC6DFB-4751-8C94-D1FE-8A945BE0DD87}"/>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0" name="Freeform: Shape 46">
                <a:extLst>
                  <a:ext uri="{FF2B5EF4-FFF2-40B4-BE49-F238E27FC236}">
                    <a16:creationId xmlns:a16="http://schemas.microsoft.com/office/drawing/2014/main" id="{8449275B-8B7F-533F-9FA2-AE06A7488F9C}"/>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1" name="Freeform: Shape 47">
                <a:extLst>
                  <a:ext uri="{FF2B5EF4-FFF2-40B4-BE49-F238E27FC236}">
                    <a16:creationId xmlns:a16="http://schemas.microsoft.com/office/drawing/2014/main" id="{7C0B6383-C902-22B0-C775-4427117FED4A}"/>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2" name="Freeform: Shape 48">
                <a:extLst>
                  <a:ext uri="{FF2B5EF4-FFF2-40B4-BE49-F238E27FC236}">
                    <a16:creationId xmlns:a16="http://schemas.microsoft.com/office/drawing/2014/main" id="{B3BDB078-7764-D6FE-EC56-4DBCA7642FF0}"/>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3" name="Freeform: Shape 49">
                <a:extLst>
                  <a:ext uri="{FF2B5EF4-FFF2-40B4-BE49-F238E27FC236}">
                    <a16:creationId xmlns:a16="http://schemas.microsoft.com/office/drawing/2014/main" id="{0D6ECCDB-0705-D453-B875-1301B8614540}"/>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4" name="Freeform: Shape 50">
                <a:extLst>
                  <a:ext uri="{FF2B5EF4-FFF2-40B4-BE49-F238E27FC236}">
                    <a16:creationId xmlns:a16="http://schemas.microsoft.com/office/drawing/2014/main" id="{95262321-ED8E-81B9-63DC-71EFCE0423B9}"/>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5" name="Freeform: Shape 51">
                <a:extLst>
                  <a:ext uri="{FF2B5EF4-FFF2-40B4-BE49-F238E27FC236}">
                    <a16:creationId xmlns:a16="http://schemas.microsoft.com/office/drawing/2014/main" id="{C1EBC936-B699-6FEF-1863-5B441E1E963A}"/>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6" name="Freeform: Shape 52">
                <a:extLst>
                  <a:ext uri="{FF2B5EF4-FFF2-40B4-BE49-F238E27FC236}">
                    <a16:creationId xmlns:a16="http://schemas.microsoft.com/office/drawing/2014/main" id="{263EE612-2194-82D9-39EA-8C5B6C6E5A0E}"/>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49" name="Group 248">
              <a:extLst>
                <a:ext uri="{FF2B5EF4-FFF2-40B4-BE49-F238E27FC236}">
                  <a16:creationId xmlns:a16="http://schemas.microsoft.com/office/drawing/2014/main" id="{164084F3-FEB4-0C33-4351-F2B3C540B2EF}"/>
                </a:ext>
              </a:extLst>
            </p:cNvPr>
            <p:cNvGrpSpPr/>
            <p:nvPr userDrawn="1"/>
          </p:nvGrpSpPr>
          <p:grpSpPr>
            <a:xfrm rot="10800000" flipV="1">
              <a:off x="2780760" y="2715971"/>
              <a:ext cx="53143" cy="379249"/>
              <a:chOff x="5390750" y="3681616"/>
              <a:chExt cx="73151" cy="522033"/>
            </a:xfrm>
          </p:grpSpPr>
          <p:sp>
            <p:nvSpPr>
              <p:cNvPr id="250" name="Freeform: Shape 26">
                <a:extLst>
                  <a:ext uri="{FF2B5EF4-FFF2-40B4-BE49-F238E27FC236}">
                    <a16:creationId xmlns:a16="http://schemas.microsoft.com/office/drawing/2014/main" id="{A3A8DEB1-93A1-358E-8024-3A9D7614B55C}"/>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1" name="Freeform: Shape 27">
                <a:extLst>
                  <a:ext uri="{FF2B5EF4-FFF2-40B4-BE49-F238E27FC236}">
                    <a16:creationId xmlns:a16="http://schemas.microsoft.com/office/drawing/2014/main" id="{38332F13-B46A-18A4-120C-84156C39D223}"/>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2" name="Freeform: Shape 28">
                <a:extLst>
                  <a:ext uri="{FF2B5EF4-FFF2-40B4-BE49-F238E27FC236}">
                    <a16:creationId xmlns:a16="http://schemas.microsoft.com/office/drawing/2014/main" id="{A7645D9E-A69A-60E2-CB16-7B52317B3020}"/>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3" name="Freeform: Shape 29">
                <a:extLst>
                  <a:ext uri="{FF2B5EF4-FFF2-40B4-BE49-F238E27FC236}">
                    <a16:creationId xmlns:a16="http://schemas.microsoft.com/office/drawing/2014/main" id="{8251E2A1-A7FB-2890-D5A3-C53BAB19A889}"/>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4" name="Freeform: Shape 30">
                <a:extLst>
                  <a:ext uri="{FF2B5EF4-FFF2-40B4-BE49-F238E27FC236}">
                    <a16:creationId xmlns:a16="http://schemas.microsoft.com/office/drawing/2014/main" id="{8F50AFBA-57BF-599E-9129-D2033DAA2912}"/>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5" name="Freeform: Shape 31">
                <a:extLst>
                  <a:ext uri="{FF2B5EF4-FFF2-40B4-BE49-F238E27FC236}">
                    <a16:creationId xmlns:a16="http://schemas.microsoft.com/office/drawing/2014/main" id="{CF9B5986-4E5E-341C-0793-EE0CFF09D01F}"/>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6" name="Freeform: Shape 32">
                <a:extLst>
                  <a:ext uri="{FF2B5EF4-FFF2-40B4-BE49-F238E27FC236}">
                    <a16:creationId xmlns:a16="http://schemas.microsoft.com/office/drawing/2014/main" id="{037CED93-906D-2E53-9C42-68E05EBB19B2}"/>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277" name="Text Placeholder 3">
            <a:extLst>
              <a:ext uri="{FF2B5EF4-FFF2-40B4-BE49-F238E27FC236}">
                <a16:creationId xmlns:a16="http://schemas.microsoft.com/office/drawing/2014/main" id="{5E5A5999-5B93-DBDF-8141-A39BDCD5EF00}"/>
              </a:ext>
            </a:extLst>
          </p:cNvPr>
          <p:cNvSpPr>
            <a:spLocks noGrp="1"/>
          </p:cNvSpPr>
          <p:nvPr>
            <p:ph type="body" sz="quarter" idx="43" hasCustomPrompt="1"/>
          </p:nvPr>
        </p:nvSpPr>
        <p:spPr>
          <a:xfrm>
            <a:off x="7684063" y="4748451"/>
            <a:ext cx="1530642"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278" name="Text Placeholder 85">
            <a:extLst>
              <a:ext uri="{FF2B5EF4-FFF2-40B4-BE49-F238E27FC236}">
                <a16:creationId xmlns:a16="http://schemas.microsoft.com/office/drawing/2014/main" id="{62F67AA8-B7DB-04F9-217A-2C9338C5598C}"/>
              </a:ext>
            </a:extLst>
          </p:cNvPr>
          <p:cNvSpPr>
            <a:spLocks noGrp="1"/>
          </p:cNvSpPr>
          <p:nvPr>
            <p:ph type="body" sz="quarter" idx="44" hasCustomPrompt="1"/>
          </p:nvPr>
        </p:nvSpPr>
        <p:spPr>
          <a:xfrm>
            <a:off x="7617514" y="5338187"/>
            <a:ext cx="1663741"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279" name="Text Placeholder 121">
            <a:extLst>
              <a:ext uri="{FF2B5EF4-FFF2-40B4-BE49-F238E27FC236}">
                <a16:creationId xmlns:a16="http://schemas.microsoft.com/office/drawing/2014/main" id="{5F02DFF5-806E-C064-4845-2C20FBB70236}"/>
              </a:ext>
            </a:extLst>
          </p:cNvPr>
          <p:cNvSpPr>
            <a:spLocks noGrp="1"/>
          </p:cNvSpPr>
          <p:nvPr>
            <p:ph type="body" sz="quarter" idx="45" hasCustomPrompt="1"/>
          </p:nvPr>
        </p:nvSpPr>
        <p:spPr>
          <a:xfrm>
            <a:off x="7534984" y="5928291"/>
            <a:ext cx="1828800" cy="166199"/>
          </a:xfrm>
        </p:spPr>
        <p:txBody>
          <a:bodyPr vert="horz" wrap="square"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cxnSp>
        <p:nvCxnSpPr>
          <p:cNvPr id="280" name="Straight Connector 279">
            <a:extLst>
              <a:ext uri="{FF2B5EF4-FFF2-40B4-BE49-F238E27FC236}">
                <a16:creationId xmlns:a16="http://schemas.microsoft.com/office/drawing/2014/main" id="{A75A9FB3-08EB-4E5F-676A-620BED667690}"/>
              </a:ext>
            </a:extLst>
          </p:cNvPr>
          <p:cNvCxnSpPr>
            <a:cxnSpLocks/>
          </p:cNvCxnSpPr>
          <p:nvPr userDrawn="1"/>
        </p:nvCxnSpPr>
        <p:spPr>
          <a:xfrm>
            <a:off x="8208960" y="5186797"/>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81" name="Freeform: Shape 280">
            <a:extLst>
              <a:ext uri="{FF2B5EF4-FFF2-40B4-BE49-F238E27FC236}">
                <a16:creationId xmlns:a16="http://schemas.microsoft.com/office/drawing/2014/main" id="{E17D0D26-C054-DBEF-923A-5112E2B10AA9}"/>
              </a:ext>
            </a:extLst>
          </p:cNvPr>
          <p:cNvSpPr/>
          <p:nvPr userDrawn="1"/>
        </p:nvSpPr>
        <p:spPr>
          <a:xfrm>
            <a:off x="7502558" y="1548202"/>
            <a:ext cx="1967446" cy="4159775"/>
          </a:xfrm>
          <a:custGeom>
            <a:avLst/>
            <a:gdLst>
              <a:gd name="connsiteX0" fmla="*/ 0 w 1967446"/>
              <a:gd name="connsiteY0" fmla="*/ 0 h 4159775"/>
              <a:gd name="connsiteX1" fmla="*/ 1320904 w 1967446"/>
              <a:gd name="connsiteY1" fmla="*/ 487 h 4159775"/>
              <a:gd name="connsiteX2" fmla="*/ 1964449 w 1967446"/>
              <a:gd name="connsiteY2" fmla="*/ 372635 h 4159775"/>
              <a:gd name="connsiteX3" fmla="*/ 1966465 w 1967446"/>
              <a:gd name="connsiteY3" fmla="*/ 4159775 h 4159775"/>
              <a:gd name="connsiteX4" fmla="*/ 1957861 w 1967446"/>
              <a:gd name="connsiteY4" fmla="*/ 4159734 h 4159775"/>
              <a:gd name="connsiteX5" fmla="*/ 1958180 w 1967446"/>
              <a:gd name="connsiteY5" fmla="*/ 4032801 h 4159775"/>
              <a:gd name="connsiteX6" fmla="*/ 1955823 w 1967446"/>
              <a:gd name="connsiteY6" fmla="*/ 381261 h 4159775"/>
              <a:gd name="connsiteX7" fmla="*/ 1312278 w 1967446"/>
              <a:gd name="connsiteY7" fmla="*/ 9113 h 4159775"/>
              <a:gd name="connsiteX8" fmla="*/ 0 w 1967446"/>
              <a:gd name="connsiteY8" fmla="*/ 8629 h 415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7446" h="4159775">
                <a:moveTo>
                  <a:pt x="0" y="0"/>
                </a:moveTo>
                <a:lnTo>
                  <a:pt x="1320904" y="487"/>
                </a:lnTo>
                <a:cubicBezTo>
                  <a:pt x="1700867" y="211206"/>
                  <a:pt x="1542227" y="113761"/>
                  <a:pt x="1964449" y="372635"/>
                </a:cubicBezTo>
                <a:cubicBezTo>
                  <a:pt x="1967166" y="1166815"/>
                  <a:pt x="1968490" y="3542076"/>
                  <a:pt x="1966465" y="4159775"/>
                </a:cubicBezTo>
                <a:lnTo>
                  <a:pt x="1957861" y="4159734"/>
                </a:lnTo>
                <a:lnTo>
                  <a:pt x="1958180" y="4032801"/>
                </a:lnTo>
                <a:cubicBezTo>
                  <a:pt x="1959693" y="3259971"/>
                  <a:pt x="1958370" y="1125805"/>
                  <a:pt x="1955823" y="381261"/>
                </a:cubicBezTo>
                <a:cubicBezTo>
                  <a:pt x="1533601" y="122387"/>
                  <a:pt x="1692241" y="219832"/>
                  <a:pt x="1312278" y="9113"/>
                </a:cubicBezTo>
                <a:lnTo>
                  <a:pt x="0" y="8629"/>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nvGrpSpPr>
          <p:cNvPr id="282" name="Group 281">
            <a:extLst>
              <a:ext uri="{FF2B5EF4-FFF2-40B4-BE49-F238E27FC236}">
                <a16:creationId xmlns:a16="http://schemas.microsoft.com/office/drawing/2014/main" id="{536BBCF9-B8D9-C130-53BB-9E383B613995}"/>
              </a:ext>
            </a:extLst>
          </p:cNvPr>
          <p:cNvGrpSpPr/>
          <p:nvPr userDrawn="1"/>
        </p:nvGrpSpPr>
        <p:grpSpPr>
          <a:xfrm>
            <a:off x="7460132" y="5512894"/>
            <a:ext cx="2004060" cy="188794"/>
            <a:chOff x="864207" y="5578707"/>
            <a:chExt cx="2004060" cy="188794"/>
          </a:xfrm>
        </p:grpSpPr>
        <p:cxnSp>
          <p:nvCxnSpPr>
            <p:cNvPr id="283" name="Straight Connector 282">
              <a:extLst>
                <a:ext uri="{FF2B5EF4-FFF2-40B4-BE49-F238E27FC236}">
                  <a16:creationId xmlns:a16="http://schemas.microsoft.com/office/drawing/2014/main" id="{1EBD53BA-DBFA-D338-B846-3D8E5A7A0E59}"/>
                </a:ext>
              </a:extLst>
            </p:cNvPr>
            <p:cNvCxnSpPr>
              <a:cxnSpLocks/>
            </p:cNvCxnSpPr>
            <p:nvPr userDrawn="1"/>
          </p:nvCxnSpPr>
          <p:spPr>
            <a:xfrm>
              <a:off x="864207" y="5578707"/>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id="{C0B048CB-F4E0-9892-0566-24CCADD4893E}"/>
                </a:ext>
              </a:extLst>
            </p:cNvPr>
            <p:cNvCxnSpPr>
              <a:cxnSpLocks/>
            </p:cNvCxnSpPr>
            <p:nvPr userDrawn="1"/>
          </p:nvCxnSpPr>
          <p:spPr>
            <a:xfrm rot="5400000">
              <a:off x="1871571" y="4770805"/>
              <a:ext cx="0" cy="1993392"/>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285" name="Picture Placeholder 2">
            <a:extLst>
              <a:ext uri="{FF2B5EF4-FFF2-40B4-BE49-F238E27FC236}">
                <a16:creationId xmlns:a16="http://schemas.microsoft.com/office/drawing/2014/main" id="{10A08038-C98B-EA2B-EC83-F23BCBF1E1F4}"/>
              </a:ext>
            </a:extLst>
          </p:cNvPr>
          <p:cNvSpPr>
            <a:spLocks noGrp="1"/>
          </p:cNvSpPr>
          <p:nvPr>
            <p:ph type="pic" idx="46" hasCustomPrompt="1"/>
          </p:nvPr>
        </p:nvSpPr>
        <p:spPr>
          <a:xfrm>
            <a:off x="7502558" y="1638969"/>
            <a:ext cx="1865609" cy="2931395"/>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243749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43749 w 2559369"/>
              <a:gd name="connsiteY5" fmla="*/ 7257 h 3738009"/>
              <a:gd name="connsiteX0" fmla="*/ 263158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63158 w 2559369"/>
              <a:gd name="connsiteY5" fmla="*/ 7257 h 3738009"/>
              <a:gd name="connsiteX0" fmla="*/ 289036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89036 w 2559369"/>
              <a:gd name="connsiteY5" fmla="*/ 7257 h 3738009"/>
              <a:gd name="connsiteX0" fmla="*/ 30253 w 2300586"/>
              <a:gd name="connsiteY0" fmla="*/ 7257 h 3744800"/>
              <a:gd name="connsiteX1" fmla="*/ 1644256 w 2300586"/>
              <a:gd name="connsiteY1" fmla="*/ 0 h 3744800"/>
              <a:gd name="connsiteX2" fmla="*/ 2291622 w 2300586"/>
              <a:gd name="connsiteY2" fmla="*/ 400234 h 3744800"/>
              <a:gd name="connsiteX3" fmla="*/ 2300586 w 2300586"/>
              <a:gd name="connsiteY3" fmla="*/ 3738009 h 3744800"/>
              <a:gd name="connsiteX4" fmla="*/ 0 w 2300586"/>
              <a:gd name="connsiteY4" fmla="*/ 3744800 h 3744800"/>
              <a:gd name="connsiteX5" fmla="*/ 30253 w 2300586"/>
              <a:gd name="connsiteY5" fmla="*/ 7257 h 3744800"/>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731217 h 3738009"/>
              <a:gd name="connsiteX5" fmla="*/ 0 w 2270333"/>
              <a:gd name="connsiteY5" fmla="*/ 7257 h 3738009"/>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690468 h 3738009"/>
              <a:gd name="connsiteX5" fmla="*/ 0 w 2270333"/>
              <a:gd name="connsiteY5" fmla="*/ 7257 h 3738009"/>
              <a:gd name="connsiteX0" fmla="*/ 0 w 2270333"/>
              <a:gd name="connsiteY0" fmla="*/ 7257 h 3744799"/>
              <a:gd name="connsiteX1" fmla="*/ 1614003 w 2270333"/>
              <a:gd name="connsiteY1" fmla="*/ 0 h 3744799"/>
              <a:gd name="connsiteX2" fmla="*/ 2261369 w 2270333"/>
              <a:gd name="connsiteY2" fmla="*/ 400234 h 3744799"/>
              <a:gd name="connsiteX3" fmla="*/ 2270333 w 2270333"/>
              <a:gd name="connsiteY3" fmla="*/ 3738009 h 3744799"/>
              <a:gd name="connsiteX4" fmla="*/ 2096 w 2270333"/>
              <a:gd name="connsiteY4" fmla="*/ 3744799 h 3744799"/>
              <a:gd name="connsiteX5" fmla="*/ 0 w 2270333"/>
              <a:gd name="connsiteY5" fmla="*/ 7257 h 374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0333" h="3744799">
                <a:moveTo>
                  <a:pt x="0" y="7257"/>
                </a:moveTo>
                <a:lnTo>
                  <a:pt x="1614003" y="0"/>
                </a:lnTo>
                <a:lnTo>
                  <a:pt x="2261369" y="400234"/>
                </a:lnTo>
                <a:lnTo>
                  <a:pt x="2270333" y="3738009"/>
                </a:lnTo>
                <a:lnTo>
                  <a:pt x="2096" y="3744799"/>
                </a:lnTo>
                <a:cubicBezTo>
                  <a:pt x="1397" y="2498952"/>
                  <a:pt x="699" y="1253104"/>
                  <a:pt x="0" y="7257"/>
                </a:cubicBez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grpSp>
        <p:nvGrpSpPr>
          <p:cNvPr id="286" name="Group 285">
            <a:extLst>
              <a:ext uri="{FF2B5EF4-FFF2-40B4-BE49-F238E27FC236}">
                <a16:creationId xmlns:a16="http://schemas.microsoft.com/office/drawing/2014/main" id="{B39F17CF-E765-59AE-A9C9-D018D17E57CD}"/>
              </a:ext>
            </a:extLst>
          </p:cNvPr>
          <p:cNvGrpSpPr/>
          <p:nvPr userDrawn="1"/>
        </p:nvGrpSpPr>
        <p:grpSpPr>
          <a:xfrm>
            <a:off x="11743630" y="1995726"/>
            <a:ext cx="53143" cy="1085389"/>
            <a:chOff x="2780760" y="2009831"/>
            <a:chExt cx="53143" cy="1085389"/>
          </a:xfrm>
        </p:grpSpPr>
        <p:grpSp>
          <p:nvGrpSpPr>
            <p:cNvPr id="287" name="Graphic 42">
              <a:extLst>
                <a:ext uri="{FF2B5EF4-FFF2-40B4-BE49-F238E27FC236}">
                  <a16:creationId xmlns:a16="http://schemas.microsoft.com/office/drawing/2014/main" id="{2A9ACEFB-66A4-99BD-CDF8-7A4A348A7CEA}"/>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296" name="Freeform: Shape 33">
                <a:extLst>
                  <a:ext uri="{FF2B5EF4-FFF2-40B4-BE49-F238E27FC236}">
                    <a16:creationId xmlns:a16="http://schemas.microsoft.com/office/drawing/2014/main" id="{3A4CC1A5-802F-59CC-AF20-0BCF19A6552A}"/>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7" name="Freeform: Shape 34">
                <a:extLst>
                  <a:ext uri="{FF2B5EF4-FFF2-40B4-BE49-F238E27FC236}">
                    <a16:creationId xmlns:a16="http://schemas.microsoft.com/office/drawing/2014/main" id="{965AD398-4EF0-0D99-085D-919369B60DBB}"/>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8" name="Freeform: Shape 35">
                <a:extLst>
                  <a:ext uri="{FF2B5EF4-FFF2-40B4-BE49-F238E27FC236}">
                    <a16:creationId xmlns:a16="http://schemas.microsoft.com/office/drawing/2014/main" id="{E3C2F143-3461-5BE1-2CB3-4EE18A488876}"/>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9" name="Freeform: Shape 36">
                <a:extLst>
                  <a:ext uri="{FF2B5EF4-FFF2-40B4-BE49-F238E27FC236}">
                    <a16:creationId xmlns:a16="http://schemas.microsoft.com/office/drawing/2014/main" id="{326931D8-8712-D998-72B5-75D92F481014}"/>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0" name="Freeform: Shape 37">
                <a:extLst>
                  <a:ext uri="{FF2B5EF4-FFF2-40B4-BE49-F238E27FC236}">
                    <a16:creationId xmlns:a16="http://schemas.microsoft.com/office/drawing/2014/main" id="{841DA847-7F16-CB02-1905-43CDFA8D586B}"/>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1" name="Freeform: Shape 38">
                <a:extLst>
                  <a:ext uri="{FF2B5EF4-FFF2-40B4-BE49-F238E27FC236}">
                    <a16:creationId xmlns:a16="http://schemas.microsoft.com/office/drawing/2014/main" id="{8DC2C2F2-A426-A921-8B8E-19A2C4BCFDF9}"/>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2" name="Freeform: Shape 39">
                <a:extLst>
                  <a:ext uri="{FF2B5EF4-FFF2-40B4-BE49-F238E27FC236}">
                    <a16:creationId xmlns:a16="http://schemas.microsoft.com/office/drawing/2014/main" id="{514EE889-24FE-DC6E-F4B1-580338BF2B30}"/>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3" name="Freeform: Shape 40">
                <a:extLst>
                  <a:ext uri="{FF2B5EF4-FFF2-40B4-BE49-F238E27FC236}">
                    <a16:creationId xmlns:a16="http://schemas.microsoft.com/office/drawing/2014/main" id="{D42299AC-D783-DFE9-D649-6E1A656FB936}"/>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4" name="Freeform: Shape 41">
                <a:extLst>
                  <a:ext uri="{FF2B5EF4-FFF2-40B4-BE49-F238E27FC236}">
                    <a16:creationId xmlns:a16="http://schemas.microsoft.com/office/drawing/2014/main" id="{DD533837-0258-0FDD-539F-2E35106EF788}"/>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5" name="Freeform: Shape 42">
                <a:extLst>
                  <a:ext uri="{FF2B5EF4-FFF2-40B4-BE49-F238E27FC236}">
                    <a16:creationId xmlns:a16="http://schemas.microsoft.com/office/drawing/2014/main" id="{EC07CAB7-8FAA-E674-2F44-B76BD20578CD}"/>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6" name="Freeform: Shape 43">
                <a:extLst>
                  <a:ext uri="{FF2B5EF4-FFF2-40B4-BE49-F238E27FC236}">
                    <a16:creationId xmlns:a16="http://schemas.microsoft.com/office/drawing/2014/main" id="{5ED87D3A-A40C-F70A-B10F-477BA1D3CFE1}"/>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7" name="Freeform: Shape 44">
                <a:extLst>
                  <a:ext uri="{FF2B5EF4-FFF2-40B4-BE49-F238E27FC236}">
                    <a16:creationId xmlns:a16="http://schemas.microsoft.com/office/drawing/2014/main" id="{38ADB8B6-2D98-4A9D-75FD-7D662F6E888C}"/>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8" name="Freeform: Shape 45">
                <a:extLst>
                  <a:ext uri="{FF2B5EF4-FFF2-40B4-BE49-F238E27FC236}">
                    <a16:creationId xmlns:a16="http://schemas.microsoft.com/office/drawing/2014/main" id="{5A72FCAB-A914-7426-F1CA-FD990051A7DA}"/>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9" name="Freeform: Shape 46">
                <a:extLst>
                  <a:ext uri="{FF2B5EF4-FFF2-40B4-BE49-F238E27FC236}">
                    <a16:creationId xmlns:a16="http://schemas.microsoft.com/office/drawing/2014/main" id="{D1B4E0D0-37BA-7877-1B86-74AFFC8759E7}"/>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0" name="Freeform: Shape 47">
                <a:extLst>
                  <a:ext uri="{FF2B5EF4-FFF2-40B4-BE49-F238E27FC236}">
                    <a16:creationId xmlns:a16="http://schemas.microsoft.com/office/drawing/2014/main" id="{82C78511-F579-39A2-9CC9-49EA1F067E6D}"/>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1" name="Freeform: Shape 48">
                <a:extLst>
                  <a:ext uri="{FF2B5EF4-FFF2-40B4-BE49-F238E27FC236}">
                    <a16:creationId xmlns:a16="http://schemas.microsoft.com/office/drawing/2014/main" id="{6E27CE6F-9297-8E9C-A1DD-093E3958DB33}"/>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2" name="Freeform: Shape 49">
                <a:extLst>
                  <a:ext uri="{FF2B5EF4-FFF2-40B4-BE49-F238E27FC236}">
                    <a16:creationId xmlns:a16="http://schemas.microsoft.com/office/drawing/2014/main" id="{F509135F-4950-D829-424D-682E3E1F479F}"/>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3" name="Freeform: Shape 50">
                <a:extLst>
                  <a:ext uri="{FF2B5EF4-FFF2-40B4-BE49-F238E27FC236}">
                    <a16:creationId xmlns:a16="http://schemas.microsoft.com/office/drawing/2014/main" id="{6D9CA617-C7B7-1AB9-AA38-E7E6BB3DFF22}"/>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4" name="Freeform: Shape 51">
                <a:extLst>
                  <a:ext uri="{FF2B5EF4-FFF2-40B4-BE49-F238E27FC236}">
                    <a16:creationId xmlns:a16="http://schemas.microsoft.com/office/drawing/2014/main" id="{83760860-4DD8-CCB0-34CF-9DB533430F8B}"/>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5" name="Freeform: Shape 52">
                <a:extLst>
                  <a:ext uri="{FF2B5EF4-FFF2-40B4-BE49-F238E27FC236}">
                    <a16:creationId xmlns:a16="http://schemas.microsoft.com/office/drawing/2014/main" id="{00988560-CD89-DA6F-68CD-8B73F5FDC6F2}"/>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88" name="Group 287">
              <a:extLst>
                <a:ext uri="{FF2B5EF4-FFF2-40B4-BE49-F238E27FC236}">
                  <a16:creationId xmlns:a16="http://schemas.microsoft.com/office/drawing/2014/main" id="{5E342DEA-892E-47EB-F016-C1113566BDCE}"/>
                </a:ext>
              </a:extLst>
            </p:cNvPr>
            <p:cNvGrpSpPr/>
            <p:nvPr userDrawn="1"/>
          </p:nvGrpSpPr>
          <p:grpSpPr>
            <a:xfrm rot="10800000" flipV="1">
              <a:off x="2780760" y="2715971"/>
              <a:ext cx="53143" cy="379249"/>
              <a:chOff x="5390750" y="3681616"/>
              <a:chExt cx="73151" cy="522033"/>
            </a:xfrm>
          </p:grpSpPr>
          <p:sp>
            <p:nvSpPr>
              <p:cNvPr id="289" name="Freeform: Shape 26">
                <a:extLst>
                  <a:ext uri="{FF2B5EF4-FFF2-40B4-BE49-F238E27FC236}">
                    <a16:creationId xmlns:a16="http://schemas.microsoft.com/office/drawing/2014/main" id="{7A2CA53C-F312-16FE-19F8-34237143DDE2}"/>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0" name="Freeform: Shape 27">
                <a:extLst>
                  <a:ext uri="{FF2B5EF4-FFF2-40B4-BE49-F238E27FC236}">
                    <a16:creationId xmlns:a16="http://schemas.microsoft.com/office/drawing/2014/main" id="{9E081C29-CEDB-DCDB-8415-D1C3E4CEAAAB}"/>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1" name="Freeform: Shape 28">
                <a:extLst>
                  <a:ext uri="{FF2B5EF4-FFF2-40B4-BE49-F238E27FC236}">
                    <a16:creationId xmlns:a16="http://schemas.microsoft.com/office/drawing/2014/main" id="{23804FDF-D972-1F19-42FF-4B6553A729BE}"/>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2" name="Freeform: Shape 29">
                <a:extLst>
                  <a:ext uri="{FF2B5EF4-FFF2-40B4-BE49-F238E27FC236}">
                    <a16:creationId xmlns:a16="http://schemas.microsoft.com/office/drawing/2014/main" id="{34B65119-D30E-2DE2-A1EF-B883ECAD4C76}"/>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3" name="Freeform: Shape 30">
                <a:extLst>
                  <a:ext uri="{FF2B5EF4-FFF2-40B4-BE49-F238E27FC236}">
                    <a16:creationId xmlns:a16="http://schemas.microsoft.com/office/drawing/2014/main" id="{65560DAB-0480-1E11-C0E4-FEAE1ED1036B}"/>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4" name="Freeform: Shape 31">
                <a:extLst>
                  <a:ext uri="{FF2B5EF4-FFF2-40B4-BE49-F238E27FC236}">
                    <a16:creationId xmlns:a16="http://schemas.microsoft.com/office/drawing/2014/main" id="{13373D31-1E52-B045-38AD-E422BBD54381}"/>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5" name="Freeform: Shape 32">
                <a:extLst>
                  <a:ext uri="{FF2B5EF4-FFF2-40B4-BE49-F238E27FC236}">
                    <a16:creationId xmlns:a16="http://schemas.microsoft.com/office/drawing/2014/main" id="{90106BB0-9E35-F294-6E66-BF72CE48232B}"/>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316" name="Text Placeholder 3">
            <a:extLst>
              <a:ext uri="{FF2B5EF4-FFF2-40B4-BE49-F238E27FC236}">
                <a16:creationId xmlns:a16="http://schemas.microsoft.com/office/drawing/2014/main" id="{69684370-DC47-CE7E-17D8-7FBD13CA2E14}"/>
              </a:ext>
            </a:extLst>
          </p:cNvPr>
          <p:cNvSpPr>
            <a:spLocks noGrp="1"/>
          </p:cNvSpPr>
          <p:nvPr>
            <p:ph type="body" sz="quarter" idx="47" hasCustomPrompt="1"/>
          </p:nvPr>
        </p:nvSpPr>
        <p:spPr>
          <a:xfrm>
            <a:off x="9898467" y="4748451"/>
            <a:ext cx="1530642" cy="276999"/>
          </a:xfrm>
        </p:spPr>
        <p:txBody>
          <a:bodyPr anchor="ctr" anchorCtr="0">
            <a:normAutofit/>
          </a:bodyPr>
          <a:lstStyle>
            <a:lvl1pPr marL="0" indent="0" algn="ctr">
              <a:spcBef>
                <a:spcPts val="0"/>
              </a:spcBef>
              <a:buFontTx/>
              <a:buNone/>
              <a:defRPr sz="1900" b="1" cap="all" baseline="0"/>
            </a:lvl1pPr>
          </a:lstStyle>
          <a:p>
            <a:pPr lvl="0"/>
            <a:r>
              <a:rPr lang="en-US"/>
              <a:t>NAME</a:t>
            </a:r>
          </a:p>
        </p:txBody>
      </p:sp>
      <p:sp>
        <p:nvSpPr>
          <p:cNvPr id="317" name="Text Placeholder 85">
            <a:extLst>
              <a:ext uri="{FF2B5EF4-FFF2-40B4-BE49-F238E27FC236}">
                <a16:creationId xmlns:a16="http://schemas.microsoft.com/office/drawing/2014/main" id="{BA631A4A-3C85-0079-A581-8513CFDD925D}"/>
              </a:ext>
            </a:extLst>
          </p:cNvPr>
          <p:cNvSpPr>
            <a:spLocks noGrp="1"/>
          </p:cNvSpPr>
          <p:nvPr>
            <p:ph type="body" sz="quarter" idx="48" hasCustomPrompt="1"/>
          </p:nvPr>
        </p:nvSpPr>
        <p:spPr>
          <a:xfrm>
            <a:off x="9831918" y="5338187"/>
            <a:ext cx="1663741"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a:t>Title</a:t>
            </a:r>
          </a:p>
        </p:txBody>
      </p:sp>
      <p:sp>
        <p:nvSpPr>
          <p:cNvPr id="318" name="Text Placeholder 121">
            <a:extLst>
              <a:ext uri="{FF2B5EF4-FFF2-40B4-BE49-F238E27FC236}">
                <a16:creationId xmlns:a16="http://schemas.microsoft.com/office/drawing/2014/main" id="{E9152A2A-F296-F7AE-FFC4-C54EAD9268B5}"/>
              </a:ext>
            </a:extLst>
          </p:cNvPr>
          <p:cNvSpPr>
            <a:spLocks noGrp="1"/>
          </p:cNvSpPr>
          <p:nvPr>
            <p:ph type="body" sz="quarter" idx="49" hasCustomPrompt="1"/>
          </p:nvPr>
        </p:nvSpPr>
        <p:spPr>
          <a:xfrm>
            <a:off x="9749388" y="5928291"/>
            <a:ext cx="1828800" cy="166199"/>
          </a:xfrm>
        </p:spPr>
        <p:txBody>
          <a:bodyPr vert="horz" wrap="square"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a:t>Company Name /  logo</a:t>
            </a:r>
          </a:p>
        </p:txBody>
      </p:sp>
      <p:cxnSp>
        <p:nvCxnSpPr>
          <p:cNvPr id="319" name="Straight Connector 318">
            <a:extLst>
              <a:ext uri="{FF2B5EF4-FFF2-40B4-BE49-F238E27FC236}">
                <a16:creationId xmlns:a16="http://schemas.microsoft.com/office/drawing/2014/main" id="{E0919D5B-7887-5B5A-782F-D5843C67D4A3}"/>
              </a:ext>
            </a:extLst>
          </p:cNvPr>
          <p:cNvCxnSpPr>
            <a:cxnSpLocks/>
          </p:cNvCxnSpPr>
          <p:nvPr userDrawn="1"/>
        </p:nvCxnSpPr>
        <p:spPr>
          <a:xfrm>
            <a:off x="10423364" y="5186797"/>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20" name="Freeform: Shape 319">
            <a:extLst>
              <a:ext uri="{FF2B5EF4-FFF2-40B4-BE49-F238E27FC236}">
                <a16:creationId xmlns:a16="http://schemas.microsoft.com/office/drawing/2014/main" id="{4302FA61-D9A1-21C5-8A23-D7E29EF49104}"/>
              </a:ext>
            </a:extLst>
          </p:cNvPr>
          <p:cNvSpPr/>
          <p:nvPr userDrawn="1"/>
        </p:nvSpPr>
        <p:spPr>
          <a:xfrm>
            <a:off x="9716962" y="1548202"/>
            <a:ext cx="1967446" cy="4159775"/>
          </a:xfrm>
          <a:custGeom>
            <a:avLst/>
            <a:gdLst>
              <a:gd name="connsiteX0" fmla="*/ 0 w 1967446"/>
              <a:gd name="connsiteY0" fmla="*/ 0 h 4159775"/>
              <a:gd name="connsiteX1" fmla="*/ 1320904 w 1967446"/>
              <a:gd name="connsiteY1" fmla="*/ 487 h 4159775"/>
              <a:gd name="connsiteX2" fmla="*/ 1964449 w 1967446"/>
              <a:gd name="connsiteY2" fmla="*/ 372635 h 4159775"/>
              <a:gd name="connsiteX3" fmla="*/ 1966465 w 1967446"/>
              <a:gd name="connsiteY3" fmla="*/ 4159775 h 4159775"/>
              <a:gd name="connsiteX4" fmla="*/ 1957861 w 1967446"/>
              <a:gd name="connsiteY4" fmla="*/ 4159734 h 4159775"/>
              <a:gd name="connsiteX5" fmla="*/ 1958180 w 1967446"/>
              <a:gd name="connsiteY5" fmla="*/ 4032801 h 4159775"/>
              <a:gd name="connsiteX6" fmla="*/ 1955823 w 1967446"/>
              <a:gd name="connsiteY6" fmla="*/ 381261 h 4159775"/>
              <a:gd name="connsiteX7" fmla="*/ 1312278 w 1967446"/>
              <a:gd name="connsiteY7" fmla="*/ 9113 h 4159775"/>
              <a:gd name="connsiteX8" fmla="*/ 0 w 1967446"/>
              <a:gd name="connsiteY8" fmla="*/ 8629 h 415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7446" h="4159775">
                <a:moveTo>
                  <a:pt x="0" y="0"/>
                </a:moveTo>
                <a:lnTo>
                  <a:pt x="1320904" y="487"/>
                </a:lnTo>
                <a:cubicBezTo>
                  <a:pt x="1700867" y="211206"/>
                  <a:pt x="1542227" y="113761"/>
                  <a:pt x="1964449" y="372635"/>
                </a:cubicBezTo>
                <a:cubicBezTo>
                  <a:pt x="1967166" y="1166815"/>
                  <a:pt x="1968490" y="3542076"/>
                  <a:pt x="1966465" y="4159775"/>
                </a:cubicBezTo>
                <a:lnTo>
                  <a:pt x="1957861" y="4159734"/>
                </a:lnTo>
                <a:lnTo>
                  <a:pt x="1958180" y="4032801"/>
                </a:lnTo>
                <a:cubicBezTo>
                  <a:pt x="1959693" y="3259971"/>
                  <a:pt x="1958370" y="1125805"/>
                  <a:pt x="1955823" y="381261"/>
                </a:cubicBezTo>
                <a:cubicBezTo>
                  <a:pt x="1533601" y="122387"/>
                  <a:pt x="1692241" y="219832"/>
                  <a:pt x="1312278" y="9113"/>
                </a:cubicBezTo>
                <a:lnTo>
                  <a:pt x="0" y="8629"/>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nvGrpSpPr>
          <p:cNvPr id="321" name="Group 320">
            <a:extLst>
              <a:ext uri="{FF2B5EF4-FFF2-40B4-BE49-F238E27FC236}">
                <a16:creationId xmlns:a16="http://schemas.microsoft.com/office/drawing/2014/main" id="{5B244939-875F-C51C-8CC1-FC105951929F}"/>
              </a:ext>
            </a:extLst>
          </p:cNvPr>
          <p:cNvGrpSpPr/>
          <p:nvPr userDrawn="1"/>
        </p:nvGrpSpPr>
        <p:grpSpPr>
          <a:xfrm>
            <a:off x="9674536" y="5512894"/>
            <a:ext cx="2004060" cy="188794"/>
            <a:chOff x="864207" y="5578707"/>
            <a:chExt cx="2004060" cy="188794"/>
          </a:xfrm>
        </p:grpSpPr>
        <p:cxnSp>
          <p:nvCxnSpPr>
            <p:cNvPr id="322" name="Straight Connector 321">
              <a:extLst>
                <a:ext uri="{FF2B5EF4-FFF2-40B4-BE49-F238E27FC236}">
                  <a16:creationId xmlns:a16="http://schemas.microsoft.com/office/drawing/2014/main" id="{4B057880-8F26-AD58-E5EF-EE7F524A7411}"/>
                </a:ext>
              </a:extLst>
            </p:cNvPr>
            <p:cNvCxnSpPr>
              <a:cxnSpLocks/>
            </p:cNvCxnSpPr>
            <p:nvPr userDrawn="1"/>
          </p:nvCxnSpPr>
          <p:spPr>
            <a:xfrm>
              <a:off x="864207" y="5578707"/>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0F810467-DE7A-193F-ACD3-A41971AE52CE}"/>
                </a:ext>
              </a:extLst>
            </p:cNvPr>
            <p:cNvCxnSpPr>
              <a:cxnSpLocks/>
            </p:cNvCxnSpPr>
            <p:nvPr userDrawn="1"/>
          </p:nvCxnSpPr>
          <p:spPr>
            <a:xfrm rot="5400000">
              <a:off x="1871571" y="4770805"/>
              <a:ext cx="0" cy="1993392"/>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324" name="Picture Placeholder 2">
            <a:extLst>
              <a:ext uri="{FF2B5EF4-FFF2-40B4-BE49-F238E27FC236}">
                <a16:creationId xmlns:a16="http://schemas.microsoft.com/office/drawing/2014/main" id="{694C20B3-F7A3-184F-1EC7-C2669CFEA218}"/>
              </a:ext>
            </a:extLst>
          </p:cNvPr>
          <p:cNvSpPr>
            <a:spLocks noGrp="1"/>
          </p:cNvSpPr>
          <p:nvPr>
            <p:ph type="pic" idx="50" hasCustomPrompt="1"/>
          </p:nvPr>
        </p:nvSpPr>
        <p:spPr>
          <a:xfrm>
            <a:off x="9716962" y="1638969"/>
            <a:ext cx="1865609" cy="2931395"/>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243749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43749 w 2559369"/>
              <a:gd name="connsiteY5" fmla="*/ 7257 h 3738009"/>
              <a:gd name="connsiteX0" fmla="*/ 263158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63158 w 2559369"/>
              <a:gd name="connsiteY5" fmla="*/ 7257 h 3738009"/>
              <a:gd name="connsiteX0" fmla="*/ 289036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289036 w 2559369"/>
              <a:gd name="connsiteY5" fmla="*/ 7257 h 3738009"/>
              <a:gd name="connsiteX0" fmla="*/ 30253 w 2300586"/>
              <a:gd name="connsiteY0" fmla="*/ 7257 h 3744800"/>
              <a:gd name="connsiteX1" fmla="*/ 1644256 w 2300586"/>
              <a:gd name="connsiteY1" fmla="*/ 0 h 3744800"/>
              <a:gd name="connsiteX2" fmla="*/ 2291622 w 2300586"/>
              <a:gd name="connsiteY2" fmla="*/ 400234 h 3744800"/>
              <a:gd name="connsiteX3" fmla="*/ 2300586 w 2300586"/>
              <a:gd name="connsiteY3" fmla="*/ 3738009 h 3744800"/>
              <a:gd name="connsiteX4" fmla="*/ 0 w 2300586"/>
              <a:gd name="connsiteY4" fmla="*/ 3744800 h 3744800"/>
              <a:gd name="connsiteX5" fmla="*/ 30253 w 2300586"/>
              <a:gd name="connsiteY5" fmla="*/ 7257 h 3744800"/>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731217 h 3738009"/>
              <a:gd name="connsiteX5" fmla="*/ 0 w 2270333"/>
              <a:gd name="connsiteY5" fmla="*/ 7257 h 3738009"/>
              <a:gd name="connsiteX0" fmla="*/ 0 w 2270333"/>
              <a:gd name="connsiteY0" fmla="*/ 7257 h 3738009"/>
              <a:gd name="connsiteX1" fmla="*/ 1614003 w 2270333"/>
              <a:gd name="connsiteY1" fmla="*/ 0 h 3738009"/>
              <a:gd name="connsiteX2" fmla="*/ 2261369 w 2270333"/>
              <a:gd name="connsiteY2" fmla="*/ 400234 h 3738009"/>
              <a:gd name="connsiteX3" fmla="*/ 2270333 w 2270333"/>
              <a:gd name="connsiteY3" fmla="*/ 3738009 h 3738009"/>
              <a:gd name="connsiteX4" fmla="*/ 66792 w 2270333"/>
              <a:gd name="connsiteY4" fmla="*/ 3690468 h 3738009"/>
              <a:gd name="connsiteX5" fmla="*/ 0 w 2270333"/>
              <a:gd name="connsiteY5" fmla="*/ 7257 h 3738009"/>
              <a:gd name="connsiteX0" fmla="*/ 0 w 2270333"/>
              <a:gd name="connsiteY0" fmla="*/ 7257 h 3744799"/>
              <a:gd name="connsiteX1" fmla="*/ 1614003 w 2270333"/>
              <a:gd name="connsiteY1" fmla="*/ 0 h 3744799"/>
              <a:gd name="connsiteX2" fmla="*/ 2261369 w 2270333"/>
              <a:gd name="connsiteY2" fmla="*/ 400234 h 3744799"/>
              <a:gd name="connsiteX3" fmla="*/ 2270333 w 2270333"/>
              <a:gd name="connsiteY3" fmla="*/ 3738009 h 3744799"/>
              <a:gd name="connsiteX4" fmla="*/ 2096 w 2270333"/>
              <a:gd name="connsiteY4" fmla="*/ 3744799 h 3744799"/>
              <a:gd name="connsiteX5" fmla="*/ 0 w 2270333"/>
              <a:gd name="connsiteY5" fmla="*/ 7257 h 374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0333" h="3744799">
                <a:moveTo>
                  <a:pt x="0" y="7257"/>
                </a:moveTo>
                <a:lnTo>
                  <a:pt x="1614003" y="0"/>
                </a:lnTo>
                <a:lnTo>
                  <a:pt x="2261369" y="400234"/>
                </a:lnTo>
                <a:lnTo>
                  <a:pt x="2270333" y="3738009"/>
                </a:lnTo>
                <a:lnTo>
                  <a:pt x="2096" y="3744799"/>
                </a:lnTo>
                <a:cubicBezTo>
                  <a:pt x="1397" y="2498952"/>
                  <a:pt x="699" y="1253104"/>
                  <a:pt x="0" y="7257"/>
                </a:cubicBez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a:lvl1pPr>
          </a:lstStyle>
          <a:p>
            <a:pPr marL="0" lvl="0" indent="0" algn="ctr">
              <a:spcBef>
                <a:spcPts val="800"/>
              </a:spcBef>
              <a:buNone/>
            </a:pPr>
            <a:r>
              <a:rPr lang="en-US" dirty="0"/>
              <a:t>Click picture icon to add image</a:t>
            </a:r>
          </a:p>
        </p:txBody>
      </p:sp>
      <p:sp>
        <p:nvSpPr>
          <p:cNvPr id="3" name="Title 2">
            <a:extLst>
              <a:ext uri="{FF2B5EF4-FFF2-40B4-BE49-F238E27FC236}">
                <a16:creationId xmlns:a16="http://schemas.microsoft.com/office/drawing/2014/main" id="{4EA15004-8D39-37FA-B9F2-6CE4A7468B16}"/>
              </a:ext>
            </a:extLst>
          </p:cNvPr>
          <p:cNvSpPr>
            <a:spLocks noGrp="1"/>
          </p:cNvSpPr>
          <p:nvPr>
            <p:ph type="title" hasCustomPrompt="1"/>
          </p:nvPr>
        </p:nvSpPr>
        <p:spPr/>
        <p:txBody>
          <a:bodyPr/>
          <a:lstStyle/>
          <a:p>
            <a:r>
              <a:rPr lang="en-US" dirty="0"/>
              <a:t>ADD TITLE</a:t>
            </a:r>
          </a:p>
        </p:txBody>
      </p:sp>
    </p:spTree>
    <p:extLst>
      <p:ext uri="{BB962C8B-B14F-4D97-AF65-F5344CB8AC3E}">
        <p14:creationId xmlns:p14="http://schemas.microsoft.com/office/powerpoint/2010/main" val="1323228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cons w 3 Content">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917EBC3C-F2FD-4799-BA0A-65D895E6360A}"/>
              </a:ext>
            </a:extLst>
          </p:cNvPr>
          <p:cNvGraphicFramePr>
            <a:graphicFrameLocks noChangeAspect="1"/>
          </p:cNvGraphicFramePr>
          <p:nvPr>
            <p:custDataLst>
              <p:tags r:id="rId1"/>
            </p:custDataLst>
            <p:extLst>
              <p:ext uri="{D42A27DB-BD31-4B8C-83A1-F6EECF244321}">
                <p14:modId xmlns:p14="http://schemas.microsoft.com/office/powerpoint/2010/main" val="418368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1" name="Object 40" hidden="1">
                        <a:extLst>
                          <a:ext uri="{FF2B5EF4-FFF2-40B4-BE49-F238E27FC236}">
                            <a16:creationId xmlns:a16="http://schemas.microsoft.com/office/drawing/2014/main" id="{917EBC3C-F2FD-4799-BA0A-65D895E63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2510D0F0-12AD-45C1-9B94-28859223557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03ABE548-101B-4EAC-8CB7-BBD49E60436D}"/>
              </a:ext>
            </a:extLst>
          </p:cNvPr>
          <p:cNvSpPr>
            <a:spLocks noGrp="1"/>
          </p:cNvSpPr>
          <p:nvPr>
            <p:ph type="title" hasCustomPrompt="1"/>
          </p:nvPr>
        </p:nvSpPr>
        <p:spPr/>
        <p:txBody>
          <a:bodyPr/>
          <a:lstStyle/>
          <a:p>
            <a:r>
              <a:rPr lang="en-US"/>
              <a:t>add title</a:t>
            </a:r>
          </a:p>
        </p:txBody>
      </p:sp>
      <p:sp>
        <p:nvSpPr>
          <p:cNvPr id="33" name="Text Placeholder 32">
            <a:extLst>
              <a:ext uri="{FF2B5EF4-FFF2-40B4-BE49-F238E27FC236}">
                <a16:creationId xmlns:a16="http://schemas.microsoft.com/office/drawing/2014/main" id="{80B84918-AECE-4E9D-811A-C362EB2F227E}"/>
              </a:ext>
            </a:extLst>
          </p:cNvPr>
          <p:cNvSpPr>
            <a:spLocks noGrp="1"/>
          </p:cNvSpPr>
          <p:nvPr>
            <p:ph type="body" sz="quarter" idx="28" hasCustomPrompt="1"/>
          </p:nvPr>
        </p:nvSpPr>
        <p:spPr>
          <a:xfrm>
            <a:off x="495361" y="2810738"/>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a:t>Add title</a:t>
            </a:r>
          </a:p>
        </p:txBody>
      </p:sp>
      <p:sp>
        <p:nvSpPr>
          <p:cNvPr id="35" name="Text Placeholder 34">
            <a:extLst>
              <a:ext uri="{FF2B5EF4-FFF2-40B4-BE49-F238E27FC236}">
                <a16:creationId xmlns:a16="http://schemas.microsoft.com/office/drawing/2014/main" id="{CFDD1C55-CC28-4EF8-AC55-64EE2B45BE57}"/>
              </a:ext>
            </a:extLst>
          </p:cNvPr>
          <p:cNvSpPr>
            <a:spLocks noGrp="1"/>
          </p:cNvSpPr>
          <p:nvPr>
            <p:ph type="body" sz="quarter" idx="29" hasCustomPrompt="1"/>
          </p:nvPr>
        </p:nvSpPr>
        <p:spPr>
          <a:xfrm>
            <a:off x="495044" y="4729965"/>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36" name="Text Placeholder 32">
            <a:extLst>
              <a:ext uri="{FF2B5EF4-FFF2-40B4-BE49-F238E27FC236}">
                <a16:creationId xmlns:a16="http://schemas.microsoft.com/office/drawing/2014/main" id="{CDE670DD-0AD0-49A7-BBB7-6E14E24C352B}"/>
              </a:ext>
            </a:extLst>
          </p:cNvPr>
          <p:cNvSpPr>
            <a:spLocks noGrp="1"/>
          </p:cNvSpPr>
          <p:nvPr>
            <p:ph type="body" sz="quarter" idx="30" hasCustomPrompt="1"/>
          </p:nvPr>
        </p:nvSpPr>
        <p:spPr>
          <a:xfrm>
            <a:off x="4689976" y="2810738"/>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a:t>Add title</a:t>
            </a:r>
          </a:p>
        </p:txBody>
      </p:sp>
      <p:sp>
        <p:nvSpPr>
          <p:cNvPr id="37" name="Text Placeholder 34">
            <a:extLst>
              <a:ext uri="{FF2B5EF4-FFF2-40B4-BE49-F238E27FC236}">
                <a16:creationId xmlns:a16="http://schemas.microsoft.com/office/drawing/2014/main" id="{FC9DE6F9-8E54-4D72-AB42-FB47C6AFD250}"/>
              </a:ext>
            </a:extLst>
          </p:cNvPr>
          <p:cNvSpPr>
            <a:spLocks noGrp="1"/>
          </p:cNvSpPr>
          <p:nvPr>
            <p:ph type="body" sz="quarter" idx="31" hasCustomPrompt="1"/>
          </p:nvPr>
        </p:nvSpPr>
        <p:spPr>
          <a:xfrm>
            <a:off x="4689659" y="4729965"/>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38" name="Text Placeholder 32">
            <a:extLst>
              <a:ext uri="{FF2B5EF4-FFF2-40B4-BE49-F238E27FC236}">
                <a16:creationId xmlns:a16="http://schemas.microsoft.com/office/drawing/2014/main" id="{3183D2B9-482A-44BB-9D5F-DBFE89D19F85}"/>
              </a:ext>
            </a:extLst>
          </p:cNvPr>
          <p:cNvSpPr>
            <a:spLocks noGrp="1"/>
          </p:cNvSpPr>
          <p:nvPr>
            <p:ph type="body" sz="quarter" idx="32" hasCustomPrompt="1"/>
          </p:nvPr>
        </p:nvSpPr>
        <p:spPr>
          <a:xfrm>
            <a:off x="8871291" y="2810738"/>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a:t>Add title</a:t>
            </a:r>
          </a:p>
        </p:txBody>
      </p:sp>
      <p:sp>
        <p:nvSpPr>
          <p:cNvPr id="39" name="Text Placeholder 34">
            <a:extLst>
              <a:ext uri="{FF2B5EF4-FFF2-40B4-BE49-F238E27FC236}">
                <a16:creationId xmlns:a16="http://schemas.microsoft.com/office/drawing/2014/main" id="{775FB311-5594-4514-9EFB-DF05142A6E8E}"/>
              </a:ext>
            </a:extLst>
          </p:cNvPr>
          <p:cNvSpPr>
            <a:spLocks noGrp="1"/>
          </p:cNvSpPr>
          <p:nvPr>
            <p:ph type="body" sz="quarter" idx="33" hasCustomPrompt="1"/>
          </p:nvPr>
        </p:nvSpPr>
        <p:spPr>
          <a:xfrm>
            <a:off x="8870974" y="4729965"/>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20" name="Picture Placeholder 6">
            <a:extLst>
              <a:ext uri="{FF2B5EF4-FFF2-40B4-BE49-F238E27FC236}">
                <a16:creationId xmlns:a16="http://schemas.microsoft.com/office/drawing/2014/main" id="{8D4CC7BD-E27E-4EE8-A7DB-4AC115B1C01D}"/>
              </a:ext>
            </a:extLst>
          </p:cNvPr>
          <p:cNvSpPr>
            <a:spLocks noGrp="1"/>
          </p:cNvSpPr>
          <p:nvPr>
            <p:ph type="pic" sz="quarter" idx="39" hasCustomPrompt="1"/>
          </p:nvPr>
        </p:nvSpPr>
        <p:spPr>
          <a:xfrm>
            <a:off x="1604973" y="370211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1" name="Picture Placeholder 6">
            <a:extLst>
              <a:ext uri="{FF2B5EF4-FFF2-40B4-BE49-F238E27FC236}">
                <a16:creationId xmlns:a16="http://schemas.microsoft.com/office/drawing/2014/main" id="{F8AD2306-5A92-4FC0-BFA9-0F7016A6CDAB}"/>
              </a:ext>
            </a:extLst>
          </p:cNvPr>
          <p:cNvSpPr>
            <a:spLocks noGrp="1"/>
          </p:cNvSpPr>
          <p:nvPr>
            <p:ph type="pic" sz="quarter" idx="40" hasCustomPrompt="1"/>
          </p:nvPr>
        </p:nvSpPr>
        <p:spPr>
          <a:xfrm>
            <a:off x="5799588" y="370211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2" name="Picture Placeholder 6">
            <a:extLst>
              <a:ext uri="{FF2B5EF4-FFF2-40B4-BE49-F238E27FC236}">
                <a16:creationId xmlns:a16="http://schemas.microsoft.com/office/drawing/2014/main" id="{B0D23108-9BEB-4E78-980F-330123D90595}"/>
              </a:ext>
            </a:extLst>
          </p:cNvPr>
          <p:cNvSpPr>
            <a:spLocks noGrp="1"/>
          </p:cNvSpPr>
          <p:nvPr>
            <p:ph type="pic" sz="quarter" idx="41" hasCustomPrompt="1"/>
          </p:nvPr>
        </p:nvSpPr>
        <p:spPr>
          <a:xfrm>
            <a:off x="9980903" y="370211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4" name="Text Placeholder 3">
            <a:extLst>
              <a:ext uri="{FF2B5EF4-FFF2-40B4-BE49-F238E27FC236}">
                <a16:creationId xmlns:a16="http://schemas.microsoft.com/office/drawing/2014/main" id="{D8559386-9143-433E-8318-1171FD2EFC88}"/>
              </a:ext>
            </a:extLst>
          </p:cNvPr>
          <p:cNvSpPr>
            <a:spLocks noGrp="1"/>
          </p:cNvSpPr>
          <p:nvPr>
            <p:ph type="body" sz="quarter" idx="42" hasCustomPrompt="1"/>
          </p:nvPr>
        </p:nvSpPr>
        <p:spPr>
          <a:xfrm>
            <a:off x="1158240" y="1657674"/>
            <a:ext cx="9875520" cy="304699"/>
          </a:xfrm>
          <a:noFill/>
        </p:spPr>
        <p:txBody>
          <a:bodyPr vert="horz" lIns="0" tIns="0" rIns="0" bIns="0" rtlCol="0" anchor="ctr" anchorCtr="0">
            <a:spAutoFit/>
          </a:bodyPr>
          <a:lstStyle>
            <a:lvl1pPr marL="0" indent="0" algn="ctr">
              <a:buFontTx/>
              <a:buNone/>
              <a:defRPr lang="en-US" sz="2200" dirty="0"/>
            </a:lvl1pPr>
          </a:lstStyle>
          <a:p>
            <a:pPr lvl="0"/>
            <a:r>
              <a:rPr lang="en-US"/>
              <a:t>Call out blurb</a:t>
            </a:r>
          </a:p>
        </p:txBody>
      </p:sp>
    </p:spTree>
    <p:extLst>
      <p:ext uri="{BB962C8B-B14F-4D97-AF65-F5344CB8AC3E}">
        <p14:creationId xmlns:p14="http://schemas.microsoft.com/office/powerpoint/2010/main" val="201977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cons w 4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D1B2-3E44-448A-B29D-4BF5525EAF82}"/>
              </a:ext>
            </a:extLst>
          </p:cNvPr>
          <p:cNvGraphicFramePr>
            <a:graphicFrameLocks noChangeAspect="1"/>
          </p:cNvGraphicFramePr>
          <p:nvPr>
            <p:custDataLst>
              <p:tags r:id="rId1"/>
            </p:custDataLst>
            <p:extLst>
              <p:ext uri="{D42A27DB-BD31-4B8C-83A1-F6EECF244321}">
                <p14:modId xmlns:p14="http://schemas.microsoft.com/office/powerpoint/2010/main" val="429254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CD0DD1B2-3E44-448A-B29D-4BF5525EAF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8CDBA-3DC1-4B48-9D1F-EF614A8FDDB5}"/>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F0272BA-DF00-4403-901D-E1E0848AA754}"/>
              </a:ext>
            </a:extLst>
          </p:cNvPr>
          <p:cNvSpPr>
            <a:spLocks noGrp="1"/>
          </p:cNvSpPr>
          <p:nvPr>
            <p:ph type="title" hasCustomPrompt="1"/>
          </p:nvPr>
        </p:nvSpPr>
        <p:spPr/>
        <p:txBody>
          <a:bodyPr/>
          <a:lstStyle/>
          <a:p>
            <a:r>
              <a:rPr lang="en-US"/>
              <a:t>add title</a:t>
            </a:r>
          </a:p>
        </p:txBody>
      </p:sp>
      <p:sp>
        <p:nvSpPr>
          <p:cNvPr id="52" name="Text Placeholder 32">
            <a:extLst>
              <a:ext uri="{FF2B5EF4-FFF2-40B4-BE49-F238E27FC236}">
                <a16:creationId xmlns:a16="http://schemas.microsoft.com/office/drawing/2014/main" id="{490C73DF-CFB4-4B5B-92C8-F90E3A62E77F}"/>
              </a:ext>
            </a:extLst>
          </p:cNvPr>
          <p:cNvSpPr>
            <a:spLocks noGrp="1"/>
          </p:cNvSpPr>
          <p:nvPr>
            <p:ph type="body" sz="quarter" idx="28" hasCustomPrompt="1"/>
          </p:nvPr>
        </p:nvSpPr>
        <p:spPr>
          <a:xfrm>
            <a:off x="500204" y="2821210"/>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a:t>Add title</a:t>
            </a:r>
          </a:p>
        </p:txBody>
      </p:sp>
      <p:sp>
        <p:nvSpPr>
          <p:cNvPr id="53" name="Text Placeholder 34">
            <a:extLst>
              <a:ext uri="{FF2B5EF4-FFF2-40B4-BE49-F238E27FC236}">
                <a16:creationId xmlns:a16="http://schemas.microsoft.com/office/drawing/2014/main" id="{FE00311D-162D-450B-AAB4-212D530B9965}"/>
              </a:ext>
            </a:extLst>
          </p:cNvPr>
          <p:cNvSpPr>
            <a:spLocks noGrp="1"/>
          </p:cNvSpPr>
          <p:nvPr>
            <p:ph type="body" sz="quarter" idx="29" hasCustomPrompt="1"/>
          </p:nvPr>
        </p:nvSpPr>
        <p:spPr>
          <a:xfrm>
            <a:off x="499986" y="4740798"/>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58" name="Text Placeholder 32">
            <a:extLst>
              <a:ext uri="{FF2B5EF4-FFF2-40B4-BE49-F238E27FC236}">
                <a16:creationId xmlns:a16="http://schemas.microsoft.com/office/drawing/2014/main" id="{9D12CB28-EBBA-4213-84C3-27EE8E1195B3}"/>
              </a:ext>
            </a:extLst>
          </p:cNvPr>
          <p:cNvSpPr>
            <a:spLocks noGrp="1"/>
          </p:cNvSpPr>
          <p:nvPr>
            <p:ph type="body" sz="quarter" idx="31" hasCustomPrompt="1"/>
          </p:nvPr>
        </p:nvSpPr>
        <p:spPr>
          <a:xfrm>
            <a:off x="3602199" y="2821210"/>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a:t>Add title</a:t>
            </a:r>
          </a:p>
        </p:txBody>
      </p:sp>
      <p:sp>
        <p:nvSpPr>
          <p:cNvPr id="59" name="Text Placeholder 34">
            <a:extLst>
              <a:ext uri="{FF2B5EF4-FFF2-40B4-BE49-F238E27FC236}">
                <a16:creationId xmlns:a16="http://schemas.microsoft.com/office/drawing/2014/main" id="{A8089C8B-DB33-4F20-A90E-29D5706AC690}"/>
              </a:ext>
            </a:extLst>
          </p:cNvPr>
          <p:cNvSpPr>
            <a:spLocks noGrp="1"/>
          </p:cNvSpPr>
          <p:nvPr>
            <p:ph type="body" sz="quarter" idx="32" hasCustomPrompt="1"/>
          </p:nvPr>
        </p:nvSpPr>
        <p:spPr>
          <a:xfrm>
            <a:off x="3601981" y="4740798"/>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61" name="Text Placeholder 32">
            <a:extLst>
              <a:ext uri="{FF2B5EF4-FFF2-40B4-BE49-F238E27FC236}">
                <a16:creationId xmlns:a16="http://schemas.microsoft.com/office/drawing/2014/main" id="{16964035-D680-41E2-BCE6-EDBF1662979F}"/>
              </a:ext>
            </a:extLst>
          </p:cNvPr>
          <p:cNvSpPr>
            <a:spLocks noGrp="1"/>
          </p:cNvSpPr>
          <p:nvPr>
            <p:ph type="body" sz="quarter" idx="34" hasCustomPrompt="1"/>
          </p:nvPr>
        </p:nvSpPr>
        <p:spPr>
          <a:xfrm>
            <a:off x="6682692" y="2821210"/>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a:t>Add title</a:t>
            </a:r>
          </a:p>
        </p:txBody>
      </p:sp>
      <p:sp>
        <p:nvSpPr>
          <p:cNvPr id="62" name="Text Placeholder 34">
            <a:extLst>
              <a:ext uri="{FF2B5EF4-FFF2-40B4-BE49-F238E27FC236}">
                <a16:creationId xmlns:a16="http://schemas.microsoft.com/office/drawing/2014/main" id="{F7D72ACE-A6E3-49BA-B635-B4FF555C66B6}"/>
              </a:ext>
            </a:extLst>
          </p:cNvPr>
          <p:cNvSpPr>
            <a:spLocks noGrp="1"/>
          </p:cNvSpPr>
          <p:nvPr>
            <p:ph type="body" sz="quarter" idx="35" hasCustomPrompt="1"/>
          </p:nvPr>
        </p:nvSpPr>
        <p:spPr>
          <a:xfrm>
            <a:off x="6682474" y="4740798"/>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64" name="Text Placeholder 32">
            <a:extLst>
              <a:ext uri="{FF2B5EF4-FFF2-40B4-BE49-F238E27FC236}">
                <a16:creationId xmlns:a16="http://schemas.microsoft.com/office/drawing/2014/main" id="{41F1B747-4A09-4131-B94D-7B72FE0ADA1F}"/>
              </a:ext>
            </a:extLst>
          </p:cNvPr>
          <p:cNvSpPr>
            <a:spLocks noGrp="1"/>
          </p:cNvSpPr>
          <p:nvPr>
            <p:ph type="body" sz="quarter" idx="37" hasCustomPrompt="1"/>
          </p:nvPr>
        </p:nvSpPr>
        <p:spPr>
          <a:xfrm>
            <a:off x="9771648" y="2821210"/>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a:t>Add title</a:t>
            </a:r>
          </a:p>
        </p:txBody>
      </p:sp>
      <p:sp>
        <p:nvSpPr>
          <p:cNvPr id="65" name="Text Placeholder 34">
            <a:extLst>
              <a:ext uri="{FF2B5EF4-FFF2-40B4-BE49-F238E27FC236}">
                <a16:creationId xmlns:a16="http://schemas.microsoft.com/office/drawing/2014/main" id="{4B4EBABA-E6CB-464F-9FBA-E5F9B03A37E8}"/>
              </a:ext>
            </a:extLst>
          </p:cNvPr>
          <p:cNvSpPr>
            <a:spLocks noGrp="1"/>
          </p:cNvSpPr>
          <p:nvPr>
            <p:ph type="body" sz="quarter" idx="38" hasCustomPrompt="1"/>
          </p:nvPr>
        </p:nvSpPr>
        <p:spPr>
          <a:xfrm>
            <a:off x="9771430" y="4740798"/>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25" name="Picture Placeholder 6">
            <a:extLst>
              <a:ext uri="{FF2B5EF4-FFF2-40B4-BE49-F238E27FC236}">
                <a16:creationId xmlns:a16="http://schemas.microsoft.com/office/drawing/2014/main" id="{1AEB5892-C8FD-4265-8F93-69E01BC959CC}"/>
              </a:ext>
            </a:extLst>
          </p:cNvPr>
          <p:cNvSpPr>
            <a:spLocks noGrp="1"/>
          </p:cNvSpPr>
          <p:nvPr>
            <p:ph type="pic" sz="quarter" idx="39" hasCustomPrompt="1"/>
          </p:nvPr>
        </p:nvSpPr>
        <p:spPr>
          <a:xfrm>
            <a:off x="1160544"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6" name="Picture Placeholder 6">
            <a:extLst>
              <a:ext uri="{FF2B5EF4-FFF2-40B4-BE49-F238E27FC236}">
                <a16:creationId xmlns:a16="http://schemas.microsoft.com/office/drawing/2014/main" id="{FA7A40C7-5620-4D59-8DE5-CA304D9A962A}"/>
              </a:ext>
            </a:extLst>
          </p:cNvPr>
          <p:cNvSpPr>
            <a:spLocks noGrp="1"/>
          </p:cNvSpPr>
          <p:nvPr>
            <p:ph type="pic" sz="quarter" idx="40" hasCustomPrompt="1"/>
          </p:nvPr>
        </p:nvSpPr>
        <p:spPr>
          <a:xfrm>
            <a:off x="4262539"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7" name="Picture Placeholder 6">
            <a:extLst>
              <a:ext uri="{FF2B5EF4-FFF2-40B4-BE49-F238E27FC236}">
                <a16:creationId xmlns:a16="http://schemas.microsoft.com/office/drawing/2014/main" id="{4F6992F5-14F1-443B-A56F-0DAFD3A17D10}"/>
              </a:ext>
            </a:extLst>
          </p:cNvPr>
          <p:cNvSpPr>
            <a:spLocks noGrp="1"/>
          </p:cNvSpPr>
          <p:nvPr>
            <p:ph type="pic" sz="quarter" idx="36" hasCustomPrompt="1"/>
          </p:nvPr>
        </p:nvSpPr>
        <p:spPr>
          <a:xfrm>
            <a:off x="10431988"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8" name="Picture Placeholder 6">
            <a:extLst>
              <a:ext uri="{FF2B5EF4-FFF2-40B4-BE49-F238E27FC236}">
                <a16:creationId xmlns:a16="http://schemas.microsoft.com/office/drawing/2014/main" id="{475F2538-CC6F-47C5-8E22-46B3CA1900DD}"/>
              </a:ext>
            </a:extLst>
          </p:cNvPr>
          <p:cNvSpPr>
            <a:spLocks noGrp="1"/>
          </p:cNvSpPr>
          <p:nvPr>
            <p:ph type="pic" sz="quarter" idx="41" hasCustomPrompt="1"/>
          </p:nvPr>
        </p:nvSpPr>
        <p:spPr>
          <a:xfrm>
            <a:off x="7343032"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6" name="Text Placeholder 5">
            <a:extLst>
              <a:ext uri="{FF2B5EF4-FFF2-40B4-BE49-F238E27FC236}">
                <a16:creationId xmlns:a16="http://schemas.microsoft.com/office/drawing/2014/main" id="{F3CCFC8A-0256-42C2-A3A7-09FD853D84AF}"/>
              </a:ext>
            </a:extLst>
          </p:cNvPr>
          <p:cNvSpPr>
            <a:spLocks noGrp="1"/>
          </p:cNvSpPr>
          <p:nvPr userDrawn="1">
            <p:ph type="body" sz="quarter" idx="42" hasCustomPrompt="1"/>
          </p:nvPr>
        </p:nvSpPr>
        <p:spPr>
          <a:xfrm>
            <a:off x="1158240" y="1666383"/>
            <a:ext cx="9875520" cy="304699"/>
          </a:xfrm>
        </p:spPr>
        <p:txBody>
          <a:bodyPr anchor="ctr" anchorCtr="0">
            <a:spAutoFit/>
          </a:bodyPr>
          <a:lstStyle>
            <a:lvl1pPr marL="0" indent="0" algn="ctr">
              <a:buFontTx/>
              <a:buNone/>
              <a:defRPr sz="2200"/>
            </a:lvl1pPr>
          </a:lstStyle>
          <a:p>
            <a:pPr lvl="0"/>
            <a:r>
              <a:rPr lang="en-US"/>
              <a:t>Call out blurb</a:t>
            </a:r>
          </a:p>
        </p:txBody>
      </p:sp>
    </p:spTree>
    <p:extLst>
      <p:ext uri="{BB962C8B-B14F-4D97-AF65-F5344CB8AC3E}">
        <p14:creationId xmlns:p14="http://schemas.microsoft.com/office/powerpoint/2010/main" val="1598868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cons w 5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D1B2-3E44-448A-B29D-4BF5525EAF82}"/>
              </a:ext>
            </a:extLst>
          </p:cNvPr>
          <p:cNvGraphicFramePr>
            <a:graphicFrameLocks noChangeAspect="1"/>
          </p:cNvGraphicFramePr>
          <p:nvPr>
            <p:custDataLst>
              <p:tags r:id="rId1"/>
            </p:custDataLst>
            <p:extLst>
              <p:ext uri="{D42A27DB-BD31-4B8C-83A1-F6EECF244321}">
                <p14:modId xmlns:p14="http://schemas.microsoft.com/office/powerpoint/2010/main" val="429254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CD0DD1B2-3E44-448A-B29D-4BF5525EAF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8CDBA-3DC1-4B48-9D1F-EF614A8FDDB5}"/>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F0272BA-DF00-4403-901D-E1E0848AA754}"/>
              </a:ext>
            </a:extLst>
          </p:cNvPr>
          <p:cNvSpPr>
            <a:spLocks noGrp="1"/>
          </p:cNvSpPr>
          <p:nvPr>
            <p:ph type="title" hasCustomPrompt="1"/>
          </p:nvPr>
        </p:nvSpPr>
        <p:spPr/>
        <p:txBody>
          <a:bodyPr/>
          <a:lstStyle/>
          <a:p>
            <a:r>
              <a:rPr lang="en-US"/>
              <a:t>add title</a:t>
            </a:r>
          </a:p>
        </p:txBody>
      </p:sp>
      <p:sp>
        <p:nvSpPr>
          <p:cNvPr id="52" name="Text Placeholder 32">
            <a:extLst>
              <a:ext uri="{FF2B5EF4-FFF2-40B4-BE49-F238E27FC236}">
                <a16:creationId xmlns:a16="http://schemas.microsoft.com/office/drawing/2014/main" id="{490C73DF-CFB4-4B5B-92C8-F90E3A62E77F}"/>
              </a:ext>
            </a:extLst>
          </p:cNvPr>
          <p:cNvSpPr>
            <a:spLocks noGrp="1"/>
          </p:cNvSpPr>
          <p:nvPr>
            <p:ph type="body" sz="quarter" idx="28" hasCustomPrompt="1"/>
          </p:nvPr>
        </p:nvSpPr>
        <p:spPr>
          <a:xfrm>
            <a:off x="498507" y="2821210"/>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a:t>Add title</a:t>
            </a:r>
          </a:p>
        </p:txBody>
      </p:sp>
      <p:sp>
        <p:nvSpPr>
          <p:cNvPr id="53" name="Text Placeholder 34">
            <a:extLst>
              <a:ext uri="{FF2B5EF4-FFF2-40B4-BE49-F238E27FC236}">
                <a16:creationId xmlns:a16="http://schemas.microsoft.com/office/drawing/2014/main" id="{FE00311D-162D-450B-AAB4-212D530B9965}"/>
              </a:ext>
            </a:extLst>
          </p:cNvPr>
          <p:cNvSpPr>
            <a:spLocks noGrp="1"/>
          </p:cNvSpPr>
          <p:nvPr>
            <p:ph type="body" sz="quarter" idx="29" hasCustomPrompt="1"/>
          </p:nvPr>
        </p:nvSpPr>
        <p:spPr>
          <a:xfrm>
            <a:off x="498507" y="4740798"/>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58" name="Text Placeholder 32">
            <a:extLst>
              <a:ext uri="{FF2B5EF4-FFF2-40B4-BE49-F238E27FC236}">
                <a16:creationId xmlns:a16="http://schemas.microsoft.com/office/drawing/2014/main" id="{9D12CB28-EBBA-4213-84C3-27EE8E1195B3}"/>
              </a:ext>
            </a:extLst>
          </p:cNvPr>
          <p:cNvSpPr>
            <a:spLocks noGrp="1"/>
          </p:cNvSpPr>
          <p:nvPr>
            <p:ph type="body" sz="quarter" idx="31" hasCustomPrompt="1"/>
          </p:nvPr>
        </p:nvSpPr>
        <p:spPr>
          <a:xfrm>
            <a:off x="2895408" y="2821210"/>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a:t>Add title</a:t>
            </a:r>
          </a:p>
        </p:txBody>
      </p:sp>
      <p:sp>
        <p:nvSpPr>
          <p:cNvPr id="59" name="Text Placeholder 34">
            <a:extLst>
              <a:ext uri="{FF2B5EF4-FFF2-40B4-BE49-F238E27FC236}">
                <a16:creationId xmlns:a16="http://schemas.microsoft.com/office/drawing/2014/main" id="{A8089C8B-DB33-4F20-A90E-29D5706AC690}"/>
              </a:ext>
            </a:extLst>
          </p:cNvPr>
          <p:cNvSpPr>
            <a:spLocks noGrp="1"/>
          </p:cNvSpPr>
          <p:nvPr>
            <p:ph type="body" sz="quarter" idx="32" hasCustomPrompt="1"/>
          </p:nvPr>
        </p:nvSpPr>
        <p:spPr>
          <a:xfrm>
            <a:off x="2895408" y="4740798"/>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61" name="Text Placeholder 32">
            <a:extLst>
              <a:ext uri="{FF2B5EF4-FFF2-40B4-BE49-F238E27FC236}">
                <a16:creationId xmlns:a16="http://schemas.microsoft.com/office/drawing/2014/main" id="{16964035-D680-41E2-BCE6-EDBF1662979F}"/>
              </a:ext>
            </a:extLst>
          </p:cNvPr>
          <p:cNvSpPr>
            <a:spLocks noGrp="1"/>
          </p:cNvSpPr>
          <p:nvPr>
            <p:ph type="body" sz="quarter" idx="34" hasCustomPrompt="1"/>
          </p:nvPr>
        </p:nvSpPr>
        <p:spPr>
          <a:xfrm>
            <a:off x="5292309" y="2821210"/>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a:t>Add title</a:t>
            </a:r>
          </a:p>
        </p:txBody>
      </p:sp>
      <p:sp>
        <p:nvSpPr>
          <p:cNvPr id="62" name="Text Placeholder 34">
            <a:extLst>
              <a:ext uri="{FF2B5EF4-FFF2-40B4-BE49-F238E27FC236}">
                <a16:creationId xmlns:a16="http://schemas.microsoft.com/office/drawing/2014/main" id="{F7D72ACE-A6E3-49BA-B635-B4FF555C66B6}"/>
              </a:ext>
            </a:extLst>
          </p:cNvPr>
          <p:cNvSpPr>
            <a:spLocks noGrp="1"/>
          </p:cNvSpPr>
          <p:nvPr>
            <p:ph type="body" sz="quarter" idx="35" hasCustomPrompt="1"/>
          </p:nvPr>
        </p:nvSpPr>
        <p:spPr>
          <a:xfrm>
            <a:off x="5292309" y="4740798"/>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64" name="Text Placeholder 32">
            <a:extLst>
              <a:ext uri="{FF2B5EF4-FFF2-40B4-BE49-F238E27FC236}">
                <a16:creationId xmlns:a16="http://schemas.microsoft.com/office/drawing/2014/main" id="{41F1B747-4A09-4131-B94D-7B72FE0ADA1F}"/>
              </a:ext>
            </a:extLst>
          </p:cNvPr>
          <p:cNvSpPr>
            <a:spLocks noGrp="1"/>
          </p:cNvSpPr>
          <p:nvPr>
            <p:ph type="body" sz="quarter" idx="37" hasCustomPrompt="1"/>
          </p:nvPr>
        </p:nvSpPr>
        <p:spPr>
          <a:xfrm>
            <a:off x="7689210" y="2821210"/>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a:t>Add title</a:t>
            </a:r>
          </a:p>
        </p:txBody>
      </p:sp>
      <p:sp>
        <p:nvSpPr>
          <p:cNvPr id="65" name="Text Placeholder 34">
            <a:extLst>
              <a:ext uri="{FF2B5EF4-FFF2-40B4-BE49-F238E27FC236}">
                <a16:creationId xmlns:a16="http://schemas.microsoft.com/office/drawing/2014/main" id="{4B4EBABA-E6CB-464F-9FBA-E5F9B03A37E8}"/>
              </a:ext>
            </a:extLst>
          </p:cNvPr>
          <p:cNvSpPr>
            <a:spLocks noGrp="1"/>
          </p:cNvSpPr>
          <p:nvPr>
            <p:ph type="body" sz="quarter" idx="38" hasCustomPrompt="1"/>
          </p:nvPr>
        </p:nvSpPr>
        <p:spPr>
          <a:xfrm>
            <a:off x="7689210" y="4740798"/>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25" name="Picture Placeholder 6">
            <a:extLst>
              <a:ext uri="{FF2B5EF4-FFF2-40B4-BE49-F238E27FC236}">
                <a16:creationId xmlns:a16="http://schemas.microsoft.com/office/drawing/2014/main" id="{1AEB5892-C8FD-4265-8F93-69E01BC959CC}"/>
              </a:ext>
            </a:extLst>
          </p:cNvPr>
          <p:cNvSpPr>
            <a:spLocks noGrp="1"/>
          </p:cNvSpPr>
          <p:nvPr>
            <p:ph type="pic" sz="quarter" idx="39" hasCustomPrompt="1"/>
          </p:nvPr>
        </p:nvSpPr>
        <p:spPr>
          <a:xfrm>
            <a:off x="990899"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6" name="Picture Placeholder 6">
            <a:extLst>
              <a:ext uri="{FF2B5EF4-FFF2-40B4-BE49-F238E27FC236}">
                <a16:creationId xmlns:a16="http://schemas.microsoft.com/office/drawing/2014/main" id="{FA7A40C7-5620-4D59-8DE5-CA304D9A962A}"/>
              </a:ext>
            </a:extLst>
          </p:cNvPr>
          <p:cNvSpPr>
            <a:spLocks noGrp="1"/>
          </p:cNvSpPr>
          <p:nvPr>
            <p:ph type="pic" sz="quarter" idx="40" hasCustomPrompt="1"/>
          </p:nvPr>
        </p:nvSpPr>
        <p:spPr>
          <a:xfrm>
            <a:off x="3387800"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7" name="Picture Placeholder 6">
            <a:extLst>
              <a:ext uri="{FF2B5EF4-FFF2-40B4-BE49-F238E27FC236}">
                <a16:creationId xmlns:a16="http://schemas.microsoft.com/office/drawing/2014/main" id="{4F6992F5-14F1-443B-A56F-0DAFD3A17D10}"/>
              </a:ext>
            </a:extLst>
          </p:cNvPr>
          <p:cNvSpPr>
            <a:spLocks noGrp="1"/>
          </p:cNvSpPr>
          <p:nvPr>
            <p:ph type="pic" sz="quarter" idx="36" hasCustomPrompt="1"/>
          </p:nvPr>
        </p:nvSpPr>
        <p:spPr>
          <a:xfrm>
            <a:off x="8181602"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8" name="Picture Placeholder 6">
            <a:extLst>
              <a:ext uri="{FF2B5EF4-FFF2-40B4-BE49-F238E27FC236}">
                <a16:creationId xmlns:a16="http://schemas.microsoft.com/office/drawing/2014/main" id="{475F2538-CC6F-47C5-8E22-46B3CA1900DD}"/>
              </a:ext>
            </a:extLst>
          </p:cNvPr>
          <p:cNvSpPr>
            <a:spLocks noGrp="1"/>
          </p:cNvSpPr>
          <p:nvPr>
            <p:ph type="pic" sz="quarter" idx="41" hasCustomPrompt="1"/>
          </p:nvPr>
        </p:nvSpPr>
        <p:spPr>
          <a:xfrm>
            <a:off x="5784701"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6" name="Text Placeholder 5">
            <a:extLst>
              <a:ext uri="{FF2B5EF4-FFF2-40B4-BE49-F238E27FC236}">
                <a16:creationId xmlns:a16="http://schemas.microsoft.com/office/drawing/2014/main" id="{F3CCFC8A-0256-42C2-A3A7-09FD853D84AF}"/>
              </a:ext>
            </a:extLst>
          </p:cNvPr>
          <p:cNvSpPr>
            <a:spLocks noGrp="1"/>
          </p:cNvSpPr>
          <p:nvPr userDrawn="1">
            <p:ph type="body" sz="quarter" idx="42" hasCustomPrompt="1"/>
          </p:nvPr>
        </p:nvSpPr>
        <p:spPr>
          <a:xfrm>
            <a:off x="1158240" y="1666383"/>
            <a:ext cx="9875520" cy="304699"/>
          </a:xfrm>
        </p:spPr>
        <p:txBody>
          <a:bodyPr anchor="ctr" anchorCtr="0">
            <a:spAutoFit/>
          </a:bodyPr>
          <a:lstStyle>
            <a:lvl1pPr marL="0" indent="0" algn="ctr">
              <a:buFontTx/>
              <a:buNone/>
              <a:defRPr sz="2200"/>
            </a:lvl1pPr>
          </a:lstStyle>
          <a:p>
            <a:pPr lvl="0"/>
            <a:r>
              <a:rPr lang="en-US"/>
              <a:t>Call out blurb</a:t>
            </a:r>
          </a:p>
        </p:txBody>
      </p:sp>
      <p:sp>
        <p:nvSpPr>
          <p:cNvPr id="20" name="Picture Placeholder 6">
            <a:extLst>
              <a:ext uri="{FF2B5EF4-FFF2-40B4-BE49-F238E27FC236}">
                <a16:creationId xmlns:a16="http://schemas.microsoft.com/office/drawing/2014/main" id="{A443D19A-1751-43D6-A160-5296A53060FE}"/>
              </a:ext>
            </a:extLst>
          </p:cNvPr>
          <p:cNvSpPr>
            <a:spLocks noGrp="1"/>
          </p:cNvSpPr>
          <p:nvPr>
            <p:ph type="pic" sz="quarter" idx="43" hasCustomPrompt="1"/>
          </p:nvPr>
        </p:nvSpPr>
        <p:spPr>
          <a:xfrm>
            <a:off x="10578504" y="3686638"/>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9" name="Text Placeholder 8">
            <a:extLst>
              <a:ext uri="{FF2B5EF4-FFF2-40B4-BE49-F238E27FC236}">
                <a16:creationId xmlns:a16="http://schemas.microsoft.com/office/drawing/2014/main" id="{47D8C84A-E732-4EA8-8388-80FC2F2F6015}"/>
              </a:ext>
            </a:extLst>
          </p:cNvPr>
          <p:cNvSpPr>
            <a:spLocks noGrp="1"/>
          </p:cNvSpPr>
          <p:nvPr>
            <p:ph type="body" sz="quarter" idx="44" hasCustomPrompt="1"/>
          </p:nvPr>
        </p:nvSpPr>
        <p:spPr>
          <a:xfrm>
            <a:off x="10086112" y="2821210"/>
            <a:ext cx="1600200" cy="221599"/>
          </a:xfrm>
        </p:spPr>
        <p:txBody>
          <a:bodyPr vert="horz" lIns="0" tIns="0" rIns="0" bIns="0" rtlCol="0" anchor="ctr" anchorCtr="0">
            <a:spAutoFit/>
          </a:bodyPr>
          <a:lstStyle>
            <a:lvl1pPr marL="0" indent="0" algn="ctr">
              <a:buFontTx/>
              <a:buNone/>
              <a:defRPr lang="en-US" sz="1600" b="1" smtClean="0"/>
            </a:lvl1pPr>
            <a:lvl2pPr>
              <a:defRPr lang="en-US" smtClean="0"/>
            </a:lvl2pPr>
            <a:lvl3pPr>
              <a:defRPr lang="en-US" smtClean="0"/>
            </a:lvl3pPr>
            <a:lvl4pPr>
              <a:defRPr lang="en-US" smtClean="0"/>
            </a:lvl4pPr>
            <a:lvl5pPr>
              <a:defRPr lang="en-US"/>
            </a:lvl5pPr>
          </a:lstStyle>
          <a:p>
            <a:pPr lvl="0"/>
            <a:r>
              <a:rPr lang="en-US"/>
              <a:t>Add title</a:t>
            </a:r>
          </a:p>
        </p:txBody>
      </p:sp>
      <p:sp>
        <p:nvSpPr>
          <p:cNvPr id="13" name="Text Placeholder 12">
            <a:extLst>
              <a:ext uri="{FF2B5EF4-FFF2-40B4-BE49-F238E27FC236}">
                <a16:creationId xmlns:a16="http://schemas.microsoft.com/office/drawing/2014/main" id="{A73FB3A0-2394-412A-B5B0-D0E4A63CD9B0}"/>
              </a:ext>
            </a:extLst>
          </p:cNvPr>
          <p:cNvSpPr>
            <a:spLocks noGrp="1"/>
          </p:cNvSpPr>
          <p:nvPr>
            <p:ph type="body" sz="quarter" idx="45" hasCustomPrompt="1"/>
          </p:nvPr>
        </p:nvSpPr>
        <p:spPr>
          <a:xfrm>
            <a:off x="10086112" y="4740798"/>
            <a:ext cx="1600200" cy="557784"/>
          </a:xfrm>
        </p:spPr>
        <p:txBody>
          <a:bodyPr>
            <a:spAutoFit/>
          </a:bodyPr>
          <a:lstStyle>
            <a:lvl1pPr marL="0" indent="0" algn="ctr">
              <a:lnSpc>
                <a:spcPct val="100000"/>
              </a:lnSpc>
              <a:buNone/>
              <a:defRPr sz="1200"/>
            </a:lvl1pPr>
          </a:lstStyle>
          <a:p>
            <a:pPr lvl="0"/>
            <a:r>
              <a:rPr lang="en-US"/>
              <a:t>Add a short paragraph – not too long – or a bulleted list</a:t>
            </a:r>
          </a:p>
        </p:txBody>
      </p:sp>
    </p:spTree>
    <p:extLst>
      <p:ext uri="{BB962C8B-B14F-4D97-AF65-F5344CB8AC3E}">
        <p14:creationId xmlns:p14="http://schemas.microsoft.com/office/powerpoint/2010/main" val="2251642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Video">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B05F195-396D-4D83-8F33-F626D282E766}"/>
              </a:ext>
            </a:extLst>
          </p:cNvPr>
          <p:cNvSpPr>
            <a:spLocks noGrp="1"/>
          </p:cNvSpPr>
          <p:nvPr>
            <p:ph type="media" sz="quarter" idx="10" hasCustomPrompt="1"/>
          </p:nvPr>
        </p:nvSpPr>
        <p:spPr>
          <a:xfrm>
            <a:off x="1731513" y="1439765"/>
            <a:ext cx="8728974" cy="4922935"/>
          </a:xfr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media icon to add video</a:t>
            </a:r>
          </a:p>
        </p:txBody>
      </p:sp>
      <p:sp>
        <p:nvSpPr>
          <p:cNvPr id="3" name="Title 2">
            <a:extLst>
              <a:ext uri="{FF2B5EF4-FFF2-40B4-BE49-F238E27FC236}">
                <a16:creationId xmlns:a16="http://schemas.microsoft.com/office/drawing/2014/main" id="{DBEAE63A-39ED-4825-AFB2-206AF22C5598}"/>
              </a:ext>
            </a:extLst>
          </p:cNvPr>
          <p:cNvSpPr>
            <a:spLocks noGrp="1"/>
          </p:cNvSpPr>
          <p:nvPr>
            <p:ph type="title" hasCustomPrompt="1"/>
          </p:nvPr>
        </p:nvSpPr>
        <p:spPr/>
        <p:txBody>
          <a:bodyPr/>
          <a:lstStyle>
            <a:lvl1pPr>
              <a:defRPr/>
            </a:lvl1pPr>
          </a:lstStyle>
          <a:p>
            <a:r>
              <a:rPr lang="en-US" dirty="0"/>
              <a:t>add title</a:t>
            </a:r>
          </a:p>
        </p:txBody>
      </p:sp>
    </p:spTree>
    <p:extLst>
      <p:ext uri="{BB962C8B-B14F-4D97-AF65-F5344CB8AC3E}">
        <p14:creationId xmlns:p14="http://schemas.microsoft.com/office/powerpoint/2010/main" val="116896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Video (full page)">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B05F195-396D-4D83-8F33-F626D282E766}"/>
              </a:ext>
            </a:extLst>
          </p:cNvPr>
          <p:cNvSpPr>
            <a:spLocks noGrp="1"/>
          </p:cNvSpPr>
          <p:nvPr>
            <p:ph type="media" sz="quarter" idx="10" hasCustomPrompt="1"/>
          </p:nvPr>
        </p:nvSpPr>
        <p:spPr>
          <a:xfrm>
            <a:off x="0" y="0"/>
            <a:ext cx="12192000" cy="6858000"/>
          </a:xfrm>
          <a:gradFill>
            <a:gsLst>
              <a:gs pos="40000">
                <a:srgbClr val="BFBFBF">
                  <a:alpha val="84000"/>
                </a:srgbClr>
              </a:gs>
              <a:gs pos="4000">
                <a:schemeClr val="bg1">
                  <a:lumMod val="50000"/>
                  <a:alpha val="29000"/>
                </a:schemeClr>
              </a:gs>
              <a:gs pos="100000">
                <a:schemeClr val="bg1"/>
              </a:gs>
            </a:gsLst>
            <a:lin ang="5400000" scaled="0"/>
          </a:gra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media icon to add video</a:t>
            </a:r>
          </a:p>
        </p:txBody>
      </p:sp>
    </p:spTree>
    <p:extLst>
      <p:ext uri="{BB962C8B-B14F-4D97-AF65-F5344CB8AC3E}">
        <p14:creationId xmlns:p14="http://schemas.microsoft.com/office/powerpoint/2010/main" val="2266718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2795696-EB95-4185-8B89-3CC0AED5CF8E}"/>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a:stretch/>
        </p:blipFill>
        <p:spPr>
          <a:xfrm>
            <a:off x="-24384" y="0"/>
            <a:ext cx="12233159" cy="6857999"/>
          </a:xfrm>
          <a:prstGeom prst="rect">
            <a:avLst/>
          </a:prstGeom>
        </p:spPr>
      </p:pic>
      <p:grpSp>
        <p:nvGrpSpPr>
          <p:cNvPr id="21" name="Group 20">
            <a:extLst>
              <a:ext uri="{FF2B5EF4-FFF2-40B4-BE49-F238E27FC236}">
                <a16:creationId xmlns:a16="http://schemas.microsoft.com/office/drawing/2014/main" id="{7C7F3B32-EE76-44C5-8359-BC4ACEC00C40}"/>
              </a:ext>
            </a:extLst>
          </p:cNvPr>
          <p:cNvGrpSpPr/>
          <p:nvPr userDrawn="1"/>
        </p:nvGrpSpPr>
        <p:grpSpPr>
          <a:xfrm>
            <a:off x="0" y="3160444"/>
            <a:ext cx="2455333" cy="537112"/>
            <a:chOff x="0" y="3161621"/>
            <a:chExt cx="2455333" cy="537112"/>
          </a:xfrm>
        </p:grpSpPr>
        <p:sp>
          <p:nvSpPr>
            <p:cNvPr id="13" name="Rectangle 12">
              <a:extLst>
                <a:ext uri="{FF2B5EF4-FFF2-40B4-BE49-F238E27FC236}">
                  <a16:creationId xmlns:a16="http://schemas.microsoft.com/office/drawing/2014/main" id="{DF2B67A1-EE4B-45BF-9BBC-A9A3AB5F7F53}"/>
                </a:ext>
              </a:extLst>
            </p:cNvPr>
            <p:cNvSpPr/>
            <p:nvPr userDrawn="1"/>
          </p:nvSpPr>
          <p:spPr>
            <a:xfrm>
              <a:off x="0" y="3161621"/>
              <a:ext cx="2455333" cy="5371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50" name="Freeform: Shape 49">
              <a:extLst>
                <a:ext uri="{FF2B5EF4-FFF2-40B4-BE49-F238E27FC236}">
                  <a16:creationId xmlns:a16="http://schemas.microsoft.com/office/drawing/2014/main" id="{95DA7B0E-0DF0-4795-BC40-8582B80C8C7D}"/>
                </a:ext>
              </a:extLst>
            </p:cNvPr>
            <p:cNvSpPr/>
            <p:nvPr userDrawn="1"/>
          </p:nvSpPr>
          <p:spPr>
            <a:xfrm rot="16200000" flipH="1">
              <a:off x="310000" y="3115270"/>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132EA109-B6D2-47CB-9BC9-D55B0F9A6750}"/>
                </a:ext>
              </a:extLst>
            </p:cNvPr>
            <p:cNvSpPr/>
            <p:nvPr userDrawn="1"/>
          </p:nvSpPr>
          <p:spPr>
            <a:xfrm rot="16200000" flipH="1">
              <a:off x="82144" y="3339115"/>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pic>
          <p:nvPicPr>
            <p:cNvPr id="24" name="Picture 23">
              <a:extLst>
                <a:ext uri="{FF2B5EF4-FFF2-40B4-BE49-F238E27FC236}">
                  <a16:creationId xmlns:a16="http://schemas.microsoft.com/office/drawing/2014/main" id="{6D0CF51F-F4CE-426F-AB3D-EFB191BB1445}"/>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722355" y="3238216"/>
              <a:ext cx="647967" cy="373101"/>
            </a:xfrm>
            <a:prstGeom prst="rect">
              <a:avLst/>
            </a:prstGeom>
          </p:spPr>
        </p:pic>
        <p:cxnSp>
          <p:nvCxnSpPr>
            <p:cNvPr id="20" name="Straight Connector 19">
              <a:extLst>
                <a:ext uri="{FF2B5EF4-FFF2-40B4-BE49-F238E27FC236}">
                  <a16:creationId xmlns:a16="http://schemas.microsoft.com/office/drawing/2014/main" id="{B8A23F11-3EF7-4BB7-9396-70D452EECC1B}"/>
                </a:ext>
              </a:extLst>
            </p:cNvPr>
            <p:cNvCxnSpPr/>
            <p:nvPr userDrawn="1"/>
          </p:nvCxnSpPr>
          <p:spPr>
            <a:xfrm>
              <a:off x="176782" y="3325341"/>
              <a:ext cx="0" cy="3657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527C3079-74F1-5795-1D72-139A6732D815}"/>
              </a:ext>
            </a:extLst>
          </p:cNvPr>
          <p:cNvPicPr>
            <a:picLocks noChangeAspect="1"/>
          </p:cNvPicPr>
          <p:nvPr userDrawn="1"/>
        </p:nvPicPr>
        <p:blipFill rotWithShape="1">
          <a:blip r:embed="rId4"/>
          <a:srcRect l="1812" t="15533" r="79840" b="29168"/>
          <a:stretch/>
        </p:blipFill>
        <p:spPr>
          <a:xfrm>
            <a:off x="2479716" y="3017520"/>
            <a:ext cx="1884048" cy="822960"/>
          </a:xfrm>
          <a:prstGeom prst="rect">
            <a:avLst/>
          </a:prstGeom>
        </p:spPr>
      </p:pic>
    </p:spTree>
    <p:extLst>
      <p:ext uri="{BB962C8B-B14F-4D97-AF65-F5344CB8AC3E}">
        <p14:creationId xmlns:p14="http://schemas.microsoft.com/office/powerpoint/2010/main" val="121477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1D871AB-3CB7-DBC7-11A0-68CC14197AD2}"/>
              </a:ext>
            </a:extLst>
          </p:cNvPr>
          <p:cNvGrpSpPr/>
          <p:nvPr userDrawn="1"/>
        </p:nvGrpSpPr>
        <p:grpSpPr>
          <a:xfrm>
            <a:off x="28678" y="0"/>
            <a:ext cx="12192000" cy="6857999"/>
            <a:chOff x="1" y="-3203"/>
            <a:chExt cx="12192000" cy="6857999"/>
          </a:xfrm>
        </p:grpSpPr>
        <p:pic>
          <p:nvPicPr>
            <p:cNvPr id="4" name="Picture 3" descr="Background pattern&#10;&#10;Description automatically generated">
              <a:extLst>
                <a:ext uri="{FF2B5EF4-FFF2-40B4-BE49-F238E27FC236}">
                  <a16:creationId xmlns:a16="http://schemas.microsoft.com/office/drawing/2014/main" id="{543DAEE0-68FF-7A4A-E6E2-6487A44E4AB7}"/>
                </a:ext>
              </a:extLst>
            </p:cNvPr>
            <p:cNvPicPr>
              <a:picLocks noChangeAspect="1"/>
            </p:cNvPicPr>
            <p:nvPr userDrawn="1"/>
          </p:nvPicPr>
          <p:blipFill rotWithShape="1">
            <a:blip r:embed="rId2" cstate="hqprint">
              <a:alphaModFix amt="30000"/>
              <a:extLst>
                <a:ext uri="{28A0092B-C50C-407E-A947-70E740481C1C}">
                  <a14:useLocalDpi xmlns:a14="http://schemas.microsoft.com/office/drawing/2010/main"/>
                </a:ext>
              </a:extLst>
            </a:blip>
            <a:srcRect l="5974" t="11245" b="4417"/>
            <a:stretch/>
          </p:blipFill>
          <p:spPr>
            <a:xfrm>
              <a:off x="1" y="-3203"/>
              <a:ext cx="12192000" cy="6857999"/>
            </a:xfrm>
            <a:prstGeom prst="rect">
              <a:avLst/>
            </a:prstGeom>
          </p:spPr>
        </p:pic>
        <p:sp>
          <p:nvSpPr>
            <p:cNvPr id="6" name="Rectangle: Rounded Corners 5">
              <a:extLst>
                <a:ext uri="{FF2B5EF4-FFF2-40B4-BE49-F238E27FC236}">
                  <a16:creationId xmlns:a16="http://schemas.microsoft.com/office/drawing/2014/main" id="{A81A2386-0875-C51F-8E94-C114ABDD6515}"/>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grpSp>
      <p:sp>
        <p:nvSpPr>
          <p:cNvPr id="38" name="Hexagon 37">
            <a:hlinkClick r:id="rId3"/>
            <a:extLst>
              <a:ext uri="{FF2B5EF4-FFF2-40B4-BE49-F238E27FC236}">
                <a16:creationId xmlns:a16="http://schemas.microsoft.com/office/drawing/2014/main" id="{DED605E0-8598-6527-D1CB-47AA5285E3CC}"/>
              </a:ext>
            </a:extLst>
          </p:cNvPr>
          <p:cNvSpPr>
            <a:spLocks noChangeAspect="1"/>
          </p:cNvSpPr>
          <p:nvPr userDrawn="1"/>
        </p:nvSpPr>
        <p:spPr>
          <a:xfrm rot="16200000">
            <a:off x="1619110" y="5880567"/>
            <a:ext cx="424288" cy="365760"/>
          </a:xfrm>
          <a:prstGeom prst="hexagon">
            <a:avLst>
              <a:gd name="adj" fmla="val 27395"/>
              <a:gd name="vf" fmla="val 115470"/>
            </a:avLst>
          </a:prstGeom>
          <a:solidFill>
            <a:schemeClr val="accent1">
              <a:alpha val="8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34" name="Graphic 33">
            <a:hlinkClick r:id="rId3"/>
            <a:extLst>
              <a:ext uri="{FF2B5EF4-FFF2-40B4-BE49-F238E27FC236}">
                <a16:creationId xmlns:a16="http://schemas.microsoft.com/office/drawing/2014/main" id="{D2EACDD3-D1C7-E55B-D092-3123937A39E8}"/>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t="1218" b="2341"/>
          <a:stretch/>
        </p:blipFill>
        <p:spPr>
          <a:xfrm>
            <a:off x="1736658" y="5960326"/>
            <a:ext cx="197214" cy="190196"/>
          </a:xfrm>
          <a:prstGeom prst="rect">
            <a:avLst/>
          </a:prstGeom>
        </p:spPr>
      </p:pic>
      <p:sp>
        <p:nvSpPr>
          <p:cNvPr id="39" name="Hexagon 38">
            <a:hlinkClick r:id="rId6"/>
            <a:extLst>
              <a:ext uri="{FF2B5EF4-FFF2-40B4-BE49-F238E27FC236}">
                <a16:creationId xmlns:a16="http://schemas.microsoft.com/office/drawing/2014/main" id="{A15E26A9-D153-6A0F-564B-DA6917BB0A96}"/>
              </a:ext>
            </a:extLst>
          </p:cNvPr>
          <p:cNvSpPr>
            <a:spLocks noChangeAspect="1"/>
          </p:cNvSpPr>
          <p:nvPr userDrawn="1"/>
        </p:nvSpPr>
        <p:spPr>
          <a:xfrm rot="16200000">
            <a:off x="1168540" y="5880567"/>
            <a:ext cx="424288" cy="365760"/>
          </a:xfrm>
          <a:prstGeom prst="hexagon">
            <a:avLst>
              <a:gd name="adj" fmla="val 27395"/>
              <a:gd name="vf" fmla="val 115470"/>
            </a:avLst>
          </a:prstGeom>
          <a:solidFill>
            <a:schemeClr val="accent1">
              <a:alpha val="8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37" name="Hexagon 36">
            <a:hlinkClick r:id="rId7"/>
            <a:extLst>
              <a:ext uri="{FF2B5EF4-FFF2-40B4-BE49-F238E27FC236}">
                <a16:creationId xmlns:a16="http://schemas.microsoft.com/office/drawing/2014/main" id="{08BC02B3-C2F7-9D13-78FC-5950CFE4CA9E}"/>
              </a:ext>
            </a:extLst>
          </p:cNvPr>
          <p:cNvSpPr>
            <a:spLocks noChangeAspect="1"/>
          </p:cNvSpPr>
          <p:nvPr userDrawn="1"/>
        </p:nvSpPr>
        <p:spPr>
          <a:xfrm rot="16200000">
            <a:off x="2069680" y="5880567"/>
            <a:ext cx="424288" cy="365760"/>
          </a:xfrm>
          <a:prstGeom prst="hexagon">
            <a:avLst>
              <a:gd name="adj" fmla="val 27395"/>
              <a:gd name="vf" fmla="val 115470"/>
            </a:avLst>
          </a:prstGeom>
          <a:solidFill>
            <a:schemeClr val="accent1">
              <a:alpha val="8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40" name="Hexagon 39">
            <a:hlinkClick r:id="rId8"/>
            <a:extLst>
              <a:ext uri="{FF2B5EF4-FFF2-40B4-BE49-F238E27FC236}">
                <a16:creationId xmlns:a16="http://schemas.microsoft.com/office/drawing/2014/main" id="{90620A96-694B-2190-7267-063881DCF125}"/>
              </a:ext>
            </a:extLst>
          </p:cNvPr>
          <p:cNvSpPr>
            <a:spLocks noChangeAspect="1"/>
          </p:cNvSpPr>
          <p:nvPr userDrawn="1"/>
        </p:nvSpPr>
        <p:spPr>
          <a:xfrm rot="16200000">
            <a:off x="717970" y="5880567"/>
            <a:ext cx="424288" cy="365760"/>
          </a:xfrm>
          <a:prstGeom prst="hexagon">
            <a:avLst>
              <a:gd name="adj" fmla="val 27395"/>
              <a:gd name="vf" fmla="val 115470"/>
            </a:avLst>
          </a:prstGeom>
          <a:solidFill>
            <a:schemeClr val="accent1">
              <a:alpha val="8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nvGrpSpPr>
          <p:cNvPr id="3" name="Group 2">
            <a:extLst>
              <a:ext uri="{FF2B5EF4-FFF2-40B4-BE49-F238E27FC236}">
                <a16:creationId xmlns:a16="http://schemas.microsoft.com/office/drawing/2014/main" id="{AF5FAB53-1E11-8232-4324-26C9A534ACEC}"/>
              </a:ext>
            </a:extLst>
          </p:cNvPr>
          <p:cNvGrpSpPr/>
          <p:nvPr userDrawn="1"/>
        </p:nvGrpSpPr>
        <p:grpSpPr>
          <a:xfrm>
            <a:off x="4220144" y="3133535"/>
            <a:ext cx="3751712" cy="590931"/>
            <a:chOff x="4538660" y="3133535"/>
            <a:chExt cx="3751712" cy="590931"/>
          </a:xfrm>
        </p:grpSpPr>
        <p:sp>
          <p:nvSpPr>
            <p:cNvPr id="5" name="Title 5">
              <a:extLst>
                <a:ext uri="{FF2B5EF4-FFF2-40B4-BE49-F238E27FC236}">
                  <a16:creationId xmlns:a16="http://schemas.microsoft.com/office/drawing/2014/main" id="{9209CE69-B58A-CD94-1A0D-B924809C1026}"/>
                </a:ext>
              </a:extLst>
            </p:cNvPr>
            <p:cNvSpPr txBox="1">
              <a:spLocks/>
            </p:cNvSpPr>
            <p:nvPr userDrawn="1"/>
          </p:nvSpPr>
          <p:spPr>
            <a:xfrm>
              <a:off x="6784848" y="3133535"/>
              <a:ext cx="1505524" cy="590931"/>
            </a:xfrm>
            <a:prstGeom prst="rect">
              <a:avLst/>
            </a:prstGeom>
          </p:spPr>
          <p:txBody>
            <a:bodyPr vert="horz" wrap="square"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solidFill>
                    <a:schemeClr val="tx1"/>
                  </a:solidFill>
                  <a:latin typeface="+mn-lt"/>
                </a:rPr>
                <a:t>you</a:t>
              </a:r>
            </a:p>
          </p:txBody>
        </p:sp>
        <p:sp>
          <p:nvSpPr>
            <p:cNvPr id="7" name="Title 5">
              <a:extLst>
                <a:ext uri="{FF2B5EF4-FFF2-40B4-BE49-F238E27FC236}">
                  <a16:creationId xmlns:a16="http://schemas.microsoft.com/office/drawing/2014/main" id="{65614916-0AC4-921A-F1CB-C14983494CEC}"/>
                </a:ext>
              </a:extLst>
            </p:cNvPr>
            <p:cNvSpPr txBox="1">
              <a:spLocks/>
            </p:cNvSpPr>
            <p:nvPr userDrawn="1"/>
          </p:nvSpPr>
          <p:spPr>
            <a:xfrm>
              <a:off x="4538660" y="3133535"/>
              <a:ext cx="2325436" cy="590931"/>
            </a:xfrm>
            <a:prstGeom prst="rect">
              <a:avLst/>
            </a:prstGeom>
          </p:spPr>
          <p:txBody>
            <a:bodyPr vert="horz"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solidFill>
                    <a:schemeClr val="tx1"/>
                  </a:solidFill>
                </a:rPr>
                <a:t>thank</a:t>
              </a:r>
            </a:p>
          </p:txBody>
        </p:sp>
      </p:grpSp>
      <p:sp>
        <p:nvSpPr>
          <p:cNvPr id="8" name="object 20">
            <a:hlinkClick r:id="rId9"/>
            <a:extLst>
              <a:ext uri="{FF2B5EF4-FFF2-40B4-BE49-F238E27FC236}">
                <a16:creationId xmlns:a16="http://schemas.microsoft.com/office/drawing/2014/main" id="{D85769D8-0336-3C75-4571-FC38B6D03036}"/>
              </a:ext>
            </a:extLst>
          </p:cNvPr>
          <p:cNvSpPr txBox="1"/>
          <p:nvPr userDrawn="1"/>
        </p:nvSpPr>
        <p:spPr>
          <a:xfrm>
            <a:off x="369696" y="5208601"/>
            <a:ext cx="2459879" cy="322523"/>
          </a:xfrm>
          <a:prstGeom prst="rect">
            <a:avLst/>
          </a:prstGeom>
        </p:spPr>
        <p:txBody>
          <a:bodyPr vert="horz" wrap="square" lIns="0" tIns="14604" rIns="0" bIns="0" rtlCol="0">
            <a:spAutoFit/>
          </a:bodyPr>
          <a:lstStyle/>
          <a:p>
            <a:pPr marL="12700" marR="0" lvl="0" indent="0" algn="ctr" defTabSz="1086775" rtl="0" eaLnBrk="1" fontAlgn="auto" latinLnBrk="0" hangingPunct="1">
              <a:lnSpc>
                <a:spcPct val="100000"/>
              </a:lnSpc>
              <a:spcBef>
                <a:spcPts val="114"/>
              </a:spcBef>
              <a:spcAft>
                <a:spcPts val="0"/>
              </a:spcAft>
              <a:buClrTx/>
              <a:buSzTx/>
              <a:buFontTx/>
              <a:buNone/>
              <a:tabLst/>
              <a:defRPr/>
            </a:pPr>
            <a:r>
              <a:rPr kumimoji="0" sz="2000" b="1" i="0" u="none" strike="noStrike" kern="1200" cap="none" spc="200" normalizeH="0" noProof="0" dirty="0">
                <a:ln>
                  <a:noFill/>
                </a:ln>
                <a:solidFill>
                  <a:schemeClr val="bg2"/>
                </a:solidFill>
                <a:effectLst/>
                <a:uLnTx/>
                <a:uFillTx/>
                <a:latin typeface="PTCRaleway"/>
                <a:ea typeface="+mn-ea"/>
                <a:cs typeface="PTCRaleway"/>
              </a:rPr>
              <a:t>ptc.com</a:t>
            </a:r>
            <a:endParaRPr kumimoji="0" sz="2000" b="0" i="0" u="none" strike="noStrike" kern="1200" cap="none" spc="200" normalizeH="0" noProof="0" dirty="0">
              <a:ln>
                <a:noFill/>
              </a:ln>
              <a:solidFill>
                <a:schemeClr val="bg2"/>
              </a:solidFill>
              <a:effectLst/>
              <a:uLnTx/>
              <a:uFillTx/>
              <a:latin typeface="PTCRaleway"/>
              <a:ea typeface="+mn-ea"/>
              <a:cs typeface="PTCRaleway"/>
            </a:endParaRPr>
          </a:p>
        </p:txBody>
      </p:sp>
      <p:pic>
        <p:nvPicPr>
          <p:cNvPr id="33" name="Graphic 32">
            <a:hlinkClick r:id="rId8"/>
            <a:extLst>
              <a:ext uri="{FF2B5EF4-FFF2-40B4-BE49-F238E27FC236}">
                <a16:creationId xmlns:a16="http://schemas.microsoft.com/office/drawing/2014/main" id="{515C720B-8A21-2EAE-EE38-12998E38650D}"/>
              </a:ext>
            </a:extLst>
          </p:cNvPr>
          <p:cNvPicPr>
            <a:picLocks noChangeAspect="1"/>
          </p:cNvPicPr>
          <p:nvPr userDrawn="1"/>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l="26405" r="25557"/>
          <a:stretch/>
        </p:blipFill>
        <p:spPr>
          <a:xfrm>
            <a:off x="882745" y="5964841"/>
            <a:ext cx="94738" cy="197213"/>
          </a:xfrm>
          <a:prstGeom prst="rect">
            <a:avLst/>
          </a:prstGeom>
        </p:spPr>
      </p:pic>
      <p:pic>
        <p:nvPicPr>
          <p:cNvPr id="36" name="Graphic 35">
            <a:hlinkClick r:id="rId7"/>
            <a:extLst>
              <a:ext uri="{FF2B5EF4-FFF2-40B4-BE49-F238E27FC236}">
                <a16:creationId xmlns:a16="http://schemas.microsoft.com/office/drawing/2014/main" id="{1FAFCC63-271F-4BCC-8F15-3471B1DA711E}"/>
              </a:ext>
            </a:extLst>
          </p:cNvPr>
          <p:cNvPicPr>
            <a:picLocks noChangeAspect="1"/>
          </p:cNvPicPr>
          <p:nvPr userDrawn="1"/>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l="5936" t="8018" r="5241" b="7816"/>
          <a:stretch/>
        </p:blipFill>
        <p:spPr>
          <a:xfrm>
            <a:off x="2175144" y="5979442"/>
            <a:ext cx="213360" cy="151966"/>
          </a:xfrm>
          <a:prstGeom prst="rect">
            <a:avLst/>
          </a:prstGeom>
        </p:spPr>
      </p:pic>
      <p:pic>
        <p:nvPicPr>
          <p:cNvPr id="10" name="Graphic 9">
            <a:extLst>
              <a:ext uri="{FF2B5EF4-FFF2-40B4-BE49-F238E27FC236}">
                <a16:creationId xmlns:a16="http://schemas.microsoft.com/office/drawing/2014/main" id="{8C609F75-1B02-92D8-02F6-771D8CE3F92F}"/>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725921" y="463288"/>
            <a:ext cx="2020616" cy="731520"/>
          </a:xfrm>
          <a:prstGeom prst="rect">
            <a:avLst/>
          </a:prstGeom>
        </p:spPr>
      </p:pic>
      <p:pic>
        <p:nvPicPr>
          <p:cNvPr id="9" name="Graphic 8">
            <a:hlinkClick r:id="rId6"/>
            <a:extLst>
              <a:ext uri="{FF2B5EF4-FFF2-40B4-BE49-F238E27FC236}">
                <a16:creationId xmlns:a16="http://schemas.microsoft.com/office/drawing/2014/main" id="{8A3E0BB1-5C00-B9A2-D2AA-771CD84009E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289652" y="5969610"/>
            <a:ext cx="178855" cy="182880"/>
          </a:xfrm>
          <a:prstGeom prst="rect">
            <a:avLst/>
          </a:prstGeom>
        </p:spPr>
      </p:pic>
    </p:spTree>
    <p:extLst>
      <p:ext uri="{BB962C8B-B14F-4D97-AF65-F5344CB8AC3E}">
        <p14:creationId xmlns:p14="http://schemas.microsoft.com/office/powerpoint/2010/main" val="2519883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Agenda (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D0B4BE-793E-4EA1-62E4-556326C84CD2}"/>
              </a:ext>
            </a:extLst>
          </p:cNvPr>
          <p:cNvPicPr>
            <a:picLocks noChangeAspect="1"/>
          </p:cNvPicPr>
          <p:nvPr userDrawn="1"/>
        </p:nvPicPr>
        <p:blipFill>
          <a:blip r:embed="rId2"/>
          <a:srcRect l="1092" t="890" r="1092" b="1268"/>
          <a:stretch/>
        </p:blipFill>
        <p:spPr>
          <a:xfrm>
            <a:off x="1524" y="0"/>
            <a:ext cx="12188952" cy="6858000"/>
          </a:xfrm>
          <a:prstGeom prst="rect">
            <a:avLst/>
          </a:prstGeom>
        </p:spPr>
      </p:pic>
      <p:sp>
        <p:nvSpPr>
          <p:cNvPr id="6" name="Rectangle 5">
            <a:extLst>
              <a:ext uri="{FF2B5EF4-FFF2-40B4-BE49-F238E27FC236}">
                <a16:creationId xmlns:a16="http://schemas.microsoft.com/office/drawing/2014/main" id="{A3020598-581E-349E-A7D8-F2DDAE57E786}"/>
              </a:ext>
            </a:extLst>
          </p:cNvPr>
          <p:cNvSpPr/>
          <p:nvPr userDrawn="1"/>
        </p:nvSpPr>
        <p:spPr>
          <a:xfrm>
            <a:off x="-1525" y="0"/>
            <a:ext cx="12192001" cy="6433135"/>
          </a:xfrm>
          <a:prstGeom prst="rect">
            <a:avLst/>
          </a:prstGeom>
          <a:solidFill>
            <a:schemeClr val="accent6">
              <a:lumMod val="7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9" name="Title 28">
            <a:extLst>
              <a:ext uri="{FF2B5EF4-FFF2-40B4-BE49-F238E27FC236}">
                <a16:creationId xmlns:a16="http://schemas.microsoft.com/office/drawing/2014/main" id="{BB392E0D-A1CD-16E8-2422-6B89C23B5FB7}"/>
              </a:ext>
            </a:extLst>
          </p:cNvPr>
          <p:cNvSpPr>
            <a:spLocks noGrp="1"/>
          </p:cNvSpPr>
          <p:nvPr>
            <p:ph type="title" hasCustomPrompt="1"/>
          </p:nvPr>
        </p:nvSpPr>
        <p:spPr>
          <a:xfrm>
            <a:off x="510776" y="2992972"/>
            <a:ext cx="3108960" cy="369332"/>
          </a:xfrm>
        </p:spPr>
        <p:txBody>
          <a:bodyPr/>
          <a:lstStyle>
            <a:lvl1pPr>
              <a:defRPr>
                <a:solidFill>
                  <a:schemeClr val="bg1"/>
                </a:solidFill>
              </a:defRPr>
            </a:lvl1pPr>
          </a:lstStyle>
          <a:p>
            <a:r>
              <a:rPr lang="en-US" dirty="0"/>
              <a:t>AGENDA</a:t>
            </a:r>
          </a:p>
        </p:txBody>
      </p:sp>
      <p:cxnSp>
        <p:nvCxnSpPr>
          <p:cNvPr id="3" name="Straight Connector 2">
            <a:extLst>
              <a:ext uri="{FF2B5EF4-FFF2-40B4-BE49-F238E27FC236}">
                <a16:creationId xmlns:a16="http://schemas.microsoft.com/office/drawing/2014/main" id="{129AAEB2-7442-E9B0-CFF3-5687B8F84294}"/>
              </a:ext>
            </a:extLst>
          </p:cNvPr>
          <p:cNvCxnSpPr>
            <a:cxnSpLocks/>
          </p:cNvCxnSpPr>
          <p:nvPr userDrawn="1"/>
        </p:nvCxnSpPr>
        <p:spPr>
          <a:xfrm>
            <a:off x="3805843" y="644162"/>
            <a:ext cx="0" cy="530352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0C85858-A0E0-F077-D569-DE6B03CE5C1D}"/>
              </a:ext>
            </a:extLst>
          </p:cNvPr>
          <p:cNvSpPr/>
          <p:nvPr userDrawn="1"/>
        </p:nvSpPr>
        <p:spPr>
          <a:xfrm flipH="1" flipV="1">
            <a:off x="510776" y="2722037"/>
            <a:ext cx="960120"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sp>
        <p:nvSpPr>
          <p:cNvPr id="9" name="Text Placeholder 8">
            <a:extLst>
              <a:ext uri="{FF2B5EF4-FFF2-40B4-BE49-F238E27FC236}">
                <a16:creationId xmlns:a16="http://schemas.microsoft.com/office/drawing/2014/main" id="{8B307D1B-C55F-0107-2BF9-9B1B0FF70BFA}"/>
              </a:ext>
            </a:extLst>
          </p:cNvPr>
          <p:cNvSpPr>
            <a:spLocks noGrp="1"/>
          </p:cNvSpPr>
          <p:nvPr>
            <p:ph type="body" sz="quarter" idx="10"/>
          </p:nvPr>
        </p:nvSpPr>
        <p:spPr>
          <a:xfrm>
            <a:off x="4318000" y="1008525"/>
            <a:ext cx="7362825" cy="4565650"/>
          </a:xfrm>
        </p:spPr>
        <p:txBody>
          <a:bodyPr vert="horz" lIns="0" tIns="0" rIns="0" bIns="0" rtlCol="0" anchor="ctr" anchorCtr="0">
            <a:noAutofit/>
          </a:bodyPr>
          <a:lstStyle>
            <a:lvl1pPr>
              <a:defRPr lang="en-US" smtClean="0">
                <a:solidFill>
                  <a:schemeClr val="bg1"/>
                </a:solidFill>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US"/>
              <a:t>Click to edit Master text styles</a:t>
            </a:r>
          </a:p>
          <a:p>
            <a:pPr lvl="1"/>
            <a:r>
              <a:rPr lang="en-US"/>
              <a:t>Second level</a:t>
            </a:r>
          </a:p>
          <a:p>
            <a:pPr lvl="2">
              <a:buBlip>
                <a:blip r:embed="rId3"/>
              </a:buBlip>
            </a:pPr>
            <a:r>
              <a:rPr lang="en-US"/>
              <a:t>Third level</a:t>
            </a:r>
          </a:p>
          <a:p>
            <a:pPr lvl="3">
              <a:buBlip>
                <a:blip r:embed="rId4"/>
              </a:buBlip>
            </a:pPr>
            <a:r>
              <a:rPr lang="en-US"/>
              <a:t>Fourth level</a:t>
            </a:r>
          </a:p>
          <a:p>
            <a:pPr lvl="4"/>
            <a:r>
              <a:rPr lang="en-US"/>
              <a:t>Fifth level</a:t>
            </a:r>
          </a:p>
        </p:txBody>
      </p:sp>
      <p:sp>
        <p:nvSpPr>
          <p:cNvPr id="2" name="Freeform: Shape 1">
            <a:extLst>
              <a:ext uri="{FF2B5EF4-FFF2-40B4-BE49-F238E27FC236}">
                <a16:creationId xmlns:a16="http://schemas.microsoft.com/office/drawing/2014/main" id="{93CC7FF7-9EE5-23EB-23C3-9EAD00E042D6}"/>
              </a:ext>
            </a:extLst>
          </p:cNvPr>
          <p:cNvSpPr/>
          <p:nvPr userDrawn="1"/>
        </p:nvSpPr>
        <p:spPr>
          <a:xfrm>
            <a:off x="9506712" y="629009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7" name="Freeform: Shape 6">
            <a:extLst>
              <a:ext uri="{FF2B5EF4-FFF2-40B4-BE49-F238E27FC236}">
                <a16:creationId xmlns:a16="http://schemas.microsoft.com/office/drawing/2014/main" id="{6D02D312-F1C4-47BD-4CCE-2F736C8466DF}"/>
              </a:ext>
            </a:extLst>
          </p:cNvPr>
          <p:cNvSpPr/>
          <p:nvPr userDrawn="1"/>
        </p:nvSpPr>
        <p:spPr>
          <a:xfrm>
            <a:off x="9506712" y="6391694"/>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6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0" name="Freeform: Shape 19">
            <a:extLst>
              <a:ext uri="{FF2B5EF4-FFF2-40B4-BE49-F238E27FC236}">
                <a16:creationId xmlns:a16="http://schemas.microsoft.com/office/drawing/2014/main" id="{87DE1DD4-2779-CF60-78FD-678329BA1EB3}"/>
              </a:ext>
            </a:extLst>
          </p:cNvPr>
          <p:cNvSpPr/>
          <p:nvPr userDrawn="1"/>
        </p:nvSpPr>
        <p:spPr>
          <a:xfrm>
            <a:off x="0" y="6140187"/>
            <a:ext cx="12192002" cy="728021"/>
          </a:xfrm>
          <a:custGeom>
            <a:avLst/>
            <a:gdLst>
              <a:gd name="connsiteX0" fmla="*/ 0 w 12192002"/>
              <a:gd name="connsiteY0" fmla="*/ 0 h 728021"/>
              <a:gd name="connsiteX1" fmla="*/ 2528739 w 12192002"/>
              <a:gd name="connsiteY1" fmla="*/ 0 h 728021"/>
              <a:gd name="connsiteX2" fmla="*/ 2765129 w 12192002"/>
              <a:gd name="connsiteY2" fmla="*/ 136016 h 728021"/>
              <a:gd name="connsiteX3" fmla="*/ 2765129 w 12192002"/>
              <a:gd name="connsiteY3" fmla="*/ 138901 h 728021"/>
              <a:gd name="connsiteX4" fmla="*/ 2770143 w 12192002"/>
              <a:gd name="connsiteY4" fmla="*/ 138901 h 728021"/>
              <a:gd name="connsiteX5" fmla="*/ 2774905 w 12192002"/>
              <a:gd name="connsiteY5" fmla="*/ 141641 h 728021"/>
              <a:gd name="connsiteX6" fmla="*/ 12192002 w 12192002"/>
              <a:gd name="connsiteY6" fmla="*/ 148090 h 728021"/>
              <a:gd name="connsiteX7" fmla="*/ 12192002 w 12192002"/>
              <a:gd name="connsiteY7" fmla="*/ 728021 h 728021"/>
              <a:gd name="connsiteX8" fmla="*/ 1 w 12192002"/>
              <a:gd name="connsiteY8" fmla="*/ 728021 h 728021"/>
              <a:gd name="connsiteX9" fmla="*/ 1 w 12192002"/>
              <a:gd name="connsiteY9" fmla="*/ 233465 h 728021"/>
              <a:gd name="connsiteX10" fmla="*/ 0 w 12192002"/>
              <a:gd name="connsiteY10" fmla="*/ 233465 h 728021"/>
              <a:gd name="connsiteX11" fmla="*/ 0 w 12192002"/>
              <a:gd name="connsiteY11" fmla="*/ 0 h 72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2" h="728021">
                <a:moveTo>
                  <a:pt x="0" y="0"/>
                </a:moveTo>
                <a:lnTo>
                  <a:pt x="2528739" y="0"/>
                </a:lnTo>
                <a:lnTo>
                  <a:pt x="2765129" y="136016"/>
                </a:lnTo>
                <a:lnTo>
                  <a:pt x="2765129" y="138901"/>
                </a:lnTo>
                <a:lnTo>
                  <a:pt x="2770143" y="138901"/>
                </a:lnTo>
                <a:lnTo>
                  <a:pt x="2774905" y="141641"/>
                </a:lnTo>
                <a:lnTo>
                  <a:pt x="12192002" y="148090"/>
                </a:lnTo>
                <a:lnTo>
                  <a:pt x="12192002" y="728021"/>
                </a:lnTo>
                <a:lnTo>
                  <a:pt x="1" y="728021"/>
                </a:lnTo>
                <a:lnTo>
                  <a:pt x="1" y="233465"/>
                </a:lnTo>
                <a:lnTo>
                  <a:pt x="0" y="233465"/>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a:solidFill>
                <a:schemeClr val="bg1"/>
              </a:solidFill>
            </a:endParaRPr>
          </a:p>
        </p:txBody>
      </p:sp>
      <p:pic>
        <p:nvPicPr>
          <p:cNvPr id="13" name="Graphic 12">
            <a:extLst>
              <a:ext uri="{FF2B5EF4-FFF2-40B4-BE49-F238E27FC236}">
                <a16:creationId xmlns:a16="http://schemas.microsoft.com/office/drawing/2014/main" id="{2F721355-0E57-FEE3-9FE3-BA65597D88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040" y="6497832"/>
            <a:ext cx="2892560" cy="215304"/>
          </a:xfrm>
          <a:prstGeom prst="rect">
            <a:avLst/>
          </a:prstGeom>
        </p:spPr>
      </p:pic>
      <p:sp>
        <p:nvSpPr>
          <p:cNvPr id="14" name="Rectangle 6">
            <a:extLst>
              <a:ext uri="{FF2B5EF4-FFF2-40B4-BE49-F238E27FC236}">
                <a16:creationId xmlns:a16="http://schemas.microsoft.com/office/drawing/2014/main" id="{A3B47C56-0AC4-CE34-2BF5-8EB1F1D75F97}"/>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
        <p:nvSpPr>
          <p:cNvPr id="8" name="Freeform: Shape 7">
            <a:extLst>
              <a:ext uri="{FF2B5EF4-FFF2-40B4-BE49-F238E27FC236}">
                <a16:creationId xmlns:a16="http://schemas.microsoft.com/office/drawing/2014/main" id="{2B368130-2169-0CF3-1C6E-4B5E655AB955}"/>
              </a:ext>
            </a:extLst>
          </p:cNvPr>
          <p:cNvSpPr/>
          <p:nvPr userDrawn="1"/>
        </p:nvSpPr>
        <p:spPr>
          <a:xfrm flipH="1" flipV="1">
            <a:off x="-1" y="-17864"/>
            <a:ext cx="12189953" cy="459244"/>
          </a:xfrm>
          <a:custGeom>
            <a:avLst/>
            <a:gdLst>
              <a:gd name="connsiteX0" fmla="*/ 12189953 w 12189953"/>
              <a:gd name="connsiteY0" fmla="*/ 459244 h 459244"/>
              <a:gd name="connsiteX1" fmla="*/ 0 w 12189953"/>
              <a:gd name="connsiteY1" fmla="*/ 459244 h 459244"/>
              <a:gd name="connsiteX2" fmla="*/ 1001 w 12189953"/>
              <a:gd name="connsiteY2" fmla="*/ 0 h 459244"/>
              <a:gd name="connsiteX3" fmla="*/ 732085 w 12189953"/>
              <a:gd name="connsiteY3" fmla="*/ 0 h 459244"/>
              <a:gd name="connsiteX4" fmla="*/ 2799007 w 12189953"/>
              <a:gd name="connsiteY4" fmla="*/ 0 h 459244"/>
              <a:gd name="connsiteX5" fmla="*/ 3803498 w 12189953"/>
              <a:gd name="connsiteY5" fmla="*/ 0 h 459244"/>
              <a:gd name="connsiteX6" fmla="*/ 4039583 w 12189953"/>
              <a:gd name="connsiteY6" fmla="*/ 136016 h 459244"/>
              <a:gd name="connsiteX7" fmla="*/ 4039583 w 12189953"/>
              <a:gd name="connsiteY7" fmla="*/ 138901 h 459244"/>
              <a:gd name="connsiteX8" fmla="*/ 4044591 w 12189953"/>
              <a:gd name="connsiteY8" fmla="*/ 138901 h 459244"/>
              <a:gd name="connsiteX9" fmla="*/ 4049346 w 12189953"/>
              <a:gd name="connsiteY9" fmla="*/ 141641 h 459244"/>
              <a:gd name="connsiteX10" fmla="*/ 4813609 w 12189953"/>
              <a:gd name="connsiteY10" fmla="*/ 138901 h 459244"/>
              <a:gd name="connsiteX11" fmla="*/ 12189953 w 12189953"/>
              <a:gd name="connsiteY11" fmla="*/ 131623 h 459244"/>
              <a:gd name="connsiteX12" fmla="*/ 12189953 w 12189953"/>
              <a:gd name="connsiteY12" fmla="*/ 459244 h 4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9953" h="459244">
                <a:moveTo>
                  <a:pt x="12189953" y="459244"/>
                </a:moveTo>
                <a:lnTo>
                  <a:pt x="0" y="459244"/>
                </a:lnTo>
                <a:lnTo>
                  <a:pt x="1001" y="0"/>
                </a:lnTo>
                <a:lnTo>
                  <a:pt x="732085" y="0"/>
                </a:lnTo>
                <a:lnTo>
                  <a:pt x="2799007" y="0"/>
                </a:lnTo>
                <a:lnTo>
                  <a:pt x="3803498" y="0"/>
                </a:lnTo>
                <a:lnTo>
                  <a:pt x="4039583" y="136016"/>
                </a:lnTo>
                <a:lnTo>
                  <a:pt x="4039583" y="138901"/>
                </a:lnTo>
                <a:lnTo>
                  <a:pt x="4044591" y="138901"/>
                </a:lnTo>
                <a:lnTo>
                  <a:pt x="4049346" y="141641"/>
                </a:lnTo>
                <a:lnTo>
                  <a:pt x="4813609" y="138901"/>
                </a:lnTo>
                <a:lnTo>
                  <a:pt x="12189953" y="131623"/>
                </a:lnTo>
                <a:lnTo>
                  <a:pt x="12189953" y="459244"/>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a:solidFill>
                <a:schemeClr val="bg1"/>
              </a:solidFill>
            </a:endParaRPr>
          </a:p>
        </p:txBody>
      </p:sp>
    </p:spTree>
    <p:extLst>
      <p:ext uri="{BB962C8B-B14F-4D97-AF65-F5344CB8AC3E}">
        <p14:creationId xmlns:p14="http://schemas.microsoft.com/office/powerpoint/2010/main" val="3920100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parator (RO)">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6FF52FC9-9B24-988F-E64A-C507A42B45CE}"/>
              </a:ext>
            </a:extLst>
          </p:cNvPr>
          <p:cNvPicPr>
            <a:picLocks noChangeAspect="1"/>
          </p:cNvPicPr>
          <p:nvPr userDrawn="1"/>
        </p:nvPicPr>
        <p:blipFill>
          <a:blip r:embed="rId2"/>
          <a:srcRect t="15483" b="17851"/>
          <a:stretch/>
        </p:blipFill>
        <p:spPr>
          <a:xfrm>
            <a:off x="0" y="1104901"/>
            <a:ext cx="12192000" cy="4572000"/>
          </a:xfrm>
          <a:prstGeom prst="rect">
            <a:avLst/>
          </a:prstGeom>
        </p:spPr>
      </p:pic>
      <p:sp>
        <p:nvSpPr>
          <p:cNvPr id="50" name="Rectangle 49">
            <a:extLst>
              <a:ext uri="{FF2B5EF4-FFF2-40B4-BE49-F238E27FC236}">
                <a16:creationId xmlns:a16="http://schemas.microsoft.com/office/drawing/2014/main" id="{D955369E-E117-317B-2714-3AA67B0658B1}"/>
              </a:ext>
            </a:extLst>
          </p:cNvPr>
          <p:cNvSpPr/>
          <p:nvPr userDrawn="1"/>
        </p:nvSpPr>
        <p:spPr>
          <a:xfrm>
            <a:off x="0" y="1104901"/>
            <a:ext cx="12192001" cy="4865078"/>
          </a:xfrm>
          <a:prstGeom prst="rect">
            <a:avLst/>
          </a:prstGeom>
          <a:solidFill>
            <a:schemeClr val="accent6">
              <a:lumMod val="7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44" name="Freeform: Shape 43">
            <a:extLst>
              <a:ext uri="{FF2B5EF4-FFF2-40B4-BE49-F238E27FC236}">
                <a16:creationId xmlns:a16="http://schemas.microsoft.com/office/drawing/2014/main" id="{97B72A42-C89C-736A-CD35-08A291AF75A6}"/>
              </a:ext>
            </a:extLst>
          </p:cNvPr>
          <p:cNvSpPr/>
          <p:nvPr userDrawn="1"/>
        </p:nvSpPr>
        <p:spPr>
          <a:xfrm flipH="1" flipV="1">
            <a:off x="-1" y="0"/>
            <a:ext cx="12192001" cy="1399325"/>
          </a:xfrm>
          <a:custGeom>
            <a:avLst/>
            <a:gdLst>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922105 h 1399325"/>
              <a:gd name="connsiteX4" fmla="*/ 3049 w 12192001"/>
              <a:gd name="connsiteY4" fmla="*/ 0 h 1399325"/>
              <a:gd name="connsiteX5" fmla="*/ 734133 w 12192001"/>
              <a:gd name="connsiteY5" fmla="*/ 0 h 1399325"/>
              <a:gd name="connsiteX6" fmla="*/ 2801055 w 12192001"/>
              <a:gd name="connsiteY6" fmla="*/ 0 h 1399325"/>
              <a:gd name="connsiteX7" fmla="*/ 3805546 w 12192001"/>
              <a:gd name="connsiteY7" fmla="*/ 0 h 1399325"/>
              <a:gd name="connsiteX8" fmla="*/ 4041631 w 12192001"/>
              <a:gd name="connsiteY8" fmla="*/ 136016 h 1399325"/>
              <a:gd name="connsiteX9" fmla="*/ 4041631 w 12192001"/>
              <a:gd name="connsiteY9" fmla="*/ 138901 h 1399325"/>
              <a:gd name="connsiteX10" fmla="*/ 4046639 w 12192001"/>
              <a:gd name="connsiteY10" fmla="*/ 138901 h 1399325"/>
              <a:gd name="connsiteX11" fmla="*/ 4051394 w 12192001"/>
              <a:gd name="connsiteY11" fmla="*/ 141641 h 1399325"/>
              <a:gd name="connsiteX12" fmla="*/ 4815657 w 12192001"/>
              <a:gd name="connsiteY12" fmla="*/ 138901 h 1399325"/>
              <a:gd name="connsiteX13" fmla="*/ 8511256 w 12192001"/>
              <a:gd name="connsiteY13" fmla="*/ 138901 h 1399325"/>
              <a:gd name="connsiteX14" fmla="*/ 8511256 w 12192001"/>
              <a:gd name="connsiteY14" fmla="*/ 131623 h 1399325"/>
              <a:gd name="connsiteX15" fmla="*/ 12192001 w 12192001"/>
              <a:gd name="connsiteY15" fmla="*/ 131623 h 1399325"/>
              <a:gd name="connsiteX16" fmla="*/ 12192001 w 12192001"/>
              <a:gd name="connsiteY16" fmla="*/ 1208825 h 1399325"/>
              <a:gd name="connsiteX17" fmla="*/ 12192000 w 12192001"/>
              <a:gd name="connsiteY17" fmla="*/ 12088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208825 h 1399325"/>
              <a:gd name="connsiteX17" fmla="*/ 12192000 w 12192001"/>
              <a:gd name="connsiteY17"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0 w 12192001"/>
              <a:gd name="connsiteY15"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8511256 w 12192001"/>
              <a:gd name="connsiteY12" fmla="*/ 131623 h 1399325"/>
              <a:gd name="connsiteX13" fmla="*/ 12192001 w 12192001"/>
              <a:gd name="connsiteY13" fmla="*/ 131623 h 1399325"/>
              <a:gd name="connsiteX14" fmla="*/ 12192000 w 12192001"/>
              <a:gd name="connsiteY14"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12192001 w 12192001"/>
              <a:gd name="connsiteY12" fmla="*/ 131623 h 1399325"/>
              <a:gd name="connsiteX13" fmla="*/ 12192000 w 12192001"/>
              <a:gd name="connsiteY13"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12192001 w 12192001"/>
              <a:gd name="connsiteY11" fmla="*/ 131623 h 1399325"/>
              <a:gd name="connsiteX12" fmla="*/ 12192000 w 12192001"/>
              <a:gd name="connsiteY12" fmla="*/ 1399325 h 139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1399325">
                <a:moveTo>
                  <a:pt x="12192000" y="1399325"/>
                </a:moveTo>
                <a:lnTo>
                  <a:pt x="0" y="1399325"/>
                </a:lnTo>
                <a:cubicBezTo>
                  <a:pt x="1016" y="932883"/>
                  <a:pt x="2033" y="466442"/>
                  <a:pt x="3049" y="0"/>
                </a:cubicBezTo>
                <a:lnTo>
                  <a:pt x="734133" y="0"/>
                </a:lnTo>
                <a:lnTo>
                  <a:pt x="2801055" y="0"/>
                </a:lnTo>
                <a:lnTo>
                  <a:pt x="3805546" y="0"/>
                </a:lnTo>
                <a:lnTo>
                  <a:pt x="4041631" y="136016"/>
                </a:lnTo>
                <a:lnTo>
                  <a:pt x="4041631" y="138901"/>
                </a:lnTo>
                <a:lnTo>
                  <a:pt x="4046639" y="138901"/>
                </a:lnTo>
                <a:lnTo>
                  <a:pt x="4051394" y="141641"/>
                </a:lnTo>
                <a:lnTo>
                  <a:pt x="4815657" y="138901"/>
                </a:lnTo>
                <a:lnTo>
                  <a:pt x="12192001" y="131623"/>
                </a:lnTo>
                <a:cubicBezTo>
                  <a:pt x="12192001" y="554190"/>
                  <a:pt x="12192000" y="976758"/>
                  <a:pt x="12192000" y="1399325"/>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a:solidFill>
                <a:schemeClr val="bg1"/>
              </a:solidFill>
            </a:endParaRPr>
          </a:p>
        </p:txBody>
      </p:sp>
      <p:pic>
        <p:nvPicPr>
          <p:cNvPr id="46" name="Picture 45">
            <a:extLst>
              <a:ext uri="{FF2B5EF4-FFF2-40B4-BE49-F238E27FC236}">
                <a16:creationId xmlns:a16="http://schemas.microsoft.com/office/drawing/2014/main" id="{D25B08B9-9840-2540-C7F5-643AAD41C74B}"/>
              </a:ext>
            </a:extLst>
          </p:cNvPr>
          <p:cNvPicPr>
            <a:picLocks noChangeAspect="1"/>
          </p:cNvPicPr>
          <p:nvPr userDrawn="1"/>
        </p:nvPicPr>
        <p:blipFill>
          <a:blip r:embed="rId3">
            <a:alphaModFix amt="40000"/>
          </a:blip>
          <a:srcRect t="11308"/>
          <a:stretch/>
        </p:blipFill>
        <p:spPr>
          <a:xfrm>
            <a:off x="149280" y="54429"/>
            <a:ext cx="1790792" cy="1650247"/>
          </a:xfrm>
          <a:prstGeom prst="rect">
            <a:avLst/>
          </a:prstGeom>
        </p:spPr>
      </p:pic>
      <p:grpSp>
        <p:nvGrpSpPr>
          <p:cNvPr id="47" name="Group 46">
            <a:extLst>
              <a:ext uri="{FF2B5EF4-FFF2-40B4-BE49-F238E27FC236}">
                <a16:creationId xmlns:a16="http://schemas.microsoft.com/office/drawing/2014/main" id="{2A3DFA75-5C98-1BDB-FCDA-4AA7F51CF91E}"/>
              </a:ext>
            </a:extLst>
          </p:cNvPr>
          <p:cNvGrpSpPr/>
          <p:nvPr userDrawn="1"/>
        </p:nvGrpSpPr>
        <p:grpSpPr>
          <a:xfrm>
            <a:off x="8311467" y="1246317"/>
            <a:ext cx="3880533" cy="100729"/>
            <a:chOff x="8311467" y="1246317"/>
            <a:chExt cx="3880533" cy="100729"/>
          </a:xfrm>
        </p:grpSpPr>
        <p:sp>
          <p:nvSpPr>
            <p:cNvPr id="48" name="Freeform: Shape 47">
              <a:extLst>
                <a:ext uri="{FF2B5EF4-FFF2-40B4-BE49-F238E27FC236}">
                  <a16:creationId xmlns:a16="http://schemas.microsoft.com/office/drawing/2014/main" id="{1D9E8827-2D85-DFA1-E80B-C22C3E855810}"/>
                </a:ext>
              </a:extLst>
            </p:cNvPr>
            <p:cNvSpPr>
              <a:spLocks/>
            </p:cNvSpPr>
            <p:nvPr/>
          </p:nvSpPr>
          <p:spPr>
            <a:xfrm flipH="1">
              <a:off x="8474264" y="1246317"/>
              <a:ext cx="3717736" cy="91440"/>
            </a:xfrm>
            <a:custGeom>
              <a:avLst/>
              <a:gdLst>
                <a:gd name="connsiteX0" fmla="*/ 3717736 w 3717736"/>
                <a:gd name="connsiteY0" fmla="*/ 0 h 91440"/>
                <a:gd name="connsiteX1" fmla="*/ 3546540 w 3717736"/>
                <a:gd name="connsiteY1" fmla="*/ 0 h 91440"/>
                <a:gd name="connsiteX2" fmla="*/ 3406714 w 3717736"/>
                <a:gd name="connsiteY2" fmla="*/ 0 h 91440"/>
                <a:gd name="connsiteX3" fmla="*/ 2661855 w 3717736"/>
                <a:gd name="connsiteY3" fmla="*/ 0 h 91440"/>
                <a:gd name="connsiteX4" fmla="*/ 884685 w 3717736"/>
                <a:gd name="connsiteY4" fmla="*/ 0 h 91440"/>
                <a:gd name="connsiteX5" fmla="*/ 0 w 3717736"/>
                <a:gd name="connsiteY5" fmla="*/ 0 h 91440"/>
                <a:gd name="connsiteX6" fmla="*/ 0 w 3717736"/>
                <a:gd name="connsiteY6" fmla="*/ 91440 h 91440"/>
                <a:gd name="connsiteX7" fmla="*/ 884685 w 3717736"/>
                <a:gd name="connsiteY7" fmla="*/ 91440 h 91440"/>
                <a:gd name="connsiteX8" fmla="*/ 2661855 w 3717736"/>
                <a:gd name="connsiteY8" fmla="*/ 91440 h 91440"/>
                <a:gd name="connsiteX9" fmla="*/ 3348947 w 3717736"/>
                <a:gd name="connsiteY9" fmla="*/ 91440 h 91440"/>
                <a:gd name="connsiteX10" fmla="*/ 3546540 w 3717736"/>
                <a:gd name="connsiteY10" fmla="*/ 91440 h 91440"/>
                <a:gd name="connsiteX11" fmla="*/ 3583229 w 3717736"/>
                <a:gd name="connsiteY11" fmla="*/ 91440 h 91440"/>
                <a:gd name="connsiteX12" fmla="*/ 3717736 w 3717736"/>
                <a:gd name="connsiteY12" fmla="*/ 0 h 9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17736" h="91440">
                  <a:moveTo>
                    <a:pt x="3717736" y="0"/>
                  </a:moveTo>
                  <a:lnTo>
                    <a:pt x="3546540" y="0"/>
                  </a:lnTo>
                  <a:lnTo>
                    <a:pt x="3406714" y="0"/>
                  </a:lnTo>
                  <a:lnTo>
                    <a:pt x="2661855" y="0"/>
                  </a:lnTo>
                  <a:lnTo>
                    <a:pt x="884685" y="0"/>
                  </a:lnTo>
                  <a:lnTo>
                    <a:pt x="0" y="0"/>
                  </a:lnTo>
                  <a:lnTo>
                    <a:pt x="0" y="91440"/>
                  </a:lnTo>
                  <a:lnTo>
                    <a:pt x="884685" y="91440"/>
                  </a:lnTo>
                  <a:lnTo>
                    <a:pt x="2661855" y="91440"/>
                  </a:lnTo>
                  <a:lnTo>
                    <a:pt x="3348947" y="91440"/>
                  </a:lnTo>
                  <a:lnTo>
                    <a:pt x="3546540" y="91440"/>
                  </a:lnTo>
                  <a:lnTo>
                    <a:pt x="3583229" y="91440"/>
                  </a:lnTo>
                  <a:lnTo>
                    <a:pt x="3717736" y="0"/>
                  </a:lnTo>
                  <a:close/>
                </a:path>
              </a:pathLst>
            </a:custGeom>
            <a:solidFill>
              <a:schemeClr val="bg2"/>
            </a:solidFill>
            <a:ln w="14003" cap="flat">
              <a:noFill/>
              <a:prstDash val="solid"/>
              <a:miter/>
            </a:ln>
          </p:spPr>
          <p:txBody>
            <a:bodyPr wrap="square" rtlCol="0" anchor="ctr">
              <a:no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3D4647"/>
                </a:solidFill>
                <a:effectLst/>
                <a:uLnTx/>
                <a:uFillTx/>
                <a:latin typeface="PTCRaleway"/>
                <a:ea typeface="+mn-ea"/>
                <a:cs typeface="+mn-cs"/>
              </a:endParaRPr>
            </a:p>
          </p:txBody>
        </p:sp>
        <p:sp>
          <p:nvSpPr>
            <p:cNvPr id="49" name="Graphic 33">
              <a:extLst>
                <a:ext uri="{FF2B5EF4-FFF2-40B4-BE49-F238E27FC236}">
                  <a16:creationId xmlns:a16="http://schemas.microsoft.com/office/drawing/2014/main" id="{68434E3C-AE42-019A-097D-6657665A1E8B}"/>
                </a:ext>
              </a:extLst>
            </p:cNvPr>
            <p:cNvSpPr>
              <a:spLocks noChangeAspect="1"/>
            </p:cNvSpPr>
            <p:nvPr/>
          </p:nvSpPr>
          <p:spPr>
            <a:xfrm flipH="1">
              <a:off x="8311467" y="1248222"/>
              <a:ext cx="192024" cy="98824"/>
            </a:xfrm>
            <a:prstGeom prst="parallelogram">
              <a:avLst>
                <a:gd name="adj" fmla="val 147098"/>
              </a:avLst>
            </a:prstGeom>
            <a:solidFill>
              <a:schemeClr val="tx2">
                <a:lumMod val="75000"/>
              </a:schemeClr>
            </a:solidFill>
            <a:ln w="14003"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3D4647"/>
                </a:solidFill>
                <a:effectLst/>
                <a:uLnTx/>
                <a:uFillTx/>
                <a:latin typeface="PTCRaleway"/>
                <a:ea typeface="+mn-ea"/>
                <a:cs typeface="+mn-cs"/>
              </a:endParaRPr>
            </a:p>
          </p:txBody>
        </p:sp>
      </p:grpSp>
      <p:sp>
        <p:nvSpPr>
          <p:cNvPr id="17" name="Freeform: Shape 16">
            <a:extLst>
              <a:ext uri="{FF2B5EF4-FFF2-40B4-BE49-F238E27FC236}">
                <a16:creationId xmlns:a16="http://schemas.microsoft.com/office/drawing/2014/main" id="{EBED366D-0F8A-57E1-0B2E-F6AAAC32915B}"/>
              </a:ext>
            </a:extLst>
          </p:cNvPr>
          <p:cNvSpPr/>
          <p:nvPr userDrawn="1"/>
        </p:nvSpPr>
        <p:spPr>
          <a:xfrm>
            <a:off x="0" y="6089714"/>
            <a:ext cx="12192000" cy="768286"/>
          </a:xfrm>
          <a:custGeom>
            <a:avLst/>
            <a:gdLst>
              <a:gd name="connsiteX0" fmla="*/ 0 w 12192000"/>
              <a:gd name="connsiteY0" fmla="*/ 0 h 1029970"/>
              <a:gd name="connsiteX1" fmla="*/ 1524001 w 12192000"/>
              <a:gd name="connsiteY1" fmla="*/ 0 h 1029970"/>
              <a:gd name="connsiteX2" fmla="*/ 2529790 w 12192000"/>
              <a:gd name="connsiteY2" fmla="*/ 0 h 1029970"/>
              <a:gd name="connsiteX3" fmla="*/ 2766180 w 12192000"/>
              <a:gd name="connsiteY3" fmla="*/ 136016 h 1029970"/>
              <a:gd name="connsiteX4" fmla="*/ 2766180 w 12192000"/>
              <a:gd name="connsiteY4" fmla="*/ 138901 h 1029970"/>
              <a:gd name="connsiteX5" fmla="*/ 2771194 w 12192000"/>
              <a:gd name="connsiteY5" fmla="*/ 138901 h 1029970"/>
              <a:gd name="connsiteX6" fmla="*/ 2775956 w 12192000"/>
              <a:gd name="connsiteY6" fmla="*/ 141641 h 1029970"/>
              <a:gd name="connsiteX7" fmla="*/ 3541206 w 12192000"/>
              <a:gd name="connsiteY7" fmla="*/ 138901 h 1029970"/>
              <a:gd name="connsiteX8" fmla="*/ 9509760 w 12192000"/>
              <a:gd name="connsiteY8" fmla="*/ 138901 h 1029970"/>
              <a:gd name="connsiteX9" fmla="*/ 9509760 w 12192000"/>
              <a:gd name="connsiteY9" fmla="*/ 134741 h 1029970"/>
              <a:gd name="connsiteX10" fmla="*/ 11646409 w 12192000"/>
              <a:gd name="connsiteY10" fmla="*/ 134741 h 1029970"/>
              <a:gd name="connsiteX11" fmla="*/ 12192000 w 12192000"/>
              <a:gd name="connsiteY11" fmla="*/ 134741 h 1029970"/>
              <a:gd name="connsiteX12" fmla="*/ 12192000 w 12192000"/>
              <a:gd name="connsiteY12" fmla="*/ 1029970 h 1029970"/>
              <a:gd name="connsiteX13" fmla="*/ 0 w 12192000"/>
              <a:gd name="connsiteY13" fmla="*/ 1029970 h 1029970"/>
              <a:gd name="connsiteX14" fmla="*/ 0 w 12192000"/>
              <a:gd name="connsiteY14" fmla="*/ 0 h 1029970"/>
              <a:gd name="connsiteX15" fmla="*/ 9506712 w 12192000"/>
              <a:gd name="connsiteY15" fmla="*/ 233465 h 1029970"/>
              <a:gd name="connsiteX16" fmla="*/ 9506712 w 12192000"/>
              <a:gd name="connsiteY16" fmla="*/ 256325 h 1029970"/>
              <a:gd name="connsiteX17" fmla="*/ 9509760 w 12192000"/>
              <a:gd name="connsiteY17" fmla="*/ 256325 h 1029970"/>
              <a:gd name="connsiteX18" fmla="*/ 9509760 w 12192000"/>
              <a:gd name="connsiteY18" fmla="*/ 233465 h 1029970"/>
              <a:gd name="connsiteX19" fmla="*/ 9506712 w 12192000"/>
              <a:gd name="connsiteY19" fmla="*/ 233465 h 1029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029970">
                <a:moveTo>
                  <a:pt x="0" y="0"/>
                </a:moveTo>
                <a:lnTo>
                  <a:pt x="1524001" y="0"/>
                </a:lnTo>
                <a:lnTo>
                  <a:pt x="2529790" y="0"/>
                </a:lnTo>
                <a:lnTo>
                  <a:pt x="2766180" y="136016"/>
                </a:lnTo>
                <a:lnTo>
                  <a:pt x="2766180" y="138901"/>
                </a:lnTo>
                <a:lnTo>
                  <a:pt x="2771194" y="138901"/>
                </a:lnTo>
                <a:lnTo>
                  <a:pt x="2775956" y="141641"/>
                </a:lnTo>
                <a:lnTo>
                  <a:pt x="3541206" y="138901"/>
                </a:lnTo>
                <a:lnTo>
                  <a:pt x="9509760" y="138901"/>
                </a:lnTo>
                <a:lnTo>
                  <a:pt x="9509760" y="134741"/>
                </a:lnTo>
                <a:lnTo>
                  <a:pt x="11646409" y="134741"/>
                </a:lnTo>
                <a:lnTo>
                  <a:pt x="12192000" y="134741"/>
                </a:lnTo>
                <a:lnTo>
                  <a:pt x="12192000" y="1029970"/>
                </a:lnTo>
                <a:lnTo>
                  <a:pt x="0" y="1029970"/>
                </a:lnTo>
                <a:lnTo>
                  <a:pt x="0" y="0"/>
                </a:lnTo>
                <a:close/>
                <a:moveTo>
                  <a:pt x="9506712" y="233465"/>
                </a:moveTo>
                <a:lnTo>
                  <a:pt x="9506712" y="256325"/>
                </a:lnTo>
                <a:lnTo>
                  <a:pt x="9509760" y="256325"/>
                </a:lnTo>
                <a:lnTo>
                  <a:pt x="9509760" y="233465"/>
                </a:lnTo>
                <a:lnTo>
                  <a:pt x="9506712" y="233465"/>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a:solidFill>
                <a:schemeClr val="bg1"/>
              </a:solidFill>
            </a:endParaRPr>
          </a:p>
        </p:txBody>
      </p:sp>
      <p:sp>
        <p:nvSpPr>
          <p:cNvPr id="18" name="Freeform: Shape 17">
            <a:extLst>
              <a:ext uri="{FF2B5EF4-FFF2-40B4-BE49-F238E27FC236}">
                <a16:creationId xmlns:a16="http://schemas.microsoft.com/office/drawing/2014/main" id="{6E68474F-8B8E-F9BA-E4AC-FF6BAE012C2F}"/>
              </a:ext>
            </a:extLst>
          </p:cNvPr>
          <p:cNvSpPr/>
          <p:nvPr userDrawn="1"/>
        </p:nvSpPr>
        <p:spPr>
          <a:xfrm>
            <a:off x="-3040" y="5465928"/>
            <a:ext cx="12192000" cy="1323882"/>
          </a:xfrm>
          <a:custGeom>
            <a:avLst/>
            <a:gdLst>
              <a:gd name="connsiteX0" fmla="*/ 9506712 w 12192000"/>
              <a:gd name="connsiteY0" fmla="*/ 233465 h 1323882"/>
              <a:gd name="connsiteX1" fmla="*/ 9506712 w 12192000"/>
              <a:gd name="connsiteY1" fmla="*/ 256325 h 1323882"/>
              <a:gd name="connsiteX2" fmla="*/ 9509760 w 12192000"/>
              <a:gd name="connsiteY2" fmla="*/ 256325 h 1323882"/>
              <a:gd name="connsiteX3" fmla="*/ 9509760 w 12192000"/>
              <a:gd name="connsiteY3" fmla="*/ 233465 h 1323882"/>
              <a:gd name="connsiteX4" fmla="*/ 0 w 12192000"/>
              <a:gd name="connsiteY4" fmla="*/ 0 h 1323882"/>
              <a:gd name="connsiteX5" fmla="*/ 1524001 w 12192000"/>
              <a:gd name="connsiteY5" fmla="*/ 0 h 1323882"/>
              <a:gd name="connsiteX6" fmla="*/ 2529790 w 12192000"/>
              <a:gd name="connsiteY6" fmla="*/ 0 h 1323882"/>
              <a:gd name="connsiteX7" fmla="*/ 2766180 w 12192000"/>
              <a:gd name="connsiteY7" fmla="*/ 136016 h 1323882"/>
              <a:gd name="connsiteX8" fmla="*/ 2766180 w 12192000"/>
              <a:gd name="connsiteY8" fmla="*/ 138901 h 1323882"/>
              <a:gd name="connsiteX9" fmla="*/ 2771194 w 12192000"/>
              <a:gd name="connsiteY9" fmla="*/ 138901 h 1323882"/>
              <a:gd name="connsiteX10" fmla="*/ 2775956 w 12192000"/>
              <a:gd name="connsiteY10" fmla="*/ 141641 h 1323882"/>
              <a:gd name="connsiteX11" fmla="*/ 3541206 w 12192000"/>
              <a:gd name="connsiteY11" fmla="*/ 138901 h 1323882"/>
              <a:gd name="connsiteX12" fmla="*/ 9509760 w 12192000"/>
              <a:gd name="connsiteY12" fmla="*/ 138901 h 1323882"/>
              <a:gd name="connsiteX13" fmla="*/ 9509760 w 12192000"/>
              <a:gd name="connsiteY13" fmla="*/ 134741 h 1323882"/>
              <a:gd name="connsiteX14" fmla="*/ 11646409 w 12192000"/>
              <a:gd name="connsiteY14" fmla="*/ 134741 h 1323882"/>
              <a:gd name="connsiteX15" fmla="*/ 12192000 w 12192000"/>
              <a:gd name="connsiteY15" fmla="*/ 134741 h 1323882"/>
              <a:gd name="connsiteX16" fmla="*/ 12192000 w 12192000"/>
              <a:gd name="connsiteY16" fmla="*/ 464659 h 1323882"/>
              <a:gd name="connsiteX17" fmla="*/ 12192000 w 12192000"/>
              <a:gd name="connsiteY17" fmla="*/ 1029970 h 1323882"/>
              <a:gd name="connsiteX18" fmla="*/ 12192000 w 12192000"/>
              <a:gd name="connsiteY18" fmla="*/ 1323882 h 1323882"/>
              <a:gd name="connsiteX19" fmla="*/ 0 w 12192000"/>
              <a:gd name="connsiteY19" fmla="*/ 1323882 h 1323882"/>
              <a:gd name="connsiteX20" fmla="*/ 0 w 12192000"/>
              <a:gd name="connsiteY20" fmla="*/ 1029970 h 1323882"/>
              <a:gd name="connsiteX21" fmla="*/ 0 w 12192000"/>
              <a:gd name="connsiteY21" fmla="*/ 464659 h 132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1323882">
                <a:moveTo>
                  <a:pt x="9506712" y="233465"/>
                </a:moveTo>
                <a:lnTo>
                  <a:pt x="9506712" y="256325"/>
                </a:lnTo>
                <a:lnTo>
                  <a:pt x="9509760" y="256325"/>
                </a:lnTo>
                <a:lnTo>
                  <a:pt x="9509760" y="233465"/>
                </a:lnTo>
                <a:close/>
                <a:moveTo>
                  <a:pt x="0" y="0"/>
                </a:moveTo>
                <a:lnTo>
                  <a:pt x="1524001" y="0"/>
                </a:lnTo>
                <a:lnTo>
                  <a:pt x="2529790" y="0"/>
                </a:lnTo>
                <a:lnTo>
                  <a:pt x="2766180" y="136016"/>
                </a:lnTo>
                <a:lnTo>
                  <a:pt x="2766180" y="138901"/>
                </a:lnTo>
                <a:lnTo>
                  <a:pt x="2771194" y="138901"/>
                </a:lnTo>
                <a:lnTo>
                  <a:pt x="2775956" y="141641"/>
                </a:lnTo>
                <a:lnTo>
                  <a:pt x="3541206" y="138901"/>
                </a:lnTo>
                <a:lnTo>
                  <a:pt x="9509760" y="138901"/>
                </a:lnTo>
                <a:lnTo>
                  <a:pt x="9509760" y="134741"/>
                </a:lnTo>
                <a:lnTo>
                  <a:pt x="11646409" y="134741"/>
                </a:lnTo>
                <a:lnTo>
                  <a:pt x="12192000" y="134741"/>
                </a:lnTo>
                <a:lnTo>
                  <a:pt x="12192000" y="464659"/>
                </a:lnTo>
                <a:lnTo>
                  <a:pt x="12192000" y="1029970"/>
                </a:lnTo>
                <a:lnTo>
                  <a:pt x="12192000" y="1323882"/>
                </a:lnTo>
                <a:lnTo>
                  <a:pt x="0" y="1323882"/>
                </a:lnTo>
                <a:lnTo>
                  <a:pt x="0" y="1029970"/>
                </a:lnTo>
                <a:lnTo>
                  <a:pt x="0" y="464659"/>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r>
              <a:rPr lang="en-US" dirty="0">
                <a:solidFill>
                  <a:schemeClr val="bg1"/>
                </a:solidFill>
              </a:rPr>
              <a:t> </a:t>
            </a:r>
          </a:p>
        </p:txBody>
      </p:sp>
      <p:pic>
        <p:nvPicPr>
          <p:cNvPr id="19" name="Graphic 18">
            <a:extLst>
              <a:ext uri="{FF2B5EF4-FFF2-40B4-BE49-F238E27FC236}">
                <a16:creationId xmlns:a16="http://schemas.microsoft.com/office/drawing/2014/main" id="{B21C0835-E564-0669-9C27-9F1F38E1A52A}"/>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r="5475"/>
          <a:stretch/>
        </p:blipFill>
        <p:spPr>
          <a:xfrm>
            <a:off x="9257449" y="5556715"/>
            <a:ext cx="2931511" cy="1577870"/>
          </a:xfrm>
          <a:prstGeom prst="rect">
            <a:avLst/>
          </a:prstGeom>
        </p:spPr>
      </p:pic>
      <p:pic>
        <p:nvPicPr>
          <p:cNvPr id="21" name="Graphic 20">
            <a:extLst>
              <a:ext uri="{FF2B5EF4-FFF2-40B4-BE49-F238E27FC236}">
                <a16:creationId xmlns:a16="http://schemas.microsoft.com/office/drawing/2014/main" id="{79855253-F306-7EB4-F040-FF98655F078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040" y="6513077"/>
            <a:ext cx="2702646" cy="201168"/>
          </a:xfrm>
          <a:prstGeom prst="rect">
            <a:avLst/>
          </a:prstGeom>
        </p:spPr>
      </p:pic>
      <p:grpSp>
        <p:nvGrpSpPr>
          <p:cNvPr id="23" name="Group 22">
            <a:extLst>
              <a:ext uri="{FF2B5EF4-FFF2-40B4-BE49-F238E27FC236}">
                <a16:creationId xmlns:a16="http://schemas.microsoft.com/office/drawing/2014/main" id="{7AF9761D-BCEF-975B-239E-E1B2419AB22B}"/>
              </a:ext>
            </a:extLst>
          </p:cNvPr>
          <p:cNvGrpSpPr/>
          <p:nvPr userDrawn="1"/>
        </p:nvGrpSpPr>
        <p:grpSpPr>
          <a:xfrm>
            <a:off x="1" y="5788487"/>
            <a:ext cx="2017259" cy="457200"/>
            <a:chOff x="1" y="5788487"/>
            <a:chExt cx="2017259" cy="457200"/>
          </a:xfrm>
        </p:grpSpPr>
        <p:sp>
          <p:nvSpPr>
            <p:cNvPr id="24" name="Freeform: Shape 23">
              <a:extLst>
                <a:ext uri="{FF2B5EF4-FFF2-40B4-BE49-F238E27FC236}">
                  <a16:creationId xmlns:a16="http://schemas.microsoft.com/office/drawing/2014/main" id="{19F87547-4FE9-7ED6-BD64-E0694A1E278A}"/>
                </a:ext>
              </a:extLst>
            </p:cNvPr>
            <p:cNvSpPr/>
            <p:nvPr/>
          </p:nvSpPr>
          <p:spPr>
            <a:xfrm>
              <a:off x="445675" y="5914671"/>
              <a:ext cx="1344002" cy="3909"/>
            </a:xfrm>
            <a:custGeom>
              <a:avLst/>
              <a:gdLst>
                <a:gd name="connsiteX0" fmla="*/ 1636951 w 1637442"/>
                <a:gd name="connsiteY0" fmla="*/ 3660 h 4762"/>
                <a:gd name="connsiteX1" fmla="*/ 1454928 w 1637442"/>
                <a:gd name="connsiteY1" fmla="*/ 3660 h 4762"/>
                <a:gd name="connsiteX2" fmla="*/ 1454928 w 1637442"/>
                <a:gd name="connsiteY2" fmla="*/ -1102 h 4762"/>
                <a:gd name="connsiteX3" fmla="*/ 1636951 w 1637442"/>
                <a:gd name="connsiteY3" fmla="*/ -1102 h 4762"/>
                <a:gd name="connsiteX4" fmla="*/ 1273000 w 1637442"/>
                <a:gd name="connsiteY4" fmla="*/ 3660 h 4762"/>
                <a:gd name="connsiteX5" fmla="*/ 1090978 w 1637442"/>
                <a:gd name="connsiteY5" fmla="*/ 3660 h 4762"/>
                <a:gd name="connsiteX6" fmla="*/ 1090978 w 1637442"/>
                <a:gd name="connsiteY6" fmla="*/ -1102 h 4762"/>
                <a:gd name="connsiteX7" fmla="*/ 1273000 w 1637442"/>
                <a:gd name="connsiteY7" fmla="*/ -1102 h 4762"/>
                <a:gd name="connsiteX8" fmla="*/ 908955 w 1637442"/>
                <a:gd name="connsiteY8" fmla="*/ 3660 h 4762"/>
                <a:gd name="connsiteX9" fmla="*/ 727028 w 1637442"/>
                <a:gd name="connsiteY9" fmla="*/ 3660 h 4762"/>
                <a:gd name="connsiteX10" fmla="*/ 727028 w 1637442"/>
                <a:gd name="connsiteY10" fmla="*/ -1102 h 4762"/>
                <a:gd name="connsiteX11" fmla="*/ 908955 w 1637442"/>
                <a:gd name="connsiteY11" fmla="*/ -1102 h 4762"/>
                <a:gd name="connsiteX12" fmla="*/ 545005 w 1637442"/>
                <a:gd name="connsiteY12" fmla="*/ 3660 h 4762"/>
                <a:gd name="connsiteX13" fmla="*/ 362982 w 1637442"/>
                <a:gd name="connsiteY13" fmla="*/ 3660 h 4762"/>
                <a:gd name="connsiteX14" fmla="*/ 362982 w 1637442"/>
                <a:gd name="connsiteY14" fmla="*/ -1102 h 4762"/>
                <a:gd name="connsiteX15" fmla="*/ 545005 w 1637442"/>
                <a:gd name="connsiteY15" fmla="*/ -1102 h 4762"/>
                <a:gd name="connsiteX16" fmla="*/ 181436 w 1637442"/>
                <a:gd name="connsiteY16" fmla="*/ 3660 h 4762"/>
                <a:gd name="connsiteX17" fmla="*/ -492 w 1637442"/>
                <a:gd name="connsiteY17" fmla="*/ 3660 h 4762"/>
                <a:gd name="connsiteX18" fmla="*/ -492 w 1637442"/>
                <a:gd name="connsiteY18" fmla="*/ -1102 h 4762"/>
                <a:gd name="connsiteX19" fmla="*/ 181436 w 1637442"/>
                <a:gd name="connsiteY19" fmla="*/ -1102 h 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37442" h="4762">
                  <a:moveTo>
                    <a:pt x="1636951" y="3660"/>
                  </a:moveTo>
                  <a:lnTo>
                    <a:pt x="1454928" y="3660"/>
                  </a:lnTo>
                  <a:lnTo>
                    <a:pt x="1454928" y="-1102"/>
                  </a:lnTo>
                  <a:lnTo>
                    <a:pt x="1636951" y="-1102"/>
                  </a:lnTo>
                  <a:close/>
                  <a:moveTo>
                    <a:pt x="1273000" y="3660"/>
                  </a:moveTo>
                  <a:lnTo>
                    <a:pt x="1090978" y="3660"/>
                  </a:lnTo>
                  <a:lnTo>
                    <a:pt x="1090978" y="-1102"/>
                  </a:lnTo>
                  <a:lnTo>
                    <a:pt x="1273000" y="-1102"/>
                  </a:lnTo>
                  <a:close/>
                  <a:moveTo>
                    <a:pt x="908955" y="3660"/>
                  </a:moveTo>
                  <a:lnTo>
                    <a:pt x="727028" y="3660"/>
                  </a:lnTo>
                  <a:lnTo>
                    <a:pt x="727028" y="-1102"/>
                  </a:lnTo>
                  <a:lnTo>
                    <a:pt x="908955" y="-1102"/>
                  </a:lnTo>
                  <a:close/>
                  <a:moveTo>
                    <a:pt x="545005" y="3660"/>
                  </a:moveTo>
                  <a:lnTo>
                    <a:pt x="362982" y="3660"/>
                  </a:lnTo>
                  <a:lnTo>
                    <a:pt x="362982" y="-1102"/>
                  </a:lnTo>
                  <a:lnTo>
                    <a:pt x="545005" y="-1102"/>
                  </a:lnTo>
                  <a:close/>
                  <a:moveTo>
                    <a:pt x="181436" y="3660"/>
                  </a:moveTo>
                  <a:lnTo>
                    <a:pt x="-492" y="3660"/>
                  </a:lnTo>
                  <a:lnTo>
                    <a:pt x="-492" y="-1102"/>
                  </a:lnTo>
                  <a:lnTo>
                    <a:pt x="181436" y="-1102"/>
                  </a:lnTo>
                  <a:close/>
                </a:path>
              </a:pathLst>
            </a:custGeom>
            <a:solidFill>
              <a:srgbClr val="6FBF4A"/>
            </a:solid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C7AD03-9976-8C4F-3567-0BE04774FAD0}"/>
                </a:ext>
              </a:extLst>
            </p:cNvPr>
            <p:cNvSpPr/>
            <p:nvPr/>
          </p:nvSpPr>
          <p:spPr>
            <a:xfrm>
              <a:off x="215745" y="5914827"/>
              <a:ext cx="80135" cy="155892"/>
            </a:xfrm>
            <a:custGeom>
              <a:avLst/>
              <a:gdLst>
                <a:gd name="connsiteX0" fmla="*/ 4763 w 97631"/>
                <a:gd name="connsiteY0" fmla="*/ 189928 h 189928"/>
                <a:gd name="connsiteX1" fmla="*/ 0 w 97631"/>
                <a:gd name="connsiteY1" fmla="*/ 189928 h 189928"/>
                <a:gd name="connsiteX2" fmla="*/ 0 w 97631"/>
                <a:gd name="connsiteY2" fmla="*/ 0 h 189928"/>
                <a:gd name="connsiteX3" fmla="*/ 97631 w 97631"/>
                <a:gd name="connsiteY3" fmla="*/ 0 h 189928"/>
                <a:gd name="connsiteX4" fmla="*/ 97631 w 97631"/>
                <a:gd name="connsiteY4" fmla="*/ 4763 h 189928"/>
                <a:gd name="connsiteX5" fmla="*/ 4763 w 97631"/>
                <a:gd name="connsiteY5" fmla="*/ 4763 h 189928"/>
                <a:gd name="connsiteX6" fmla="*/ 4763 w 97631"/>
                <a:gd name="connsiteY6" fmla="*/ 189928 h 18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31" h="189928">
                  <a:moveTo>
                    <a:pt x="4763" y="189928"/>
                  </a:moveTo>
                  <a:lnTo>
                    <a:pt x="0" y="189928"/>
                  </a:lnTo>
                  <a:lnTo>
                    <a:pt x="0" y="0"/>
                  </a:lnTo>
                  <a:lnTo>
                    <a:pt x="97631" y="0"/>
                  </a:lnTo>
                  <a:lnTo>
                    <a:pt x="97631" y="4763"/>
                  </a:lnTo>
                  <a:lnTo>
                    <a:pt x="4763" y="4763"/>
                  </a:lnTo>
                  <a:lnTo>
                    <a:pt x="4763" y="189928"/>
                  </a:lnTo>
                  <a:close/>
                </a:path>
              </a:pathLst>
            </a:custGeom>
            <a:solidFill>
              <a:srgbClr val="6FBF4A"/>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64B853F-15C3-0AE7-0347-62BE5150AD07}"/>
                </a:ext>
              </a:extLst>
            </p:cNvPr>
            <p:cNvSpPr/>
            <p:nvPr/>
          </p:nvSpPr>
          <p:spPr>
            <a:xfrm>
              <a:off x="217700" y="5788488"/>
              <a:ext cx="3909" cy="7818"/>
            </a:xfrm>
            <a:custGeom>
              <a:avLst/>
              <a:gdLst>
                <a:gd name="connsiteX0" fmla="*/ 0 w 4762"/>
                <a:gd name="connsiteY0" fmla="*/ 0 h 9525"/>
                <a:gd name="connsiteX1" fmla="*/ 4762 w 4762"/>
                <a:gd name="connsiteY1" fmla="*/ 0 h 9525"/>
                <a:gd name="connsiteX2" fmla="*/ 4762 w 4762"/>
                <a:gd name="connsiteY2" fmla="*/ 9525 h 9525"/>
                <a:gd name="connsiteX3" fmla="*/ 0 w 4762"/>
                <a:gd name="connsiteY3" fmla="*/ 9525 h 9525"/>
              </a:gdLst>
              <a:ahLst/>
              <a:cxnLst>
                <a:cxn ang="0">
                  <a:pos x="connsiteX0" y="connsiteY0"/>
                </a:cxn>
                <a:cxn ang="0">
                  <a:pos x="connsiteX1" y="connsiteY1"/>
                </a:cxn>
                <a:cxn ang="0">
                  <a:pos x="connsiteX2" y="connsiteY2"/>
                </a:cxn>
                <a:cxn ang="0">
                  <a:pos x="connsiteX3" y="connsiteY3"/>
                </a:cxn>
              </a:cxnLst>
              <a:rect l="l" t="t" r="r" b="b"/>
              <a:pathLst>
                <a:path w="4762" h="9525">
                  <a:moveTo>
                    <a:pt x="0" y="0"/>
                  </a:moveTo>
                  <a:lnTo>
                    <a:pt x="4762" y="0"/>
                  </a:lnTo>
                  <a:lnTo>
                    <a:pt x="4762" y="9525"/>
                  </a:lnTo>
                  <a:lnTo>
                    <a:pt x="0" y="9525"/>
                  </a:lnTo>
                  <a:close/>
                </a:path>
              </a:pathLst>
            </a:custGeom>
            <a:solidFill>
              <a:srgbClr val="6FBF4A"/>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394DF3D-DF5A-3DD3-C17A-3B05E8C560FB}"/>
                </a:ext>
              </a:extLst>
            </p:cNvPr>
            <p:cNvSpPr/>
            <p:nvPr/>
          </p:nvSpPr>
          <p:spPr>
            <a:xfrm>
              <a:off x="288609" y="5788487"/>
              <a:ext cx="697683" cy="7818"/>
            </a:xfrm>
            <a:custGeom>
              <a:avLst/>
              <a:gdLst>
                <a:gd name="connsiteX0" fmla="*/ 849519 w 850010"/>
                <a:gd name="connsiteY0" fmla="*/ 8423 h 9525"/>
                <a:gd name="connsiteX1" fmla="*/ 842757 w 850010"/>
                <a:gd name="connsiteY1" fmla="*/ 8423 h 9525"/>
                <a:gd name="connsiteX2" fmla="*/ 842757 w 850010"/>
                <a:gd name="connsiteY2" fmla="*/ -1102 h 9525"/>
                <a:gd name="connsiteX3" fmla="*/ 849519 w 850010"/>
                <a:gd name="connsiteY3" fmla="*/ -1102 h 9525"/>
                <a:gd name="connsiteX4" fmla="*/ 6271 w 850010"/>
                <a:gd name="connsiteY4" fmla="*/ 8423 h 9525"/>
                <a:gd name="connsiteX5" fmla="*/ -492 w 850010"/>
                <a:gd name="connsiteY5" fmla="*/ 8423 h 9525"/>
                <a:gd name="connsiteX6" fmla="*/ -492 w 850010"/>
                <a:gd name="connsiteY6" fmla="*/ -1102 h 9525"/>
                <a:gd name="connsiteX7" fmla="*/ 6271 w 850010"/>
                <a:gd name="connsiteY7" fmla="*/ -110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0010" h="9525">
                  <a:moveTo>
                    <a:pt x="849519" y="8423"/>
                  </a:moveTo>
                  <a:lnTo>
                    <a:pt x="842757" y="8423"/>
                  </a:lnTo>
                  <a:lnTo>
                    <a:pt x="842757" y="-1102"/>
                  </a:lnTo>
                  <a:lnTo>
                    <a:pt x="849519" y="-1102"/>
                  </a:lnTo>
                  <a:close/>
                  <a:moveTo>
                    <a:pt x="6271" y="8423"/>
                  </a:moveTo>
                  <a:lnTo>
                    <a:pt x="-492" y="8423"/>
                  </a:lnTo>
                  <a:lnTo>
                    <a:pt x="-492" y="-1102"/>
                  </a:lnTo>
                  <a:lnTo>
                    <a:pt x="6271" y="-1102"/>
                  </a:lnTo>
                  <a:close/>
                </a:path>
              </a:pathLst>
            </a:custGeom>
            <a:solidFill>
              <a:srgbClr val="6FBF4A"/>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5CC6B479-BC50-9593-82F3-67F91A619C1A}"/>
                </a:ext>
              </a:extLst>
            </p:cNvPr>
            <p:cNvSpPr/>
            <p:nvPr/>
          </p:nvSpPr>
          <p:spPr>
            <a:xfrm>
              <a:off x="1114666" y="5788487"/>
              <a:ext cx="770313" cy="7818"/>
            </a:xfrm>
            <a:custGeom>
              <a:avLst/>
              <a:gdLst>
                <a:gd name="connsiteX0" fmla="*/ 938007 w 938498"/>
                <a:gd name="connsiteY0" fmla="*/ 8423 h 9525"/>
                <a:gd name="connsiteX1" fmla="*/ 931149 w 938498"/>
                <a:gd name="connsiteY1" fmla="*/ 8423 h 9525"/>
                <a:gd name="connsiteX2" fmla="*/ 931149 w 938498"/>
                <a:gd name="connsiteY2" fmla="*/ -1102 h 9525"/>
                <a:gd name="connsiteX3" fmla="*/ 938007 w 938498"/>
                <a:gd name="connsiteY3" fmla="*/ -1102 h 9525"/>
                <a:gd name="connsiteX4" fmla="*/ 94758 w 938498"/>
                <a:gd name="connsiteY4" fmla="*/ 8423 h 9525"/>
                <a:gd name="connsiteX5" fmla="*/ 87901 w 938498"/>
                <a:gd name="connsiteY5" fmla="*/ 8423 h 9525"/>
                <a:gd name="connsiteX6" fmla="*/ 87901 w 938498"/>
                <a:gd name="connsiteY6" fmla="*/ -1102 h 9525"/>
                <a:gd name="connsiteX7" fmla="*/ 94758 w 938498"/>
                <a:gd name="connsiteY7" fmla="*/ -1102 h 9525"/>
                <a:gd name="connsiteX8" fmla="*/ 6367 w 938498"/>
                <a:gd name="connsiteY8" fmla="*/ 8423 h 9525"/>
                <a:gd name="connsiteX9" fmla="*/ -492 w 938498"/>
                <a:gd name="connsiteY9" fmla="*/ 8423 h 9525"/>
                <a:gd name="connsiteX10" fmla="*/ -492 w 938498"/>
                <a:gd name="connsiteY10" fmla="*/ -1102 h 9525"/>
                <a:gd name="connsiteX11" fmla="*/ 6367 w 938498"/>
                <a:gd name="connsiteY11" fmla="*/ -110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8498" h="9525">
                  <a:moveTo>
                    <a:pt x="938007" y="8423"/>
                  </a:moveTo>
                  <a:lnTo>
                    <a:pt x="931149" y="8423"/>
                  </a:lnTo>
                  <a:lnTo>
                    <a:pt x="931149" y="-1102"/>
                  </a:lnTo>
                  <a:lnTo>
                    <a:pt x="938007" y="-1102"/>
                  </a:lnTo>
                  <a:close/>
                  <a:moveTo>
                    <a:pt x="94758" y="8423"/>
                  </a:moveTo>
                  <a:lnTo>
                    <a:pt x="87901" y="8423"/>
                  </a:lnTo>
                  <a:lnTo>
                    <a:pt x="87901" y="-1102"/>
                  </a:lnTo>
                  <a:lnTo>
                    <a:pt x="94758" y="-1102"/>
                  </a:lnTo>
                  <a:close/>
                  <a:moveTo>
                    <a:pt x="6367" y="8423"/>
                  </a:moveTo>
                  <a:lnTo>
                    <a:pt x="-492" y="8423"/>
                  </a:lnTo>
                  <a:lnTo>
                    <a:pt x="-492" y="-1102"/>
                  </a:lnTo>
                  <a:lnTo>
                    <a:pt x="6367" y="-1102"/>
                  </a:lnTo>
                  <a:close/>
                </a:path>
              </a:pathLst>
            </a:custGeom>
            <a:solidFill>
              <a:srgbClr val="6FBF4A"/>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8224141-756F-E622-9FD8-49EAED835F4F}"/>
                </a:ext>
              </a:extLst>
            </p:cNvPr>
            <p:cNvSpPr/>
            <p:nvPr/>
          </p:nvSpPr>
          <p:spPr>
            <a:xfrm>
              <a:off x="2013351" y="5788488"/>
              <a:ext cx="3909" cy="7818"/>
            </a:xfrm>
            <a:custGeom>
              <a:avLst/>
              <a:gdLst>
                <a:gd name="connsiteX0" fmla="*/ 0 w 4762"/>
                <a:gd name="connsiteY0" fmla="*/ 0 h 9525"/>
                <a:gd name="connsiteX1" fmla="*/ 4763 w 4762"/>
                <a:gd name="connsiteY1" fmla="*/ 0 h 9525"/>
                <a:gd name="connsiteX2" fmla="*/ 4763 w 4762"/>
                <a:gd name="connsiteY2" fmla="*/ 9525 h 9525"/>
                <a:gd name="connsiteX3" fmla="*/ 0 w 4762"/>
                <a:gd name="connsiteY3" fmla="*/ 9525 h 9525"/>
              </a:gdLst>
              <a:ahLst/>
              <a:cxnLst>
                <a:cxn ang="0">
                  <a:pos x="connsiteX0" y="connsiteY0"/>
                </a:cxn>
                <a:cxn ang="0">
                  <a:pos x="connsiteX1" y="connsiteY1"/>
                </a:cxn>
                <a:cxn ang="0">
                  <a:pos x="connsiteX2" y="connsiteY2"/>
                </a:cxn>
                <a:cxn ang="0">
                  <a:pos x="connsiteX3" y="connsiteY3"/>
                </a:cxn>
              </a:cxnLst>
              <a:rect l="l" t="t" r="r" b="b"/>
              <a:pathLst>
                <a:path w="4762" h="9525">
                  <a:moveTo>
                    <a:pt x="0" y="0"/>
                  </a:moveTo>
                  <a:lnTo>
                    <a:pt x="4763" y="0"/>
                  </a:lnTo>
                  <a:lnTo>
                    <a:pt x="4763" y="9525"/>
                  </a:lnTo>
                  <a:lnTo>
                    <a:pt x="0" y="9525"/>
                  </a:lnTo>
                  <a:close/>
                </a:path>
              </a:pathLst>
            </a:custGeom>
            <a:solidFill>
              <a:srgbClr val="6FBF4A"/>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FBA5EAB1-8168-DB55-C58D-7CFA23D61FB5}"/>
                </a:ext>
              </a:extLst>
            </p:cNvPr>
            <p:cNvSpPr/>
            <p:nvPr/>
          </p:nvSpPr>
          <p:spPr>
            <a:xfrm>
              <a:off x="1" y="6237869"/>
              <a:ext cx="1368941" cy="7818"/>
            </a:xfrm>
            <a:custGeom>
              <a:avLst/>
              <a:gdLst>
                <a:gd name="connsiteX0" fmla="*/ 1667336 w 1667827"/>
                <a:gd name="connsiteY0" fmla="*/ 8423 h 9525"/>
                <a:gd name="connsiteX1" fmla="*/ 1657811 w 1667827"/>
                <a:gd name="connsiteY1" fmla="*/ 8423 h 9525"/>
                <a:gd name="connsiteX2" fmla="*/ 1657811 w 1667827"/>
                <a:gd name="connsiteY2" fmla="*/ -1102 h 9525"/>
                <a:gd name="connsiteX3" fmla="*/ 1667336 w 1667827"/>
                <a:gd name="connsiteY3" fmla="*/ -1102 h 9525"/>
                <a:gd name="connsiteX4" fmla="*/ 1543511 w 1667827"/>
                <a:gd name="connsiteY4" fmla="*/ 8423 h 9525"/>
                <a:gd name="connsiteX5" fmla="*/ 1533986 w 1667827"/>
                <a:gd name="connsiteY5" fmla="*/ 8423 h 9525"/>
                <a:gd name="connsiteX6" fmla="*/ 1533986 w 1667827"/>
                <a:gd name="connsiteY6" fmla="*/ -1102 h 9525"/>
                <a:gd name="connsiteX7" fmla="*/ 1543511 w 1667827"/>
                <a:gd name="connsiteY7" fmla="*/ -1102 h 9525"/>
                <a:gd name="connsiteX8" fmla="*/ 1314911 w 1667827"/>
                <a:gd name="connsiteY8" fmla="*/ 8423 h 9525"/>
                <a:gd name="connsiteX9" fmla="*/ 1305386 w 1667827"/>
                <a:gd name="connsiteY9" fmla="*/ 8423 h 9525"/>
                <a:gd name="connsiteX10" fmla="*/ 1305386 w 1667827"/>
                <a:gd name="connsiteY10" fmla="*/ -1102 h 9525"/>
                <a:gd name="connsiteX11" fmla="*/ 1314911 w 1667827"/>
                <a:gd name="connsiteY11" fmla="*/ -1102 h 9525"/>
                <a:gd name="connsiteX12" fmla="*/ 132858 w 1667827"/>
                <a:gd name="connsiteY12" fmla="*/ 8423 h 9525"/>
                <a:gd name="connsiteX13" fmla="*/ 123333 w 1667827"/>
                <a:gd name="connsiteY13" fmla="*/ 8423 h 9525"/>
                <a:gd name="connsiteX14" fmla="*/ 123333 w 1667827"/>
                <a:gd name="connsiteY14" fmla="*/ -1102 h 9525"/>
                <a:gd name="connsiteX15" fmla="*/ 132858 w 1667827"/>
                <a:gd name="connsiteY15" fmla="*/ -1102 h 9525"/>
                <a:gd name="connsiteX16" fmla="*/ 9033 w 1667827"/>
                <a:gd name="connsiteY16" fmla="*/ 8423 h 9525"/>
                <a:gd name="connsiteX17" fmla="*/ -492 w 1667827"/>
                <a:gd name="connsiteY17" fmla="*/ 8423 h 9525"/>
                <a:gd name="connsiteX18" fmla="*/ -492 w 1667827"/>
                <a:gd name="connsiteY18" fmla="*/ -1102 h 9525"/>
                <a:gd name="connsiteX19" fmla="*/ 9033 w 1667827"/>
                <a:gd name="connsiteY19" fmla="*/ -110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67827" h="9525">
                  <a:moveTo>
                    <a:pt x="1667336" y="8423"/>
                  </a:moveTo>
                  <a:lnTo>
                    <a:pt x="1657811" y="8423"/>
                  </a:lnTo>
                  <a:lnTo>
                    <a:pt x="1657811" y="-1102"/>
                  </a:lnTo>
                  <a:lnTo>
                    <a:pt x="1667336" y="-1102"/>
                  </a:lnTo>
                  <a:close/>
                  <a:moveTo>
                    <a:pt x="1543511" y="8423"/>
                  </a:moveTo>
                  <a:lnTo>
                    <a:pt x="1533986" y="8423"/>
                  </a:lnTo>
                  <a:lnTo>
                    <a:pt x="1533986" y="-1102"/>
                  </a:lnTo>
                  <a:lnTo>
                    <a:pt x="1543511" y="-1102"/>
                  </a:lnTo>
                  <a:close/>
                  <a:moveTo>
                    <a:pt x="1314911" y="8423"/>
                  </a:moveTo>
                  <a:lnTo>
                    <a:pt x="1305386" y="8423"/>
                  </a:lnTo>
                  <a:lnTo>
                    <a:pt x="1305386" y="-1102"/>
                  </a:lnTo>
                  <a:lnTo>
                    <a:pt x="1314911" y="-1102"/>
                  </a:lnTo>
                  <a:close/>
                  <a:moveTo>
                    <a:pt x="132858" y="8423"/>
                  </a:moveTo>
                  <a:lnTo>
                    <a:pt x="123333" y="8423"/>
                  </a:lnTo>
                  <a:lnTo>
                    <a:pt x="123333" y="-1102"/>
                  </a:lnTo>
                  <a:lnTo>
                    <a:pt x="132858" y="-1102"/>
                  </a:lnTo>
                  <a:close/>
                  <a:moveTo>
                    <a:pt x="9033" y="8423"/>
                  </a:moveTo>
                  <a:lnTo>
                    <a:pt x="-492" y="8423"/>
                  </a:lnTo>
                  <a:lnTo>
                    <a:pt x="-492" y="-1102"/>
                  </a:lnTo>
                  <a:lnTo>
                    <a:pt x="9033" y="-1102"/>
                  </a:lnTo>
                  <a:close/>
                </a:path>
              </a:pathLst>
            </a:custGeom>
            <a:solidFill>
              <a:srgbClr val="6FBF4A"/>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6B79A398-1E16-9248-1B64-26AA04BB61B6}"/>
                </a:ext>
              </a:extLst>
            </p:cNvPr>
            <p:cNvSpPr/>
            <p:nvPr/>
          </p:nvSpPr>
          <p:spPr>
            <a:xfrm>
              <a:off x="311673"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77F05B18-4F55-AFDE-DEF7-DF41799650DF}"/>
                </a:ext>
              </a:extLst>
            </p:cNvPr>
            <p:cNvSpPr/>
            <p:nvPr/>
          </p:nvSpPr>
          <p:spPr>
            <a:xfrm>
              <a:off x="378830"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4D2E83FD-8699-249A-B48C-C08B24D4BC5F}"/>
                </a:ext>
              </a:extLst>
            </p:cNvPr>
            <p:cNvSpPr/>
            <p:nvPr/>
          </p:nvSpPr>
          <p:spPr>
            <a:xfrm>
              <a:off x="448489"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7B273EBC-C89C-C0D5-3F89-2560A4EC0984}"/>
                </a:ext>
              </a:extLst>
            </p:cNvPr>
            <p:cNvSpPr/>
            <p:nvPr/>
          </p:nvSpPr>
          <p:spPr>
            <a:xfrm>
              <a:off x="515568"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CCCE52D5-BD6F-219F-1A72-FD24F7BCF733}"/>
                </a:ext>
              </a:extLst>
            </p:cNvPr>
            <p:cNvSpPr/>
            <p:nvPr/>
          </p:nvSpPr>
          <p:spPr>
            <a:xfrm>
              <a:off x="581474"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9689BE0E-0391-2C1D-E436-FE94DF982D32}"/>
                </a:ext>
              </a:extLst>
            </p:cNvPr>
            <p:cNvSpPr/>
            <p:nvPr/>
          </p:nvSpPr>
          <p:spPr>
            <a:xfrm>
              <a:off x="648631"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223A3A29-9C8D-0095-B501-AC73D7C58233}"/>
                </a:ext>
              </a:extLst>
            </p:cNvPr>
            <p:cNvSpPr/>
            <p:nvPr/>
          </p:nvSpPr>
          <p:spPr>
            <a:xfrm>
              <a:off x="718290"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B4553CF-948D-D175-E10E-A4C85C83145A}"/>
                </a:ext>
              </a:extLst>
            </p:cNvPr>
            <p:cNvSpPr/>
            <p:nvPr/>
          </p:nvSpPr>
          <p:spPr>
            <a:xfrm>
              <a:off x="785369"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D1ABA682-8C1E-CB89-6BCB-0085C9F36ADD}"/>
                </a:ext>
              </a:extLst>
            </p:cNvPr>
            <p:cNvSpPr/>
            <p:nvPr/>
          </p:nvSpPr>
          <p:spPr>
            <a:xfrm>
              <a:off x="865191"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07BA291C-1CB5-44E0-BB2C-5E7DCCFE41DC}"/>
                </a:ext>
              </a:extLst>
            </p:cNvPr>
            <p:cNvSpPr/>
            <p:nvPr/>
          </p:nvSpPr>
          <p:spPr>
            <a:xfrm>
              <a:off x="932348"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B0D08783-D52D-EDC3-D802-2DCA564F02E5}"/>
                </a:ext>
              </a:extLst>
            </p:cNvPr>
            <p:cNvSpPr/>
            <p:nvPr/>
          </p:nvSpPr>
          <p:spPr>
            <a:xfrm>
              <a:off x="1002008"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E1FBB7C0-244D-A292-2FF1-1FED056A3CD6}"/>
                </a:ext>
              </a:extLst>
            </p:cNvPr>
            <p:cNvSpPr/>
            <p:nvPr/>
          </p:nvSpPr>
          <p:spPr>
            <a:xfrm>
              <a:off x="1069165" y="5979482"/>
              <a:ext cx="7818" cy="182395"/>
            </a:xfrm>
            <a:custGeom>
              <a:avLst/>
              <a:gdLst>
                <a:gd name="connsiteX0" fmla="*/ 0 w 9525"/>
                <a:gd name="connsiteY0" fmla="*/ 0 h 222218"/>
                <a:gd name="connsiteX1" fmla="*/ 9525 w 9525"/>
                <a:gd name="connsiteY1" fmla="*/ 0 h 222218"/>
                <a:gd name="connsiteX2" fmla="*/ 9525 w 9525"/>
                <a:gd name="connsiteY2" fmla="*/ 222218 h 222218"/>
                <a:gd name="connsiteX3" fmla="*/ 0 w 9525"/>
                <a:gd name="connsiteY3" fmla="*/ 222218 h 222218"/>
              </a:gdLst>
              <a:ahLst/>
              <a:cxnLst>
                <a:cxn ang="0">
                  <a:pos x="connsiteX0" y="connsiteY0"/>
                </a:cxn>
                <a:cxn ang="0">
                  <a:pos x="connsiteX1" y="connsiteY1"/>
                </a:cxn>
                <a:cxn ang="0">
                  <a:pos x="connsiteX2" y="connsiteY2"/>
                </a:cxn>
                <a:cxn ang="0">
                  <a:pos x="connsiteX3" y="connsiteY3"/>
                </a:cxn>
              </a:cxnLst>
              <a:rect l="l" t="t" r="r" b="b"/>
              <a:pathLst>
                <a:path w="9525" h="222218">
                  <a:moveTo>
                    <a:pt x="0" y="0"/>
                  </a:moveTo>
                  <a:lnTo>
                    <a:pt x="9525" y="0"/>
                  </a:lnTo>
                  <a:lnTo>
                    <a:pt x="9525" y="222218"/>
                  </a:lnTo>
                  <a:lnTo>
                    <a:pt x="0" y="222218"/>
                  </a:lnTo>
                  <a:close/>
                </a:path>
              </a:pathLst>
            </a:custGeom>
            <a:solidFill>
              <a:srgbClr val="BCBCBC"/>
            </a:solidFill>
            <a:ln w="9525" cap="flat">
              <a:noFill/>
              <a:prstDash val="solid"/>
              <a:miter/>
            </a:ln>
          </p:spPr>
          <p:txBody>
            <a:bodyPr rtlCol="0" anchor="ctr"/>
            <a:lstStyle/>
            <a:p>
              <a:endParaRPr lang="en-US"/>
            </a:p>
          </p:txBody>
        </p:sp>
      </p:grpSp>
      <p:sp>
        <p:nvSpPr>
          <p:cNvPr id="29" name="Title 28">
            <a:extLst>
              <a:ext uri="{FF2B5EF4-FFF2-40B4-BE49-F238E27FC236}">
                <a16:creationId xmlns:a16="http://schemas.microsoft.com/office/drawing/2014/main" id="{BB392E0D-A1CD-16E8-2422-6B89C23B5FB7}"/>
              </a:ext>
            </a:extLst>
          </p:cNvPr>
          <p:cNvSpPr>
            <a:spLocks noGrp="1"/>
          </p:cNvSpPr>
          <p:nvPr>
            <p:ph type="title" hasCustomPrompt="1"/>
          </p:nvPr>
        </p:nvSpPr>
        <p:spPr>
          <a:xfrm>
            <a:off x="1940071" y="2848495"/>
            <a:ext cx="8851753" cy="443198"/>
          </a:xfrm>
        </p:spPr>
        <p:txBody>
          <a:bodyPr vert="horz" wrap="square" lIns="0" tIns="0" rIns="0" bIns="0" rtlCol="0" anchor="t" anchorCtr="0">
            <a:spAutoFit/>
          </a:bodyPr>
          <a:lstStyle>
            <a:lvl1pPr>
              <a:defRPr lang="en-US" sz="3600" dirty="0">
                <a:solidFill>
                  <a:schemeClr val="bg1"/>
                </a:solidFill>
              </a:defRPr>
            </a:lvl1pPr>
          </a:lstStyle>
          <a:p>
            <a:pPr lvl="0"/>
            <a:r>
              <a:rPr lang="en-US" dirty="0"/>
              <a:t>separator</a:t>
            </a:r>
          </a:p>
        </p:txBody>
      </p:sp>
      <p:grpSp>
        <p:nvGrpSpPr>
          <p:cNvPr id="10" name="Group 9">
            <a:extLst>
              <a:ext uri="{FF2B5EF4-FFF2-40B4-BE49-F238E27FC236}">
                <a16:creationId xmlns:a16="http://schemas.microsoft.com/office/drawing/2014/main" id="{FA0E8B1F-D1AE-7460-45AF-7A1DD461CD78}"/>
              </a:ext>
            </a:extLst>
          </p:cNvPr>
          <p:cNvGrpSpPr/>
          <p:nvPr userDrawn="1"/>
        </p:nvGrpSpPr>
        <p:grpSpPr>
          <a:xfrm>
            <a:off x="1557107" y="2485963"/>
            <a:ext cx="4549046" cy="192881"/>
            <a:chOff x="1765829" y="7183134"/>
            <a:chExt cx="4549046" cy="192881"/>
          </a:xfrm>
        </p:grpSpPr>
        <p:sp>
          <p:nvSpPr>
            <p:cNvPr id="11" name="Freeform: Shape 10">
              <a:extLst>
                <a:ext uri="{FF2B5EF4-FFF2-40B4-BE49-F238E27FC236}">
                  <a16:creationId xmlns:a16="http://schemas.microsoft.com/office/drawing/2014/main" id="{622906F5-EF39-F9F8-31DE-AC964797C281}"/>
                </a:ext>
              </a:extLst>
            </p:cNvPr>
            <p:cNvSpPr/>
            <p:nvPr/>
          </p:nvSpPr>
          <p:spPr>
            <a:xfrm>
              <a:off x="1775355" y="7195041"/>
              <a:ext cx="453952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E5376C08-DCB5-FFFB-0D52-E89C25DA59AC}"/>
                </a:ext>
              </a:extLst>
            </p:cNvPr>
            <p:cNvSpPr/>
            <p:nvPr/>
          </p:nvSpPr>
          <p:spPr>
            <a:xfrm>
              <a:off x="1765829" y="7192469"/>
              <a:ext cx="36576"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1854909-4302-CEEE-B3F6-D510BFF49482}"/>
                </a:ext>
              </a:extLst>
            </p:cNvPr>
            <p:cNvSpPr/>
            <p:nvPr/>
          </p:nvSpPr>
          <p:spPr>
            <a:xfrm>
              <a:off x="1865366" y="730353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32A4C4F-0C81-18BC-591D-C700CBFF3DC7}"/>
                </a:ext>
              </a:extLst>
            </p:cNvPr>
            <p:cNvSpPr/>
            <p:nvPr/>
          </p:nvSpPr>
          <p:spPr>
            <a:xfrm>
              <a:off x="1767699" y="7183134"/>
              <a:ext cx="381095" cy="36576"/>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a:p>
          </p:txBody>
        </p:sp>
      </p:grpSp>
      <p:sp>
        <p:nvSpPr>
          <p:cNvPr id="53" name="Rectangle 6">
            <a:extLst>
              <a:ext uri="{FF2B5EF4-FFF2-40B4-BE49-F238E27FC236}">
                <a16:creationId xmlns:a16="http://schemas.microsoft.com/office/drawing/2014/main" id="{4C416A28-E2B8-736E-3CE7-A4E90C742F74}"/>
              </a:ext>
            </a:extLst>
          </p:cNvPr>
          <p:cNvSpPr txBox="1">
            <a:spLocks noChangeArrowheads="1"/>
          </p:cNvSpPr>
          <p:nvPr userDrawn="1"/>
        </p:nvSpPr>
        <p:spPr bwMode="ltGray">
          <a:xfrm>
            <a:off x="11567159" y="6633988"/>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tx2">
                    <a:lumMod val="7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tx2">
                  <a:lumMod val="75000"/>
                </a:schemeClr>
              </a:solidFill>
              <a:effectLst/>
              <a:uLnTx/>
              <a:uFillTx/>
              <a:ea typeface="MS PGothic" pitchFamily="34" charset="-128"/>
            </a:endParaRPr>
          </a:p>
        </p:txBody>
      </p:sp>
    </p:spTree>
    <p:extLst>
      <p:ext uri="{BB962C8B-B14F-4D97-AF65-F5344CB8AC3E}">
        <p14:creationId xmlns:p14="http://schemas.microsoft.com/office/powerpoint/2010/main" val="4129142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w Image (2)">
    <p:bg>
      <p:bgRef idx="1001">
        <a:schemeClr val="bg1"/>
      </p:bgRef>
    </p:bg>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4C0456C7-A1E1-0EFB-710C-AB2FC9966BD0}"/>
              </a:ext>
            </a:extLst>
          </p:cNvPr>
          <p:cNvPicPr>
            <a:picLocks noChangeAspect="1"/>
          </p:cNvPicPr>
          <p:nvPr userDrawn="1"/>
        </p:nvPicPr>
        <p:blipFill rotWithShape="1">
          <a:blip r:embed="rId2">
            <a:alphaModFix amt="54000"/>
          </a:blip>
          <a:srcRect t="31798" r="3915" b="5368"/>
          <a:stretch/>
        </p:blipFill>
        <p:spPr>
          <a:xfrm>
            <a:off x="1044453" y="0"/>
            <a:ext cx="11147547" cy="789116"/>
          </a:xfrm>
          <a:prstGeom prst="rect">
            <a:avLst/>
          </a:prstGeom>
        </p:spPr>
      </p:pic>
      <p:pic>
        <p:nvPicPr>
          <p:cNvPr id="4" name="Picture 3">
            <a:extLst>
              <a:ext uri="{FF2B5EF4-FFF2-40B4-BE49-F238E27FC236}">
                <a16:creationId xmlns:a16="http://schemas.microsoft.com/office/drawing/2014/main" id="{21ED4E1A-72F6-D21C-203D-3F3F74AA1D88}"/>
              </a:ext>
            </a:extLst>
          </p:cNvPr>
          <p:cNvPicPr>
            <a:picLocks noChangeAspect="1"/>
          </p:cNvPicPr>
          <p:nvPr userDrawn="1"/>
        </p:nvPicPr>
        <p:blipFill>
          <a:blip r:embed="rId3"/>
          <a:stretch>
            <a:fillRect/>
          </a:stretch>
        </p:blipFill>
        <p:spPr>
          <a:xfrm>
            <a:off x="0" y="0"/>
            <a:ext cx="12192000" cy="6857999"/>
          </a:xfrm>
          <a:prstGeom prst="rect">
            <a:avLst/>
          </a:prstGeom>
        </p:spPr>
      </p:pic>
      <p:sp>
        <p:nvSpPr>
          <p:cNvPr id="3" name="Subtitle 2"/>
          <p:cNvSpPr>
            <a:spLocks noGrp="1"/>
          </p:cNvSpPr>
          <p:nvPr>
            <p:ph type="subTitle" idx="1" hasCustomPrompt="1"/>
          </p:nvPr>
        </p:nvSpPr>
        <p:spPr bwMode="gray">
          <a:xfrm>
            <a:off x="483093" y="4818033"/>
            <a:ext cx="448056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503103" y="5155633"/>
            <a:ext cx="429768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529443" y="6397479"/>
            <a:ext cx="3749040" cy="196592"/>
          </a:xfrm>
        </p:spPr>
        <p:txBody>
          <a:bodyPr vert="horz" wrap="square" lIns="0" tIns="9525" rIns="0" bIns="0" rtlCol="0" anchor="ctr" anchorCtr="0">
            <a:spAutoFit/>
          </a:bodyPr>
          <a:lstStyle>
            <a:lvl1pPr marL="0" indent="0">
              <a:buFontTx/>
              <a:buNone/>
              <a:defRPr lang="en-US" sz="1350" spc="8" dirty="0">
                <a:solidFill>
                  <a:schemeClr val="tx1"/>
                </a:solidFill>
                <a:latin typeface="+mj-lt"/>
                <a:cs typeface="PTCRaleway"/>
              </a:defRPr>
            </a:lvl1pPr>
          </a:lstStyle>
          <a:p>
            <a:pPr marL="9525" lvl="0">
              <a:spcBef>
                <a:spcPts val="75"/>
              </a:spcBef>
            </a:pPr>
            <a:r>
              <a:rPr lang="en-US"/>
              <a:t>Add Date</a:t>
            </a:r>
          </a:p>
        </p:txBody>
      </p:sp>
      <p:sp>
        <p:nvSpPr>
          <p:cNvPr id="2" name="Title 1"/>
          <p:cNvSpPr>
            <a:spLocks noGrp="1"/>
          </p:cNvSpPr>
          <p:nvPr>
            <p:ph type="ctrTitle" hasCustomPrompt="1"/>
          </p:nvPr>
        </p:nvSpPr>
        <p:spPr bwMode="ltGray">
          <a:xfrm>
            <a:off x="473422" y="2467508"/>
            <a:ext cx="4916472"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a:t>PRESENTATION TITLE</a:t>
            </a:r>
          </a:p>
        </p:txBody>
      </p:sp>
      <p:pic>
        <p:nvPicPr>
          <p:cNvPr id="11" name="Graphic 10">
            <a:extLst>
              <a:ext uri="{FF2B5EF4-FFF2-40B4-BE49-F238E27FC236}">
                <a16:creationId xmlns:a16="http://schemas.microsoft.com/office/drawing/2014/main" id="{C0E3E1F6-F449-9588-A677-261966BB16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40" y="6019231"/>
            <a:ext cx="2892560" cy="215304"/>
          </a:xfrm>
          <a:prstGeom prst="rect">
            <a:avLst/>
          </a:prstGeom>
        </p:spPr>
      </p:pic>
      <p:sp>
        <p:nvSpPr>
          <p:cNvPr id="6" name="Rectangle 5">
            <a:extLst>
              <a:ext uri="{FF2B5EF4-FFF2-40B4-BE49-F238E27FC236}">
                <a16:creationId xmlns:a16="http://schemas.microsoft.com/office/drawing/2014/main" id="{249EEE3E-BF91-2C2E-C87D-4E9F887C8101}"/>
              </a:ext>
            </a:extLst>
          </p:cNvPr>
          <p:cNvSpPr/>
          <p:nvPr userDrawn="1"/>
        </p:nvSpPr>
        <p:spPr>
          <a:xfrm>
            <a:off x="5718175" y="238125"/>
            <a:ext cx="250825" cy="457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70" name="Picture Placeholder 69">
            <a:extLst>
              <a:ext uri="{FF2B5EF4-FFF2-40B4-BE49-F238E27FC236}">
                <a16:creationId xmlns:a16="http://schemas.microsoft.com/office/drawing/2014/main" id="{9EE7607B-1806-17F2-7A7E-D9CA0C2DCC61}"/>
              </a:ext>
            </a:extLst>
          </p:cNvPr>
          <p:cNvSpPr>
            <a:spLocks noGrp="1"/>
          </p:cNvSpPr>
          <p:nvPr>
            <p:ph type="pic" sz="quarter" idx="13" hasCustomPrompt="1"/>
          </p:nvPr>
        </p:nvSpPr>
        <p:spPr>
          <a:xfrm>
            <a:off x="4484574" y="296117"/>
            <a:ext cx="7410564" cy="6306407"/>
          </a:xfrm>
          <a:custGeom>
            <a:avLst/>
            <a:gdLst>
              <a:gd name="connsiteX0" fmla="*/ 0 w 7410564"/>
              <a:gd name="connsiteY0" fmla="*/ 0 h 6306407"/>
              <a:gd name="connsiteX1" fmla="*/ 7410564 w 7410564"/>
              <a:gd name="connsiteY1" fmla="*/ 0 h 6306407"/>
              <a:gd name="connsiteX2" fmla="*/ 7410564 w 7410564"/>
              <a:gd name="connsiteY2" fmla="*/ 6306407 h 6306407"/>
              <a:gd name="connsiteX3" fmla="*/ 0 w 7410564"/>
              <a:gd name="connsiteY3" fmla="*/ 6306407 h 6306407"/>
              <a:gd name="connsiteX4" fmla="*/ 0 w 7410564"/>
              <a:gd name="connsiteY4" fmla="*/ 0 h 6306407"/>
              <a:gd name="connsiteX0" fmla="*/ 2558143 w 7410564"/>
              <a:gd name="connsiteY0" fmla="*/ 0 h 6306407"/>
              <a:gd name="connsiteX1" fmla="*/ 7410564 w 7410564"/>
              <a:gd name="connsiteY1" fmla="*/ 0 h 6306407"/>
              <a:gd name="connsiteX2" fmla="*/ 7410564 w 7410564"/>
              <a:gd name="connsiteY2" fmla="*/ 6306407 h 6306407"/>
              <a:gd name="connsiteX3" fmla="*/ 0 w 7410564"/>
              <a:gd name="connsiteY3" fmla="*/ 6306407 h 6306407"/>
              <a:gd name="connsiteX4" fmla="*/ 2558143 w 7410564"/>
              <a:gd name="connsiteY4" fmla="*/ 0 h 6306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564" h="6306407">
                <a:moveTo>
                  <a:pt x="2558143" y="0"/>
                </a:moveTo>
                <a:lnTo>
                  <a:pt x="7410564" y="0"/>
                </a:lnTo>
                <a:lnTo>
                  <a:pt x="7410564" y="6306407"/>
                </a:lnTo>
                <a:lnTo>
                  <a:pt x="0" y="6306407"/>
                </a:lnTo>
                <a:lnTo>
                  <a:pt x="2558143" y="0"/>
                </a:lnTo>
                <a:close/>
              </a:path>
            </a:pathLst>
          </a:custGeom>
          <a:gradFill>
            <a:gsLst>
              <a:gs pos="40000">
                <a:srgbClr val="BFBFBF">
                  <a:alpha val="84000"/>
                </a:srgbClr>
              </a:gs>
              <a:gs pos="4000">
                <a:schemeClr val="bg1">
                  <a:lumMod val="50000"/>
                  <a:alpha val="29000"/>
                </a:schemeClr>
              </a:gs>
              <a:gs pos="100000">
                <a:schemeClr val="bg1"/>
              </a:gs>
            </a:gsLst>
            <a:lin ang="5400000" scaled="0"/>
          </a:gradFill>
          <a:ln w="6350"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lgn="r">
              <a:defRPr lang="en-US" sz="1200" dirty="0">
                <a:solidFill>
                  <a:schemeClr val="tx1"/>
                </a:solidFill>
              </a:defRPr>
            </a:lvl1pPr>
          </a:lstStyle>
          <a:p>
            <a:pPr marL="0" lvl="0" indent="0" algn="ctr">
              <a:spcBef>
                <a:spcPts val="800"/>
              </a:spcBef>
              <a:buNone/>
            </a:pPr>
            <a:r>
              <a:rPr lang="en-US" dirty="0"/>
              <a:t>Click picture icon to add image</a:t>
            </a:r>
          </a:p>
        </p:txBody>
      </p:sp>
      <p:grpSp>
        <p:nvGrpSpPr>
          <p:cNvPr id="14" name="Group 13">
            <a:extLst>
              <a:ext uri="{FF2B5EF4-FFF2-40B4-BE49-F238E27FC236}">
                <a16:creationId xmlns:a16="http://schemas.microsoft.com/office/drawing/2014/main" id="{28D9F45E-2A15-FCFB-9C52-27724A4A65DA}"/>
              </a:ext>
            </a:extLst>
          </p:cNvPr>
          <p:cNvGrpSpPr>
            <a:grpSpLocks noChangeAspect="1"/>
          </p:cNvGrpSpPr>
          <p:nvPr userDrawn="1"/>
        </p:nvGrpSpPr>
        <p:grpSpPr>
          <a:xfrm rot="1320000" flipH="1" flipV="1">
            <a:off x="6098947" y="633446"/>
            <a:ext cx="116012" cy="3017520"/>
            <a:chOff x="5814441" y="100216"/>
            <a:chExt cx="152274" cy="3960685"/>
          </a:xfrm>
        </p:grpSpPr>
        <p:sp>
          <p:nvSpPr>
            <p:cNvPr id="15" name="Freeform: Shape 14">
              <a:extLst>
                <a:ext uri="{FF2B5EF4-FFF2-40B4-BE49-F238E27FC236}">
                  <a16:creationId xmlns:a16="http://schemas.microsoft.com/office/drawing/2014/main" id="{54EC73AE-4BC0-FB49-93E1-F7564972211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 name="Freeform: Shape 15">
              <a:extLst>
                <a:ext uri="{FF2B5EF4-FFF2-40B4-BE49-F238E27FC236}">
                  <a16:creationId xmlns:a16="http://schemas.microsoft.com/office/drawing/2014/main" id="{CD597066-B041-5718-7DCC-E752FF06AD1F}"/>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 name="Freeform: Shape 16">
              <a:extLst>
                <a:ext uri="{FF2B5EF4-FFF2-40B4-BE49-F238E27FC236}">
                  <a16:creationId xmlns:a16="http://schemas.microsoft.com/office/drawing/2014/main" id="{7F846B79-6F82-CEBB-FD3B-D14053B6BFD8}"/>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 name="Freeform: Shape 18">
              <a:extLst>
                <a:ext uri="{FF2B5EF4-FFF2-40B4-BE49-F238E27FC236}">
                  <a16:creationId xmlns:a16="http://schemas.microsoft.com/office/drawing/2014/main" id="{D5D4DCC4-4130-4760-9947-BB3E9C01CE49}"/>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20" name="Graphic 42">
              <a:extLst>
                <a:ext uri="{FF2B5EF4-FFF2-40B4-BE49-F238E27FC236}">
                  <a16:creationId xmlns:a16="http://schemas.microsoft.com/office/drawing/2014/main" id="{985F8FD8-D6E1-BE52-A094-AF51891DEB50}"/>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29" name="Freeform: Shape 28">
                <a:extLst>
                  <a:ext uri="{FF2B5EF4-FFF2-40B4-BE49-F238E27FC236}">
                    <a16:creationId xmlns:a16="http://schemas.microsoft.com/office/drawing/2014/main" id="{84E80FD9-B9BF-81FC-2093-D8F1E8CF6351}"/>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 name="Freeform: Shape 29">
                <a:extLst>
                  <a:ext uri="{FF2B5EF4-FFF2-40B4-BE49-F238E27FC236}">
                    <a16:creationId xmlns:a16="http://schemas.microsoft.com/office/drawing/2014/main" id="{FAABD0ED-EFBD-C010-54F5-CDC7B24E65BE}"/>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 name="Freeform: Shape 30">
                <a:extLst>
                  <a:ext uri="{FF2B5EF4-FFF2-40B4-BE49-F238E27FC236}">
                    <a16:creationId xmlns:a16="http://schemas.microsoft.com/office/drawing/2014/main" id="{50F5E40A-79D8-678C-73E3-4EF0AA112596}"/>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 name="Freeform: Shape 31">
                <a:extLst>
                  <a:ext uri="{FF2B5EF4-FFF2-40B4-BE49-F238E27FC236}">
                    <a16:creationId xmlns:a16="http://schemas.microsoft.com/office/drawing/2014/main" id="{DCAF42B6-613E-BC31-B440-9E2A6AD2C4E3}"/>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3" name="Freeform: Shape 32">
                <a:extLst>
                  <a:ext uri="{FF2B5EF4-FFF2-40B4-BE49-F238E27FC236}">
                    <a16:creationId xmlns:a16="http://schemas.microsoft.com/office/drawing/2014/main" id="{8CA73FC7-DC7A-8CAC-953D-4FA07CE7502A}"/>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4" name="Freeform: Shape 33">
                <a:extLst>
                  <a:ext uri="{FF2B5EF4-FFF2-40B4-BE49-F238E27FC236}">
                    <a16:creationId xmlns:a16="http://schemas.microsoft.com/office/drawing/2014/main" id="{68899493-FB39-27EB-B3C9-4819EA6551B6}"/>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5" name="Freeform: Shape 34">
                <a:extLst>
                  <a:ext uri="{FF2B5EF4-FFF2-40B4-BE49-F238E27FC236}">
                    <a16:creationId xmlns:a16="http://schemas.microsoft.com/office/drawing/2014/main" id="{1FBEE1DD-62E8-D405-8327-745748E5A71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6" name="Freeform: Shape 35">
                <a:extLst>
                  <a:ext uri="{FF2B5EF4-FFF2-40B4-BE49-F238E27FC236}">
                    <a16:creationId xmlns:a16="http://schemas.microsoft.com/office/drawing/2014/main" id="{1D5383DB-7044-87F6-398D-F1448F90C1BF}"/>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7" name="Freeform: Shape 36">
                <a:extLst>
                  <a:ext uri="{FF2B5EF4-FFF2-40B4-BE49-F238E27FC236}">
                    <a16:creationId xmlns:a16="http://schemas.microsoft.com/office/drawing/2014/main" id="{161B3D47-EC48-E9F5-BC04-9BFCC048F072}"/>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8" name="Freeform: Shape 37">
                <a:extLst>
                  <a:ext uri="{FF2B5EF4-FFF2-40B4-BE49-F238E27FC236}">
                    <a16:creationId xmlns:a16="http://schemas.microsoft.com/office/drawing/2014/main" id="{80E5BEDE-0075-291F-A627-DCC49DE58EEA}"/>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9" name="Freeform: Shape 38">
                <a:extLst>
                  <a:ext uri="{FF2B5EF4-FFF2-40B4-BE49-F238E27FC236}">
                    <a16:creationId xmlns:a16="http://schemas.microsoft.com/office/drawing/2014/main" id="{D0FAB4FD-F945-0EC4-DD7C-4B4CA0BEDF2D}"/>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0" name="Freeform: Shape 39">
                <a:extLst>
                  <a:ext uri="{FF2B5EF4-FFF2-40B4-BE49-F238E27FC236}">
                    <a16:creationId xmlns:a16="http://schemas.microsoft.com/office/drawing/2014/main" id="{1E189B30-139A-3C4F-C794-ED6E64048E3F}"/>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1" name="Freeform: Shape 40">
                <a:extLst>
                  <a:ext uri="{FF2B5EF4-FFF2-40B4-BE49-F238E27FC236}">
                    <a16:creationId xmlns:a16="http://schemas.microsoft.com/office/drawing/2014/main" id="{FC7CEB64-718A-AA73-91EB-5CF17DA68D80}"/>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2" name="Freeform: Shape 41">
                <a:extLst>
                  <a:ext uri="{FF2B5EF4-FFF2-40B4-BE49-F238E27FC236}">
                    <a16:creationId xmlns:a16="http://schemas.microsoft.com/office/drawing/2014/main" id="{57CFFAE8-CDFC-245D-885F-003BC96B8310}"/>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42">
                <a:extLst>
                  <a:ext uri="{FF2B5EF4-FFF2-40B4-BE49-F238E27FC236}">
                    <a16:creationId xmlns:a16="http://schemas.microsoft.com/office/drawing/2014/main" id="{7B12A386-3331-18E3-91F9-9BD37549F3DC}"/>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4" name="Freeform: Shape 43">
                <a:extLst>
                  <a:ext uri="{FF2B5EF4-FFF2-40B4-BE49-F238E27FC236}">
                    <a16:creationId xmlns:a16="http://schemas.microsoft.com/office/drawing/2014/main" id="{3219EADD-46E9-CD94-927F-9F13632E320C}"/>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44">
                <a:extLst>
                  <a:ext uri="{FF2B5EF4-FFF2-40B4-BE49-F238E27FC236}">
                    <a16:creationId xmlns:a16="http://schemas.microsoft.com/office/drawing/2014/main" id="{D04754C9-9853-3FF1-1EC1-49CC3B4D9AC2}"/>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45">
                <a:extLst>
                  <a:ext uri="{FF2B5EF4-FFF2-40B4-BE49-F238E27FC236}">
                    <a16:creationId xmlns:a16="http://schemas.microsoft.com/office/drawing/2014/main" id="{833B0669-AFC8-B919-0363-EE711857B160}"/>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46">
                <a:extLst>
                  <a:ext uri="{FF2B5EF4-FFF2-40B4-BE49-F238E27FC236}">
                    <a16:creationId xmlns:a16="http://schemas.microsoft.com/office/drawing/2014/main" id="{3CFE669A-2635-450D-0AD7-DDC56C56F78B}"/>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8" name="Freeform: Shape 47">
                <a:extLst>
                  <a:ext uri="{FF2B5EF4-FFF2-40B4-BE49-F238E27FC236}">
                    <a16:creationId xmlns:a16="http://schemas.microsoft.com/office/drawing/2014/main" id="{1C5A24DB-BE1C-4557-1D40-05B9E4AA0EC1}"/>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1" name="Group 20">
              <a:extLst>
                <a:ext uri="{FF2B5EF4-FFF2-40B4-BE49-F238E27FC236}">
                  <a16:creationId xmlns:a16="http://schemas.microsoft.com/office/drawing/2014/main" id="{613A2414-6525-68F1-EAC3-5CEC87E72FE1}"/>
                </a:ext>
              </a:extLst>
            </p:cNvPr>
            <p:cNvGrpSpPr/>
            <p:nvPr userDrawn="1"/>
          </p:nvGrpSpPr>
          <p:grpSpPr>
            <a:xfrm rot="10800000">
              <a:off x="5862067" y="2566874"/>
              <a:ext cx="73151" cy="522033"/>
              <a:chOff x="5390750" y="3681616"/>
              <a:chExt cx="73151" cy="522033"/>
            </a:xfrm>
          </p:grpSpPr>
          <p:sp>
            <p:nvSpPr>
              <p:cNvPr id="22" name="Freeform: Shape 21">
                <a:extLst>
                  <a:ext uri="{FF2B5EF4-FFF2-40B4-BE49-F238E27FC236}">
                    <a16:creationId xmlns:a16="http://schemas.microsoft.com/office/drawing/2014/main" id="{56DBD08D-98C8-2DD9-0948-D2245E2B415B}"/>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 name="Freeform: Shape 22">
                <a:extLst>
                  <a:ext uri="{FF2B5EF4-FFF2-40B4-BE49-F238E27FC236}">
                    <a16:creationId xmlns:a16="http://schemas.microsoft.com/office/drawing/2014/main" id="{ADD541C1-C393-1B1C-58E9-37B6DC55B2E6}"/>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4" name="Freeform: Shape 23">
                <a:extLst>
                  <a:ext uri="{FF2B5EF4-FFF2-40B4-BE49-F238E27FC236}">
                    <a16:creationId xmlns:a16="http://schemas.microsoft.com/office/drawing/2014/main" id="{B097EE31-4575-7319-371C-190766A41F50}"/>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 name="Freeform: Shape 24">
                <a:extLst>
                  <a:ext uri="{FF2B5EF4-FFF2-40B4-BE49-F238E27FC236}">
                    <a16:creationId xmlns:a16="http://schemas.microsoft.com/office/drawing/2014/main" id="{3BE5A0E2-283E-A156-05C3-377105192C19}"/>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 name="Freeform: Shape 25">
                <a:extLst>
                  <a:ext uri="{FF2B5EF4-FFF2-40B4-BE49-F238E27FC236}">
                    <a16:creationId xmlns:a16="http://schemas.microsoft.com/office/drawing/2014/main" id="{4A01FD49-ABC3-70C9-A5D7-8ED309A23638}"/>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 name="Freeform: Shape 26">
                <a:extLst>
                  <a:ext uri="{FF2B5EF4-FFF2-40B4-BE49-F238E27FC236}">
                    <a16:creationId xmlns:a16="http://schemas.microsoft.com/office/drawing/2014/main" id="{F5CE09F9-A2EA-7101-C828-55D150209C53}"/>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8" name="Freeform: Shape 27">
                <a:extLst>
                  <a:ext uri="{FF2B5EF4-FFF2-40B4-BE49-F238E27FC236}">
                    <a16:creationId xmlns:a16="http://schemas.microsoft.com/office/drawing/2014/main" id="{8E81F50C-8CA7-34B8-882B-3706F02A6061}"/>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pic>
        <p:nvPicPr>
          <p:cNvPr id="49" name="Graphic 48">
            <a:extLst>
              <a:ext uri="{FF2B5EF4-FFF2-40B4-BE49-F238E27FC236}">
                <a16:creationId xmlns:a16="http://schemas.microsoft.com/office/drawing/2014/main" id="{48FA6791-AD60-D6B8-D154-8B719140924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17520000">
            <a:off x="4299006" y="5855517"/>
            <a:ext cx="726440" cy="91440"/>
          </a:xfrm>
          <a:prstGeom prst="rect">
            <a:avLst/>
          </a:prstGeom>
        </p:spPr>
      </p:pic>
      <p:pic>
        <p:nvPicPr>
          <p:cNvPr id="7" name="Graphic 6">
            <a:extLst>
              <a:ext uri="{FF2B5EF4-FFF2-40B4-BE49-F238E27FC236}">
                <a16:creationId xmlns:a16="http://schemas.microsoft.com/office/drawing/2014/main" id="{9BFBA077-5712-3E24-83CA-C021959E6ECD}"/>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503103" y="442968"/>
            <a:ext cx="2020616" cy="731520"/>
          </a:xfrm>
          <a:prstGeom prst="rect">
            <a:avLst/>
          </a:prstGeom>
        </p:spPr>
      </p:pic>
    </p:spTree>
    <p:extLst>
      <p:ext uri="{BB962C8B-B14F-4D97-AF65-F5344CB8AC3E}">
        <p14:creationId xmlns:p14="http://schemas.microsoft.com/office/powerpoint/2010/main" val="1464740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ackground 1 (RO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D0B4BE-793E-4EA1-62E4-556326C84CD2}"/>
              </a:ext>
            </a:extLst>
          </p:cNvPr>
          <p:cNvPicPr>
            <a:picLocks noChangeAspect="1"/>
          </p:cNvPicPr>
          <p:nvPr userDrawn="1"/>
        </p:nvPicPr>
        <p:blipFill>
          <a:blip r:embed="rId2"/>
          <a:srcRect t="5246" b="5246"/>
          <a:stretch/>
        </p:blipFill>
        <p:spPr>
          <a:xfrm>
            <a:off x="1524" y="678174"/>
            <a:ext cx="12188952" cy="6136858"/>
          </a:xfrm>
          <a:prstGeom prst="rect">
            <a:avLst/>
          </a:prstGeom>
        </p:spPr>
      </p:pic>
      <p:sp>
        <p:nvSpPr>
          <p:cNvPr id="6" name="Rectangle 5">
            <a:extLst>
              <a:ext uri="{FF2B5EF4-FFF2-40B4-BE49-F238E27FC236}">
                <a16:creationId xmlns:a16="http://schemas.microsoft.com/office/drawing/2014/main" id="{A3020598-581E-349E-A7D8-F2DDAE57E786}"/>
              </a:ext>
            </a:extLst>
          </p:cNvPr>
          <p:cNvSpPr/>
          <p:nvPr userDrawn="1"/>
        </p:nvSpPr>
        <p:spPr>
          <a:xfrm>
            <a:off x="0" y="1125256"/>
            <a:ext cx="12192001" cy="5412332"/>
          </a:xfrm>
          <a:prstGeom prst="rect">
            <a:avLst/>
          </a:prstGeom>
          <a:solidFill>
            <a:schemeClr val="accent6">
              <a:lumMod val="7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7" name="Freeform: Shape 6">
            <a:extLst>
              <a:ext uri="{FF2B5EF4-FFF2-40B4-BE49-F238E27FC236}">
                <a16:creationId xmlns:a16="http://schemas.microsoft.com/office/drawing/2014/main" id="{F317807C-961A-81EE-61C5-CF19528E372C}"/>
              </a:ext>
            </a:extLst>
          </p:cNvPr>
          <p:cNvSpPr/>
          <p:nvPr userDrawn="1"/>
        </p:nvSpPr>
        <p:spPr>
          <a:xfrm>
            <a:off x="0" y="6140187"/>
            <a:ext cx="12192002" cy="728021"/>
          </a:xfrm>
          <a:custGeom>
            <a:avLst/>
            <a:gdLst>
              <a:gd name="connsiteX0" fmla="*/ 0 w 12192002"/>
              <a:gd name="connsiteY0" fmla="*/ 0 h 728021"/>
              <a:gd name="connsiteX1" fmla="*/ 2528739 w 12192002"/>
              <a:gd name="connsiteY1" fmla="*/ 0 h 728021"/>
              <a:gd name="connsiteX2" fmla="*/ 2765129 w 12192002"/>
              <a:gd name="connsiteY2" fmla="*/ 136016 h 728021"/>
              <a:gd name="connsiteX3" fmla="*/ 2765129 w 12192002"/>
              <a:gd name="connsiteY3" fmla="*/ 138901 h 728021"/>
              <a:gd name="connsiteX4" fmla="*/ 2770143 w 12192002"/>
              <a:gd name="connsiteY4" fmla="*/ 138901 h 728021"/>
              <a:gd name="connsiteX5" fmla="*/ 2774905 w 12192002"/>
              <a:gd name="connsiteY5" fmla="*/ 141641 h 728021"/>
              <a:gd name="connsiteX6" fmla="*/ 12192002 w 12192002"/>
              <a:gd name="connsiteY6" fmla="*/ 148090 h 728021"/>
              <a:gd name="connsiteX7" fmla="*/ 12192002 w 12192002"/>
              <a:gd name="connsiteY7" fmla="*/ 728021 h 728021"/>
              <a:gd name="connsiteX8" fmla="*/ 1 w 12192002"/>
              <a:gd name="connsiteY8" fmla="*/ 728021 h 728021"/>
              <a:gd name="connsiteX9" fmla="*/ 1 w 12192002"/>
              <a:gd name="connsiteY9" fmla="*/ 233465 h 728021"/>
              <a:gd name="connsiteX10" fmla="*/ 0 w 12192002"/>
              <a:gd name="connsiteY10" fmla="*/ 233465 h 728021"/>
              <a:gd name="connsiteX11" fmla="*/ 0 w 12192002"/>
              <a:gd name="connsiteY11" fmla="*/ 0 h 72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2" h="728021">
                <a:moveTo>
                  <a:pt x="0" y="0"/>
                </a:moveTo>
                <a:lnTo>
                  <a:pt x="2528739" y="0"/>
                </a:lnTo>
                <a:lnTo>
                  <a:pt x="2765129" y="136016"/>
                </a:lnTo>
                <a:lnTo>
                  <a:pt x="2765129" y="138901"/>
                </a:lnTo>
                <a:lnTo>
                  <a:pt x="2770143" y="138901"/>
                </a:lnTo>
                <a:lnTo>
                  <a:pt x="2774905" y="141641"/>
                </a:lnTo>
                <a:lnTo>
                  <a:pt x="12192002" y="148090"/>
                </a:lnTo>
                <a:lnTo>
                  <a:pt x="12192002" y="728021"/>
                </a:lnTo>
                <a:lnTo>
                  <a:pt x="1" y="728021"/>
                </a:lnTo>
                <a:lnTo>
                  <a:pt x="1" y="233465"/>
                </a:lnTo>
                <a:lnTo>
                  <a:pt x="0" y="233465"/>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a:solidFill>
                <a:schemeClr val="bg1"/>
              </a:solidFill>
            </a:endParaRPr>
          </a:p>
        </p:txBody>
      </p:sp>
      <p:sp>
        <p:nvSpPr>
          <p:cNvPr id="8" name="Freeform: Shape 7">
            <a:extLst>
              <a:ext uri="{FF2B5EF4-FFF2-40B4-BE49-F238E27FC236}">
                <a16:creationId xmlns:a16="http://schemas.microsoft.com/office/drawing/2014/main" id="{68DE784E-D655-F61A-22EF-B09F4B5903D7}"/>
              </a:ext>
            </a:extLst>
          </p:cNvPr>
          <p:cNvSpPr/>
          <p:nvPr userDrawn="1"/>
        </p:nvSpPr>
        <p:spPr>
          <a:xfrm>
            <a:off x="9506712" y="629009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2" name="Freeform: Shape 11">
            <a:extLst>
              <a:ext uri="{FF2B5EF4-FFF2-40B4-BE49-F238E27FC236}">
                <a16:creationId xmlns:a16="http://schemas.microsoft.com/office/drawing/2014/main" id="{BEC138A8-D88E-A4ED-6D90-B7A2B8965821}"/>
              </a:ext>
            </a:extLst>
          </p:cNvPr>
          <p:cNvSpPr/>
          <p:nvPr userDrawn="1"/>
        </p:nvSpPr>
        <p:spPr>
          <a:xfrm>
            <a:off x="9506712" y="6391694"/>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6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20" name="Graphic 19">
            <a:extLst>
              <a:ext uri="{FF2B5EF4-FFF2-40B4-BE49-F238E27FC236}">
                <a16:creationId xmlns:a16="http://schemas.microsoft.com/office/drawing/2014/main" id="{EF9C9D1F-3372-2937-2C9C-68367F11E95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40" y="6497832"/>
            <a:ext cx="2892560" cy="215304"/>
          </a:xfrm>
          <a:prstGeom prst="rect">
            <a:avLst/>
          </a:prstGeom>
        </p:spPr>
      </p:pic>
      <p:sp>
        <p:nvSpPr>
          <p:cNvPr id="33" name="Rectangle 6">
            <a:extLst>
              <a:ext uri="{FF2B5EF4-FFF2-40B4-BE49-F238E27FC236}">
                <a16:creationId xmlns:a16="http://schemas.microsoft.com/office/drawing/2014/main" id="{0DA6A00B-B177-3F68-FECE-8DBD4DB84D78}"/>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
        <p:nvSpPr>
          <p:cNvPr id="28" name="Freeform: Shape 27">
            <a:extLst>
              <a:ext uri="{FF2B5EF4-FFF2-40B4-BE49-F238E27FC236}">
                <a16:creationId xmlns:a16="http://schemas.microsoft.com/office/drawing/2014/main" id="{15EE9E66-1EFA-F175-5AA8-FAD07799AAFB}"/>
              </a:ext>
            </a:extLst>
          </p:cNvPr>
          <p:cNvSpPr/>
          <p:nvPr userDrawn="1"/>
        </p:nvSpPr>
        <p:spPr>
          <a:xfrm flipH="1" flipV="1">
            <a:off x="-1" y="0"/>
            <a:ext cx="12192001" cy="1399325"/>
          </a:xfrm>
          <a:custGeom>
            <a:avLst/>
            <a:gdLst>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922105 h 1399325"/>
              <a:gd name="connsiteX4" fmla="*/ 3049 w 12192001"/>
              <a:gd name="connsiteY4" fmla="*/ 0 h 1399325"/>
              <a:gd name="connsiteX5" fmla="*/ 734133 w 12192001"/>
              <a:gd name="connsiteY5" fmla="*/ 0 h 1399325"/>
              <a:gd name="connsiteX6" fmla="*/ 2801055 w 12192001"/>
              <a:gd name="connsiteY6" fmla="*/ 0 h 1399325"/>
              <a:gd name="connsiteX7" fmla="*/ 3805546 w 12192001"/>
              <a:gd name="connsiteY7" fmla="*/ 0 h 1399325"/>
              <a:gd name="connsiteX8" fmla="*/ 4041631 w 12192001"/>
              <a:gd name="connsiteY8" fmla="*/ 136016 h 1399325"/>
              <a:gd name="connsiteX9" fmla="*/ 4041631 w 12192001"/>
              <a:gd name="connsiteY9" fmla="*/ 138901 h 1399325"/>
              <a:gd name="connsiteX10" fmla="*/ 4046639 w 12192001"/>
              <a:gd name="connsiteY10" fmla="*/ 138901 h 1399325"/>
              <a:gd name="connsiteX11" fmla="*/ 4051394 w 12192001"/>
              <a:gd name="connsiteY11" fmla="*/ 141641 h 1399325"/>
              <a:gd name="connsiteX12" fmla="*/ 4815657 w 12192001"/>
              <a:gd name="connsiteY12" fmla="*/ 138901 h 1399325"/>
              <a:gd name="connsiteX13" fmla="*/ 8511256 w 12192001"/>
              <a:gd name="connsiteY13" fmla="*/ 138901 h 1399325"/>
              <a:gd name="connsiteX14" fmla="*/ 8511256 w 12192001"/>
              <a:gd name="connsiteY14" fmla="*/ 131623 h 1399325"/>
              <a:gd name="connsiteX15" fmla="*/ 12192001 w 12192001"/>
              <a:gd name="connsiteY15" fmla="*/ 131623 h 1399325"/>
              <a:gd name="connsiteX16" fmla="*/ 12192001 w 12192001"/>
              <a:gd name="connsiteY16" fmla="*/ 1208825 h 1399325"/>
              <a:gd name="connsiteX17" fmla="*/ 12192000 w 12192001"/>
              <a:gd name="connsiteY17" fmla="*/ 12088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208825 h 1399325"/>
              <a:gd name="connsiteX17" fmla="*/ 12192000 w 12192001"/>
              <a:gd name="connsiteY17"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0 w 12192001"/>
              <a:gd name="connsiteY15"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8511256 w 12192001"/>
              <a:gd name="connsiteY12" fmla="*/ 131623 h 1399325"/>
              <a:gd name="connsiteX13" fmla="*/ 12192001 w 12192001"/>
              <a:gd name="connsiteY13" fmla="*/ 131623 h 1399325"/>
              <a:gd name="connsiteX14" fmla="*/ 12192000 w 12192001"/>
              <a:gd name="connsiteY14"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12192001 w 12192001"/>
              <a:gd name="connsiteY12" fmla="*/ 131623 h 1399325"/>
              <a:gd name="connsiteX13" fmla="*/ 12192000 w 12192001"/>
              <a:gd name="connsiteY13"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12192001 w 12192001"/>
              <a:gd name="connsiteY11" fmla="*/ 131623 h 1399325"/>
              <a:gd name="connsiteX12" fmla="*/ 12192000 w 12192001"/>
              <a:gd name="connsiteY12" fmla="*/ 1399325 h 139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1399325">
                <a:moveTo>
                  <a:pt x="12192000" y="1399325"/>
                </a:moveTo>
                <a:lnTo>
                  <a:pt x="0" y="1399325"/>
                </a:lnTo>
                <a:cubicBezTo>
                  <a:pt x="1016" y="932883"/>
                  <a:pt x="2033" y="466442"/>
                  <a:pt x="3049" y="0"/>
                </a:cubicBezTo>
                <a:lnTo>
                  <a:pt x="734133" y="0"/>
                </a:lnTo>
                <a:lnTo>
                  <a:pt x="2801055" y="0"/>
                </a:lnTo>
                <a:lnTo>
                  <a:pt x="3805546" y="0"/>
                </a:lnTo>
                <a:lnTo>
                  <a:pt x="4041631" y="136016"/>
                </a:lnTo>
                <a:lnTo>
                  <a:pt x="4041631" y="138901"/>
                </a:lnTo>
                <a:lnTo>
                  <a:pt x="4046639" y="138901"/>
                </a:lnTo>
                <a:lnTo>
                  <a:pt x="4051394" y="141641"/>
                </a:lnTo>
                <a:lnTo>
                  <a:pt x="4815657" y="138901"/>
                </a:lnTo>
                <a:lnTo>
                  <a:pt x="12192001" y="131623"/>
                </a:lnTo>
                <a:cubicBezTo>
                  <a:pt x="12192001" y="554190"/>
                  <a:pt x="12192000" y="976758"/>
                  <a:pt x="12192000" y="1399325"/>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9" name="Title 28">
            <a:extLst>
              <a:ext uri="{FF2B5EF4-FFF2-40B4-BE49-F238E27FC236}">
                <a16:creationId xmlns:a16="http://schemas.microsoft.com/office/drawing/2014/main" id="{BB392E0D-A1CD-16E8-2422-6B89C23B5FB7}"/>
              </a:ext>
            </a:extLst>
          </p:cNvPr>
          <p:cNvSpPr>
            <a:spLocks noGrp="1"/>
          </p:cNvSpPr>
          <p:nvPr>
            <p:ph type="title" hasCustomPrompt="1"/>
          </p:nvPr>
        </p:nvSpPr>
        <p:spPr/>
        <p:txBody>
          <a:bodyPr/>
          <a:lstStyle>
            <a:lvl1pPr>
              <a:defRPr/>
            </a:lvl1pPr>
          </a:lstStyle>
          <a:p>
            <a:r>
              <a:rPr lang="en-US" dirty="0"/>
              <a:t>Add title (one line)</a:t>
            </a:r>
          </a:p>
        </p:txBody>
      </p:sp>
      <p:sp>
        <p:nvSpPr>
          <p:cNvPr id="2" name="Rectangle 1">
            <a:extLst>
              <a:ext uri="{FF2B5EF4-FFF2-40B4-BE49-F238E27FC236}">
                <a16:creationId xmlns:a16="http://schemas.microsoft.com/office/drawing/2014/main" id="{77EBE446-A4AA-CDA0-BE34-3ECCEE1E22D2}"/>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180995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ackground 2 (RO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D0B4BE-793E-4EA1-62E4-556326C84CD2}"/>
              </a:ext>
            </a:extLst>
          </p:cNvPr>
          <p:cNvPicPr>
            <a:picLocks noChangeAspect="1"/>
          </p:cNvPicPr>
          <p:nvPr userDrawn="1"/>
        </p:nvPicPr>
        <p:blipFill>
          <a:blip r:embed="rId2"/>
          <a:srcRect t="5246" b="5246"/>
          <a:stretch/>
        </p:blipFill>
        <p:spPr>
          <a:xfrm>
            <a:off x="1524" y="678174"/>
            <a:ext cx="12188952" cy="6136858"/>
          </a:xfrm>
          <a:prstGeom prst="rect">
            <a:avLst/>
          </a:prstGeom>
        </p:spPr>
      </p:pic>
      <p:sp>
        <p:nvSpPr>
          <p:cNvPr id="6" name="Rectangle 5">
            <a:extLst>
              <a:ext uri="{FF2B5EF4-FFF2-40B4-BE49-F238E27FC236}">
                <a16:creationId xmlns:a16="http://schemas.microsoft.com/office/drawing/2014/main" id="{A3020598-581E-349E-A7D8-F2DDAE57E786}"/>
              </a:ext>
            </a:extLst>
          </p:cNvPr>
          <p:cNvSpPr/>
          <p:nvPr userDrawn="1"/>
        </p:nvSpPr>
        <p:spPr>
          <a:xfrm>
            <a:off x="0" y="1125256"/>
            <a:ext cx="12192001" cy="5412332"/>
          </a:xfrm>
          <a:prstGeom prst="rect">
            <a:avLst/>
          </a:prstGeom>
          <a:solidFill>
            <a:schemeClr val="accent6">
              <a:lumMod val="7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7" name="Freeform: Shape 6">
            <a:extLst>
              <a:ext uri="{FF2B5EF4-FFF2-40B4-BE49-F238E27FC236}">
                <a16:creationId xmlns:a16="http://schemas.microsoft.com/office/drawing/2014/main" id="{F317807C-961A-81EE-61C5-CF19528E372C}"/>
              </a:ext>
            </a:extLst>
          </p:cNvPr>
          <p:cNvSpPr/>
          <p:nvPr userDrawn="1"/>
        </p:nvSpPr>
        <p:spPr>
          <a:xfrm>
            <a:off x="0" y="6140187"/>
            <a:ext cx="12192002" cy="728021"/>
          </a:xfrm>
          <a:custGeom>
            <a:avLst/>
            <a:gdLst>
              <a:gd name="connsiteX0" fmla="*/ 0 w 12192002"/>
              <a:gd name="connsiteY0" fmla="*/ 0 h 728021"/>
              <a:gd name="connsiteX1" fmla="*/ 2528739 w 12192002"/>
              <a:gd name="connsiteY1" fmla="*/ 0 h 728021"/>
              <a:gd name="connsiteX2" fmla="*/ 2765129 w 12192002"/>
              <a:gd name="connsiteY2" fmla="*/ 136016 h 728021"/>
              <a:gd name="connsiteX3" fmla="*/ 2765129 w 12192002"/>
              <a:gd name="connsiteY3" fmla="*/ 138901 h 728021"/>
              <a:gd name="connsiteX4" fmla="*/ 2770143 w 12192002"/>
              <a:gd name="connsiteY4" fmla="*/ 138901 h 728021"/>
              <a:gd name="connsiteX5" fmla="*/ 2774905 w 12192002"/>
              <a:gd name="connsiteY5" fmla="*/ 141641 h 728021"/>
              <a:gd name="connsiteX6" fmla="*/ 12192002 w 12192002"/>
              <a:gd name="connsiteY6" fmla="*/ 148090 h 728021"/>
              <a:gd name="connsiteX7" fmla="*/ 12192002 w 12192002"/>
              <a:gd name="connsiteY7" fmla="*/ 728021 h 728021"/>
              <a:gd name="connsiteX8" fmla="*/ 1 w 12192002"/>
              <a:gd name="connsiteY8" fmla="*/ 728021 h 728021"/>
              <a:gd name="connsiteX9" fmla="*/ 1 w 12192002"/>
              <a:gd name="connsiteY9" fmla="*/ 233465 h 728021"/>
              <a:gd name="connsiteX10" fmla="*/ 0 w 12192002"/>
              <a:gd name="connsiteY10" fmla="*/ 233465 h 728021"/>
              <a:gd name="connsiteX11" fmla="*/ 0 w 12192002"/>
              <a:gd name="connsiteY11" fmla="*/ 0 h 72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2" h="728021">
                <a:moveTo>
                  <a:pt x="0" y="0"/>
                </a:moveTo>
                <a:lnTo>
                  <a:pt x="2528739" y="0"/>
                </a:lnTo>
                <a:lnTo>
                  <a:pt x="2765129" y="136016"/>
                </a:lnTo>
                <a:lnTo>
                  <a:pt x="2765129" y="138901"/>
                </a:lnTo>
                <a:lnTo>
                  <a:pt x="2770143" y="138901"/>
                </a:lnTo>
                <a:lnTo>
                  <a:pt x="2774905" y="141641"/>
                </a:lnTo>
                <a:lnTo>
                  <a:pt x="12192002" y="148090"/>
                </a:lnTo>
                <a:lnTo>
                  <a:pt x="12192002" y="728021"/>
                </a:lnTo>
                <a:lnTo>
                  <a:pt x="1" y="728021"/>
                </a:lnTo>
                <a:lnTo>
                  <a:pt x="1" y="233465"/>
                </a:lnTo>
                <a:lnTo>
                  <a:pt x="0" y="233465"/>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a:solidFill>
                <a:schemeClr val="bg1"/>
              </a:solidFill>
            </a:endParaRPr>
          </a:p>
        </p:txBody>
      </p:sp>
      <p:sp>
        <p:nvSpPr>
          <p:cNvPr id="8" name="Freeform: Shape 7">
            <a:extLst>
              <a:ext uri="{FF2B5EF4-FFF2-40B4-BE49-F238E27FC236}">
                <a16:creationId xmlns:a16="http://schemas.microsoft.com/office/drawing/2014/main" id="{68DE784E-D655-F61A-22EF-B09F4B5903D7}"/>
              </a:ext>
            </a:extLst>
          </p:cNvPr>
          <p:cNvSpPr/>
          <p:nvPr userDrawn="1"/>
        </p:nvSpPr>
        <p:spPr>
          <a:xfrm>
            <a:off x="9506712" y="629009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2" name="Freeform: Shape 11">
            <a:extLst>
              <a:ext uri="{FF2B5EF4-FFF2-40B4-BE49-F238E27FC236}">
                <a16:creationId xmlns:a16="http://schemas.microsoft.com/office/drawing/2014/main" id="{BEC138A8-D88E-A4ED-6D90-B7A2B8965821}"/>
              </a:ext>
            </a:extLst>
          </p:cNvPr>
          <p:cNvSpPr/>
          <p:nvPr userDrawn="1"/>
        </p:nvSpPr>
        <p:spPr>
          <a:xfrm>
            <a:off x="9506712" y="6391694"/>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6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20" name="Graphic 19">
            <a:extLst>
              <a:ext uri="{FF2B5EF4-FFF2-40B4-BE49-F238E27FC236}">
                <a16:creationId xmlns:a16="http://schemas.microsoft.com/office/drawing/2014/main" id="{EF9C9D1F-3372-2937-2C9C-68367F11E95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40" y="6497832"/>
            <a:ext cx="2892560" cy="215304"/>
          </a:xfrm>
          <a:prstGeom prst="rect">
            <a:avLst/>
          </a:prstGeom>
        </p:spPr>
      </p:pic>
      <p:sp>
        <p:nvSpPr>
          <p:cNvPr id="33" name="Rectangle 6">
            <a:extLst>
              <a:ext uri="{FF2B5EF4-FFF2-40B4-BE49-F238E27FC236}">
                <a16:creationId xmlns:a16="http://schemas.microsoft.com/office/drawing/2014/main" id="{0DA6A00B-B177-3F68-FECE-8DBD4DB84D78}"/>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
        <p:nvSpPr>
          <p:cNvPr id="10" name="Freeform: Shape 9">
            <a:extLst>
              <a:ext uri="{FF2B5EF4-FFF2-40B4-BE49-F238E27FC236}">
                <a16:creationId xmlns:a16="http://schemas.microsoft.com/office/drawing/2014/main" id="{8DE6B060-E8EA-97F6-EAE7-C7E426C96967}"/>
              </a:ext>
            </a:extLst>
          </p:cNvPr>
          <p:cNvSpPr/>
          <p:nvPr userDrawn="1"/>
        </p:nvSpPr>
        <p:spPr>
          <a:xfrm flipH="1" flipV="1">
            <a:off x="-1" y="196850"/>
            <a:ext cx="12192001" cy="1399325"/>
          </a:xfrm>
          <a:custGeom>
            <a:avLst/>
            <a:gdLst>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922105 h 1399325"/>
              <a:gd name="connsiteX4" fmla="*/ 3049 w 12192001"/>
              <a:gd name="connsiteY4" fmla="*/ 0 h 1399325"/>
              <a:gd name="connsiteX5" fmla="*/ 734133 w 12192001"/>
              <a:gd name="connsiteY5" fmla="*/ 0 h 1399325"/>
              <a:gd name="connsiteX6" fmla="*/ 2801055 w 12192001"/>
              <a:gd name="connsiteY6" fmla="*/ 0 h 1399325"/>
              <a:gd name="connsiteX7" fmla="*/ 3805546 w 12192001"/>
              <a:gd name="connsiteY7" fmla="*/ 0 h 1399325"/>
              <a:gd name="connsiteX8" fmla="*/ 4041631 w 12192001"/>
              <a:gd name="connsiteY8" fmla="*/ 136016 h 1399325"/>
              <a:gd name="connsiteX9" fmla="*/ 4041631 w 12192001"/>
              <a:gd name="connsiteY9" fmla="*/ 138901 h 1399325"/>
              <a:gd name="connsiteX10" fmla="*/ 4046639 w 12192001"/>
              <a:gd name="connsiteY10" fmla="*/ 138901 h 1399325"/>
              <a:gd name="connsiteX11" fmla="*/ 4051394 w 12192001"/>
              <a:gd name="connsiteY11" fmla="*/ 141641 h 1399325"/>
              <a:gd name="connsiteX12" fmla="*/ 4815657 w 12192001"/>
              <a:gd name="connsiteY12" fmla="*/ 138901 h 1399325"/>
              <a:gd name="connsiteX13" fmla="*/ 8511256 w 12192001"/>
              <a:gd name="connsiteY13" fmla="*/ 138901 h 1399325"/>
              <a:gd name="connsiteX14" fmla="*/ 8511256 w 12192001"/>
              <a:gd name="connsiteY14" fmla="*/ 131623 h 1399325"/>
              <a:gd name="connsiteX15" fmla="*/ 12192001 w 12192001"/>
              <a:gd name="connsiteY15" fmla="*/ 131623 h 1399325"/>
              <a:gd name="connsiteX16" fmla="*/ 12192001 w 12192001"/>
              <a:gd name="connsiteY16" fmla="*/ 1208825 h 1399325"/>
              <a:gd name="connsiteX17" fmla="*/ 12192000 w 12192001"/>
              <a:gd name="connsiteY17" fmla="*/ 12088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208825 h 1399325"/>
              <a:gd name="connsiteX17" fmla="*/ 12192000 w 12192001"/>
              <a:gd name="connsiteY17"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0 w 12192001"/>
              <a:gd name="connsiteY15"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8511256 w 12192001"/>
              <a:gd name="connsiteY12" fmla="*/ 131623 h 1399325"/>
              <a:gd name="connsiteX13" fmla="*/ 12192001 w 12192001"/>
              <a:gd name="connsiteY13" fmla="*/ 131623 h 1399325"/>
              <a:gd name="connsiteX14" fmla="*/ 12192000 w 12192001"/>
              <a:gd name="connsiteY14"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12192001 w 12192001"/>
              <a:gd name="connsiteY12" fmla="*/ 131623 h 1399325"/>
              <a:gd name="connsiteX13" fmla="*/ 12192000 w 12192001"/>
              <a:gd name="connsiteY13"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12192001 w 12192001"/>
              <a:gd name="connsiteY11" fmla="*/ 131623 h 1399325"/>
              <a:gd name="connsiteX12" fmla="*/ 12192000 w 12192001"/>
              <a:gd name="connsiteY12" fmla="*/ 1399325 h 139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1399325">
                <a:moveTo>
                  <a:pt x="12192000" y="1399325"/>
                </a:moveTo>
                <a:lnTo>
                  <a:pt x="0" y="1399325"/>
                </a:lnTo>
                <a:cubicBezTo>
                  <a:pt x="1016" y="932883"/>
                  <a:pt x="2033" y="466442"/>
                  <a:pt x="3049" y="0"/>
                </a:cubicBezTo>
                <a:lnTo>
                  <a:pt x="734133" y="0"/>
                </a:lnTo>
                <a:lnTo>
                  <a:pt x="2801055" y="0"/>
                </a:lnTo>
                <a:lnTo>
                  <a:pt x="3805546" y="0"/>
                </a:lnTo>
                <a:lnTo>
                  <a:pt x="4041631" y="136016"/>
                </a:lnTo>
                <a:lnTo>
                  <a:pt x="4041631" y="138901"/>
                </a:lnTo>
                <a:lnTo>
                  <a:pt x="4046639" y="138901"/>
                </a:lnTo>
                <a:lnTo>
                  <a:pt x="4051394" y="141641"/>
                </a:lnTo>
                <a:lnTo>
                  <a:pt x="4815657" y="138901"/>
                </a:lnTo>
                <a:lnTo>
                  <a:pt x="12192001" y="131623"/>
                </a:lnTo>
                <a:cubicBezTo>
                  <a:pt x="12192001" y="554190"/>
                  <a:pt x="12192000" y="976758"/>
                  <a:pt x="12192000" y="1399325"/>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9" name="Title 28">
            <a:extLst>
              <a:ext uri="{FF2B5EF4-FFF2-40B4-BE49-F238E27FC236}">
                <a16:creationId xmlns:a16="http://schemas.microsoft.com/office/drawing/2014/main" id="{BB392E0D-A1CD-16E8-2422-6B89C23B5FB7}"/>
              </a:ext>
            </a:extLst>
          </p:cNvPr>
          <p:cNvSpPr>
            <a:spLocks noGrp="1"/>
          </p:cNvSpPr>
          <p:nvPr>
            <p:ph type="title" hasCustomPrompt="1"/>
          </p:nvPr>
        </p:nvSpPr>
        <p:spPr/>
        <p:txBody>
          <a:bodyPr/>
          <a:lstStyle>
            <a:lvl1pPr>
              <a:defRPr/>
            </a:lvl1pPr>
          </a:lstStyle>
          <a:p>
            <a:r>
              <a:rPr lang="en-US" dirty="0"/>
              <a:t>Add title (two lines)</a:t>
            </a:r>
          </a:p>
        </p:txBody>
      </p:sp>
      <p:sp>
        <p:nvSpPr>
          <p:cNvPr id="2" name="Rectangle 1">
            <a:extLst>
              <a:ext uri="{FF2B5EF4-FFF2-40B4-BE49-F238E27FC236}">
                <a16:creationId xmlns:a16="http://schemas.microsoft.com/office/drawing/2014/main" id="{77EBE446-A4AA-CDA0-BE34-3ECCEE1E22D2}"/>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386606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ackground 3 (RO2)">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048EAC1-E65B-5C1B-BCC5-C778B1A366D5}"/>
              </a:ext>
            </a:extLst>
          </p:cNvPr>
          <p:cNvPicPr>
            <a:picLocks noChangeAspect="1"/>
          </p:cNvPicPr>
          <p:nvPr userDrawn="1"/>
        </p:nvPicPr>
        <p:blipFill>
          <a:blip r:embed="rId4"/>
          <a:srcRect t="5246" b="5246"/>
          <a:stretch/>
        </p:blipFill>
        <p:spPr>
          <a:xfrm>
            <a:off x="1524" y="678174"/>
            <a:ext cx="12188952" cy="6136858"/>
          </a:xfrm>
          <a:prstGeom prst="rect">
            <a:avLst/>
          </a:prstGeom>
        </p:spPr>
      </p:pic>
      <p:sp>
        <p:nvSpPr>
          <p:cNvPr id="10" name="Rectangle 9">
            <a:extLst>
              <a:ext uri="{FF2B5EF4-FFF2-40B4-BE49-F238E27FC236}">
                <a16:creationId xmlns:a16="http://schemas.microsoft.com/office/drawing/2014/main" id="{2C1970BB-AF6F-AC25-E0C9-0BD6EE315E85}"/>
              </a:ext>
            </a:extLst>
          </p:cNvPr>
          <p:cNvSpPr/>
          <p:nvPr userDrawn="1"/>
        </p:nvSpPr>
        <p:spPr>
          <a:xfrm>
            <a:off x="0" y="1324037"/>
            <a:ext cx="12192001" cy="5144553"/>
          </a:xfrm>
          <a:prstGeom prst="rect">
            <a:avLst/>
          </a:prstGeom>
          <a:solidFill>
            <a:schemeClr val="accent6">
              <a:lumMod val="7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aphicFrame>
        <p:nvGraphicFramePr>
          <p:cNvPr id="41" name="Object 40" hidden="1">
            <a:extLst>
              <a:ext uri="{FF2B5EF4-FFF2-40B4-BE49-F238E27FC236}">
                <a16:creationId xmlns:a16="http://schemas.microsoft.com/office/drawing/2014/main" id="{917EBC3C-F2FD-4799-BA0A-65D895E6360A}"/>
              </a:ext>
            </a:extLst>
          </p:cNvPr>
          <p:cNvGraphicFramePr>
            <a:graphicFrameLocks noChangeAspect="1"/>
          </p:cNvGraphicFramePr>
          <p:nvPr>
            <p:custDataLst>
              <p:tags r:id="rId1"/>
            </p:custDataLst>
            <p:extLst>
              <p:ext uri="{D42A27DB-BD31-4B8C-83A1-F6EECF244321}">
                <p14:modId xmlns:p14="http://schemas.microsoft.com/office/powerpoint/2010/main" val="418368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1" name="Object 40" hidden="1">
                        <a:extLst>
                          <a:ext uri="{FF2B5EF4-FFF2-40B4-BE49-F238E27FC236}">
                            <a16:creationId xmlns:a16="http://schemas.microsoft.com/office/drawing/2014/main" id="{917EBC3C-F2FD-4799-BA0A-65D895E636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2510D0F0-12AD-45C1-9B94-28859223557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7" name="Freeform: Shape 6">
            <a:extLst>
              <a:ext uri="{FF2B5EF4-FFF2-40B4-BE49-F238E27FC236}">
                <a16:creationId xmlns:a16="http://schemas.microsoft.com/office/drawing/2014/main" id="{0AA81BB3-5B14-2058-AAC9-294886204B09}"/>
              </a:ext>
            </a:extLst>
          </p:cNvPr>
          <p:cNvSpPr/>
          <p:nvPr userDrawn="1"/>
        </p:nvSpPr>
        <p:spPr>
          <a:xfrm>
            <a:off x="0" y="5782880"/>
            <a:ext cx="12192002" cy="1075120"/>
          </a:xfrm>
          <a:custGeom>
            <a:avLst/>
            <a:gdLst>
              <a:gd name="connsiteX0" fmla="*/ 0 w 12192002"/>
              <a:gd name="connsiteY0" fmla="*/ 0 h 1075120"/>
              <a:gd name="connsiteX1" fmla="*/ 2528739 w 12192002"/>
              <a:gd name="connsiteY1" fmla="*/ 0 h 1075120"/>
              <a:gd name="connsiteX2" fmla="*/ 2765129 w 12192002"/>
              <a:gd name="connsiteY2" fmla="*/ 136016 h 1075120"/>
              <a:gd name="connsiteX3" fmla="*/ 2765129 w 12192002"/>
              <a:gd name="connsiteY3" fmla="*/ 138901 h 1075120"/>
              <a:gd name="connsiteX4" fmla="*/ 2770143 w 12192002"/>
              <a:gd name="connsiteY4" fmla="*/ 138901 h 1075120"/>
              <a:gd name="connsiteX5" fmla="*/ 2774905 w 12192002"/>
              <a:gd name="connsiteY5" fmla="*/ 141641 h 1075120"/>
              <a:gd name="connsiteX6" fmla="*/ 12192002 w 12192002"/>
              <a:gd name="connsiteY6" fmla="*/ 148090 h 1075120"/>
              <a:gd name="connsiteX7" fmla="*/ 12192002 w 12192002"/>
              <a:gd name="connsiteY7" fmla="*/ 1075120 h 1075120"/>
              <a:gd name="connsiteX8" fmla="*/ 1 w 12192002"/>
              <a:gd name="connsiteY8" fmla="*/ 1075120 h 1075120"/>
              <a:gd name="connsiteX9" fmla="*/ 1 w 12192002"/>
              <a:gd name="connsiteY9" fmla="*/ 233465 h 1075120"/>
              <a:gd name="connsiteX10" fmla="*/ 0 w 12192002"/>
              <a:gd name="connsiteY10" fmla="*/ 233465 h 1075120"/>
              <a:gd name="connsiteX11" fmla="*/ 0 w 12192002"/>
              <a:gd name="connsiteY11" fmla="*/ 0 h 107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2" h="1075120">
                <a:moveTo>
                  <a:pt x="0" y="0"/>
                </a:moveTo>
                <a:lnTo>
                  <a:pt x="2528739" y="0"/>
                </a:lnTo>
                <a:lnTo>
                  <a:pt x="2765129" y="136016"/>
                </a:lnTo>
                <a:lnTo>
                  <a:pt x="2765129" y="138901"/>
                </a:lnTo>
                <a:lnTo>
                  <a:pt x="2770143" y="138901"/>
                </a:lnTo>
                <a:lnTo>
                  <a:pt x="2774905" y="141641"/>
                </a:lnTo>
                <a:lnTo>
                  <a:pt x="12192002" y="148090"/>
                </a:lnTo>
                <a:lnTo>
                  <a:pt x="12192002" y="1075120"/>
                </a:lnTo>
                <a:lnTo>
                  <a:pt x="1" y="1075120"/>
                </a:lnTo>
                <a:lnTo>
                  <a:pt x="1" y="233465"/>
                </a:lnTo>
                <a:lnTo>
                  <a:pt x="0" y="233465"/>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a:solidFill>
                <a:schemeClr val="bg1"/>
              </a:solidFill>
            </a:endParaRPr>
          </a:p>
        </p:txBody>
      </p:sp>
      <p:sp>
        <p:nvSpPr>
          <p:cNvPr id="14" name="Rectangle 6">
            <a:extLst>
              <a:ext uri="{FF2B5EF4-FFF2-40B4-BE49-F238E27FC236}">
                <a16:creationId xmlns:a16="http://schemas.microsoft.com/office/drawing/2014/main" id="{9FABDA46-2860-7D5B-10D4-E668DD45F5D8}"/>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grpSp>
        <p:nvGrpSpPr>
          <p:cNvPr id="4" name="Group 3">
            <a:extLst>
              <a:ext uri="{FF2B5EF4-FFF2-40B4-BE49-F238E27FC236}">
                <a16:creationId xmlns:a16="http://schemas.microsoft.com/office/drawing/2014/main" id="{B15CF426-5EEF-EB06-5929-C186708B9BB8}"/>
              </a:ext>
            </a:extLst>
          </p:cNvPr>
          <p:cNvGrpSpPr/>
          <p:nvPr userDrawn="1"/>
        </p:nvGrpSpPr>
        <p:grpSpPr>
          <a:xfrm>
            <a:off x="52821" y="6580684"/>
            <a:ext cx="3002723" cy="200345"/>
            <a:chOff x="52821" y="6295180"/>
            <a:chExt cx="3002723" cy="200345"/>
          </a:xfrm>
        </p:grpSpPr>
        <p:pic>
          <p:nvPicPr>
            <p:cNvPr id="5" name="Graphic 4">
              <a:extLst>
                <a:ext uri="{FF2B5EF4-FFF2-40B4-BE49-F238E27FC236}">
                  <a16:creationId xmlns:a16="http://schemas.microsoft.com/office/drawing/2014/main" id="{8CB270C1-9E1B-1214-02E4-59DCEE9EECE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26263" y="6374264"/>
              <a:ext cx="200345" cy="42178"/>
            </a:xfrm>
            <a:prstGeom prst="rect">
              <a:avLst/>
            </a:prstGeom>
          </p:spPr>
        </p:pic>
        <p:pic>
          <p:nvPicPr>
            <p:cNvPr id="6" name="Graphic 5">
              <a:extLst>
                <a:ext uri="{FF2B5EF4-FFF2-40B4-BE49-F238E27FC236}">
                  <a16:creationId xmlns:a16="http://schemas.microsoft.com/office/drawing/2014/main" id="{24E53693-39F6-19D6-1091-B9A8A2F8F5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8970" y="6374264"/>
              <a:ext cx="200345" cy="42178"/>
            </a:xfrm>
            <a:prstGeom prst="rect">
              <a:avLst/>
            </a:prstGeom>
          </p:spPr>
        </p:pic>
        <p:pic>
          <p:nvPicPr>
            <p:cNvPr id="8" name="Graphic 7">
              <a:extLst>
                <a:ext uri="{FF2B5EF4-FFF2-40B4-BE49-F238E27FC236}">
                  <a16:creationId xmlns:a16="http://schemas.microsoft.com/office/drawing/2014/main" id="{8DE10F0B-14FB-A038-2A48-63B95EBA428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531929" y="6374264"/>
              <a:ext cx="200345" cy="42178"/>
            </a:xfrm>
            <a:prstGeom prst="rect">
              <a:avLst/>
            </a:prstGeom>
          </p:spPr>
        </p:pic>
        <p:pic>
          <p:nvPicPr>
            <p:cNvPr id="9" name="Graphic 8">
              <a:extLst>
                <a:ext uri="{FF2B5EF4-FFF2-40B4-BE49-F238E27FC236}">
                  <a16:creationId xmlns:a16="http://schemas.microsoft.com/office/drawing/2014/main" id="{E53CBBF6-457B-4AC8-A752-0E6DD7E3ED1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6200000">
              <a:off x="665009" y="6374264"/>
              <a:ext cx="200345" cy="42178"/>
            </a:xfrm>
            <a:prstGeom prst="rect">
              <a:avLst/>
            </a:prstGeom>
          </p:spPr>
        </p:pic>
        <p:pic>
          <p:nvPicPr>
            <p:cNvPr id="12" name="Graphic 11">
              <a:extLst>
                <a:ext uri="{FF2B5EF4-FFF2-40B4-BE49-F238E27FC236}">
                  <a16:creationId xmlns:a16="http://schemas.microsoft.com/office/drawing/2014/main" id="{2BC69AB0-42FD-BAA7-FB71-3E27A9257D2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rot="16200000">
              <a:off x="1122069" y="6374264"/>
              <a:ext cx="200345" cy="42178"/>
            </a:xfrm>
            <a:prstGeom prst="rect">
              <a:avLst/>
            </a:prstGeom>
          </p:spPr>
        </p:pic>
        <p:pic>
          <p:nvPicPr>
            <p:cNvPr id="16" name="Graphic 15">
              <a:extLst>
                <a:ext uri="{FF2B5EF4-FFF2-40B4-BE49-F238E27FC236}">
                  <a16:creationId xmlns:a16="http://schemas.microsoft.com/office/drawing/2014/main" id="{1C258359-DFF2-9C60-4380-1544B81DF19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6200000">
              <a:off x="1262222" y="6374264"/>
              <a:ext cx="200345" cy="42178"/>
            </a:xfrm>
            <a:prstGeom prst="rect">
              <a:avLst/>
            </a:prstGeom>
          </p:spPr>
        </p:pic>
        <p:pic>
          <p:nvPicPr>
            <p:cNvPr id="17" name="Graphic 16">
              <a:extLst>
                <a:ext uri="{FF2B5EF4-FFF2-40B4-BE49-F238E27FC236}">
                  <a16:creationId xmlns:a16="http://schemas.microsoft.com/office/drawing/2014/main" id="{087CDA2E-5D8B-F5E8-0C77-A018261511E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1685657" y="6374264"/>
              <a:ext cx="200345" cy="42178"/>
            </a:xfrm>
            <a:prstGeom prst="rect">
              <a:avLst/>
            </a:prstGeom>
          </p:spPr>
        </p:pic>
        <p:pic>
          <p:nvPicPr>
            <p:cNvPr id="23" name="Graphic 22">
              <a:extLst>
                <a:ext uri="{FF2B5EF4-FFF2-40B4-BE49-F238E27FC236}">
                  <a16:creationId xmlns:a16="http://schemas.microsoft.com/office/drawing/2014/main" id="{4387146D-0AA6-8D51-684F-FD4CBD555B6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6200000">
              <a:off x="1815113" y="6374264"/>
              <a:ext cx="200345" cy="42178"/>
            </a:xfrm>
            <a:prstGeom prst="rect">
              <a:avLst/>
            </a:prstGeom>
          </p:spPr>
        </p:pic>
        <p:pic>
          <p:nvPicPr>
            <p:cNvPr id="24" name="Graphic 23">
              <a:extLst>
                <a:ext uri="{FF2B5EF4-FFF2-40B4-BE49-F238E27FC236}">
                  <a16:creationId xmlns:a16="http://schemas.microsoft.com/office/drawing/2014/main" id="{262A89A8-2EAA-C9EC-250A-92D4BAD30A9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2238940" y="6374264"/>
              <a:ext cx="200345" cy="42178"/>
            </a:xfrm>
            <a:prstGeom prst="rect">
              <a:avLst/>
            </a:prstGeom>
          </p:spPr>
        </p:pic>
        <p:pic>
          <p:nvPicPr>
            <p:cNvPr id="25" name="Graphic 24">
              <a:extLst>
                <a:ext uri="{FF2B5EF4-FFF2-40B4-BE49-F238E27FC236}">
                  <a16:creationId xmlns:a16="http://schemas.microsoft.com/office/drawing/2014/main" id="{3EE8753A-6CB0-F966-91D2-47F6151A608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2365017" y="6374264"/>
              <a:ext cx="200345" cy="42178"/>
            </a:xfrm>
            <a:prstGeom prst="rect">
              <a:avLst/>
            </a:prstGeom>
          </p:spPr>
        </p:pic>
        <p:pic>
          <p:nvPicPr>
            <p:cNvPr id="26" name="Graphic 25">
              <a:extLst>
                <a:ext uri="{FF2B5EF4-FFF2-40B4-BE49-F238E27FC236}">
                  <a16:creationId xmlns:a16="http://schemas.microsoft.com/office/drawing/2014/main" id="{5C8ECFE5-0059-B3CA-6F52-563C45CC526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2808162" y="6374264"/>
              <a:ext cx="200345" cy="42178"/>
            </a:xfrm>
            <a:prstGeom prst="rect">
              <a:avLst/>
            </a:prstGeom>
          </p:spPr>
        </p:pic>
        <p:pic>
          <p:nvPicPr>
            <p:cNvPr id="27" name="Graphic 26">
              <a:extLst>
                <a:ext uri="{FF2B5EF4-FFF2-40B4-BE49-F238E27FC236}">
                  <a16:creationId xmlns:a16="http://schemas.microsoft.com/office/drawing/2014/main" id="{23BEAE54-683F-C71F-3109-ED9B6004696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6200000">
              <a:off x="2934282" y="6374264"/>
              <a:ext cx="200345" cy="42178"/>
            </a:xfrm>
            <a:prstGeom prst="rect">
              <a:avLst/>
            </a:prstGeom>
          </p:spPr>
        </p:pic>
      </p:grpSp>
      <p:pic>
        <p:nvPicPr>
          <p:cNvPr id="28" name="Graphic 27">
            <a:extLst>
              <a:ext uri="{FF2B5EF4-FFF2-40B4-BE49-F238E27FC236}">
                <a16:creationId xmlns:a16="http://schemas.microsoft.com/office/drawing/2014/main" id="{18D22656-1531-BB56-B685-11F90B0F2404}"/>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9299440" y="5808222"/>
            <a:ext cx="2892560" cy="215304"/>
          </a:xfrm>
          <a:prstGeom prst="rect">
            <a:avLst/>
          </a:prstGeom>
        </p:spPr>
      </p:pic>
      <p:pic>
        <p:nvPicPr>
          <p:cNvPr id="29" name="Picture 28">
            <a:extLst>
              <a:ext uri="{FF2B5EF4-FFF2-40B4-BE49-F238E27FC236}">
                <a16:creationId xmlns:a16="http://schemas.microsoft.com/office/drawing/2014/main" id="{85479F6E-35C5-6E7B-374D-B6B6D89C24AE}"/>
              </a:ext>
            </a:extLst>
          </p:cNvPr>
          <p:cNvPicPr>
            <a:picLocks noChangeAspect="1"/>
          </p:cNvPicPr>
          <p:nvPr userDrawn="1"/>
        </p:nvPicPr>
        <p:blipFill>
          <a:blip r:embed="rId21">
            <a:alphaModFix amt="60000"/>
          </a:blip>
          <a:stretch>
            <a:fillRect/>
          </a:stretch>
        </p:blipFill>
        <p:spPr>
          <a:xfrm>
            <a:off x="1817222" y="5857728"/>
            <a:ext cx="8557556" cy="921376"/>
          </a:xfrm>
          <a:prstGeom prst="rect">
            <a:avLst/>
          </a:prstGeom>
        </p:spPr>
      </p:pic>
      <p:sp>
        <p:nvSpPr>
          <p:cNvPr id="19" name="Freeform: Shape 18">
            <a:extLst>
              <a:ext uri="{FF2B5EF4-FFF2-40B4-BE49-F238E27FC236}">
                <a16:creationId xmlns:a16="http://schemas.microsoft.com/office/drawing/2014/main" id="{A9180263-2360-F9A5-8462-4533B219F79D}"/>
              </a:ext>
            </a:extLst>
          </p:cNvPr>
          <p:cNvSpPr/>
          <p:nvPr userDrawn="1"/>
        </p:nvSpPr>
        <p:spPr>
          <a:xfrm flipH="1" flipV="1">
            <a:off x="-1" y="0"/>
            <a:ext cx="12192001" cy="1399325"/>
          </a:xfrm>
          <a:custGeom>
            <a:avLst/>
            <a:gdLst>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922105 h 1399325"/>
              <a:gd name="connsiteX4" fmla="*/ 3049 w 12192001"/>
              <a:gd name="connsiteY4" fmla="*/ 0 h 1399325"/>
              <a:gd name="connsiteX5" fmla="*/ 734133 w 12192001"/>
              <a:gd name="connsiteY5" fmla="*/ 0 h 1399325"/>
              <a:gd name="connsiteX6" fmla="*/ 2801055 w 12192001"/>
              <a:gd name="connsiteY6" fmla="*/ 0 h 1399325"/>
              <a:gd name="connsiteX7" fmla="*/ 3805546 w 12192001"/>
              <a:gd name="connsiteY7" fmla="*/ 0 h 1399325"/>
              <a:gd name="connsiteX8" fmla="*/ 4041631 w 12192001"/>
              <a:gd name="connsiteY8" fmla="*/ 136016 h 1399325"/>
              <a:gd name="connsiteX9" fmla="*/ 4041631 w 12192001"/>
              <a:gd name="connsiteY9" fmla="*/ 138901 h 1399325"/>
              <a:gd name="connsiteX10" fmla="*/ 4046639 w 12192001"/>
              <a:gd name="connsiteY10" fmla="*/ 138901 h 1399325"/>
              <a:gd name="connsiteX11" fmla="*/ 4051394 w 12192001"/>
              <a:gd name="connsiteY11" fmla="*/ 141641 h 1399325"/>
              <a:gd name="connsiteX12" fmla="*/ 4815657 w 12192001"/>
              <a:gd name="connsiteY12" fmla="*/ 138901 h 1399325"/>
              <a:gd name="connsiteX13" fmla="*/ 8511256 w 12192001"/>
              <a:gd name="connsiteY13" fmla="*/ 138901 h 1399325"/>
              <a:gd name="connsiteX14" fmla="*/ 8511256 w 12192001"/>
              <a:gd name="connsiteY14" fmla="*/ 131623 h 1399325"/>
              <a:gd name="connsiteX15" fmla="*/ 12192001 w 12192001"/>
              <a:gd name="connsiteY15" fmla="*/ 131623 h 1399325"/>
              <a:gd name="connsiteX16" fmla="*/ 12192001 w 12192001"/>
              <a:gd name="connsiteY16" fmla="*/ 1208825 h 1399325"/>
              <a:gd name="connsiteX17" fmla="*/ 12192000 w 12192001"/>
              <a:gd name="connsiteY17" fmla="*/ 12088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208825 h 1399325"/>
              <a:gd name="connsiteX17" fmla="*/ 12192000 w 12192001"/>
              <a:gd name="connsiteY17"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0 w 12192001"/>
              <a:gd name="connsiteY15"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8511256 w 12192001"/>
              <a:gd name="connsiteY12" fmla="*/ 131623 h 1399325"/>
              <a:gd name="connsiteX13" fmla="*/ 12192001 w 12192001"/>
              <a:gd name="connsiteY13" fmla="*/ 131623 h 1399325"/>
              <a:gd name="connsiteX14" fmla="*/ 12192000 w 12192001"/>
              <a:gd name="connsiteY14"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12192001 w 12192001"/>
              <a:gd name="connsiteY12" fmla="*/ 131623 h 1399325"/>
              <a:gd name="connsiteX13" fmla="*/ 12192000 w 12192001"/>
              <a:gd name="connsiteY13"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12192001 w 12192001"/>
              <a:gd name="connsiteY11" fmla="*/ 131623 h 1399325"/>
              <a:gd name="connsiteX12" fmla="*/ 12192000 w 12192001"/>
              <a:gd name="connsiteY12" fmla="*/ 1399325 h 139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1399325">
                <a:moveTo>
                  <a:pt x="12192000" y="1399325"/>
                </a:moveTo>
                <a:lnTo>
                  <a:pt x="0" y="1399325"/>
                </a:lnTo>
                <a:cubicBezTo>
                  <a:pt x="1016" y="932883"/>
                  <a:pt x="2033" y="466442"/>
                  <a:pt x="3049" y="0"/>
                </a:cubicBezTo>
                <a:lnTo>
                  <a:pt x="734133" y="0"/>
                </a:lnTo>
                <a:lnTo>
                  <a:pt x="2801055" y="0"/>
                </a:lnTo>
                <a:lnTo>
                  <a:pt x="3805546" y="0"/>
                </a:lnTo>
                <a:lnTo>
                  <a:pt x="4041631" y="136016"/>
                </a:lnTo>
                <a:lnTo>
                  <a:pt x="4041631" y="138901"/>
                </a:lnTo>
                <a:lnTo>
                  <a:pt x="4046639" y="138901"/>
                </a:lnTo>
                <a:lnTo>
                  <a:pt x="4051394" y="141641"/>
                </a:lnTo>
                <a:lnTo>
                  <a:pt x="4815657" y="138901"/>
                </a:lnTo>
                <a:lnTo>
                  <a:pt x="12192001" y="131623"/>
                </a:lnTo>
                <a:cubicBezTo>
                  <a:pt x="12192001" y="554190"/>
                  <a:pt x="12192000" y="976758"/>
                  <a:pt x="12192000" y="1399325"/>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3" name="Rectangle 12">
            <a:extLst>
              <a:ext uri="{FF2B5EF4-FFF2-40B4-BE49-F238E27FC236}">
                <a16:creationId xmlns:a16="http://schemas.microsoft.com/office/drawing/2014/main" id="{F75FAEC4-C97A-4B7D-C12D-AC97A3C800B9}"/>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2" name="Title 1">
            <a:extLst>
              <a:ext uri="{FF2B5EF4-FFF2-40B4-BE49-F238E27FC236}">
                <a16:creationId xmlns:a16="http://schemas.microsoft.com/office/drawing/2014/main" id="{03ABE548-101B-4EAC-8CB7-BBD49E60436D}"/>
              </a:ext>
            </a:extLst>
          </p:cNvPr>
          <p:cNvSpPr>
            <a:spLocks noGrp="1"/>
          </p:cNvSpPr>
          <p:nvPr>
            <p:ph type="title" hasCustomPrompt="1"/>
          </p:nvPr>
        </p:nvSpPr>
        <p:spPr/>
        <p:txBody>
          <a:bodyPr/>
          <a:lstStyle>
            <a:lvl1pPr>
              <a:defRPr/>
            </a:lvl1pPr>
          </a:lstStyle>
          <a:p>
            <a:r>
              <a:rPr lang="en-US" dirty="0"/>
              <a:t>Add title (ONE line)</a:t>
            </a:r>
          </a:p>
        </p:txBody>
      </p:sp>
    </p:spTree>
    <p:extLst>
      <p:ext uri="{BB962C8B-B14F-4D97-AF65-F5344CB8AC3E}">
        <p14:creationId xmlns:p14="http://schemas.microsoft.com/office/powerpoint/2010/main" val="3010647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ackground 4 (RO2)">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048EAC1-E65B-5C1B-BCC5-C778B1A366D5}"/>
              </a:ext>
            </a:extLst>
          </p:cNvPr>
          <p:cNvPicPr>
            <a:picLocks noChangeAspect="1"/>
          </p:cNvPicPr>
          <p:nvPr userDrawn="1"/>
        </p:nvPicPr>
        <p:blipFill>
          <a:blip r:embed="rId4"/>
          <a:srcRect t="5246" b="5246"/>
          <a:stretch/>
        </p:blipFill>
        <p:spPr>
          <a:xfrm>
            <a:off x="1524" y="678174"/>
            <a:ext cx="12188952" cy="6136858"/>
          </a:xfrm>
          <a:prstGeom prst="rect">
            <a:avLst/>
          </a:prstGeom>
        </p:spPr>
      </p:pic>
      <p:sp>
        <p:nvSpPr>
          <p:cNvPr id="10" name="Rectangle 9">
            <a:extLst>
              <a:ext uri="{FF2B5EF4-FFF2-40B4-BE49-F238E27FC236}">
                <a16:creationId xmlns:a16="http://schemas.microsoft.com/office/drawing/2014/main" id="{2C1970BB-AF6F-AC25-E0C9-0BD6EE315E85}"/>
              </a:ext>
            </a:extLst>
          </p:cNvPr>
          <p:cNvSpPr/>
          <p:nvPr userDrawn="1"/>
        </p:nvSpPr>
        <p:spPr>
          <a:xfrm>
            <a:off x="0" y="1324037"/>
            <a:ext cx="12192001" cy="5144553"/>
          </a:xfrm>
          <a:prstGeom prst="rect">
            <a:avLst/>
          </a:prstGeom>
          <a:solidFill>
            <a:schemeClr val="accent6">
              <a:lumMod val="7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aphicFrame>
        <p:nvGraphicFramePr>
          <p:cNvPr id="41" name="Object 40" hidden="1">
            <a:extLst>
              <a:ext uri="{FF2B5EF4-FFF2-40B4-BE49-F238E27FC236}">
                <a16:creationId xmlns:a16="http://schemas.microsoft.com/office/drawing/2014/main" id="{917EBC3C-F2FD-4799-BA0A-65D895E6360A}"/>
              </a:ext>
            </a:extLst>
          </p:cNvPr>
          <p:cNvGraphicFramePr>
            <a:graphicFrameLocks noChangeAspect="1"/>
          </p:cNvGraphicFramePr>
          <p:nvPr>
            <p:custDataLst>
              <p:tags r:id="rId1"/>
            </p:custDataLst>
            <p:extLst>
              <p:ext uri="{D42A27DB-BD31-4B8C-83A1-F6EECF244321}">
                <p14:modId xmlns:p14="http://schemas.microsoft.com/office/powerpoint/2010/main" val="418368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1" name="Object 40" hidden="1">
                        <a:extLst>
                          <a:ext uri="{FF2B5EF4-FFF2-40B4-BE49-F238E27FC236}">
                            <a16:creationId xmlns:a16="http://schemas.microsoft.com/office/drawing/2014/main" id="{917EBC3C-F2FD-4799-BA0A-65D895E636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2510D0F0-12AD-45C1-9B94-28859223557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7" name="Freeform: Shape 6">
            <a:extLst>
              <a:ext uri="{FF2B5EF4-FFF2-40B4-BE49-F238E27FC236}">
                <a16:creationId xmlns:a16="http://schemas.microsoft.com/office/drawing/2014/main" id="{0AA81BB3-5B14-2058-AAC9-294886204B09}"/>
              </a:ext>
            </a:extLst>
          </p:cNvPr>
          <p:cNvSpPr/>
          <p:nvPr userDrawn="1"/>
        </p:nvSpPr>
        <p:spPr>
          <a:xfrm>
            <a:off x="0" y="5782880"/>
            <a:ext cx="12192002" cy="1075120"/>
          </a:xfrm>
          <a:custGeom>
            <a:avLst/>
            <a:gdLst>
              <a:gd name="connsiteX0" fmla="*/ 0 w 12192002"/>
              <a:gd name="connsiteY0" fmla="*/ 0 h 1075120"/>
              <a:gd name="connsiteX1" fmla="*/ 2528739 w 12192002"/>
              <a:gd name="connsiteY1" fmla="*/ 0 h 1075120"/>
              <a:gd name="connsiteX2" fmla="*/ 2765129 w 12192002"/>
              <a:gd name="connsiteY2" fmla="*/ 136016 h 1075120"/>
              <a:gd name="connsiteX3" fmla="*/ 2765129 w 12192002"/>
              <a:gd name="connsiteY3" fmla="*/ 138901 h 1075120"/>
              <a:gd name="connsiteX4" fmla="*/ 2770143 w 12192002"/>
              <a:gd name="connsiteY4" fmla="*/ 138901 h 1075120"/>
              <a:gd name="connsiteX5" fmla="*/ 2774905 w 12192002"/>
              <a:gd name="connsiteY5" fmla="*/ 141641 h 1075120"/>
              <a:gd name="connsiteX6" fmla="*/ 12192002 w 12192002"/>
              <a:gd name="connsiteY6" fmla="*/ 148090 h 1075120"/>
              <a:gd name="connsiteX7" fmla="*/ 12192002 w 12192002"/>
              <a:gd name="connsiteY7" fmla="*/ 1075120 h 1075120"/>
              <a:gd name="connsiteX8" fmla="*/ 1 w 12192002"/>
              <a:gd name="connsiteY8" fmla="*/ 1075120 h 1075120"/>
              <a:gd name="connsiteX9" fmla="*/ 1 w 12192002"/>
              <a:gd name="connsiteY9" fmla="*/ 233465 h 1075120"/>
              <a:gd name="connsiteX10" fmla="*/ 0 w 12192002"/>
              <a:gd name="connsiteY10" fmla="*/ 233465 h 1075120"/>
              <a:gd name="connsiteX11" fmla="*/ 0 w 12192002"/>
              <a:gd name="connsiteY11" fmla="*/ 0 h 107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2" h="1075120">
                <a:moveTo>
                  <a:pt x="0" y="0"/>
                </a:moveTo>
                <a:lnTo>
                  <a:pt x="2528739" y="0"/>
                </a:lnTo>
                <a:lnTo>
                  <a:pt x="2765129" y="136016"/>
                </a:lnTo>
                <a:lnTo>
                  <a:pt x="2765129" y="138901"/>
                </a:lnTo>
                <a:lnTo>
                  <a:pt x="2770143" y="138901"/>
                </a:lnTo>
                <a:lnTo>
                  <a:pt x="2774905" y="141641"/>
                </a:lnTo>
                <a:lnTo>
                  <a:pt x="12192002" y="148090"/>
                </a:lnTo>
                <a:lnTo>
                  <a:pt x="12192002" y="1075120"/>
                </a:lnTo>
                <a:lnTo>
                  <a:pt x="1" y="1075120"/>
                </a:lnTo>
                <a:lnTo>
                  <a:pt x="1" y="233465"/>
                </a:lnTo>
                <a:lnTo>
                  <a:pt x="0" y="233465"/>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a:solidFill>
                <a:schemeClr val="bg1"/>
              </a:solidFill>
            </a:endParaRPr>
          </a:p>
        </p:txBody>
      </p:sp>
      <p:sp>
        <p:nvSpPr>
          <p:cNvPr id="14" name="Rectangle 6">
            <a:extLst>
              <a:ext uri="{FF2B5EF4-FFF2-40B4-BE49-F238E27FC236}">
                <a16:creationId xmlns:a16="http://schemas.microsoft.com/office/drawing/2014/main" id="{9FABDA46-2860-7D5B-10D4-E668DD45F5D8}"/>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grpSp>
        <p:nvGrpSpPr>
          <p:cNvPr id="4" name="Group 3">
            <a:extLst>
              <a:ext uri="{FF2B5EF4-FFF2-40B4-BE49-F238E27FC236}">
                <a16:creationId xmlns:a16="http://schemas.microsoft.com/office/drawing/2014/main" id="{B15CF426-5EEF-EB06-5929-C186708B9BB8}"/>
              </a:ext>
            </a:extLst>
          </p:cNvPr>
          <p:cNvGrpSpPr/>
          <p:nvPr userDrawn="1"/>
        </p:nvGrpSpPr>
        <p:grpSpPr>
          <a:xfrm>
            <a:off x="52821" y="6580684"/>
            <a:ext cx="3002723" cy="200345"/>
            <a:chOff x="52821" y="6295180"/>
            <a:chExt cx="3002723" cy="200345"/>
          </a:xfrm>
        </p:grpSpPr>
        <p:pic>
          <p:nvPicPr>
            <p:cNvPr id="5" name="Graphic 4">
              <a:extLst>
                <a:ext uri="{FF2B5EF4-FFF2-40B4-BE49-F238E27FC236}">
                  <a16:creationId xmlns:a16="http://schemas.microsoft.com/office/drawing/2014/main" id="{8CB270C1-9E1B-1214-02E4-59DCEE9EECE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26263" y="6374264"/>
              <a:ext cx="200345" cy="42178"/>
            </a:xfrm>
            <a:prstGeom prst="rect">
              <a:avLst/>
            </a:prstGeom>
          </p:spPr>
        </p:pic>
        <p:pic>
          <p:nvPicPr>
            <p:cNvPr id="6" name="Graphic 5">
              <a:extLst>
                <a:ext uri="{FF2B5EF4-FFF2-40B4-BE49-F238E27FC236}">
                  <a16:creationId xmlns:a16="http://schemas.microsoft.com/office/drawing/2014/main" id="{24E53693-39F6-19D6-1091-B9A8A2F8F5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8970" y="6374264"/>
              <a:ext cx="200345" cy="42178"/>
            </a:xfrm>
            <a:prstGeom prst="rect">
              <a:avLst/>
            </a:prstGeom>
          </p:spPr>
        </p:pic>
        <p:pic>
          <p:nvPicPr>
            <p:cNvPr id="8" name="Graphic 7">
              <a:extLst>
                <a:ext uri="{FF2B5EF4-FFF2-40B4-BE49-F238E27FC236}">
                  <a16:creationId xmlns:a16="http://schemas.microsoft.com/office/drawing/2014/main" id="{8DE10F0B-14FB-A038-2A48-63B95EBA428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531929" y="6374264"/>
              <a:ext cx="200345" cy="42178"/>
            </a:xfrm>
            <a:prstGeom prst="rect">
              <a:avLst/>
            </a:prstGeom>
          </p:spPr>
        </p:pic>
        <p:pic>
          <p:nvPicPr>
            <p:cNvPr id="9" name="Graphic 8">
              <a:extLst>
                <a:ext uri="{FF2B5EF4-FFF2-40B4-BE49-F238E27FC236}">
                  <a16:creationId xmlns:a16="http://schemas.microsoft.com/office/drawing/2014/main" id="{E53CBBF6-457B-4AC8-A752-0E6DD7E3ED1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6200000">
              <a:off x="665009" y="6374264"/>
              <a:ext cx="200345" cy="42178"/>
            </a:xfrm>
            <a:prstGeom prst="rect">
              <a:avLst/>
            </a:prstGeom>
          </p:spPr>
        </p:pic>
        <p:pic>
          <p:nvPicPr>
            <p:cNvPr id="12" name="Graphic 11">
              <a:extLst>
                <a:ext uri="{FF2B5EF4-FFF2-40B4-BE49-F238E27FC236}">
                  <a16:creationId xmlns:a16="http://schemas.microsoft.com/office/drawing/2014/main" id="{2BC69AB0-42FD-BAA7-FB71-3E27A9257D2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rot="16200000">
              <a:off x="1122069" y="6374264"/>
              <a:ext cx="200345" cy="42178"/>
            </a:xfrm>
            <a:prstGeom prst="rect">
              <a:avLst/>
            </a:prstGeom>
          </p:spPr>
        </p:pic>
        <p:pic>
          <p:nvPicPr>
            <p:cNvPr id="16" name="Graphic 15">
              <a:extLst>
                <a:ext uri="{FF2B5EF4-FFF2-40B4-BE49-F238E27FC236}">
                  <a16:creationId xmlns:a16="http://schemas.microsoft.com/office/drawing/2014/main" id="{1C258359-DFF2-9C60-4380-1544B81DF19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6200000">
              <a:off x="1262222" y="6374264"/>
              <a:ext cx="200345" cy="42178"/>
            </a:xfrm>
            <a:prstGeom prst="rect">
              <a:avLst/>
            </a:prstGeom>
          </p:spPr>
        </p:pic>
        <p:pic>
          <p:nvPicPr>
            <p:cNvPr id="17" name="Graphic 16">
              <a:extLst>
                <a:ext uri="{FF2B5EF4-FFF2-40B4-BE49-F238E27FC236}">
                  <a16:creationId xmlns:a16="http://schemas.microsoft.com/office/drawing/2014/main" id="{087CDA2E-5D8B-F5E8-0C77-A018261511E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1685657" y="6374264"/>
              <a:ext cx="200345" cy="42178"/>
            </a:xfrm>
            <a:prstGeom prst="rect">
              <a:avLst/>
            </a:prstGeom>
          </p:spPr>
        </p:pic>
        <p:pic>
          <p:nvPicPr>
            <p:cNvPr id="23" name="Graphic 22">
              <a:extLst>
                <a:ext uri="{FF2B5EF4-FFF2-40B4-BE49-F238E27FC236}">
                  <a16:creationId xmlns:a16="http://schemas.microsoft.com/office/drawing/2014/main" id="{4387146D-0AA6-8D51-684F-FD4CBD555B6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6200000">
              <a:off x="1815113" y="6374264"/>
              <a:ext cx="200345" cy="42178"/>
            </a:xfrm>
            <a:prstGeom prst="rect">
              <a:avLst/>
            </a:prstGeom>
          </p:spPr>
        </p:pic>
        <p:pic>
          <p:nvPicPr>
            <p:cNvPr id="24" name="Graphic 23">
              <a:extLst>
                <a:ext uri="{FF2B5EF4-FFF2-40B4-BE49-F238E27FC236}">
                  <a16:creationId xmlns:a16="http://schemas.microsoft.com/office/drawing/2014/main" id="{262A89A8-2EAA-C9EC-250A-92D4BAD30A9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2238940" y="6374264"/>
              <a:ext cx="200345" cy="42178"/>
            </a:xfrm>
            <a:prstGeom prst="rect">
              <a:avLst/>
            </a:prstGeom>
          </p:spPr>
        </p:pic>
        <p:pic>
          <p:nvPicPr>
            <p:cNvPr id="25" name="Graphic 24">
              <a:extLst>
                <a:ext uri="{FF2B5EF4-FFF2-40B4-BE49-F238E27FC236}">
                  <a16:creationId xmlns:a16="http://schemas.microsoft.com/office/drawing/2014/main" id="{3EE8753A-6CB0-F966-91D2-47F6151A608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2365017" y="6374264"/>
              <a:ext cx="200345" cy="42178"/>
            </a:xfrm>
            <a:prstGeom prst="rect">
              <a:avLst/>
            </a:prstGeom>
          </p:spPr>
        </p:pic>
        <p:pic>
          <p:nvPicPr>
            <p:cNvPr id="26" name="Graphic 25">
              <a:extLst>
                <a:ext uri="{FF2B5EF4-FFF2-40B4-BE49-F238E27FC236}">
                  <a16:creationId xmlns:a16="http://schemas.microsoft.com/office/drawing/2014/main" id="{5C8ECFE5-0059-B3CA-6F52-563C45CC526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2808162" y="6374264"/>
              <a:ext cx="200345" cy="42178"/>
            </a:xfrm>
            <a:prstGeom prst="rect">
              <a:avLst/>
            </a:prstGeom>
          </p:spPr>
        </p:pic>
        <p:pic>
          <p:nvPicPr>
            <p:cNvPr id="27" name="Graphic 26">
              <a:extLst>
                <a:ext uri="{FF2B5EF4-FFF2-40B4-BE49-F238E27FC236}">
                  <a16:creationId xmlns:a16="http://schemas.microsoft.com/office/drawing/2014/main" id="{23BEAE54-683F-C71F-3109-ED9B6004696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6200000">
              <a:off x="2934282" y="6374264"/>
              <a:ext cx="200345" cy="42178"/>
            </a:xfrm>
            <a:prstGeom prst="rect">
              <a:avLst/>
            </a:prstGeom>
          </p:spPr>
        </p:pic>
      </p:grpSp>
      <p:pic>
        <p:nvPicPr>
          <p:cNvPr id="28" name="Graphic 27">
            <a:extLst>
              <a:ext uri="{FF2B5EF4-FFF2-40B4-BE49-F238E27FC236}">
                <a16:creationId xmlns:a16="http://schemas.microsoft.com/office/drawing/2014/main" id="{18D22656-1531-BB56-B685-11F90B0F2404}"/>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9299440" y="5808222"/>
            <a:ext cx="2892560" cy="215304"/>
          </a:xfrm>
          <a:prstGeom prst="rect">
            <a:avLst/>
          </a:prstGeom>
        </p:spPr>
      </p:pic>
      <p:pic>
        <p:nvPicPr>
          <p:cNvPr id="29" name="Picture 28">
            <a:extLst>
              <a:ext uri="{FF2B5EF4-FFF2-40B4-BE49-F238E27FC236}">
                <a16:creationId xmlns:a16="http://schemas.microsoft.com/office/drawing/2014/main" id="{85479F6E-35C5-6E7B-374D-B6B6D89C24AE}"/>
              </a:ext>
            </a:extLst>
          </p:cNvPr>
          <p:cNvPicPr>
            <a:picLocks noChangeAspect="1"/>
          </p:cNvPicPr>
          <p:nvPr userDrawn="1"/>
        </p:nvPicPr>
        <p:blipFill>
          <a:blip r:embed="rId21">
            <a:alphaModFix amt="60000"/>
          </a:blip>
          <a:stretch>
            <a:fillRect/>
          </a:stretch>
        </p:blipFill>
        <p:spPr>
          <a:xfrm>
            <a:off x="1817222" y="5857728"/>
            <a:ext cx="8557556" cy="921376"/>
          </a:xfrm>
          <a:prstGeom prst="rect">
            <a:avLst/>
          </a:prstGeom>
        </p:spPr>
      </p:pic>
      <p:sp>
        <p:nvSpPr>
          <p:cNvPr id="15" name="Freeform: Shape 14">
            <a:extLst>
              <a:ext uri="{FF2B5EF4-FFF2-40B4-BE49-F238E27FC236}">
                <a16:creationId xmlns:a16="http://schemas.microsoft.com/office/drawing/2014/main" id="{B8A6EA35-CB6D-0559-F64E-7E550D3625B7}"/>
              </a:ext>
            </a:extLst>
          </p:cNvPr>
          <p:cNvSpPr/>
          <p:nvPr userDrawn="1"/>
        </p:nvSpPr>
        <p:spPr>
          <a:xfrm flipH="1" flipV="1">
            <a:off x="-1" y="196850"/>
            <a:ext cx="12192001" cy="1399325"/>
          </a:xfrm>
          <a:custGeom>
            <a:avLst/>
            <a:gdLst>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922105 h 1399325"/>
              <a:gd name="connsiteX4" fmla="*/ 3049 w 12192001"/>
              <a:gd name="connsiteY4" fmla="*/ 0 h 1399325"/>
              <a:gd name="connsiteX5" fmla="*/ 734133 w 12192001"/>
              <a:gd name="connsiteY5" fmla="*/ 0 h 1399325"/>
              <a:gd name="connsiteX6" fmla="*/ 2801055 w 12192001"/>
              <a:gd name="connsiteY6" fmla="*/ 0 h 1399325"/>
              <a:gd name="connsiteX7" fmla="*/ 3805546 w 12192001"/>
              <a:gd name="connsiteY7" fmla="*/ 0 h 1399325"/>
              <a:gd name="connsiteX8" fmla="*/ 4041631 w 12192001"/>
              <a:gd name="connsiteY8" fmla="*/ 136016 h 1399325"/>
              <a:gd name="connsiteX9" fmla="*/ 4041631 w 12192001"/>
              <a:gd name="connsiteY9" fmla="*/ 138901 h 1399325"/>
              <a:gd name="connsiteX10" fmla="*/ 4046639 w 12192001"/>
              <a:gd name="connsiteY10" fmla="*/ 138901 h 1399325"/>
              <a:gd name="connsiteX11" fmla="*/ 4051394 w 12192001"/>
              <a:gd name="connsiteY11" fmla="*/ 141641 h 1399325"/>
              <a:gd name="connsiteX12" fmla="*/ 4815657 w 12192001"/>
              <a:gd name="connsiteY12" fmla="*/ 138901 h 1399325"/>
              <a:gd name="connsiteX13" fmla="*/ 8511256 w 12192001"/>
              <a:gd name="connsiteY13" fmla="*/ 138901 h 1399325"/>
              <a:gd name="connsiteX14" fmla="*/ 8511256 w 12192001"/>
              <a:gd name="connsiteY14" fmla="*/ 131623 h 1399325"/>
              <a:gd name="connsiteX15" fmla="*/ 12192001 w 12192001"/>
              <a:gd name="connsiteY15" fmla="*/ 131623 h 1399325"/>
              <a:gd name="connsiteX16" fmla="*/ 12192001 w 12192001"/>
              <a:gd name="connsiteY16" fmla="*/ 1208825 h 1399325"/>
              <a:gd name="connsiteX17" fmla="*/ 12192000 w 12192001"/>
              <a:gd name="connsiteY17" fmla="*/ 12088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208825 h 1399325"/>
              <a:gd name="connsiteX17" fmla="*/ 12192000 w 12192001"/>
              <a:gd name="connsiteY17"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0 w 12192001"/>
              <a:gd name="connsiteY15"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8511256 w 12192001"/>
              <a:gd name="connsiteY12" fmla="*/ 131623 h 1399325"/>
              <a:gd name="connsiteX13" fmla="*/ 12192001 w 12192001"/>
              <a:gd name="connsiteY13" fmla="*/ 131623 h 1399325"/>
              <a:gd name="connsiteX14" fmla="*/ 12192000 w 12192001"/>
              <a:gd name="connsiteY14"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12192001 w 12192001"/>
              <a:gd name="connsiteY12" fmla="*/ 131623 h 1399325"/>
              <a:gd name="connsiteX13" fmla="*/ 12192000 w 12192001"/>
              <a:gd name="connsiteY13"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12192001 w 12192001"/>
              <a:gd name="connsiteY11" fmla="*/ 131623 h 1399325"/>
              <a:gd name="connsiteX12" fmla="*/ 12192000 w 12192001"/>
              <a:gd name="connsiteY12" fmla="*/ 1399325 h 139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1399325">
                <a:moveTo>
                  <a:pt x="12192000" y="1399325"/>
                </a:moveTo>
                <a:lnTo>
                  <a:pt x="0" y="1399325"/>
                </a:lnTo>
                <a:cubicBezTo>
                  <a:pt x="1016" y="932883"/>
                  <a:pt x="2033" y="466442"/>
                  <a:pt x="3049" y="0"/>
                </a:cubicBezTo>
                <a:lnTo>
                  <a:pt x="734133" y="0"/>
                </a:lnTo>
                <a:lnTo>
                  <a:pt x="2801055" y="0"/>
                </a:lnTo>
                <a:lnTo>
                  <a:pt x="3805546" y="0"/>
                </a:lnTo>
                <a:lnTo>
                  <a:pt x="4041631" y="136016"/>
                </a:lnTo>
                <a:lnTo>
                  <a:pt x="4041631" y="138901"/>
                </a:lnTo>
                <a:lnTo>
                  <a:pt x="4046639" y="138901"/>
                </a:lnTo>
                <a:lnTo>
                  <a:pt x="4051394" y="141641"/>
                </a:lnTo>
                <a:lnTo>
                  <a:pt x="4815657" y="138901"/>
                </a:lnTo>
                <a:lnTo>
                  <a:pt x="12192001" y="131623"/>
                </a:lnTo>
                <a:cubicBezTo>
                  <a:pt x="12192001" y="554190"/>
                  <a:pt x="12192000" y="976758"/>
                  <a:pt x="12192000" y="1399325"/>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 name="Title 1">
            <a:extLst>
              <a:ext uri="{FF2B5EF4-FFF2-40B4-BE49-F238E27FC236}">
                <a16:creationId xmlns:a16="http://schemas.microsoft.com/office/drawing/2014/main" id="{03ABE548-101B-4EAC-8CB7-BBD49E60436D}"/>
              </a:ext>
            </a:extLst>
          </p:cNvPr>
          <p:cNvSpPr>
            <a:spLocks noGrp="1"/>
          </p:cNvSpPr>
          <p:nvPr>
            <p:ph type="title" hasCustomPrompt="1"/>
          </p:nvPr>
        </p:nvSpPr>
        <p:spPr/>
        <p:txBody>
          <a:bodyPr/>
          <a:lstStyle>
            <a:lvl1pPr>
              <a:defRPr/>
            </a:lvl1pPr>
          </a:lstStyle>
          <a:p>
            <a:r>
              <a:rPr lang="en-US" dirty="0"/>
              <a:t>Add title (two lines)</a:t>
            </a:r>
          </a:p>
        </p:txBody>
      </p:sp>
      <p:sp>
        <p:nvSpPr>
          <p:cNvPr id="13" name="Rectangle 12">
            <a:extLst>
              <a:ext uri="{FF2B5EF4-FFF2-40B4-BE49-F238E27FC236}">
                <a16:creationId xmlns:a16="http://schemas.microsoft.com/office/drawing/2014/main" id="{F75FAEC4-C97A-4B7D-C12D-AC97A3C800B9}"/>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108387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 Content (RO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D0B4BE-793E-4EA1-62E4-556326C84CD2}"/>
              </a:ext>
            </a:extLst>
          </p:cNvPr>
          <p:cNvPicPr>
            <a:picLocks noChangeAspect="1"/>
          </p:cNvPicPr>
          <p:nvPr userDrawn="1"/>
        </p:nvPicPr>
        <p:blipFill>
          <a:blip r:embed="rId2"/>
          <a:srcRect t="5246" b="5246"/>
          <a:stretch/>
        </p:blipFill>
        <p:spPr>
          <a:xfrm>
            <a:off x="1524" y="678174"/>
            <a:ext cx="12188952" cy="6136858"/>
          </a:xfrm>
          <a:prstGeom prst="rect">
            <a:avLst/>
          </a:prstGeom>
        </p:spPr>
      </p:pic>
      <p:sp>
        <p:nvSpPr>
          <p:cNvPr id="6" name="Rectangle 5">
            <a:extLst>
              <a:ext uri="{FF2B5EF4-FFF2-40B4-BE49-F238E27FC236}">
                <a16:creationId xmlns:a16="http://schemas.microsoft.com/office/drawing/2014/main" id="{A3020598-581E-349E-A7D8-F2DDAE57E786}"/>
              </a:ext>
            </a:extLst>
          </p:cNvPr>
          <p:cNvSpPr/>
          <p:nvPr userDrawn="1"/>
        </p:nvSpPr>
        <p:spPr>
          <a:xfrm>
            <a:off x="0" y="1125256"/>
            <a:ext cx="12192001" cy="5412332"/>
          </a:xfrm>
          <a:prstGeom prst="rect">
            <a:avLst/>
          </a:prstGeom>
          <a:solidFill>
            <a:schemeClr val="accent6">
              <a:lumMod val="7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7" name="Freeform: Shape 6">
            <a:extLst>
              <a:ext uri="{FF2B5EF4-FFF2-40B4-BE49-F238E27FC236}">
                <a16:creationId xmlns:a16="http://schemas.microsoft.com/office/drawing/2014/main" id="{F317807C-961A-81EE-61C5-CF19528E372C}"/>
              </a:ext>
            </a:extLst>
          </p:cNvPr>
          <p:cNvSpPr/>
          <p:nvPr userDrawn="1"/>
        </p:nvSpPr>
        <p:spPr>
          <a:xfrm>
            <a:off x="0" y="6140187"/>
            <a:ext cx="12192002" cy="728021"/>
          </a:xfrm>
          <a:custGeom>
            <a:avLst/>
            <a:gdLst>
              <a:gd name="connsiteX0" fmla="*/ 0 w 12192002"/>
              <a:gd name="connsiteY0" fmla="*/ 0 h 728021"/>
              <a:gd name="connsiteX1" fmla="*/ 2528739 w 12192002"/>
              <a:gd name="connsiteY1" fmla="*/ 0 h 728021"/>
              <a:gd name="connsiteX2" fmla="*/ 2765129 w 12192002"/>
              <a:gd name="connsiteY2" fmla="*/ 136016 h 728021"/>
              <a:gd name="connsiteX3" fmla="*/ 2765129 w 12192002"/>
              <a:gd name="connsiteY3" fmla="*/ 138901 h 728021"/>
              <a:gd name="connsiteX4" fmla="*/ 2770143 w 12192002"/>
              <a:gd name="connsiteY4" fmla="*/ 138901 h 728021"/>
              <a:gd name="connsiteX5" fmla="*/ 2774905 w 12192002"/>
              <a:gd name="connsiteY5" fmla="*/ 141641 h 728021"/>
              <a:gd name="connsiteX6" fmla="*/ 12192002 w 12192002"/>
              <a:gd name="connsiteY6" fmla="*/ 148090 h 728021"/>
              <a:gd name="connsiteX7" fmla="*/ 12192002 w 12192002"/>
              <a:gd name="connsiteY7" fmla="*/ 728021 h 728021"/>
              <a:gd name="connsiteX8" fmla="*/ 1 w 12192002"/>
              <a:gd name="connsiteY8" fmla="*/ 728021 h 728021"/>
              <a:gd name="connsiteX9" fmla="*/ 1 w 12192002"/>
              <a:gd name="connsiteY9" fmla="*/ 233465 h 728021"/>
              <a:gd name="connsiteX10" fmla="*/ 0 w 12192002"/>
              <a:gd name="connsiteY10" fmla="*/ 233465 h 728021"/>
              <a:gd name="connsiteX11" fmla="*/ 0 w 12192002"/>
              <a:gd name="connsiteY11" fmla="*/ 0 h 72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2" h="728021">
                <a:moveTo>
                  <a:pt x="0" y="0"/>
                </a:moveTo>
                <a:lnTo>
                  <a:pt x="2528739" y="0"/>
                </a:lnTo>
                <a:lnTo>
                  <a:pt x="2765129" y="136016"/>
                </a:lnTo>
                <a:lnTo>
                  <a:pt x="2765129" y="138901"/>
                </a:lnTo>
                <a:lnTo>
                  <a:pt x="2770143" y="138901"/>
                </a:lnTo>
                <a:lnTo>
                  <a:pt x="2774905" y="141641"/>
                </a:lnTo>
                <a:lnTo>
                  <a:pt x="12192002" y="148090"/>
                </a:lnTo>
                <a:lnTo>
                  <a:pt x="12192002" y="728021"/>
                </a:lnTo>
                <a:lnTo>
                  <a:pt x="1" y="728021"/>
                </a:lnTo>
                <a:lnTo>
                  <a:pt x="1" y="233465"/>
                </a:lnTo>
                <a:lnTo>
                  <a:pt x="0" y="233465"/>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a:solidFill>
                <a:schemeClr val="bg1"/>
              </a:solidFill>
            </a:endParaRPr>
          </a:p>
        </p:txBody>
      </p:sp>
      <p:sp>
        <p:nvSpPr>
          <p:cNvPr id="8" name="Freeform: Shape 7">
            <a:extLst>
              <a:ext uri="{FF2B5EF4-FFF2-40B4-BE49-F238E27FC236}">
                <a16:creationId xmlns:a16="http://schemas.microsoft.com/office/drawing/2014/main" id="{68DE784E-D655-F61A-22EF-B09F4B5903D7}"/>
              </a:ext>
            </a:extLst>
          </p:cNvPr>
          <p:cNvSpPr/>
          <p:nvPr userDrawn="1"/>
        </p:nvSpPr>
        <p:spPr>
          <a:xfrm>
            <a:off x="9506712" y="629009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2" name="Freeform: Shape 11">
            <a:extLst>
              <a:ext uri="{FF2B5EF4-FFF2-40B4-BE49-F238E27FC236}">
                <a16:creationId xmlns:a16="http://schemas.microsoft.com/office/drawing/2014/main" id="{BEC138A8-D88E-A4ED-6D90-B7A2B8965821}"/>
              </a:ext>
            </a:extLst>
          </p:cNvPr>
          <p:cNvSpPr/>
          <p:nvPr userDrawn="1"/>
        </p:nvSpPr>
        <p:spPr>
          <a:xfrm>
            <a:off x="9506712" y="6391694"/>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6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20" name="Graphic 19">
            <a:extLst>
              <a:ext uri="{FF2B5EF4-FFF2-40B4-BE49-F238E27FC236}">
                <a16:creationId xmlns:a16="http://schemas.microsoft.com/office/drawing/2014/main" id="{EF9C9D1F-3372-2937-2C9C-68367F11E95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40" y="6497832"/>
            <a:ext cx="2892560" cy="215304"/>
          </a:xfrm>
          <a:prstGeom prst="rect">
            <a:avLst/>
          </a:prstGeom>
        </p:spPr>
      </p:pic>
      <p:sp>
        <p:nvSpPr>
          <p:cNvPr id="33" name="Rectangle 6">
            <a:extLst>
              <a:ext uri="{FF2B5EF4-FFF2-40B4-BE49-F238E27FC236}">
                <a16:creationId xmlns:a16="http://schemas.microsoft.com/office/drawing/2014/main" id="{0DA6A00B-B177-3F68-FECE-8DBD4DB84D78}"/>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
        <p:nvSpPr>
          <p:cNvPr id="28" name="Freeform: Shape 27">
            <a:extLst>
              <a:ext uri="{FF2B5EF4-FFF2-40B4-BE49-F238E27FC236}">
                <a16:creationId xmlns:a16="http://schemas.microsoft.com/office/drawing/2014/main" id="{15EE9E66-1EFA-F175-5AA8-FAD07799AAFB}"/>
              </a:ext>
            </a:extLst>
          </p:cNvPr>
          <p:cNvSpPr/>
          <p:nvPr userDrawn="1"/>
        </p:nvSpPr>
        <p:spPr>
          <a:xfrm flipH="1" flipV="1">
            <a:off x="-1" y="0"/>
            <a:ext cx="12192001" cy="1399325"/>
          </a:xfrm>
          <a:custGeom>
            <a:avLst/>
            <a:gdLst>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922105 h 1399325"/>
              <a:gd name="connsiteX4" fmla="*/ 3049 w 12192001"/>
              <a:gd name="connsiteY4" fmla="*/ 0 h 1399325"/>
              <a:gd name="connsiteX5" fmla="*/ 734133 w 12192001"/>
              <a:gd name="connsiteY5" fmla="*/ 0 h 1399325"/>
              <a:gd name="connsiteX6" fmla="*/ 2801055 w 12192001"/>
              <a:gd name="connsiteY6" fmla="*/ 0 h 1399325"/>
              <a:gd name="connsiteX7" fmla="*/ 3805546 w 12192001"/>
              <a:gd name="connsiteY7" fmla="*/ 0 h 1399325"/>
              <a:gd name="connsiteX8" fmla="*/ 4041631 w 12192001"/>
              <a:gd name="connsiteY8" fmla="*/ 136016 h 1399325"/>
              <a:gd name="connsiteX9" fmla="*/ 4041631 w 12192001"/>
              <a:gd name="connsiteY9" fmla="*/ 138901 h 1399325"/>
              <a:gd name="connsiteX10" fmla="*/ 4046639 w 12192001"/>
              <a:gd name="connsiteY10" fmla="*/ 138901 h 1399325"/>
              <a:gd name="connsiteX11" fmla="*/ 4051394 w 12192001"/>
              <a:gd name="connsiteY11" fmla="*/ 141641 h 1399325"/>
              <a:gd name="connsiteX12" fmla="*/ 4815657 w 12192001"/>
              <a:gd name="connsiteY12" fmla="*/ 138901 h 1399325"/>
              <a:gd name="connsiteX13" fmla="*/ 8511256 w 12192001"/>
              <a:gd name="connsiteY13" fmla="*/ 138901 h 1399325"/>
              <a:gd name="connsiteX14" fmla="*/ 8511256 w 12192001"/>
              <a:gd name="connsiteY14" fmla="*/ 131623 h 1399325"/>
              <a:gd name="connsiteX15" fmla="*/ 12192001 w 12192001"/>
              <a:gd name="connsiteY15" fmla="*/ 131623 h 1399325"/>
              <a:gd name="connsiteX16" fmla="*/ 12192001 w 12192001"/>
              <a:gd name="connsiteY16" fmla="*/ 1208825 h 1399325"/>
              <a:gd name="connsiteX17" fmla="*/ 12192000 w 12192001"/>
              <a:gd name="connsiteY17" fmla="*/ 12088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208825 h 1399325"/>
              <a:gd name="connsiteX17" fmla="*/ 12192000 w 12192001"/>
              <a:gd name="connsiteY17"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0 w 12192001"/>
              <a:gd name="connsiteY15"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8511256 w 12192001"/>
              <a:gd name="connsiteY12" fmla="*/ 131623 h 1399325"/>
              <a:gd name="connsiteX13" fmla="*/ 12192001 w 12192001"/>
              <a:gd name="connsiteY13" fmla="*/ 131623 h 1399325"/>
              <a:gd name="connsiteX14" fmla="*/ 12192000 w 12192001"/>
              <a:gd name="connsiteY14"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12192001 w 12192001"/>
              <a:gd name="connsiteY12" fmla="*/ 131623 h 1399325"/>
              <a:gd name="connsiteX13" fmla="*/ 12192000 w 12192001"/>
              <a:gd name="connsiteY13"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12192001 w 12192001"/>
              <a:gd name="connsiteY11" fmla="*/ 131623 h 1399325"/>
              <a:gd name="connsiteX12" fmla="*/ 12192000 w 12192001"/>
              <a:gd name="connsiteY12" fmla="*/ 1399325 h 139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1399325">
                <a:moveTo>
                  <a:pt x="12192000" y="1399325"/>
                </a:moveTo>
                <a:lnTo>
                  <a:pt x="0" y="1399325"/>
                </a:lnTo>
                <a:cubicBezTo>
                  <a:pt x="1016" y="932883"/>
                  <a:pt x="2033" y="466442"/>
                  <a:pt x="3049" y="0"/>
                </a:cubicBezTo>
                <a:lnTo>
                  <a:pt x="734133" y="0"/>
                </a:lnTo>
                <a:lnTo>
                  <a:pt x="2801055" y="0"/>
                </a:lnTo>
                <a:lnTo>
                  <a:pt x="3805546" y="0"/>
                </a:lnTo>
                <a:lnTo>
                  <a:pt x="4041631" y="136016"/>
                </a:lnTo>
                <a:lnTo>
                  <a:pt x="4041631" y="138901"/>
                </a:lnTo>
                <a:lnTo>
                  <a:pt x="4046639" y="138901"/>
                </a:lnTo>
                <a:lnTo>
                  <a:pt x="4051394" y="141641"/>
                </a:lnTo>
                <a:lnTo>
                  <a:pt x="4815657" y="138901"/>
                </a:lnTo>
                <a:lnTo>
                  <a:pt x="12192001" y="131623"/>
                </a:lnTo>
                <a:cubicBezTo>
                  <a:pt x="12192001" y="554190"/>
                  <a:pt x="12192000" y="976758"/>
                  <a:pt x="12192000" y="1399325"/>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9" name="Title 28">
            <a:extLst>
              <a:ext uri="{FF2B5EF4-FFF2-40B4-BE49-F238E27FC236}">
                <a16:creationId xmlns:a16="http://schemas.microsoft.com/office/drawing/2014/main" id="{BB392E0D-A1CD-16E8-2422-6B89C23B5FB7}"/>
              </a:ext>
            </a:extLst>
          </p:cNvPr>
          <p:cNvSpPr>
            <a:spLocks noGrp="1"/>
          </p:cNvSpPr>
          <p:nvPr>
            <p:ph type="title" hasCustomPrompt="1"/>
          </p:nvPr>
        </p:nvSpPr>
        <p:spPr/>
        <p:txBody>
          <a:bodyPr/>
          <a:lstStyle>
            <a:lvl1pPr>
              <a:defRPr/>
            </a:lvl1pPr>
          </a:lstStyle>
          <a:p>
            <a:r>
              <a:rPr lang="en-US" dirty="0"/>
              <a:t>Add title (one line)</a:t>
            </a:r>
          </a:p>
        </p:txBody>
      </p:sp>
      <p:sp>
        <p:nvSpPr>
          <p:cNvPr id="4" name="Text Placeholder 3">
            <a:extLst>
              <a:ext uri="{FF2B5EF4-FFF2-40B4-BE49-F238E27FC236}">
                <a16:creationId xmlns:a16="http://schemas.microsoft.com/office/drawing/2014/main" id="{98350421-A407-E99B-C763-1D6612D289B5}"/>
              </a:ext>
            </a:extLst>
          </p:cNvPr>
          <p:cNvSpPr>
            <a:spLocks noGrp="1"/>
          </p:cNvSpPr>
          <p:nvPr>
            <p:ph type="body" sz="quarter" idx="10"/>
          </p:nvPr>
        </p:nvSpPr>
        <p:spPr>
          <a:xfrm>
            <a:off x="496649" y="1642373"/>
            <a:ext cx="4937760" cy="4167193"/>
          </a:xfrm>
        </p:spPr>
        <p:txBody>
          <a:bodyPr vert="horz" lIns="0" tIns="0" rIns="0" bIns="0" rtlCol="0">
            <a:noAutofit/>
          </a:bodyPr>
          <a:lstStyle>
            <a:lvl1pPr>
              <a:defRPr lang="en-US" smtClean="0">
                <a:solidFill>
                  <a:schemeClr val="bg1"/>
                </a:solidFill>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US" dirty="0"/>
              <a:t>Click to edit Master text styles</a:t>
            </a:r>
          </a:p>
          <a:p>
            <a:pPr lvl="1"/>
            <a:r>
              <a:rPr lang="en-US" dirty="0"/>
              <a:t>Second level</a:t>
            </a:r>
          </a:p>
          <a:p>
            <a:pPr lvl="2">
              <a:buBlip>
                <a:blip r:embed="rId5"/>
              </a:buBlip>
            </a:pPr>
            <a:r>
              <a:rPr lang="en-US" dirty="0"/>
              <a:t>Third level</a:t>
            </a:r>
          </a:p>
          <a:p>
            <a:pPr lvl="3">
              <a:buBlip>
                <a:blip r:embed="rId6"/>
              </a:buBlip>
            </a:pPr>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66073293-169B-B5E6-AC26-5A2291675687}"/>
              </a:ext>
            </a:extLst>
          </p:cNvPr>
          <p:cNvSpPr>
            <a:spLocks noGrp="1"/>
          </p:cNvSpPr>
          <p:nvPr>
            <p:ph type="body" sz="quarter" idx="11"/>
          </p:nvPr>
        </p:nvSpPr>
        <p:spPr>
          <a:xfrm>
            <a:off x="6604000" y="1642374"/>
            <a:ext cx="4937760" cy="4167193"/>
          </a:xfrm>
        </p:spPr>
        <p:txBody>
          <a:bodyPr vert="horz" lIns="0" tIns="0" rIns="0" bIns="0" rtlCol="0">
            <a:noAutofit/>
          </a:bodyPr>
          <a:lstStyle>
            <a:lvl1pPr>
              <a:defRPr lang="en-US" smtClean="0">
                <a:solidFill>
                  <a:schemeClr val="bg1"/>
                </a:solidFill>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US" dirty="0"/>
              <a:t>Click to edit Master text styles</a:t>
            </a:r>
          </a:p>
          <a:p>
            <a:pPr lvl="1"/>
            <a:r>
              <a:rPr lang="en-US" dirty="0"/>
              <a:t>Second level</a:t>
            </a:r>
          </a:p>
          <a:p>
            <a:pPr lvl="2">
              <a:buBlip>
                <a:blip r:embed="rId5"/>
              </a:buBlip>
            </a:pPr>
            <a:r>
              <a:rPr lang="en-US" dirty="0"/>
              <a:t>Third level</a:t>
            </a:r>
          </a:p>
          <a:p>
            <a:pPr lvl="3">
              <a:buBlip>
                <a:blip r:embed="rId6"/>
              </a:buBlip>
            </a:pPr>
            <a:r>
              <a:rPr lang="en-US" dirty="0"/>
              <a:t>Fourth level</a:t>
            </a:r>
          </a:p>
          <a:p>
            <a:pPr lvl="4"/>
            <a:r>
              <a:rPr lang="en-US" dirty="0"/>
              <a:t>Fifth level</a:t>
            </a:r>
          </a:p>
        </p:txBody>
      </p:sp>
      <p:sp>
        <p:nvSpPr>
          <p:cNvPr id="2" name="Rectangle 1">
            <a:extLst>
              <a:ext uri="{FF2B5EF4-FFF2-40B4-BE49-F238E27FC236}">
                <a16:creationId xmlns:a16="http://schemas.microsoft.com/office/drawing/2014/main" id="{B815D43D-DC95-6FBD-2E5B-7933F7161A41}"/>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68607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 Content (RO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D0B4BE-793E-4EA1-62E4-556326C84CD2}"/>
              </a:ext>
            </a:extLst>
          </p:cNvPr>
          <p:cNvPicPr>
            <a:picLocks noChangeAspect="1"/>
          </p:cNvPicPr>
          <p:nvPr userDrawn="1"/>
        </p:nvPicPr>
        <p:blipFill>
          <a:blip r:embed="rId2"/>
          <a:srcRect t="5246" b="5246"/>
          <a:stretch/>
        </p:blipFill>
        <p:spPr>
          <a:xfrm>
            <a:off x="1524" y="678174"/>
            <a:ext cx="12188952" cy="6136858"/>
          </a:xfrm>
          <a:prstGeom prst="rect">
            <a:avLst/>
          </a:prstGeom>
        </p:spPr>
      </p:pic>
      <p:sp>
        <p:nvSpPr>
          <p:cNvPr id="6" name="Rectangle 5">
            <a:extLst>
              <a:ext uri="{FF2B5EF4-FFF2-40B4-BE49-F238E27FC236}">
                <a16:creationId xmlns:a16="http://schemas.microsoft.com/office/drawing/2014/main" id="{A3020598-581E-349E-A7D8-F2DDAE57E786}"/>
              </a:ext>
            </a:extLst>
          </p:cNvPr>
          <p:cNvSpPr/>
          <p:nvPr userDrawn="1"/>
        </p:nvSpPr>
        <p:spPr>
          <a:xfrm>
            <a:off x="0" y="1125256"/>
            <a:ext cx="12192001" cy="5412332"/>
          </a:xfrm>
          <a:prstGeom prst="rect">
            <a:avLst/>
          </a:prstGeom>
          <a:solidFill>
            <a:schemeClr val="accent6">
              <a:lumMod val="7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7" name="Freeform: Shape 6">
            <a:extLst>
              <a:ext uri="{FF2B5EF4-FFF2-40B4-BE49-F238E27FC236}">
                <a16:creationId xmlns:a16="http://schemas.microsoft.com/office/drawing/2014/main" id="{F317807C-961A-81EE-61C5-CF19528E372C}"/>
              </a:ext>
            </a:extLst>
          </p:cNvPr>
          <p:cNvSpPr/>
          <p:nvPr userDrawn="1"/>
        </p:nvSpPr>
        <p:spPr>
          <a:xfrm>
            <a:off x="0" y="6140187"/>
            <a:ext cx="12192002" cy="728021"/>
          </a:xfrm>
          <a:custGeom>
            <a:avLst/>
            <a:gdLst>
              <a:gd name="connsiteX0" fmla="*/ 0 w 12192002"/>
              <a:gd name="connsiteY0" fmla="*/ 0 h 728021"/>
              <a:gd name="connsiteX1" fmla="*/ 2528739 w 12192002"/>
              <a:gd name="connsiteY1" fmla="*/ 0 h 728021"/>
              <a:gd name="connsiteX2" fmla="*/ 2765129 w 12192002"/>
              <a:gd name="connsiteY2" fmla="*/ 136016 h 728021"/>
              <a:gd name="connsiteX3" fmla="*/ 2765129 w 12192002"/>
              <a:gd name="connsiteY3" fmla="*/ 138901 h 728021"/>
              <a:gd name="connsiteX4" fmla="*/ 2770143 w 12192002"/>
              <a:gd name="connsiteY4" fmla="*/ 138901 h 728021"/>
              <a:gd name="connsiteX5" fmla="*/ 2774905 w 12192002"/>
              <a:gd name="connsiteY5" fmla="*/ 141641 h 728021"/>
              <a:gd name="connsiteX6" fmla="*/ 12192002 w 12192002"/>
              <a:gd name="connsiteY6" fmla="*/ 148090 h 728021"/>
              <a:gd name="connsiteX7" fmla="*/ 12192002 w 12192002"/>
              <a:gd name="connsiteY7" fmla="*/ 728021 h 728021"/>
              <a:gd name="connsiteX8" fmla="*/ 1 w 12192002"/>
              <a:gd name="connsiteY8" fmla="*/ 728021 h 728021"/>
              <a:gd name="connsiteX9" fmla="*/ 1 w 12192002"/>
              <a:gd name="connsiteY9" fmla="*/ 233465 h 728021"/>
              <a:gd name="connsiteX10" fmla="*/ 0 w 12192002"/>
              <a:gd name="connsiteY10" fmla="*/ 233465 h 728021"/>
              <a:gd name="connsiteX11" fmla="*/ 0 w 12192002"/>
              <a:gd name="connsiteY11" fmla="*/ 0 h 72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2" h="728021">
                <a:moveTo>
                  <a:pt x="0" y="0"/>
                </a:moveTo>
                <a:lnTo>
                  <a:pt x="2528739" y="0"/>
                </a:lnTo>
                <a:lnTo>
                  <a:pt x="2765129" y="136016"/>
                </a:lnTo>
                <a:lnTo>
                  <a:pt x="2765129" y="138901"/>
                </a:lnTo>
                <a:lnTo>
                  <a:pt x="2770143" y="138901"/>
                </a:lnTo>
                <a:lnTo>
                  <a:pt x="2774905" y="141641"/>
                </a:lnTo>
                <a:lnTo>
                  <a:pt x="12192002" y="148090"/>
                </a:lnTo>
                <a:lnTo>
                  <a:pt x="12192002" y="728021"/>
                </a:lnTo>
                <a:lnTo>
                  <a:pt x="1" y="728021"/>
                </a:lnTo>
                <a:lnTo>
                  <a:pt x="1" y="233465"/>
                </a:lnTo>
                <a:lnTo>
                  <a:pt x="0" y="233465"/>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a:solidFill>
                <a:schemeClr val="bg1"/>
              </a:solidFill>
            </a:endParaRPr>
          </a:p>
        </p:txBody>
      </p:sp>
      <p:sp>
        <p:nvSpPr>
          <p:cNvPr id="8" name="Freeform: Shape 7">
            <a:extLst>
              <a:ext uri="{FF2B5EF4-FFF2-40B4-BE49-F238E27FC236}">
                <a16:creationId xmlns:a16="http://schemas.microsoft.com/office/drawing/2014/main" id="{68DE784E-D655-F61A-22EF-B09F4B5903D7}"/>
              </a:ext>
            </a:extLst>
          </p:cNvPr>
          <p:cNvSpPr/>
          <p:nvPr userDrawn="1"/>
        </p:nvSpPr>
        <p:spPr>
          <a:xfrm>
            <a:off x="9506712" y="629009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2" name="Freeform: Shape 11">
            <a:extLst>
              <a:ext uri="{FF2B5EF4-FFF2-40B4-BE49-F238E27FC236}">
                <a16:creationId xmlns:a16="http://schemas.microsoft.com/office/drawing/2014/main" id="{BEC138A8-D88E-A4ED-6D90-B7A2B8965821}"/>
              </a:ext>
            </a:extLst>
          </p:cNvPr>
          <p:cNvSpPr/>
          <p:nvPr userDrawn="1"/>
        </p:nvSpPr>
        <p:spPr>
          <a:xfrm>
            <a:off x="9506712" y="6391694"/>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6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20" name="Graphic 19">
            <a:extLst>
              <a:ext uri="{FF2B5EF4-FFF2-40B4-BE49-F238E27FC236}">
                <a16:creationId xmlns:a16="http://schemas.microsoft.com/office/drawing/2014/main" id="{EF9C9D1F-3372-2937-2C9C-68367F11E95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40" y="6497832"/>
            <a:ext cx="2892560" cy="215304"/>
          </a:xfrm>
          <a:prstGeom prst="rect">
            <a:avLst/>
          </a:prstGeom>
        </p:spPr>
      </p:pic>
      <p:sp>
        <p:nvSpPr>
          <p:cNvPr id="33" name="Rectangle 6">
            <a:extLst>
              <a:ext uri="{FF2B5EF4-FFF2-40B4-BE49-F238E27FC236}">
                <a16:creationId xmlns:a16="http://schemas.microsoft.com/office/drawing/2014/main" id="{0DA6A00B-B177-3F68-FECE-8DBD4DB84D78}"/>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
        <p:nvSpPr>
          <p:cNvPr id="28" name="Freeform: Shape 27">
            <a:extLst>
              <a:ext uri="{FF2B5EF4-FFF2-40B4-BE49-F238E27FC236}">
                <a16:creationId xmlns:a16="http://schemas.microsoft.com/office/drawing/2014/main" id="{15EE9E66-1EFA-F175-5AA8-FAD07799AAFB}"/>
              </a:ext>
            </a:extLst>
          </p:cNvPr>
          <p:cNvSpPr/>
          <p:nvPr userDrawn="1"/>
        </p:nvSpPr>
        <p:spPr>
          <a:xfrm flipH="1" flipV="1">
            <a:off x="-1" y="0"/>
            <a:ext cx="12192001" cy="1399325"/>
          </a:xfrm>
          <a:custGeom>
            <a:avLst/>
            <a:gdLst>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922105 h 1399325"/>
              <a:gd name="connsiteX4" fmla="*/ 3049 w 12192001"/>
              <a:gd name="connsiteY4" fmla="*/ 0 h 1399325"/>
              <a:gd name="connsiteX5" fmla="*/ 734133 w 12192001"/>
              <a:gd name="connsiteY5" fmla="*/ 0 h 1399325"/>
              <a:gd name="connsiteX6" fmla="*/ 2801055 w 12192001"/>
              <a:gd name="connsiteY6" fmla="*/ 0 h 1399325"/>
              <a:gd name="connsiteX7" fmla="*/ 3805546 w 12192001"/>
              <a:gd name="connsiteY7" fmla="*/ 0 h 1399325"/>
              <a:gd name="connsiteX8" fmla="*/ 4041631 w 12192001"/>
              <a:gd name="connsiteY8" fmla="*/ 136016 h 1399325"/>
              <a:gd name="connsiteX9" fmla="*/ 4041631 w 12192001"/>
              <a:gd name="connsiteY9" fmla="*/ 138901 h 1399325"/>
              <a:gd name="connsiteX10" fmla="*/ 4046639 w 12192001"/>
              <a:gd name="connsiteY10" fmla="*/ 138901 h 1399325"/>
              <a:gd name="connsiteX11" fmla="*/ 4051394 w 12192001"/>
              <a:gd name="connsiteY11" fmla="*/ 141641 h 1399325"/>
              <a:gd name="connsiteX12" fmla="*/ 4815657 w 12192001"/>
              <a:gd name="connsiteY12" fmla="*/ 138901 h 1399325"/>
              <a:gd name="connsiteX13" fmla="*/ 8511256 w 12192001"/>
              <a:gd name="connsiteY13" fmla="*/ 138901 h 1399325"/>
              <a:gd name="connsiteX14" fmla="*/ 8511256 w 12192001"/>
              <a:gd name="connsiteY14" fmla="*/ 131623 h 1399325"/>
              <a:gd name="connsiteX15" fmla="*/ 12192001 w 12192001"/>
              <a:gd name="connsiteY15" fmla="*/ 131623 h 1399325"/>
              <a:gd name="connsiteX16" fmla="*/ 12192001 w 12192001"/>
              <a:gd name="connsiteY16" fmla="*/ 1208825 h 1399325"/>
              <a:gd name="connsiteX17" fmla="*/ 12192000 w 12192001"/>
              <a:gd name="connsiteY17" fmla="*/ 12088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208825 h 1399325"/>
              <a:gd name="connsiteX17" fmla="*/ 12192000 w 12192001"/>
              <a:gd name="connsiteY17"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0 w 12192001"/>
              <a:gd name="connsiteY15"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8511256 w 12192001"/>
              <a:gd name="connsiteY12" fmla="*/ 131623 h 1399325"/>
              <a:gd name="connsiteX13" fmla="*/ 12192001 w 12192001"/>
              <a:gd name="connsiteY13" fmla="*/ 131623 h 1399325"/>
              <a:gd name="connsiteX14" fmla="*/ 12192000 w 12192001"/>
              <a:gd name="connsiteY14"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12192001 w 12192001"/>
              <a:gd name="connsiteY12" fmla="*/ 131623 h 1399325"/>
              <a:gd name="connsiteX13" fmla="*/ 12192000 w 12192001"/>
              <a:gd name="connsiteY13"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12192001 w 12192001"/>
              <a:gd name="connsiteY11" fmla="*/ 131623 h 1399325"/>
              <a:gd name="connsiteX12" fmla="*/ 12192000 w 12192001"/>
              <a:gd name="connsiteY12" fmla="*/ 1399325 h 139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1399325">
                <a:moveTo>
                  <a:pt x="12192000" y="1399325"/>
                </a:moveTo>
                <a:lnTo>
                  <a:pt x="0" y="1399325"/>
                </a:lnTo>
                <a:cubicBezTo>
                  <a:pt x="1016" y="932883"/>
                  <a:pt x="2033" y="466442"/>
                  <a:pt x="3049" y="0"/>
                </a:cubicBezTo>
                <a:lnTo>
                  <a:pt x="734133" y="0"/>
                </a:lnTo>
                <a:lnTo>
                  <a:pt x="2801055" y="0"/>
                </a:lnTo>
                <a:lnTo>
                  <a:pt x="3805546" y="0"/>
                </a:lnTo>
                <a:lnTo>
                  <a:pt x="4041631" y="136016"/>
                </a:lnTo>
                <a:lnTo>
                  <a:pt x="4041631" y="138901"/>
                </a:lnTo>
                <a:lnTo>
                  <a:pt x="4046639" y="138901"/>
                </a:lnTo>
                <a:lnTo>
                  <a:pt x="4051394" y="141641"/>
                </a:lnTo>
                <a:lnTo>
                  <a:pt x="4815657" y="138901"/>
                </a:lnTo>
                <a:lnTo>
                  <a:pt x="12192001" y="131623"/>
                </a:lnTo>
                <a:cubicBezTo>
                  <a:pt x="12192001" y="554190"/>
                  <a:pt x="12192000" y="976758"/>
                  <a:pt x="12192000" y="1399325"/>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9" name="Title 28">
            <a:extLst>
              <a:ext uri="{FF2B5EF4-FFF2-40B4-BE49-F238E27FC236}">
                <a16:creationId xmlns:a16="http://schemas.microsoft.com/office/drawing/2014/main" id="{BB392E0D-A1CD-16E8-2422-6B89C23B5FB7}"/>
              </a:ext>
            </a:extLst>
          </p:cNvPr>
          <p:cNvSpPr>
            <a:spLocks noGrp="1"/>
          </p:cNvSpPr>
          <p:nvPr>
            <p:ph type="title" hasCustomPrompt="1"/>
          </p:nvPr>
        </p:nvSpPr>
        <p:spPr/>
        <p:txBody>
          <a:bodyPr/>
          <a:lstStyle>
            <a:lvl1pPr>
              <a:defRPr/>
            </a:lvl1pPr>
          </a:lstStyle>
          <a:p>
            <a:r>
              <a:rPr lang="en-US" dirty="0"/>
              <a:t>Add title (one line)</a:t>
            </a:r>
          </a:p>
        </p:txBody>
      </p:sp>
      <p:sp>
        <p:nvSpPr>
          <p:cNvPr id="4" name="Text Placeholder 3">
            <a:extLst>
              <a:ext uri="{FF2B5EF4-FFF2-40B4-BE49-F238E27FC236}">
                <a16:creationId xmlns:a16="http://schemas.microsoft.com/office/drawing/2014/main" id="{98350421-A407-E99B-C763-1D6612D289B5}"/>
              </a:ext>
            </a:extLst>
          </p:cNvPr>
          <p:cNvSpPr>
            <a:spLocks noGrp="1"/>
          </p:cNvSpPr>
          <p:nvPr>
            <p:ph type="body" sz="quarter" idx="10" hasCustomPrompt="1"/>
          </p:nvPr>
        </p:nvSpPr>
        <p:spPr>
          <a:xfrm>
            <a:off x="496648" y="1642373"/>
            <a:ext cx="3383280" cy="4167193"/>
          </a:xfrm>
        </p:spPr>
        <p:txBody>
          <a:bodyPr vert="horz" lIns="0" tIns="0" rIns="0" bIns="0" rtlCol="0">
            <a:noAutofit/>
          </a:bodyPr>
          <a:lstStyle>
            <a:lvl1pPr>
              <a:defRPr lang="en-US" smtClean="0">
                <a:solidFill>
                  <a:schemeClr val="bg1"/>
                </a:solidFill>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US" dirty="0"/>
              <a:t>Add text</a:t>
            </a:r>
          </a:p>
          <a:p>
            <a:pPr lvl="1"/>
            <a:r>
              <a:rPr lang="en-US" dirty="0"/>
              <a:t>Second level</a:t>
            </a:r>
          </a:p>
          <a:p>
            <a:pPr lvl="2">
              <a:buBlip>
                <a:blip r:embed="rId5"/>
              </a:buBlip>
            </a:pPr>
            <a:r>
              <a:rPr lang="en-US" dirty="0"/>
              <a:t>Third level</a:t>
            </a:r>
          </a:p>
          <a:p>
            <a:pPr lvl="3">
              <a:buBlip>
                <a:blip r:embed="rId6"/>
              </a:buBlip>
            </a:pPr>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66073293-169B-B5E6-AC26-5A2291675687}"/>
              </a:ext>
            </a:extLst>
          </p:cNvPr>
          <p:cNvSpPr>
            <a:spLocks noGrp="1"/>
          </p:cNvSpPr>
          <p:nvPr>
            <p:ph type="body" sz="quarter" idx="11" hasCustomPrompt="1"/>
          </p:nvPr>
        </p:nvSpPr>
        <p:spPr>
          <a:xfrm>
            <a:off x="4404360" y="1642373"/>
            <a:ext cx="3383280" cy="4167193"/>
          </a:xfrm>
        </p:spPr>
        <p:txBody>
          <a:bodyPr vert="horz" lIns="0" tIns="0" rIns="0" bIns="0" rtlCol="0">
            <a:noAutofit/>
          </a:bodyPr>
          <a:lstStyle>
            <a:lvl1pPr>
              <a:defRPr lang="en-US" smtClean="0">
                <a:solidFill>
                  <a:schemeClr val="bg1"/>
                </a:solidFill>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US" dirty="0"/>
              <a:t>Add text</a:t>
            </a:r>
          </a:p>
          <a:p>
            <a:pPr lvl="1"/>
            <a:r>
              <a:rPr lang="en-US" dirty="0"/>
              <a:t>Second level</a:t>
            </a:r>
          </a:p>
          <a:p>
            <a:pPr lvl="2">
              <a:buBlip>
                <a:blip r:embed="rId5"/>
              </a:buBlip>
            </a:pPr>
            <a:r>
              <a:rPr lang="en-US" dirty="0"/>
              <a:t>Third level</a:t>
            </a:r>
          </a:p>
          <a:p>
            <a:pPr lvl="3">
              <a:buBlip>
                <a:blip r:embed="rId6"/>
              </a:buBlip>
            </a:pPr>
            <a:r>
              <a:rPr lang="en-US" dirty="0"/>
              <a:t>Fourth level</a:t>
            </a:r>
          </a:p>
          <a:p>
            <a:pPr lvl="4"/>
            <a:r>
              <a:rPr lang="en-US" dirty="0"/>
              <a:t>Fifth level</a:t>
            </a:r>
          </a:p>
        </p:txBody>
      </p:sp>
      <p:sp>
        <p:nvSpPr>
          <p:cNvPr id="2" name="Rectangle 1">
            <a:extLst>
              <a:ext uri="{FF2B5EF4-FFF2-40B4-BE49-F238E27FC236}">
                <a16:creationId xmlns:a16="http://schemas.microsoft.com/office/drawing/2014/main" id="{B815D43D-DC95-6FBD-2E5B-7933F7161A41}"/>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10" name="Text Placeholder 8">
            <a:extLst>
              <a:ext uri="{FF2B5EF4-FFF2-40B4-BE49-F238E27FC236}">
                <a16:creationId xmlns:a16="http://schemas.microsoft.com/office/drawing/2014/main" id="{3680DEC9-9E87-A9AB-F339-880FC33EEB90}"/>
              </a:ext>
            </a:extLst>
          </p:cNvPr>
          <p:cNvSpPr>
            <a:spLocks noGrp="1"/>
          </p:cNvSpPr>
          <p:nvPr>
            <p:ph type="body" sz="quarter" idx="12" hasCustomPrompt="1"/>
          </p:nvPr>
        </p:nvSpPr>
        <p:spPr>
          <a:xfrm>
            <a:off x="8312072" y="1642373"/>
            <a:ext cx="3383280" cy="4167193"/>
          </a:xfrm>
        </p:spPr>
        <p:txBody>
          <a:bodyPr vert="horz" lIns="0" tIns="0" rIns="0" bIns="0" rtlCol="0">
            <a:noAutofit/>
          </a:bodyPr>
          <a:lstStyle>
            <a:lvl1pPr>
              <a:defRPr lang="en-US" smtClean="0">
                <a:solidFill>
                  <a:schemeClr val="bg1"/>
                </a:solidFill>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US" dirty="0"/>
              <a:t>Add text</a:t>
            </a:r>
          </a:p>
          <a:p>
            <a:pPr lvl="1"/>
            <a:r>
              <a:rPr lang="en-US" dirty="0"/>
              <a:t>Second level</a:t>
            </a:r>
          </a:p>
          <a:p>
            <a:pPr lvl="2">
              <a:buBlip>
                <a:blip r:embed="rId5"/>
              </a:buBlip>
            </a:pPr>
            <a:r>
              <a:rPr lang="en-US" dirty="0"/>
              <a:t>Third level</a:t>
            </a:r>
          </a:p>
          <a:p>
            <a:pPr lvl="3">
              <a:buBlip>
                <a:blip r:embed="rId6"/>
              </a:buBlip>
            </a:pPr>
            <a:r>
              <a:rPr lang="en-US" dirty="0"/>
              <a:t>Fourth level</a:t>
            </a:r>
          </a:p>
          <a:p>
            <a:pPr lvl="4"/>
            <a:r>
              <a:rPr lang="en-US" dirty="0"/>
              <a:t>Fifth level</a:t>
            </a:r>
          </a:p>
        </p:txBody>
      </p:sp>
    </p:spTree>
    <p:extLst>
      <p:ext uri="{BB962C8B-B14F-4D97-AF65-F5344CB8AC3E}">
        <p14:creationId xmlns:p14="http://schemas.microsoft.com/office/powerpoint/2010/main" val="3427857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 Icons (RO)">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048EAC1-E65B-5C1B-BCC5-C778B1A366D5}"/>
              </a:ext>
            </a:extLst>
          </p:cNvPr>
          <p:cNvPicPr>
            <a:picLocks noChangeAspect="1"/>
          </p:cNvPicPr>
          <p:nvPr userDrawn="1"/>
        </p:nvPicPr>
        <p:blipFill>
          <a:blip r:embed="rId4"/>
          <a:srcRect t="5246" b="5246"/>
          <a:stretch/>
        </p:blipFill>
        <p:spPr>
          <a:xfrm>
            <a:off x="1524" y="678174"/>
            <a:ext cx="12188952" cy="6136858"/>
          </a:xfrm>
          <a:prstGeom prst="rect">
            <a:avLst/>
          </a:prstGeom>
        </p:spPr>
      </p:pic>
      <p:sp>
        <p:nvSpPr>
          <p:cNvPr id="10" name="Rectangle 9">
            <a:extLst>
              <a:ext uri="{FF2B5EF4-FFF2-40B4-BE49-F238E27FC236}">
                <a16:creationId xmlns:a16="http://schemas.microsoft.com/office/drawing/2014/main" id="{2C1970BB-AF6F-AC25-E0C9-0BD6EE315E85}"/>
              </a:ext>
            </a:extLst>
          </p:cNvPr>
          <p:cNvSpPr/>
          <p:nvPr userDrawn="1"/>
        </p:nvSpPr>
        <p:spPr>
          <a:xfrm>
            <a:off x="0" y="1324037"/>
            <a:ext cx="12192001" cy="5144553"/>
          </a:xfrm>
          <a:prstGeom prst="rect">
            <a:avLst/>
          </a:prstGeom>
          <a:solidFill>
            <a:schemeClr val="accent6">
              <a:lumMod val="7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aphicFrame>
        <p:nvGraphicFramePr>
          <p:cNvPr id="41" name="Object 40" hidden="1">
            <a:extLst>
              <a:ext uri="{FF2B5EF4-FFF2-40B4-BE49-F238E27FC236}">
                <a16:creationId xmlns:a16="http://schemas.microsoft.com/office/drawing/2014/main" id="{917EBC3C-F2FD-4799-BA0A-65D895E6360A}"/>
              </a:ext>
            </a:extLst>
          </p:cNvPr>
          <p:cNvGraphicFramePr>
            <a:graphicFrameLocks noChangeAspect="1"/>
          </p:cNvGraphicFramePr>
          <p:nvPr>
            <p:custDataLst>
              <p:tags r:id="rId1"/>
            </p:custDataLst>
            <p:extLst>
              <p:ext uri="{D42A27DB-BD31-4B8C-83A1-F6EECF244321}">
                <p14:modId xmlns:p14="http://schemas.microsoft.com/office/powerpoint/2010/main" val="418368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1" name="Object 40" hidden="1">
                        <a:extLst>
                          <a:ext uri="{FF2B5EF4-FFF2-40B4-BE49-F238E27FC236}">
                            <a16:creationId xmlns:a16="http://schemas.microsoft.com/office/drawing/2014/main" id="{917EBC3C-F2FD-4799-BA0A-65D895E636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2510D0F0-12AD-45C1-9B94-28859223557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33" name="Text Placeholder 32">
            <a:extLst>
              <a:ext uri="{FF2B5EF4-FFF2-40B4-BE49-F238E27FC236}">
                <a16:creationId xmlns:a16="http://schemas.microsoft.com/office/drawing/2014/main" id="{80B84918-AECE-4E9D-811A-C362EB2F227E}"/>
              </a:ext>
            </a:extLst>
          </p:cNvPr>
          <p:cNvSpPr>
            <a:spLocks noGrp="1"/>
          </p:cNvSpPr>
          <p:nvPr>
            <p:ph type="body" sz="quarter" idx="28" hasCustomPrompt="1"/>
          </p:nvPr>
        </p:nvSpPr>
        <p:spPr>
          <a:xfrm>
            <a:off x="495361" y="2351360"/>
            <a:ext cx="2834640" cy="235449"/>
          </a:xfrm>
        </p:spPr>
        <p:txBody>
          <a:bodyPr anchor="ctr" anchorCtr="0">
            <a:spAutoFit/>
          </a:bodyPr>
          <a:lstStyle>
            <a:lvl1pPr marL="0" indent="0" algn="ctr">
              <a:lnSpc>
                <a:spcPct val="85000"/>
              </a:lnSpc>
              <a:spcBef>
                <a:spcPts val="0"/>
              </a:spcBef>
              <a:buFontTx/>
              <a:buNone/>
              <a:defRPr sz="1800" b="1">
                <a:solidFill>
                  <a:schemeClr val="bg1"/>
                </a:solidFill>
              </a:defRPr>
            </a:lvl1pPr>
          </a:lstStyle>
          <a:p>
            <a:pPr lvl="0"/>
            <a:r>
              <a:rPr lang="en-US"/>
              <a:t>Add title</a:t>
            </a:r>
          </a:p>
        </p:txBody>
      </p:sp>
      <p:sp>
        <p:nvSpPr>
          <p:cNvPr id="35" name="Text Placeholder 34">
            <a:extLst>
              <a:ext uri="{FF2B5EF4-FFF2-40B4-BE49-F238E27FC236}">
                <a16:creationId xmlns:a16="http://schemas.microsoft.com/office/drawing/2014/main" id="{CFDD1C55-CC28-4EF8-AC55-64EE2B45BE57}"/>
              </a:ext>
            </a:extLst>
          </p:cNvPr>
          <p:cNvSpPr>
            <a:spLocks noGrp="1"/>
          </p:cNvSpPr>
          <p:nvPr>
            <p:ph type="body" sz="quarter" idx="29" hasCustomPrompt="1"/>
          </p:nvPr>
        </p:nvSpPr>
        <p:spPr>
          <a:xfrm>
            <a:off x="495044" y="4270587"/>
            <a:ext cx="2835275" cy="502920"/>
          </a:xfrm>
        </p:spPr>
        <p:txBody>
          <a:bodyPr>
            <a:spAutoFit/>
          </a:bodyPr>
          <a:lstStyle>
            <a:lvl1pPr marL="285750" indent="-285750" algn="ctr">
              <a:spcBef>
                <a:spcPts val="600"/>
              </a:spcBef>
              <a:buFontTx/>
              <a:buNone/>
              <a:defRPr sz="1600">
                <a:solidFill>
                  <a:schemeClr val="bg1"/>
                </a:solidFill>
              </a:defRPr>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36" name="Text Placeholder 32">
            <a:extLst>
              <a:ext uri="{FF2B5EF4-FFF2-40B4-BE49-F238E27FC236}">
                <a16:creationId xmlns:a16="http://schemas.microsoft.com/office/drawing/2014/main" id="{CDE670DD-0AD0-49A7-BBB7-6E14E24C352B}"/>
              </a:ext>
            </a:extLst>
          </p:cNvPr>
          <p:cNvSpPr>
            <a:spLocks noGrp="1"/>
          </p:cNvSpPr>
          <p:nvPr>
            <p:ph type="body" sz="quarter" idx="30" hasCustomPrompt="1"/>
          </p:nvPr>
        </p:nvSpPr>
        <p:spPr>
          <a:xfrm>
            <a:off x="4689976" y="2351360"/>
            <a:ext cx="2834640" cy="235449"/>
          </a:xfrm>
        </p:spPr>
        <p:txBody>
          <a:bodyPr anchor="ctr" anchorCtr="0">
            <a:spAutoFit/>
          </a:bodyPr>
          <a:lstStyle>
            <a:lvl1pPr marL="0" indent="0" algn="ctr">
              <a:lnSpc>
                <a:spcPct val="85000"/>
              </a:lnSpc>
              <a:spcBef>
                <a:spcPts val="0"/>
              </a:spcBef>
              <a:buFontTx/>
              <a:buNone/>
              <a:defRPr sz="1800" b="1">
                <a:solidFill>
                  <a:schemeClr val="bg1"/>
                </a:solidFill>
              </a:defRPr>
            </a:lvl1pPr>
          </a:lstStyle>
          <a:p>
            <a:pPr lvl="0"/>
            <a:r>
              <a:rPr lang="en-US"/>
              <a:t>Add title</a:t>
            </a:r>
          </a:p>
        </p:txBody>
      </p:sp>
      <p:sp>
        <p:nvSpPr>
          <p:cNvPr id="37" name="Text Placeholder 34">
            <a:extLst>
              <a:ext uri="{FF2B5EF4-FFF2-40B4-BE49-F238E27FC236}">
                <a16:creationId xmlns:a16="http://schemas.microsoft.com/office/drawing/2014/main" id="{FC9DE6F9-8E54-4D72-AB42-FB47C6AFD250}"/>
              </a:ext>
            </a:extLst>
          </p:cNvPr>
          <p:cNvSpPr>
            <a:spLocks noGrp="1"/>
          </p:cNvSpPr>
          <p:nvPr>
            <p:ph type="body" sz="quarter" idx="31" hasCustomPrompt="1"/>
          </p:nvPr>
        </p:nvSpPr>
        <p:spPr>
          <a:xfrm>
            <a:off x="4689659" y="4270587"/>
            <a:ext cx="2835275" cy="502920"/>
          </a:xfrm>
        </p:spPr>
        <p:txBody>
          <a:bodyPr>
            <a:spAutoFit/>
          </a:bodyPr>
          <a:lstStyle>
            <a:lvl1pPr marL="285750" indent="-285750" algn="ctr">
              <a:spcBef>
                <a:spcPts val="600"/>
              </a:spcBef>
              <a:buFontTx/>
              <a:buNone/>
              <a:defRPr sz="1600">
                <a:solidFill>
                  <a:schemeClr val="bg1"/>
                </a:solidFill>
              </a:defRPr>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38" name="Text Placeholder 32">
            <a:extLst>
              <a:ext uri="{FF2B5EF4-FFF2-40B4-BE49-F238E27FC236}">
                <a16:creationId xmlns:a16="http://schemas.microsoft.com/office/drawing/2014/main" id="{3183D2B9-482A-44BB-9D5F-DBFE89D19F85}"/>
              </a:ext>
            </a:extLst>
          </p:cNvPr>
          <p:cNvSpPr>
            <a:spLocks noGrp="1"/>
          </p:cNvSpPr>
          <p:nvPr>
            <p:ph type="body" sz="quarter" idx="32" hasCustomPrompt="1"/>
          </p:nvPr>
        </p:nvSpPr>
        <p:spPr>
          <a:xfrm>
            <a:off x="8871291" y="2351360"/>
            <a:ext cx="2834640" cy="235449"/>
          </a:xfrm>
        </p:spPr>
        <p:txBody>
          <a:bodyPr anchor="ctr" anchorCtr="0">
            <a:spAutoFit/>
          </a:bodyPr>
          <a:lstStyle>
            <a:lvl1pPr marL="0" indent="0" algn="ctr">
              <a:lnSpc>
                <a:spcPct val="85000"/>
              </a:lnSpc>
              <a:spcBef>
                <a:spcPts val="0"/>
              </a:spcBef>
              <a:buFontTx/>
              <a:buNone/>
              <a:defRPr sz="1800" b="1">
                <a:solidFill>
                  <a:schemeClr val="bg1"/>
                </a:solidFill>
              </a:defRPr>
            </a:lvl1pPr>
          </a:lstStyle>
          <a:p>
            <a:pPr lvl="0"/>
            <a:r>
              <a:rPr lang="en-US"/>
              <a:t>Add title</a:t>
            </a:r>
          </a:p>
        </p:txBody>
      </p:sp>
      <p:sp>
        <p:nvSpPr>
          <p:cNvPr id="39" name="Text Placeholder 34">
            <a:extLst>
              <a:ext uri="{FF2B5EF4-FFF2-40B4-BE49-F238E27FC236}">
                <a16:creationId xmlns:a16="http://schemas.microsoft.com/office/drawing/2014/main" id="{775FB311-5594-4514-9EFB-DF05142A6E8E}"/>
              </a:ext>
            </a:extLst>
          </p:cNvPr>
          <p:cNvSpPr>
            <a:spLocks noGrp="1"/>
          </p:cNvSpPr>
          <p:nvPr>
            <p:ph type="body" sz="quarter" idx="33" hasCustomPrompt="1"/>
          </p:nvPr>
        </p:nvSpPr>
        <p:spPr>
          <a:xfrm>
            <a:off x="8870974" y="4270587"/>
            <a:ext cx="2835275" cy="502920"/>
          </a:xfrm>
        </p:spPr>
        <p:txBody>
          <a:bodyPr>
            <a:spAutoFit/>
          </a:bodyPr>
          <a:lstStyle>
            <a:lvl1pPr marL="285750" indent="-285750" algn="ctr">
              <a:spcBef>
                <a:spcPts val="600"/>
              </a:spcBef>
              <a:buFontTx/>
              <a:buNone/>
              <a:defRPr sz="1600">
                <a:solidFill>
                  <a:schemeClr val="bg1"/>
                </a:solidFill>
              </a:defRPr>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20" name="Picture Placeholder 6">
            <a:extLst>
              <a:ext uri="{FF2B5EF4-FFF2-40B4-BE49-F238E27FC236}">
                <a16:creationId xmlns:a16="http://schemas.microsoft.com/office/drawing/2014/main" id="{8D4CC7BD-E27E-4EE8-A7DB-4AC115B1C01D}"/>
              </a:ext>
            </a:extLst>
          </p:cNvPr>
          <p:cNvSpPr>
            <a:spLocks noGrp="1"/>
          </p:cNvSpPr>
          <p:nvPr>
            <p:ph type="pic" sz="quarter" idx="39" hasCustomPrompt="1"/>
          </p:nvPr>
        </p:nvSpPr>
        <p:spPr>
          <a:xfrm>
            <a:off x="1604973" y="3242735"/>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1" name="Picture Placeholder 6">
            <a:extLst>
              <a:ext uri="{FF2B5EF4-FFF2-40B4-BE49-F238E27FC236}">
                <a16:creationId xmlns:a16="http://schemas.microsoft.com/office/drawing/2014/main" id="{F8AD2306-5A92-4FC0-BFA9-0F7016A6CDAB}"/>
              </a:ext>
            </a:extLst>
          </p:cNvPr>
          <p:cNvSpPr>
            <a:spLocks noGrp="1"/>
          </p:cNvSpPr>
          <p:nvPr>
            <p:ph type="pic" sz="quarter" idx="40" hasCustomPrompt="1"/>
          </p:nvPr>
        </p:nvSpPr>
        <p:spPr>
          <a:xfrm>
            <a:off x="5799588" y="3242735"/>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2" name="Picture Placeholder 6">
            <a:extLst>
              <a:ext uri="{FF2B5EF4-FFF2-40B4-BE49-F238E27FC236}">
                <a16:creationId xmlns:a16="http://schemas.microsoft.com/office/drawing/2014/main" id="{B0D23108-9BEB-4E78-980F-330123D90595}"/>
              </a:ext>
            </a:extLst>
          </p:cNvPr>
          <p:cNvSpPr>
            <a:spLocks noGrp="1"/>
          </p:cNvSpPr>
          <p:nvPr>
            <p:ph type="pic" sz="quarter" idx="41" hasCustomPrompt="1"/>
          </p:nvPr>
        </p:nvSpPr>
        <p:spPr>
          <a:xfrm>
            <a:off x="9980903" y="3242735"/>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3" name="Freeform: Shape 2">
            <a:extLst>
              <a:ext uri="{FF2B5EF4-FFF2-40B4-BE49-F238E27FC236}">
                <a16:creationId xmlns:a16="http://schemas.microsoft.com/office/drawing/2014/main" id="{49EFF4B6-0C95-9495-F89A-374A980B295B}"/>
              </a:ext>
            </a:extLst>
          </p:cNvPr>
          <p:cNvSpPr/>
          <p:nvPr userDrawn="1"/>
        </p:nvSpPr>
        <p:spPr>
          <a:xfrm flipH="1" flipV="1">
            <a:off x="-1" y="196850"/>
            <a:ext cx="12192001" cy="1399325"/>
          </a:xfrm>
          <a:custGeom>
            <a:avLst/>
            <a:gdLst>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922105 h 1399325"/>
              <a:gd name="connsiteX4" fmla="*/ 3049 w 12192001"/>
              <a:gd name="connsiteY4" fmla="*/ 0 h 1399325"/>
              <a:gd name="connsiteX5" fmla="*/ 734133 w 12192001"/>
              <a:gd name="connsiteY5" fmla="*/ 0 h 1399325"/>
              <a:gd name="connsiteX6" fmla="*/ 2801055 w 12192001"/>
              <a:gd name="connsiteY6" fmla="*/ 0 h 1399325"/>
              <a:gd name="connsiteX7" fmla="*/ 3805546 w 12192001"/>
              <a:gd name="connsiteY7" fmla="*/ 0 h 1399325"/>
              <a:gd name="connsiteX8" fmla="*/ 4041631 w 12192001"/>
              <a:gd name="connsiteY8" fmla="*/ 136016 h 1399325"/>
              <a:gd name="connsiteX9" fmla="*/ 4041631 w 12192001"/>
              <a:gd name="connsiteY9" fmla="*/ 138901 h 1399325"/>
              <a:gd name="connsiteX10" fmla="*/ 4046639 w 12192001"/>
              <a:gd name="connsiteY10" fmla="*/ 138901 h 1399325"/>
              <a:gd name="connsiteX11" fmla="*/ 4051394 w 12192001"/>
              <a:gd name="connsiteY11" fmla="*/ 141641 h 1399325"/>
              <a:gd name="connsiteX12" fmla="*/ 4815657 w 12192001"/>
              <a:gd name="connsiteY12" fmla="*/ 138901 h 1399325"/>
              <a:gd name="connsiteX13" fmla="*/ 8511256 w 12192001"/>
              <a:gd name="connsiteY13" fmla="*/ 138901 h 1399325"/>
              <a:gd name="connsiteX14" fmla="*/ 8511256 w 12192001"/>
              <a:gd name="connsiteY14" fmla="*/ 131623 h 1399325"/>
              <a:gd name="connsiteX15" fmla="*/ 12192001 w 12192001"/>
              <a:gd name="connsiteY15" fmla="*/ 131623 h 1399325"/>
              <a:gd name="connsiteX16" fmla="*/ 12192001 w 12192001"/>
              <a:gd name="connsiteY16" fmla="*/ 1208825 h 1399325"/>
              <a:gd name="connsiteX17" fmla="*/ 12192000 w 12192001"/>
              <a:gd name="connsiteY17" fmla="*/ 12088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208825 h 1399325"/>
              <a:gd name="connsiteX17" fmla="*/ 12192000 w 12192001"/>
              <a:gd name="connsiteY17"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0 w 12192001"/>
              <a:gd name="connsiteY15"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8511256 w 12192001"/>
              <a:gd name="connsiteY12" fmla="*/ 131623 h 1399325"/>
              <a:gd name="connsiteX13" fmla="*/ 12192001 w 12192001"/>
              <a:gd name="connsiteY13" fmla="*/ 131623 h 1399325"/>
              <a:gd name="connsiteX14" fmla="*/ 12192000 w 12192001"/>
              <a:gd name="connsiteY14"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12192001 w 12192001"/>
              <a:gd name="connsiteY12" fmla="*/ 131623 h 1399325"/>
              <a:gd name="connsiteX13" fmla="*/ 12192000 w 12192001"/>
              <a:gd name="connsiteY13"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12192001 w 12192001"/>
              <a:gd name="connsiteY11" fmla="*/ 131623 h 1399325"/>
              <a:gd name="connsiteX12" fmla="*/ 12192000 w 12192001"/>
              <a:gd name="connsiteY12" fmla="*/ 1399325 h 139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1399325">
                <a:moveTo>
                  <a:pt x="12192000" y="1399325"/>
                </a:moveTo>
                <a:lnTo>
                  <a:pt x="0" y="1399325"/>
                </a:lnTo>
                <a:cubicBezTo>
                  <a:pt x="1016" y="932883"/>
                  <a:pt x="2033" y="466442"/>
                  <a:pt x="3049" y="0"/>
                </a:cubicBezTo>
                <a:lnTo>
                  <a:pt x="734133" y="0"/>
                </a:lnTo>
                <a:lnTo>
                  <a:pt x="2801055" y="0"/>
                </a:lnTo>
                <a:lnTo>
                  <a:pt x="3805546" y="0"/>
                </a:lnTo>
                <a:lnTo>
                  <a:pt x="4041631" y="136016"/>
                </a:lnTo>
                <a:lnTo>
                  <a:pt x="4041631" y="138901"/>
                </a:lnTo>
                <a:lnTo>
                  <a:pt x="4046639" y="138901"/>
                </a:lnTo>
                <a:lnTo>
                  <a:pt x="4051394" y="141641"/>
                </a:lnTo>
                <a:lnTo>
                  <a:pt x="4815657" y="138901"/>
                </a:lnTo>
                <a:lnTo>
                  <a:pt x="12192001" y="131623"/>
                </a:lnTo>
                <a:cubicBezTo>
                  <a:pt x="12192001" y="554190"/>
                  <a:pt x="12192000" y="976758"/>
                  <a:pt x="12192000" y="1399325"/>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 name="Title 1">
            <a:extLst>
              <a:ext uri="{FF2B5EF4-FFF2-40B4-BE49-F238E27FC236}">
                <a16:creationId xmlns:a16="http://schemas.microsoft.com/office/drawing/2014/main" id="{03ABE548-101B-4EAC-8CB7-BBD49E60436D}"/>
              </a:ext>
            </a:extLst>
          </p:cNvPr>
          <p:cNvSpPr>
            <a:spLocks noGrp="1"/>
          </p:cNvSpPr>
          <p:nvPr>
            <p:ph type="title" hasCustomPrompt="1"/>
          </p:nvPr>
        </p:nvSpPr>
        <p:spPr/>
        <p:txBody>
          <a:bodyPr/>
          <a:lstStyle>
            <a:lvl1pPr>
              <a:defRPr/>
            </a:lvl1pPr>
          </a:lstStyle>
          <a:p>
            <a:r>
              <a:rPr lang="en-US" dirty="0"/>
              <a:t>Add title (two lines)</a:t>
            </a:r>
          </a:p>
        </p:txBody>
      </p:sp>
      <p:sp>
        <p:nvSpPr>
          <p:cNvPr id="4" name="Rectangle 3">
            <a:extLst>
              <a:ext uri="{FF2B5EF4-FFF2-40B4-BE49-F238E27FC236}">
                <a16:creationId xmlns:a16="http://schemas.microsoft.com/office/drawing/2014/main" id="{95FDE562-7804-8048-36C2-F55ADE50CBD7}"/>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6" name="Freeform: Shape 5">
            <a:extLst>
              <a:ext uri="{FF2B5EF4-FFF2-40B4-BE49-F238E27FC236}">
                <a16:creationId xmlns:a16="http://schemas.microsoft.com/office/drawing/2014/main" id="{FD7BA2FC-8844-DE42-5371-A7673EC32458}"/>
              </a:ext>
            </a:extLst>
          </p:cNvPr>
          <p:cNvSpPr/>
          <p:nvPr userDrawn="1"/>
        </p:nvSpPr>
        <p:spPr>
          <a:xfrm>
            <a:off x="0" y="6140187"/>
            <a:ext cx="12192002" cy="728021"/>
          </a:xfrm>
          <a:custGeom>
            <a:avLst/>
            <a:gdLst>
              <a:gd name="connsiteX0" fmla="*/ 0 w 12192002"/>
              <a:gd name="connsiteY0" fmla="*/ 0 h 728021"/>
              <a:gd name="connsiteX1" fmla="*/ 2528739 w 12192002"/>
              <a:gd name="connsiteY1" fmla="*/ 0 h 728021"/>
              <a:gd name="connsiteX2" fmla="*/ 2765129 w 12192002"/>
              <a:gd name="connsiteY2" fmla="*/ 136016 h 728021"/>
              <a:gd name="connsiteX3" fmla="*/ 2765129 w 12192002"/>
              <a:gd name="connsiteY3" fmla="*/ 138901 h 728021"/>
              <a:gd name="connsiteX4" fmla="*/ 2770143 w 12192002"/>
              <a:gd name="connsiteY4" fmla="*/ 138901 h 728021"/>
              <a:gd name="connsiteX5" fmla="*/ 2774905 w 12192002"/>
              <a:gd name="connsiteY5" fmla="*/ 141641 h 728021"/>
              <a:gd name="connsiteX6" fmla="*/ 12192002 w 12192002"/>
              <a:gd name="connsiteY6" fmla="*/ 148090 h 728021"/>
              <a:gd name="connsiteX7" fmla="*/ 12192002 w 12192002"/>
              <a:gd name="connsiteY7" fmla="*/ 728021 h 728021"/>
              <a:gd name="connsiteX8" fmla="*/ 1 w 12192002"/>
              <a:gd name="connsiteY8" fmla="*/ 728021 h 728021"/>
              <a:gd name="connsiteX9" fmla="*/ 1 w 12192002"/>
              <a:gd name="connsiteY9" fmla="*/ 233465 h 728021"/>
              <a:gd name="connsiteX10" fmla="*/ 0 w 12192002"/>
              <a:gd name="connsiteY10" fmla="*/ 233465 h 728021"/>
              <a:gd name="connsiteX11" fmla="*/ 0 w 12192002"/>
              <a:gd name="connsiteY11" fmla="*/ 0 h 72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2" h="728021">
                <a:moveTo>
                  <a:pt x="0" y="0"/>
                </a:moveTo>
                <a:lnTo>
                  <a:pt x="2528739" y="0"/>
                </a:lnTo>
                <a:lnTo>
                  <a:pt x="2765129" y="136016"/>
                </a:lnTo>
                <a:lnTo>
                  <a:pt x="2765129" y="138901"/>
                </a:lnTo>
                <a:lnTo>
                  <a:pt x="2770143" y="138901"/>
                </a:lnTo>
                <a:lnTo>
                  <a:pt x="2774905" y="141641"/>
                </a:lnTo>
                <a:lnTo>
                  <a:pt x="12192002" y="148090"/>
                </a:lnTo>
                <a:lnTo>
                  <a:pt x="12192002" y="728021"/>
                </a:lnTo>
                <a:lnTo>
                  <a:pt x="1" y="728021"/>
                </a:lnTo>
                <a:lnTo>
                  <a:pt x="1" y="233465"/>
                </a:lnTo>
                <a:lnTo>
                  <a:pt x="0" y="233465"/>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a:solidFill>
                <a:schemeClr val="bg1"/>
              </a:solidFill>
            </a:endParaRPr>
          </a:p>
        </p:txBody>
      </p:sp>
      <p:sp>
        <p:nvSpPr>
          <p:cNvPr id="8" name="Freeform: Shape 7">
            <a:extLst>
              <a:ext uri="{FF2B5EF4-FFF2-40B4-BE49-F238E27FC236}">
                <a16:creationId xmlns:a16="http://schemas.microsoft.com/office/drawing/2014/main" id="{21EF3FF2-FAAA-D288-C2FD-C516F04B78BD}"/>
              </a:ext>
            </a:extLst>
          </p:cNvPr>
          <p:cNvSpPr/>
          <p:nvPr userDrawn="1"/>
        </p:nvSpPr>
        <p:spPr>
          <a:xfrm>
            <a:off x="9506712" y="629009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9" name="Freeform: Shape 8">
            <a:extLst>
              <a:ext uri="{FF2B5EF4-FFF2-40B4-BE49-F238E27FC236}">
                <a16:creationId xmlns:a16="http://schemas.microsoft.com/office/drawing/2014/main" id="{1C187F0E-F6AF-D574-2345-F0C2BA9CF984}"/>
              </a:ext>
            </a:extLst>
          </p:cNvPr>
          <p:cNvSpPr/>
          <p:nvPr userDrawn="1"/>
        </p:nvSpPr>
        <p:spPr>
          <a:xfrm>
            <a:off x="9506712" y="6391694"/>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6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12" name="Graphic 11">
            <a:extLst>
              <a:ext uri="{FF2B5EF4-FFF2-40B4-BE49-F238E27FC236}">
                <a16:creationId xmlns:a16="http://schemas.microsoft.com/office/drawing/2014/main" id="{B4210088-DFC7-649E-1CDF-761E56ABDFE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040" y="6497832"/>
            <a:ext cx="2892560" cy="215304"/>
          </a:xfrm>
          <a:prstGeom prst="rect">
            <a:avLst/>
          </a:prstGeom>
        </p:spPr>
      </p:pic>
      <p:sp>
        <p:nvSpPr>
          <p:cNvPr id="16" name="Rectangle 6">
            <a:extLst>
              <a:ext uri="{FF2B5EF4-FFF2-40B4-BE49-F238E27FC236}">
                <a16:creationId xmlns:a16="http://schemas.microsoft.com/office/drawing/2014/main" id="{EF007EB3-3EED-E888-9EAD-686B0F3B14A4}"/>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Tree>
    <p:extLst>
      <p:ext uri="{BB962C8B-B14F-4D97-AF65-F5344CB8AC3E}">
        <p14:creationId xmlns:p14="http://schemas.microsoft.com/office/powerpoint/2010/main" val="2849609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 Icons (RO)">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B67096A-AC18-1872-69A8-55D5377139D5}"/>
              </a:ext>
            </a:extLst>
          </p:cNvPr>
          <p:cNvPicPr>
            <a:picLocks noChangeAspect="1"/>
          </p:cNvPicPr>
          <p:nvPr userDrawn="1"/>
        </p:nvPicPr>
        <p:blipFill>
          <a:blip r:embed="rId4"/>
          <a:srcRect t="5246" b="5246"/>
          <a:stretch/>
        </p:blipFill>
        <p:spPr>
          <a:xfrm>
            <a:off x="1524" y="678174"/>
            <a:ext cx="12188952" cy="6136858"/>
          </a:xfrm>
          <a:prstGeom prst="rect">
            <a:avLst/>
          </a:prstGeom>
        </p:spPr>
      </p:pic>
      <p:sp>
        <p:nvSpPr>
          <p:cNvPr id="5" name="Rectangle 4">
            <a:extLst>
              <a:ext uri="{FF2B5EF4-FFF2-40B4-BE49-F238E27FC236}">
                <a16:creationId xmlns:a16="http://schemas.microsoft.com/office/drawing/2014/main" id="{EFB7DF9F-1DDC-FD8F-DA71-626973CA58B5}"/>
              </a:ext>
            </a:extLst>
          </p:cNvPr>
          <p:cNvSpPr/>
          <p:nvPr userDrawn="1"/>
        </p:nvSpPr>
        <p:spPr>
          <a:xfrm>
            <a:off x="0" y="1324037"/>
            <a:ext cx="12192001" cy="5144553"/>
          </a:xfrm>
          <a:prstGeom prst="rect">
            <a:avLst/>
          </a:prstGeom>
          <a:solidFill>
            <a:schemeClr val="accent6">
              <a:lumMod val="7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aphicFrame>
        <p:nvGraphicFramePr>
          <p:cNvPr id="4" name="Object 3" hidden="1">
            <a:extLst>
              <a:ext uri="{FF2B5EF4-FFF2-40B4-BE49-F238E27FC236}">
                <a16:creationId xmlns:a16="http://schemas.microsoft.com/office/drawing/2014/main" id="{CD0DD1B2-3E44-448A-B29D-4BF5525EAF82}"/>
              </a:ext>
            </a:extLst>
          </p:cNvPr>
          <p:cNvGraphicFramePr>
            <a:graphicFrameLocks noChangeAspect="1"/>
          </p:cNvGraphicFramePr>
          <p:nvPr>
            <p:custDataLst>
              <p:tags r:id="rId1"/>
            </p:custDataLst>
            <p:extLst>
              <p:ext uri="{D42A27DB-BD31-4B8C-83A1-F6EECF244321}">
                <p14:modId xmlns:p14="http://schemas.microsoft.com/office/powerpoint/2010/main" val="429254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CD0DD1B2-3E44-448A-B29D-4BF5525EAF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8CDBA-3DC1-4B48-9D1F-EF614A8FDDB5}"/>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52" name="Text Placeholder 32">
            <a:extLst>
              <a:ext uri="{FF2B5EF4-FFF2-40B4-BE49-F238E27FC236}">
                <a16:creationId xmlns:a16="http://schemas.microsoft.com/office/drawing/2014/main" id="{490C73DF-CFB4-4B5B-92C8-F90E3A62E77F}"/>
              </a:ext>
            </a:extLst>
          </p:cNvPr>
          <p:cNvSpPr>
            <a:spLocks noGrp="1"/>
          </p:cNvSpPr>
          <p:nvPr>
            <p:ph type="body" sz="quarter" idx="28" hasCustomPrompt="1"/>
          </p:nvPr>
        </p:nvSpPr>
        <p:spPr>
          <a:xfrm>
            <a:off x="500204" y="2369455"/>
            <a:ext cx="1936096" cy="209288"/>
          </a:xfrm>
        </p:spPr>
        <p:txBody>
          <a:bodyPr anchor="ctr" anchorCtr="0">
            <a:spAutoFit/>
          </a:bodyPr>
          <a:lstStyle>
            <a:lvl1pPr marL="0" indent="0" algn="ctr">
              <a:lnSpc>
                <a:spcPct val="85000"/>
              </a:lnSpc>
              <a:spcBef>
                <a:spcPts val="0"/>
              </a:spcBef>
              <a:buFontTx/>
              <a:buNone/>
              <a:defRPr sz="1600" b="1">
                <a:solidFill>
                  <a:schemeClr val="bg1"/>
                </a:solidFill>
              </a:defRPr>
            </a:lvl1pPr>
          </a:lstStyle>
          <a:p>
            <a:pPr lvl="0"/>
            <a:r>
              <a:rPr lang="en-US"/>
              <a:t>Add title</a:t>
            </a:r>
          </a:p>
        </p:txBody>
      </p:sp>
      <p:sp>
        <p:nvSpPr>
          <p:cNvPr id="53" name="Text Placeholder 34">
            <a:extLst>
              <a:ext uri="{FF2B5EF4-FFF2-40B4-BE49-F238E27FC236}">
                <a16:creationId xmlns:a16="http://schemas.microsoft.com/office/drawing/2014/main" id="{FE00311D-162D-450B-AAB4-212D530B9965}"/>
              </a:ext>
            </a:extLst>
          </p:cNvPr>
          <p:cNvSpPr>
            <a:spLocks noGrp="1"/>
          </p:cNvSpPr>
          <p:nvPr>
            <p:ph type="body" sz="quarter" idx="29" hasCustomPrompt="1"/>
          </p:nvPr>
        </p:nvSpPr>
        <p:spPr>
          <a:xfrm>
            <a:off x="499986" y="4289043"/>
            <a:ext cx="1936532" cy="646331"/>
          </a:xfrm>
        </p:spPr>
        <p:txBody>
          <a:bodyPr>
            <a:spAutoFit/>
          </a:bodyPr>
          <a:lstStyle>
            <a:lvl1pPr marL="285750" indent="-285750" algn="ctr">
              <a:spcBef>
                <a:spcPts val="600"/>
              </a:spcBef>
              <a:buFontTx/>
              <a:buNone/>
              <a:defRPr sz="1400">
                <a:solidFill>
                  <a:schemeClr val="bg1"/>
                </a:solidFill>
              </a:defRPr>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58" name="Text Placeholder 32">
            <a:extLst>
              <a:ext uri="{FF2B5EF4-FFF2-40B4-BE49-F238E27FC236}">
                <a16:creationId xmlns:a16="http://schemas.microsoft.com/office/drawing/2014/main" id="{9D12CB28-EBBA-4213-84C3-27EE8E1195B3}"/>
              </a:ext>
            </a:extLst>
          </p:cNvPr>
          <p:cNvSpPr>
            <a:spLocks noGrp="1"/>
          </p:cNvSpPr>
          <p:nvPr>
            <p:ph type="body" sz="quarter" idx="31" hasCustomPrompt="1"/>
          </p:nvPr>
        </p:nvSpPr>
        <p:spPr>
          <a:xfrm>
            <a:off x="3602199" y="2369455"/>
            <a:ext cx="1936096" cy="209288"/>
          </a:xfrm>
        </p:spPr>
        <p:txBody>
          <a:bodyPr anchor="ctr" anchorCtr="0">
            <a:spAutoFit/>
          </a:bodyPr>
          <a:lstStyle>
            <a:lvl1pPr marL="0" indent="0" algn="ctr">
              <a:lnSpc>
                <a:spcPct val="85000"/>
              </a:lnSpc>
              <a:spcBef>
                <a:spcPts val="0"/>
              </a:spcBef>
              <a:buFontTx/>
              <a:buNone/>
              <a:defRPr sz="1600" b="1">
                <a:solidFill>
                  <a:schemeClr val="bg1"/>
                </a:solidFill>
              </a:defRPr>
            </a:lvl1pPr>
          </a:lstStyle>
          <a:p>
            <a:pPr lvl="0"/>
            <a:r>
              <a:rPr lang="en-US"/>
              <a:t>Add title</a:t>
            </a:r>
          </a:p>
        </p:txBody>
      </p:sp>
      <p:sp>
        <p:nvSpPr>
          <p:cNvPr id="59" name="Text Placeholder 34">
            <a:extLst>
              <a:ext uri="{FF2B5EF4-FFF2-40B4-BE49-F238E27FC236}">
                <a16:creationId xmlns:a16="http://schemas.microsoft.com/office/drawing/2014/main" id="{A8089C8B-DB33-4F20-A90E-29D5706AC690}"/>
              </a:ext>
            </a:extLst>
          </p:cNvPr>
          <p:cNvSpPr>
            <a:spLocks noGrp="1"/>
          </p:cNvSpPr>
          <p:nvPr>
            <p:ph type="body" sz="quarter" idx="32" hasCustomPrompt="1"/>
          </p:nvPr>
        </p:nvSpPr>
        <p:spPr>
          <a:xfrm>
            <a:off x="3601981" y="4289043"/>
            <a:ext cx="1936532" cy="646331"/>
          </a:xfrm>
        </p:spPr>
        <p:txBody>
          <a:bodyPr>
            <a:spAutoFit/>
          </a:bodyPr>
          <a:lstStyle>
            <a:lvl1pPr marL="285750" indent="-285750" algn="ctr">
              <a:spcBef>
                <a:spcPts val="600"/>
              </a:spcBef>
              <a:buFontTx/>
              <a:buNone/>
              <a:defRPr sz="1400">
                <a:solidFill>
                  <a:schemeClr val="bg1"/>
                </a:solidFill>
              </a:defRPr>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61" name="Text Placeholder 32">
            <a:extLst>
              <a:ext uri="{FF2B5EF4-FFF2-40B4-BE49-F238E27FC236}">
                <a16:creationId xmlns:a16="http://schemas.microsoft.com/office/drawing/2014/main" id="{16964035-D680-41E2-BCE6-EDBF1662979F}"/>
              </a:ext>
            </a:extLst>
          </p:cNvPr>
          <p:cNvSpPr>
            <a:spLocks noGrp="1"/>
          </p:cNvSpPr>
          <p:nvPr>
            <p:ph type="body" sz="quarter" idx="34" hasCustomPrompt="1"/>
          </p:nvPr>
        </p:nvSpPr>
        <p:spPr>
          <a:xfrm>
            <a:off x="6682692" y="2369455"/>
            <a:ext cx="1936096" cy="209288"/>
          </a:xfrm>
        </p:spPr>
        <p:txBody>
          <a:bodyPr anchor="ctr" anchorCtr="0">
            <a:spAutoFit/>
          </a:bodyPr>
          <a:lstStyle>
            <a:lvl1pPr marL="0" indent="0" algn="ctr">
              <a:lnSpc>
                <a:spcPct val="85000"/>
              </a:lnSpc>
              <a:spcBef>
                <a:spcPts val="0"/>
              </a:spcBef>
              <a:buFontTx/>
              <a:buNone/>
              <a:defRPr sz="1600" b="1">
                <a:solidFill>
                  <a:schemeClr val="bg1"/>
                </a:solidFill>
              </a:defRPr>
            </a:lvl1pPr>
          </a:lstStyle>
          <a:p>
            <a:pPr lvl="0"/>
            <a:r>
              <a:rPr lang="en-US"/>
              <a:t>Add title</a:t>
            </a:r>
          </a:p>
        </p:txBody>
      </p:sp>
      <p:sp>
        <p:nvSpPr>
          <p:cNvPr id="62" name="Text Placeholder 34">
            <a:extLst>
              <a:ext uri="{FF2B5EF4-FFF2-40B4-BE49-F238E27FC236}">
                <a16:creationId xmlns:a16="http://schemas.microsoft.com/office/drawing/2014/main" id="{F7D72ACE-A6E3-49BA-B635-B4FF555C66B6}"/>
              </a:ext>
            </a:extLst>
          </p:cNvPr>
          <p:cNvSpPr>
            <a:spLocks noGrp="1"/>
          </p:cNvSpPr>
          <p:nvPr>
            <p:ph type="body" sz="quarter" idx="35" hasCustomPrompt="1"/>
          </p:nvPr>
        </p:nvSpPr>
        <p:spPr>
          <a:xfrm>
            <a:off x="6682474" y="4289043"/>
            <a:ext cx="1936532" cy="646331"/>
          </a:xfrm>
        </p:spPr>
        <p:txBody>
          <a:bodyPr>
            <a:spAutoFit/>
          </a:bodyPr>
          <a:lstStyle>
            <a:lvl1pPr marL="285750" indent="-285750" algn="ctr">
              <a:spcBef>
                <a:spcPts val="600"/>
              </a:spcBef>
              <a:buFontTx/>
              <a:buNone/>
              <a:defRPr sz="1400">
                <a:solidFill>
                  <a:schemeClr val="bg1"/>
                </a:solidFill>
              </a:defRPr>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64" name="Text Placeholder 32">
            <a:extLst>
              <a:ext uri="{FF2B5EF4-FFF2-40B4-BE49-F238E27FC236}">
                <a16:creationId xmlns:a16="http://schemas.microsoft.com/office/drawing/2014/main" id="{41F1B747-4A09-4131-B94D-7B72FE0ADA1F}"/>
              </a:ext>
            </a:extLst>
          </p:cNvPr>
          <p:cNvSpPr>
            <a:spLocks noGrp="1"/>
          </p:cNvSpPr>
          <p:nvPr>
            <p:ph type="body" sz="quarter" idx="37" hasCustomPrompt="1"/>
          </p:nvPr>
        </p:nvSpPr>
        <p:spPr>
          <a:xfrm>
            <a:off x="9771648" y="2369455"/>
            <a:ext cx="1936096" cy="209288"/>
          </a:xfrm>
        </p:spPr>
        <p:txBody>
          <a:bodyPr anchor="ctr" anchorCtr="0">
            <a:spAutoFit/>
          </a:bodyPr>
          <a:lstStyle>
            <a:lvl1pPr marL="0" indent="0" algn="ctr">
              <a:lnSpc>
                <a:spcPct val="85000"/>
              </a:lnSpc>
              <a:spcBef>
                <a:spcPts val="0"/>
              </a:spcBef>
              <a:buFontTx/>
              <a:buNone/>
              <a:defRPr sz="1600" b="1">
                <a:solidFill>
                  <a:schemeClr val="bg1"/>
                </a:solidFill>
              </a:defRPr>
            </a:lvl1pPr>
          </a:lstStyle>
          <a:p>
            <a:pPr lvl="0"/>
            <a:r>
              <a:rPr lang="en-US"/>
              <a:t>Add title</a:t>
            </a:r>
          </a:p>
        </p:txBody>
      </p:sp>
      <p:sp>
        <p:nvSpPr>
          <p:cNvPr id="65" name="Text Placeholder 34">
            <a:extLst>
              <a:ext uri="{FF2B5EF4-FFF2-40B4-BE49-F238E27FC236}">
                <a16:creationId xmlns:a16="http://schemas.microsoft.com/office/drawing/2014/main" id="{4B4EBABA-E6CB-464F-9FBA-E5F9B03A37E8}"/>
              </a:ext>
            </a:extLst>
          </p:cNvPr>
          <p:cNvSpPr>
            <a:spLocks noGrp="1"/>
          </p:cNvSpPr>
          <p:nvPr>
            <p:ph type="body" sz="quarter" idx="38" hasCustomPrompt="1"/>
          </p:nvPr>
        </p:nvSpPr>
        <p:spPr>
          <a:xfrm>
            <a:off x="9771430" y="4289043"/>
            <a:ext cx="1936532" cy="646331"/>
          </a:xfrm>
        </p:spPr>
        <p:txBody>
          <a:bodyPr>
            <a:spAutoFit/>
          </a:bodyPr>
          <a:lstStyle>
            <a:lvl1pPr marL="285750" indent="-285750" algn="ctr">
              <a:spcBef>
                <a:spcPts val="600"/>
              </a:spcBef>
              <a:buFontTx/>
              <a:buNone/>
              <a:defRPr sz="1400">
                <a:solidFill>
                  <a:schemeClr val="bg1"/>
                </a:solidFill>
              </a:defRPr>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5" name="Picture Placeholder 6">
            <a:extLst>
              <a:ext uri="{FF2B5EF4-FFF2-40B4-BE49-F238E27FC236}">
                <a16:creationId xmlns:a16="http://schemas.microsoft.com/office/drawing/2014/main" id="{1AEB5892-C8FD-4265-8F93-69E01BC959CC}"/>
              </a:ext>
            </a:extLst>
          </p:cNvPr>
          <p:cNvSpPr>
            <a:spLocks noGrp="1"/>
          </p:cNvSpPr>
          <p:nvPr>
            <p:ph type="pic" sz="quarter" idx="39" hasCustomPrompt="1"/>
          </p:nvPr>
        </p:nvSpPr>
        <p:spPr>
          <a:xfrm>
            <a:off x="1160544" y="32348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6" name="Picture Placeholder 6">
            <a:extLst>
              <a:ext uri="{FF2B5EF4-FFF2-40B4-BE49-F238E27FC236}">
                <a16:creationId xmlns:a16="http://schemas.microsoft.com/office/drawing/2014/main" id="{FA7A40C7-5620-4D59-8DE5-CA304D9A962A}"/>
              </a:ext>
            </a:extLst>
          </p:cNvPr>
          <p:cNvSpPr>
            <a:spLocks noGrp="1"/>
          </p:cNvSpPr>
          <p:nvPr>
            <p:ph type="pic" sz="quarter" idx="40" hasCustomPrompt="1"/>
          </p:nvPr>
        </p:nvSpPr>
        <p:spPr>
          <a:xfrm>
            <a:off x="4262539" y="32348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7" name="Picture Placeholder 6">
            <a:extLst>
              <a:ext uri="{FF2B5EF4-FFF2-40B4-BE49-F238E27FC236}">
                <a16:creationId xmlns:a16="http://schemas.microsoft.com/office/drawing/2014/main" id="{4F6992F5-14F1-443B-A56F-0DAFD3A17D10}"/>
              </a:ext>
            </a:extLst>
          </p:cNvPr>
          <p:cNvSpPr>
            <a:spLocks noGrp="1"/>
          </p:cNvSpPr>
          <p:nvPr>
            <p:ph type="pic" sz="quarter" idx="36" hasCustomPrompt="1"/>
          </p:nvPr>
        </p:nvSpPr>
        <p:spPr>
          <a:xfrm>
            <a:off x="10431988" y="32348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8" name="Picture Placeholder 6">
            <a:extLst>
              <a:ext uri="{FF2B5EF4-FFF2-40B4-BE49-F238E27FC236}">
                <a16:creationId xmlns:a16="http://schemas.microsoft.com/office/drawing/2014/main" id="{475F2538-CC6F-47C5-8E22-46B3CA1900DD}"/>
              </a:ext>
            </a:extLst>
          </p:cNvPr>
          <p:cNvSpPr>
            <a:spLocks noGrp="1"/>
          </p:cNvSpPr>
          <p:nvPr>
            <p:ph type="pic" sz="quarter" idx="41" hasCustomPrompt="1"/>
          </p:nvPr>
        </p:nvSpPr>
        <p:spPr>
          <a:xfrm>
            <a:off x="7343032" y="32348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6" name="Freeform: Shape 5">
            <a:extLst>
              <a:ext uri="{FF2B5EF4-FFF2-40B4-BE49-F238E27FC236}">
                <a16:creationId xmlns:a16="http://schemas.microsoft.com/office/drawing/2014/main" id="{C1E52941-238A-1D54-378E-FD30681D43AB}"/>
              </a:ext>
            </a:extLst>
          </p:cNvPr>
          <p:cNvSpPr/>
          <p:nvPr userDrawn="1"/>
        </p:nvSpPr>
        <p:spPr>
          <a:xfrm flipH="1" flipV="1">
            <a:off x="-1" y="196850"/>
            <a:ext cx="12192001" cy="1399325"/>
          </a:xfrm>
          <a:custGeom>
            <a:avLst/>
            <a:gdLst>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922105 h 1399325"/>
              <a:gd name="connsiteX4" fmla="*/ 3049 w 12192001"/>
              <a:gd name="connsiteY4" fmla="*/ 0 h 1399325"/>
              <a:gd name="connsiteX5" fmla="*/ 734133 w 12192001"/>
              <a:gd name="connsiteY5" fmla="*/ 0 h 1399325"/>
              <a:gd name="connsiteX6" fmla="*/ 2801055 w 12192001"/>
              <a:gd name="connsiteY6" fmla="*/ 0 h 1399325"/>
              <a:gd name="connsiteX7" fmla="*/ 3805546 w 12192001"/>
              <a:gd name="connsiteY7" fmla="*/ 0 h 1399325"/>
              <a:gd name="connsiteX8" fmla="*/ 4041631 w 12192001"/>
              <a:gd name="connsiteY8" fmla="*/ 136016 h 1399325"/>
              <a:gd name="connsiteX9" fmla="*/ 4041631 w 12192001"/>
              <a:gd name="connsiteY9" fmla="*/ 138901 h 1399325"/>
              <a:gd name="connsiteX10" fmla="*/ 4046639 w 12192001"/>
              <a:gd name="connsiteY10" fmla="*/ 138901 h 1399325"/>
              <a:gd name="connsiteX11" fmla="*/ 4051394 w 12192001"/>
              <a:gd name="connsiteY11" fmla="*/ 141641 h 1399325"/>
              <a:gd name="connsiteX12" fmla="*/ 4815657 w 12192001"/>
              <a:gd name="connsiteY12" fmla="*/ 138901 h 1399325"/>
              <a:gd name="connsiteX13" fmla="*/ 8511256 w 12192001"/>
              <a:gd name="connsiteY13" fmla="*/ 138901 h 1399325"/>
              <a:gd name="connsiteX14" fmla="*/ 8511256 w 12192001"/>
              <a:gd name="connsiteY14" fmla="*/ 131623 h 1399325"/>
              <a:gd name="connsiteX15" fmla="*/ 12192001 w 12192001"/>
              <a:gd name="connsiteY15" fmla="*/ 131623 h 1399325"/>
              <a:gd name="connsiteX16" fmla="*/ 12192001 w 12192001"/>
              <a:gd name="connsiteY16" fmla="*/ 1208825 h 1399325"/>
              <a:gd name="connsiteX17" fmla="*/ 12192000 w 12192001"/>
              <a:gd name="connsiteY17" fmla="*/ 12088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208825 h 1399325"/>
              <a:gd name="connsiteX17" fmla="*/ 12192000 w 12192001"/>
              <a:gd name="connsiteY17"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0 w 12192001"/>
              <a:gd name="connsiteY15"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8511256 w 12192001"/>
              <a:gd name="connsiteY12" fmla="*/ 131623 h 1399325"/>
              <a:gd name="connsiteX13" fmla="*/ 12192001 w 12192001"/>
              <a:gd name="connsiteY13" fmla="*/ 131623 h 1399325"/>
              <a:gd name="connsiteX14" fmla="*/ 12192000 w 12192001"/>
              <a:gd name="connsiteY14"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12192001 w 12192001"/>
              <a:gd name="connsiteY12" fmla="*/ 131623 h 1399325"/>
              <a:gd name="connsiteX13" fmla="*/ 12192000 w 12192001"/>
              <a:gd name="connsiteY13"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12192001 w 12192001"/>
              <a:gd name="connsiteY11" fmla="*/ 131623 h 1399325"/>
              <a:gd name="connsiteX12" fmla="*/ 12192000 w 12192001"/>
              <a:gd name="connsiteY12" fmla="*/ 1399325 h 139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1399325">
                <a:moveTo>
                  <a:pt x="12192000" y="1399325"/>
                </a:moveTo>
                <a:lnTo>
                  <a:pt x="0" y="1399325"/>
                </a:lnTo>
                <a:cubicBezTo>
                  <a:pt x="1016" y="932883"/>
                  <a:pt x="2033" y="466442"/>
                  <a:pt x="3049" y="0"/>
                </a:cubicBezTo>
                <a:lnTo>
                  <a:pt x="734133" y="0"/>
                </a:lnTo>
                <a:lnTo>
                  <a:pt x="2801055" y="0"/>
                </a:lnTo>
                <a:lnTo>
                  <a:pt x="3805546" y="0"/>
                </a:lnTo>
                <a:lnTo>
                  <a:pt x="4041631" y="136016"/>
                </a:lnTo>
                <a:lnTo>
                  <a:pt x="4041631" y="138901"/>
                </a:lnTo>
                <a:lnTo>
                  <a:pt x="4046639" y="138901"/>
                </a:lnTo>
                <a:lnTo>
                  <a:pt x="4051394" y="141641"/>
                </a:lnTo>
                <a:lnTo>
                  <a:pt x="4815657" y="138901"/>
                </a:lnTo>
                <a:lnTo>
                  <a:pt x="12192001" y="131623"/>
                </a:lnTo>
                <a:cubicBezTo>
                  <a:pt x="12192001" y="554190"/>
                  <a:pt x="12192000" y="976758"/>
                  <a:pt x="12192000" y="1399325"/>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 name="Title 1">
            <a:extLst>
              <a:ext uri="{FF2B5EF4-FFF2-40B4-BE49-F238E27FC236}">
                <a16:creationId xmlns:a16="http://schemas.microsoft.com/office/drawing/2014/main" id="{BF0272BA-DF00-4403-901D-E1E0848AA754}"/>
              </a:ext>
            </a:extLst>
          </p:cNvPr>
          <p:cNvSpPr>
            <a:spLocks noGrp="1"/>
          </p:cNvSpPr>
          <p:nvPr>
            <p:ph type="title" hasCustomPrompt="1"/>
          </p:nvPr>
        </p:nvSpPr>
        <p:spPr/>
        <p:txBody>
          <a:bodyPr/>
          <a:lstStyle/>
          <a:p>
            <a:r>
              <a:rPr lang="en-US" dirty="0"/>
              <a:t>Add title (two lines)</a:t>
            </a:r>
          </a:p>
        </p:txBody>
      </p:sp>
      <p:sp>
        <p:nvSpPr>
          <p:cNvPr id="8" name="Rectangle 7">
            <a:extLst>
              <a:ext uri="{FF2B5EF4-FFF2-40B4-BE49-F238E27FC236}">
                <a16:creationId xmlns:a16="http://schemas.microsoft.com/office/drawing/2014/main" id="{AB8F35B1-6E4A-0447-B2F2-59258A90C466}"/>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14" name="Freeform: Shape 13">
            <a:extLst>
              <a:ext uri="{FF2B5EF4-FFF2-40B4-BE49-F238E27FC236}">
                <a16:creationId xmlns:a16="http://schemas.microsoft.com/office/drawing/2014/main" id="{2CA2A1EF-CD66-6B54-9775-BDB9DBCA2C5E}"/>
              </a:ext>
            </a:extLst>
          </p:cNvPr>
          <p:cNvSpPr/>
          <p:nvPr userDrawn="1"/>
        </p:nvSpPr>
        <p:spPr>
          <a:xfrm>
            <a:off x="0" y="6140187"/>
            <a:ext cx="12192002" cy="728021"/>
          </a:xfrm>
          <a:custGeom>
            <a:avLst/>
            <a:gdLst>
              <a:gd name="connsiteX0" fmla="*/ 0 w 12192002"/>
              <a:gd name="connsiteY0" fmla="*/ 0 h 728021"/>
              <a:gd name="connsiteX1" fmla="*/ 2528739 w 12192002"/>
              <a:gd name="connsiteY1" fmla="*/ 0 h 728021"/>
              <a:gd name="connsiteX2" fmla="*/ 2765129 w 12192002"/>
              <a:gd name="connsiteY2" fmla="*/ 136016 h 728021"/>
              <a:gd name="connsiteX3" fmla="*/ 2765129 w 12192002"/>
              <a:gd name="connsiteY3" fmla="*/ 138901 h 728021"/>
              <a:gd name="connsiteX4" fmla="*/ 2770143 w 12192002"/>
              <a:gd name="connsiteY4" fmla="*/ 138901 h 728021"/>
              <a:gd name="connsiteX5" fmla="*/ 2774905 w 12192002"/>
              <a:gd name="connsiteY5" fmla="*/ 141641 h 728021"/>
              <a:gd name="connsiteX6" fmla="*/ 12192002 w 12192002"/>
              <a:gd name="connsiteY6" fmla="*/ 148090 h 728021"/>
              <a:gd name="connsiteX7" fmla="*/ 12192002 w 12192002"/>
              <a:gd name="connsiteY7" fmla="*/ 728021 h 728021"/>
              <a:gd name="connsiteX8" fmla="*/ 1 w 12192002"/>
              <a:gd name="connsiteY8" fmla="*/ 728021 h 728021"/>
              <a:gd name="connsiteX9" fmla="*/ 1 w 12192002"/>
              <a:gd name="connsiteY9" fmla="*/ 233465 h 728021"/>
              <a:gd name="connsiteX10" fmla="*/ 0 w 12192002"/>
              <a:gd name="connsiteY10" fmla="*/ 233465 h 728021"/>
              <a:gd name="connsiteX11" fmla="*/ 0 w 12192002"/>
              <a:gd name="connsiteY11" fmla="*/ 0 h 72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2" h="728021">
                <a:moveTo>
                  <a:pt x="0" y="0"/>
                </a:moveTo>
                <a:lnTo>
                  <a:pt x="2528739" y="0"/>
                </a:lnTo>
                <a:lnTo>
                  <a:pt x="2765129" y="136016"/>
                </a:lnTo>
                <a:lnTo>
                  <a:pt x="2765129" y="138901"/>
                </a:lnTo>
                <a:lnTo>
                  <a:pt x="2770143" y="138901"/>
                </a:lnTo>
                <a:lnTo>
                  <a:pt x="2774905" y="141641"/>
                </a:lnTo>
                <a:lnTo>
                  <a:pt x="12192002" y="148090"/>
                </a:lnTo>
                <a:lnTo>
                  <a:pt x="12192002" y="728021"/>
                </a:lnTo>
                <a:lnTo>
                  <a:pt x="1" y="728021"/>
                </a:lnTo>
                <a:lnTo>
                  <a:pt x="1" y="233465"/>
                </a:lnTo>
                <a:lnTo>
                  <a:pt x="0" y="233465"/>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a:solidFill>
                <a:schemeClr val="bg1"/>
              </a:solidFill>
            </a:endParaRPr>
          </a:p>
        </p:txBody>
      </p:sp>
      <p:sp>
        <p:nvSpPr>
          <p:cNvPr id="16" name="Freeform: Shape 15">
            <a:extLst>
              <a:ext uri="{FF2B5EF4-FFF2-40B4-BE49-F238E27FC236}">
                <a16:creationId xmlns:a16="http://schemas.microsoft.com/office/drawing/2014/main" id="{26BF8ABE-77B0-A562-C3B5-4A4203564333}"/>
              </a:ext>
            </a:extLst>
          </p:cNvPr>
          <p:cNvSpPr/>
          <p:nvPr userDrawn="1"/>
        </p:nvSpPr>
        <p:spPr>
          <a:xfrm>
            <a:off x="9506712" y="629009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7" name="Freeform: Shape 16">
            <a:extLst>
              <a:ext uri="{FF2B5EF4-FFF2-40B4-BE49-F238E27FC236}">
                <a16:creationId xmlns:a16="http://schemas.microsoft.com/office/drawing/2014/main" id="{FB9209C9-6AD8-1A46-2D97-660B30C15E8D}"/>
              </a:ext>
            </a:extLst>
          </p:cNvPr>
          <p:cNvSpPr/>
          <p:nvPr userDrawn="1"/>
        </p:nvSpPr>
        <p:spPr>
          <a:xfrm>
            <a:off x="9506712" y="6391694"/>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6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18" name="Graphic 17">
            <a:extLst>
              <a:ext uri="{FF2B5EF4-FFF2-40B4-BE49-F238E27FC236}">
                <a16:creationId xmlns:a16="http://schemas.microsoft.com/office/drawing/2014/main" id="{96AE2459-5264-9CEE-03D7-0BE7A114D17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040" y="6497832"/>
            <a:ext cx="2892560" cy="215304"/>
          </a:xfrm>
          <a:prstGeom prst="rect">
            <a:avLst/>
          </a:prstGeom>
        </p:spPr>
      </p:pic>
      <p:sp>
        <p:nvSpPr>
          <p:cNvPr id="19" name="Rectangle 6">
            <a:extLst>
              <a:ext uri="{FF2B5EF4-FFF2-40B4-BE49-F238E27FC236}">
                <a16:creationId xmlns:a16="http://schemas.microsoft.com/office/drawing/2014/main" id="{85549A98-360F-82F8-DC92-8C4F4BDEA208}"/>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Tree>
    <p:extLst>
      <p:ext uri="{BB962C8B-B14F-4D97-AF65-F5344CB8AC3E}">
        <p14:creationId xmlns:p14="http://schemas.microsoft.com/office/powerpoint/2010/main" val="336240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5 Icons (RO)">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DA1BCC5-BD99-E7B5-E2A0-FF0F630FB767}"/>
              </a:ext>
            </a:extLst>
          </p:cNvPr>
          <p:cNvPicPr>
            <a:picLocks noChangeAspect="1"/>
          </p:cNvPicPr>
          <p:nvPr userDrawn="1"/>
        </p:nvPicPr>
        <p:blipFill>
          <a:blip r:embed="rId4"/>
          <a:srcRect t="5246" b="5246"/>
          <a:stretch/>
        </p:blipFill>
        <p:spPr>
          <a:xfrm>
            <a:off x="1524" y="678174"/>
            <a:ext cx="12188952" cy="6136858"/>
          </a:xfrm>
          <a:prstGeom prst="rect">
            <a:avLst/>
          </a:prstGeom>
        </p:spPr>
      </p:pic>
      <p:sp>
        <p:nvSpPr>
          <p:cNvPr id="5" name="Rectangle 4">
            <a:extLst>
              <a:ext uri="{FF2B5EF4-FFF2-40B4-BE49-F238E27FC236}">
                <a16:creationId xmlns:a16="http://schemas.microsoft.com/office/drawing/2014/main" id="{B5CFD61A-94AA-6ACF-8D0A-7A5F3A1F2A03}"/>
              </a:ext>
            </a:extLst>
          </p:cNvPr>
          <p:cNvSpPr/>
          <p:nvPr userDrawn="1"/>
        </p:nvSpPr>
        <p:spPr>
          <a:xfrm>
            <a:off x="0" y="1324037"/>
            <a:ext cx="12192001" cy="5144553"/>
          </a:xfrm>
          <a:prstGeom prst="rect">
            <a:avLst/>
          </a:prstGeom>
          <a:solidFill>
            <a:schemeClr val="accent6">
              <a:lumMod val="7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7" name="Freeform: Shape 6">
            <a:extLst>
              <a:ext uri="{FF2B5EF4-FFF2-40B4-BE49-F238E27FC236}">
                <a16:creationId xmlns:a16="http://schemas.microsoft.com/office/drawing/2014/main" id="{83B22D72-7777-AE46-43A1-1D96AED1AD99}"/>
              </a:ext>
            </a:extLst>
          </p:cNvPr>
          <p:cNvSpPr/>
          <p:nvPr userDrawn="1"/>
        </p:nvSpPr>
        <p:spPr>
          <a:xfrm flipH="1" flipV="1">
            <a:off x="-1" y="196850"/>
            <a:ext cx="12192001" cy="1399325"/>
          </a:xfrm>
          <a:custGeom>
            <a:avLst/>
            <a:gdLst>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922105 h 1399325"/>
              <a:gd name="connsiteX4" fmla="*/ 3049 w 12192001"/>
              <a:gd name="connsiteY4" fmla="*/ 0 h 1399325"/>
              <a:gd name="connsiteX5" fmla="*/ 734133 w 12192001"/>
              <a:gd name="connsiteY5" fmla="*/ 0 h 1399325"/>
              <a:gd name="connsiteX6" fmla="*/ 2801055 w 12192001"/>
              <a:gd name="connsiteY6" fmla="*/ 0 h 1399325"/>
              <a:gd name="connsiteX7" fmla="*/ 3805546 w 12192001"/>
              <a:gd name="connsiteY7" fmla="*/ 0 h 1399325"/>
              <a:gd name="connsiteX8" fmla="*/ 4041631 w 12192001"/>
              <a:gd name="connsiteY8" fmla="*/ 136016 h 1399325"/>
              <a:gd name="connsiteX9" fmla="*/ 4041631 w 12192001"/>
              <a:gd name="connsiteY9" fmla="*/ 138901 h 1399325"/>
              <a:gd name="connsiteX10" fmla="*/ 4046639 w 12192001"/>
              <a:gd name="connsiteY10" fmla="*/ 138901 h 1399325"/>
              <a:gd name="connsiteX11" fmla="*/ 4051394 w 12192001"/>
              <a:gd name="connsiteY11" fmla="*/ 141641 h 1399325"/>
              <a:gd name="connsiteX12" fmla="*/ 4815657 w 12192001"/>
              <a:gd name="connsiteY12" fmla="*/ 138901 h 1399325"/>
              <a:gd name="connsiteX13" fmla="*/ 8511256 w 12192001"/>
              <a:gd name="connsiteY13" fmla="*/ 138901 h 1399325"/>
              <a:gd name="connsiteX14" fmla="*/ 8511256 w 12192001"/>
              <a:gd name="connsiteY14" fmla="*/ 131623 h 1399325"/>
              <a:gd name="connsiteX15" fmla="*/ 12192001 w 12192001"/>
              <a:gd name="connsiteY15" fmla="*/ 131623 h 1399325"/>
              <a:gd name="connsiteX16" fmla="*/ 12192001 w 12192001"/>
              <a:gd name="connsiteY16" fmla="*/ 1208825 h 1399325"/>
              <a:gd name="connsiteX17" fmla="*/ 12192000 w 12192001"/>
              <a:gd name="connsiteY17" fmla="*/ 12088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208825 h 1399325"/>
              <a:gd name="connsiteX17" fmla="*/ 12192000 w 12192001"/>
              <a:gd name="connsiteY17"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0 w 12192001"/>
              <a:gd name="connsiteY15"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8511256 w 12192001"/>
              <a:gd name="connsiteY12" fmla="*/ 131623 h 1399325"/>
              <a:gd name="connsiteX13" fmla="*/ 12192001 w 12192001"/>
              <a:gd name="connsiteY13" fmla="*/ 131623 h 1399325"/>
              <a:gd name="connsiteX14" fmla="*/ 12192000 w 12192001"/>
              <a:gd name="connsiteY14"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12192001 w 12192001"/>
              <a:gd name="connsiteY12" fmla="*/ 131623 h 1399325"/>
              <a:gd name="connsiteX13" fmla="*/ 12192000 w 12192001"/>
              <a:gd name="connsiteY13"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12192001 w 12192001"/>
              <a:gd name="connsiteY11" fmla="*/ 131623 h 1399325"/>
              <a:gd name="connsiteX12" fmla="*/ 12192000 w 12192001"/>
              <a:gd name="connsiteY12" fmla="*/ 1399325 h 139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1399325">
                <a:moveTo>
                  <a:pt x="12192000" y="1399325"/>
                </a:moveTo>
                <a:lnTo>
                  <a:pt x="0" y="1399325"/>
                </a:lnTo>
                <a:cubicBezTo>
                  <a:pt x="1016" y="932883"/>
                  <a:pt x="2033" y="466442"/>
                  <a:pt x="3049" y="0"/>
                </a:cubicBezTo>
                <a:lnTo>
                  <a:pt x="734133" y="0"/>
                </a:lnTo>
                <a:lnTo>
                  <a:pt x="2801055" y="0"/>
                </a:lnTo>
                <a:lnTo>
                  <a:pt x="3805546" y="0"/>
                </a:lnTo>
                <a:lnTo>
                  <a:pt x="4041631" y="136016"/>
                </a:lnTo>
                <a:lnTo>
                  <a:pt x="4041631" y="138901"/>
                </a:lnTo>
                <a:lnTo>
                  <a:pt x="4046639" y="138901"/>
                </a:lnTo>
                <a:lnTo>
                  <a:pt x="4051394" y="141641"/>
                </a:lnTo>
                <a:lnTo>
                  <a:pt x="4815657" y="138901"/>
                </a:lnTo>
                <a:lnTo>
                  <a:pt x="12192001" y="131623"/>
                </a:lnTo>
                <a:cubicBezTo>
                  <a:pt x="12192001" y="554190"/>
                  <a:pt x="12192000" y="976758"/>
                  <a:pt x="12192000" y="1399325"/>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aphicFrame>
        <p:nvGraphicFramePr>
          <p:cNvPr id="4" name="Object 3" hidden="1">
            <a:extLst>
              <a:ext uri="{FF2B5EF4-FFF2-40B4-BE49-F238E27FC236}">
                <a16:creationId xmlns:a16="http://schemas.microsoft.com/office/drawing/2014/main" id="{CD0DD1B2-3E44-448A-B29D-4BF5525EAF82}"/>
              </a:ext>
            </a:extLst>
          </p:cNvPr>
          <p:cNvGraphicFramePr>
            <a:graphicFrameLocks noChangeAspect="1"/>
          </p:cNvGraphicFramePr>
          <p:nvPr>
            <p:custDataLst>
              <p:tags r:id="rId1"/>
            </p:custDataLst>
            <p:extLst>
              <p:ext uri="{D42A27DB-BD31-4B8C-83A1-F6EECF244321}">
                <p14:modId xmlns:p14="http://schemas.microsoft.com/office/powerpoint/2010/main" val="429254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CD0DD1B2-3E44-448A-B29D-4BF5525EAF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8CDBA-3DC1-4B48-9D1F-EF614A8FDDB5}"/>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F0272BA-DF00-4403-901D-E1E0848AA754}"/>
              </a:ext>
            </a:extLst>
          </p:cNvPr>
          <p:cNvSpPr>
            <a:spLocks noGrp="1"/>
          </p:cNvSpPr>
          <p:nvPr>
            <p:ph type="title" hasCustomPrompt="1"/>
          </p:nvPr>
        </p:nvSpPr>
        <p:spPr/>
        <p:txBody>
          <a:bodyPr/>
          <a:lstStyle/>
          <a:p>
            <a:r>
              <a:rPr lang="en-US" dirty="0"/>
              <a:t>Add title (two lines)</a:t>
            </a:r>
          </a:p>
        </p:txBody>
      </p:sp>
      <p:sp>
        <p:nvSpPr>
          <p:cNvPr id="52" name="Text Placeholder 32">
            <a:extLst>
              <a:ext uri="{FF2B5EF4-FFF2-40B4-BE49-F238E27FC236}">
                <a16:creationId xmlns:a16="http://schemas.microsoft.com/office/drawing/2014/main" id="{490C73DF-CFB4-4B5B-92C8-F90E3A62E77F}"/>
              </a:ext>
            </a:extLst>
          </p:cNvPr>
          <p:cNvSpPr>
            <a:spLocks noGrp="1"/>
          </p:cNvSpPr>
          <p:nvPr>
            <p:ph type="body" sz="quarter" idx="28" hasCustomPrompt="1"/>
          </p:nvPr>
        </p:nvSpPr>
        <p:spPr>
          <a:xfrm>
            <a:off x="498507" y="2369455"/>
            <a:ext cx="1600200" cy="209288"/>
          </a:xfrm>
        </p:spPr>
        <p:txBody>
          <a:bodyPr anchor="ctr" anchorCtr="0">
            <a:spAutoFit/>
          </a:bodyPr>
          <a:lstStyle>
            <a:lvl1pPr marL="0" indent="0" algn="ctr">
              <a:lnSpc>
                <a:spcPct val="85000"/>
              </a:lnSpc>
              <a:spcBef>
                <a:spcPts val="0"/>
              </a:spcBef>
              <a:buFontTx/>
              <a:buNone/>
              <a:defRPr sz="1600" b="1">
                <a:solidFill>
                  <a:schemeClr val="bg1"/>
                </a:solidFill>
              </a:defRPr>
            </a:lvl1pPr>
          </a:lstStyle>
          <a:p>
            <a:pPr lvl="0"/>
            <a:r>
              <a:rPr lang="en-US"/>
              <a:t>Add title</a:t>
            </a:r>
          </a:p>
        </p:txBody>
      </p:sp>
      <p:sp>
        <p:nvSpPr>
          <p:cNvPr id="53" name="Text Placeholder 34">
            <a:extLst>
              <a:ext uri="{FF2B5EF4-FFF2-40B4-BE49-F238E27FC236}">
                <a16:creationId xmlns:a16="http://schemas.microsoft.com/office/drawing/2014/main" id="{FE00311D-162D-450B-AAB4-212D530B9965}"/>
              </a:ext>
            </a:extLst>
          </p:cNvPr>
          <p:cNvSpPr>
            <a:spLocks noGrp="1"/>
          </p:cNvSpPr>
          <p:nvPr>
            <p:ph type="body" sz="quarter" idx="29" hasCustomPrompt="1"/>
          </p:nvPr>
        </p:nvSpPr>
        <p:spPr>
          <a:xfrm>
            <a:off x="498507" y="4289043"/>
            <a:ext cx="1600200" cy="553998"/>
          </a:xfrm>
        </p:spPr>
        <p:txBody>
          <a:bodyPr>
            <a:spAutoFit/>
          </a:bodyPr>
          <a:lstStyle>
            <a:lvl1pPr marL="285750" indent="-285750" algn="ctr">
              <a:spcBef>
                <a:spcPts val="600"/>
              </a:spcBef>
              <a:buFontTx/>
              <a:buNone/>
              <a:defRPr sz="1200">
                <a:solidFill>
                  <a:schemeClr val="bg1"/>
                </a:solidFill>
              </a:defRPr>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58" name="Text Placeholder 32">
            <a:extLst>
              <a:ext uri="{FF2B5EF4-FFF2-40B4-BE49-F238E27FC236}">
                <a16:creationId xmlns:a16="http://schemas.microsoft.com/office/drawing/2014/main" id="{9D12CB28-EBBA-4213-84C3-27EE8E1195B3}"/>
              </a:ext>
            </a:extLst>
          </p:cNvPr>
          <p:cNvSpPr>
            <a:spLocks noGrp="1"/>
          </p:cNvSpPr>
          <p:nvPr>
            <p:ph type="body" sz="quarter" idx="31" hasCustomPrompt="1"/>
          </p:nvPr>
        </p:nvSpPr>
        <p:spPr>
          <a:xfrm>
            <a:off x="2895408" y="2369455"/>
            <a:ext cx="1600200" cy="209288"/>
          </a:xfrm>
        </p:spPr>
        <p:txBody>
          <a:bodyPr anchor="ctr" anchorCtr="0">
            <a:spAutoFit/>
          </a:bodyPr>
          <a:lstStyle>
            <a:lvl1pPr marL="0" indent="0" algn="ctr">
              <a:lnSpc>
                <a:spcPct val="85000"/>
              </a:lnSpc>
              <a:spcBef>
                <a:spcPts val="0"/>
              </a:spcBef>
              <a:buFontTx/>
              <a:buNone/>
              <a:defRPr sz="1600" b="1">
                <a:solidFill>
                  <a:schemeClr val="bg1"/>
                </a:solidFill>
              </a:defRPr>
            </a:lvl1pPr>
          </a:lstStyle>
          <a:p>
            <a:pPr lvl="0"/>
            <a:r>
              <a:rPr lang="en-US"/>
              <a:t>Add title</a:t>
            </a:r>
          </a:p>
        </p:txBody>
      </p:sp>
      <p:sp>
        <p:nvSpPr>
          <p:cNvPr id="59" name="Text Placeholder 34">
            <a:extLst>
              <a:ext uri="{FF2B5EF4-FFF2-40B4-BE49-F238E27FC236}">
                <a16:creationId xmlns:a16="http://schemas.microsoft.com/office/drawing/2014/main" id="{A8089C8B-DB33-4F20-A90E-29D5706AC690}"/>
              </a:ext>
            </a:extLst>
          </p:cNvPr>
          <p:cNvSpPr>
            <a:spLocks noGrp="1"/>
          </p:cNvSpPr>
          <p:nvPr>
            <p:ph type="body" sz="quarter" idx="32" hasCustomPrompt="1"/>
          </p:nvPr>
        </p:nvSpPr>
        <p:spPr>
          <a:xfrm>
            <a:off x="2895408" y="4289043"/>
            <a:ext cx="1600200" cy="553998"/>
          </a:xfrm>
        </p:spPr>
        <p:txBody>
          <a:bodyPr>
            <a:spAutoFit/>
          </a:bodyPr>
          <a:lstStyle>
            <a:lvl1pPr marL="285750" indent="-285750" algn="ctr">
              <a:spcBef>
                <a:spcPts val="600"/>
              </a:spcBef>
              <a:buFontTx/>
              <a:buNone/>
              <a:defRPr sz="1200">
                <a:solidFill>
                  <a:schemeClr val="bg1"/>
                </a:solidFill>
              </a:defRPr>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61" name="Text Placeholder 32">
            <a:extLst>
              <a:ext uri="{FF2B5EF4-FFF2-40B4-BE49-F238E27FC236}">
                <a16:creationId xmlns:a16="http://schemas.microsoft.com/office/drawing/2014/main" id="{16964035-D680-41E2-BCE6-EDBF1662979F}"/>
              </a:ext>
            </a:extLst>
          </p:cNvPr>
          <p:cNvSpPr>
            <a:spLocks noGrp="1"/>
          </p:cNvSpPr>
          <p:nvPr>
            <p:ph type="body" sz="quarter" idx="34" hasCustomPrompt="1"/>
          </p:nvPr>
        </p:nvSpPr>
        <p:spPr>
          <a:xfrm>
            <a:off x="5292309" y="2369455"/>
            <a:ext cx="1600200" cy="209288"/>
          </a:xfrm>
        </p:spPr>
        <p:txBody>
          <a:bodyPr anchor="ctr" anchorCtr="0">
            <a:spAutoFit/>
          </a:bodyPr>
          <a:lstStyle>
            <a:lvl1pPr marL="0" indent="0" algn="ctr">
              <a:lnSpc>
                <a:spcPct val="85000"/>
              </a:lnSpc>
              <a:spcBef>
                <a:spcPts val="0"/>
              </a:spcBef>
              <a:buFontTx/>
              <a:buNone/>
              <a:defRPr sz="1600" b="1">
                <a:solidFill>
                  <a:schemeClr val="bg1"/>
                </a:solidFill>
              </a:defRPr>
            </a:lvl1pPr>
          </a:lstStyle>
          <a:p>
            <a:pPr lvl="0"/>
            <a:r>
              <a:rPr lang="en-US"/>
              <a:t>Add title</a:t>
            </a:r>
          </a:p>
        </p:txBody>
      </p:sp>
      <p:sp>
        <p:nvSpPr>
          <p:cNvPr id="62" name="Text Placeholder 34">
            <a:extLst>
              <a:ext uri="{FF2B5EF4-FFF2-40B4-BE49-F238E27FC236}">
                <a16:creationId xmlns:a16="http://schemas.microsoft.com/office/drawing/2014/main" id="{F7D72ACE-A6E3-49BA-B635-B4FF555C66B6}"/>
              </a:ext>
            </a:extLst>
          </p:cNvPr>
          <p:cNvSpPr>
            <a:spLocks noGrp="1"/>
          </p:cNvSpPr>
          <p:nvPr>
            <p:ph type="body" sz="quarter" idx="35" hasCustomPrompt="1"/>
          </p:nvPr>
        </p:nvSpPr>
        <p:spPr>
          <a:xfrm>
            <a:off x="5292309" y="4289043"/>
            <a:ext cx="1600200" cy="553998"/>
          </a:xfrm>
        </p:spPr>
        <p:txBody>
          <a:bodyPr>
            <a:spAutoFit/>
          </a:bodyPr>
          <a:lstStyle>
            <a:lvl1pPr marL="285750" indent="-285750" algn="ctr">
              <a:spcBef>
                <a:spcPts val="600"/>
              </a:spcBef>
              <a:buFontTx/>
              <a:buNone/>
              <a:defRPr sz="1200">
                <a:solidFill>
                  <a:schemeClr val="bg1"/>
                </a:solidFill>
              </a:defRPr>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64" name="Text Placeholder 32">
            <a:extLst>
              <a:ext uri="{FF2B5EF4-FFF2-40B4-BE49-F238E27FC236}">
                <a16:creationId xmlns:a16="http://schemas.microsoft.com/office/drawing/2014/main" id="{41F1B747-4A09-4131-B94D-7B72FE0ADA1F}"/>
              </a:ext>
            </a:extLst>
          </p:cNvPr>
          <p:cNvSpPr>
            <a:spLocks noGrp="1"/>
          </p:cNvSpPr>
          <p:nvPr>
            <p:ph type="body" sz="quarter" idx="37" hasCustomPrompt="1"/>
          </p:nvPr>
        </p:nvSpPr>
        <p:spPr>
          <a:xfrm>
            <a:off x="7689210" y="2369455"/>
            <a:ext cx="1600200" cy="209288"/>
          </a:xfrm>
        </p:spPr>
        <p:txBody>
          <a:bodyPr anchor="ctr" anchorCtr="0">
            <a:spAutoFit/>
          </a:bodyPr>
          <a:lstStyle>
            <a:lvl1pPr marL="0" indent="0" algn="ctr">
              <a:lnSpc>
                <a:spcPct val="85000"/>
              </a:lnSpc>
              <a:spcBef>
                <a:spcPts val="0"/>
              </a:spcBef>
              <a:buFontTx/>
              <a:buNone/>
              <a:defRPr sz="1600" b="1">
                <a:solidFill>
                  <a:schemeClr val="bg1"/>
                </a:solidFill>
              </a:defRPr>
            </a:lvl1pPr>
          </a:lstStyle>
          <a:p>
            <a:pPr lvl="0"/>
            <a:r>
              <a:rPr lang="en-US"/>
              <a:t>Add title</a:t>
            </a:r>
          </a:p>
        </p:txBody>
      </p:sp>
      <p:sp>
        <p:nvSpPr>
          <p:cNvPr id="65" name="Text Placeholder 34">
            <a:extLst>
              <a:ext uri="{FF2B5EF4-FFF2-40B4-BE49-F238E27FC236}">
                <a16:creationId xmlns:a16="http://schemas.microsoft.com/office/drawing/2014/main" id="{4B4EBABA-E6CB-464F-9FBA-E5F9B03A37E8}"/>
              </a:ext>
            </a:extLst>
          </p:cNvPr>
          <p:cNvSpPr>
            <a:spLocks noGrp="1"/>
          </p:cNvSpPr>
          <p:nvPr>
            <p:ph type="body" sz="quarter" idx="38" hasCustomPrompt="1"/>
          </p:nvPr>
        </p:nvSpPr>
        <p:spPr>
          <a:xfrm>
            <a:off x="7689210" y="4289043"/>
            <a:ext cx="1600200" cy="553998"/>
          </a:xfrm>
        </p:spPr>
        <p:txBody>
          <a:bodyPr>
            <a:spAutoFit/>
          </a:bodyPr>
          <a:lstStyle>
            <a:lvl1pPr marL="285750" indent="-285750" algn="ctr">
              <a:spcBef>
                <a:spcPts val="600"/>
              </a:spcBef>
              <a:buFontTx/>
              <a:buNone/>
              <a:defRPr sz="1200">
                <a:solidFill>
                  <a:schemeClr val="bg1"/>
                </a:solidFill>
              </a:defRPr>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a:t>Add a short paragraph – not too long – or a bulleted list</a:t>
            </a:r>
          </a:p>
        </p:txBody>
      </p:sp>
      <p:sp>
        <p:nvSpPr>
          <p:cNvPr id="25" name="Picture Placeholder 6">
            <a:extLst>
              <a:ext uri="{FF2B5EF4-FFF2-40B4-BE49-F238E27FC236}">
                <a16:creationId xmlns:a16="http://schemas.microsoft.com/office/drawing/2014/main" id="{1AEB5892-C8FD-4265-8F93-69E01BC959CC}"/>
              </a:ext>
            </a:extLst>
          </p:cNvPr>
          <p:cNvSpPr>
            <a:spLocks noGrp="1"/>
          </p:cNvSpPr>
          <p:nvPr>
            <p:ph type="pic" sz="quarter" idx="39" hasCustomPrompt="1"/>
          </p:nvPr>
        </p:nvSpPr>
        <p:spPr>
          <a:xfrm>
            <a:off x="990899" y="32348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6" name="Picture Placeholder 6">
            <a:extLst>
              <a:ext uri="{FF2B5EF4-FFF2-40B4-BE49-F238E27FC236}">
                <a16:creationId xmlns:a16="http://schemas.microsoft.com/office/drawing/2014/main" id="{FA7A40C7-5620-4D59-8DE5-CA304D9A962A}"/>
              </a:ext>
            </a:extLst>
          </p:cNvPr>
          <p:cNvSpPr>
            <a:spLocks noGrp="1"/>
          </p:cNvSpPr>
          <p:nvPr>
            <p:ph type="pic" sz="quarter" idx="40" hasCustomPrompt="1"/>
          </p:nvPr>
        </p:nvSpPr>
        <p:spPr>
          <a:xfrm>
            <a:off x="3387800" y="32348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7" name="Picture Placeholder 6">
            <a:extLst>
              <a:ext uri="{FF2B5EF4-FFF2-40B4-BE49-F238E27FC236}">
                <a16:creationId xmlns:a16="http://schemas.microsoft.com/office/drawing/2014/main" id="{4F6992F5-14F1-443B-A56F-0DAFD3A17D10}"/>
              </a:ext>
            </a:extLst>
          </p:cNvPr>
          <p:cNvSpPr>
            <a:spLocks noGrp="1"/>
          </p:cNvSpPr>
          <p:nvPr>
            <p:ph type="pic" sz="quarter" idx="36" hasCustomPrompt="1"/>
          </p:nvPr>
        </p:nvSpPr>
        <p:spPr>
          <a:xfrm>
            <a:off x="8181602" y="32348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8" name="Picture Placeholder 6">
            <a:extLst>
              <a:ext uri="{FF2B5EF4-FFF2-40B4-BE49-F238E27FC236}">
                <a16:creationId xmlns:a16="http://schemas.microsoft.com/office/drawing/2014/main" id="{475F2538-CC6F-47C5-8E22-46B3CA1900DD}"/>
              </a:ext>
            </a:extLst>
          </p:cNvPr>
          <p:cNvSpPr>
            <a:spLocks noGrp="1"/>
          </p:cNvSpPr>
          <p:nvPr>
            <p:ph type="pic" sz="quarter" idx="41" hasCustomPrompt="1"/>
          </p:nvPr>
        </p:nvSpPr>
        <p:spPr>
          <a:xfrm>
            <a:off x="5784701" y="32348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0" name="Picture Placeholder 6">
            <a:extLst>
              <a:ext uri="{FF2B5EF4-FFF2-40B4-BE49-F238E27FC236}">
                <a16:creationId xmlns:a16="http://schemas.microsoft.com/office/drawing/2014/main" id="{A443D19A-1751-43D6-A160-5296A53060FE}"/>
              </a:ext>
            </a:extLst>
          </p:cNvPr>
          <p:cNvSpPr>
            <a:spLocks noGrp="1"/>
          </p:cNvSpPr>
          <p:nvPr>
            <p:ph type="pic" sz="quarter" idx="43" hasCustomPrompt="1"/>
          </p:nvPr>
        </p:nvSpPr>
        <p:spPr>
          <a:xfrm>
            <a:off x="10578504" y="32348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9" name="Text Placeholder 8">
            <a:extLst>
              <a:ext uri="{FF2B5EF4-FFF2-40B4-BE49-F238E27FC236}">
                <a16:creationId xmlns:a16="http://schemas.microsoft.com/office/drawing/2014/main" id="{47D8C84A-E732-4EA8-8388-80FC2F2F6015}"/>
              </a:ext>
            </a:extLst>
          </p:cNvPr>
          <p:cNvSpPr>
            <a:spLocks noGrp="1"/>
          </p:cNvSpPr>
          <p:nvPr>
            <p:ph type="body" sz="quarter" idx="44" hasCustomPrompt="1"/>
          </p:nvPr>
        </p:nvSpPr>
        <p:spPr>
          <a:xfrm>
            <a:off x="10086112" y="2369455"/>
            <a:ext cx="1600200" cy="221599"/>
          </a:xfrm>
        </p:spPr>
        <p:txBody>
          <a:bodyPr vert="horz" lIns="0" tIns="0" rIns="0" bIns="0" rtlCol="0" anchor="ctr" anchorCtr="0">
            <a:spAutoFit/>
          </a:bodyPr>
          <a:lstStyle>
            <a:lvl1pPr marL="0" indent="0" algn="ctr">
              <a:buFontTx/>
              <a:buNone/>
              <a:defRPr lang="en-US" sz="1600" b="1" smtClean="0">
                <a:solidFill>
                  <a:schemeClr val="bg1"/>
                </a:solidFill>
              </a:defRPr>
            </a:lvl1pPr>
            <a:lvl2pPr>
              <a:defRPr lang="en-US" smtClean="0"/>
            </a:lvl2pPr>
            <a:lvl3pPr>
              <a:defRPr lang="en-US" smtClean="0"/>
            </a:lvl3pPr>
            <a:lvl4pPr>
              <a:defRPr lang="en-US" smtClean="0"/>
            </a:lvl4pPr>
            <a:lvl5pPr>
              <a:defRPr lang="en-US"/>
            </a:lvl5pPr>
          </a:lstStyle>
          <a:p>
            <a:pPr lvl="0"/>
            <a:r>
              <a:rPr lang="en-US"/>
              <a:t>Add title</a:t>
            </a:r>
          </a:p>
        </p:txBody>
      </p:sp>
      <p:sp>
        <p:nvSpPr>
          <p:cNvPr id="13" name="Text Placeholder 12">
            <a:extLst>
              <a:ext uri="{FF2B5EF4-FFF2-40B4-BE49-F238E27FC236}">
                <a16:creationId xmlns:a16="http://schemas.microsoft.com/office/drawing/2014/main" id="{A73FB3A0-2394-412A-B5B0-D0E4A63CD9B0}"/>
              </a:ext>
            </a:extLst>
          </p:cNvPr>
          <p:cNvSpPr>
            <a:spLocks noGrp="1"/>
          </p:cNvSpPr>
          <p:nvPr>
            <p:ph type="body" sz="quarter" idx="45" hasCustomPrompt="1"/>
          </p:nvPr>
        </p:nvSpPr>
        <p:spPr>
          <a:xfrm>
            <a:off x="10086112" y="4289043"/>
            <a:ext cx="1600200" cy="557784"/>
          </a:xfrm>
        </p:spPr>
        <p:txBody>
          <a:bodyPr>
            <a:spAutoFit/>
          </a:bodyPr>
          <a:lstStyle>
            <a:lvl1pPr marL="0" indent="0" algn="ctr">
              <a:lnSpc>
                <a:spcPct val="100000"/>
              </a:lnSpc>
              <a:buNone/>
              <a:defRPr sz="1200">
                <a:solidFill>
                  <a:schemeClr val="bg1"/>
                </a:solidFill>
              </a:defRPr>
            </a:lvl1pPr>
          </a:lstStyle>
          <a:p>
            <a:pPr lvl="0"/>
            <a:r>
              <a:rPr lang="en-US"/>
              <a:t>Add a short paragraph – not too long – or a bulleted list</a:t>
            </a:r>
          </a:p>
        </p:txBody>
      </p:sp>
      <p:sp>
        <p:nvSpPr>
          <p:cNvPr id="8" name="Rectangle 7">
            <a:extLst>
              <a:ext uri="{FF2B5EF4-FFF2-40B4-BE49-F238E27FC236}">
                <a16:creationId xmlns:a16="http://schemas.microsoft.com/office/drawing/2014/main" id="{0D6ECFE3-9170-B97B-C3E6-DA06BB0C0031}"/>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16" name="Freeform: Shape 15">
            <a:extLst>
              <a:ext uri="{FF2B5EF4-FFF2-40B4-BE49-F238E27FC236}">
                <a16:creationId xmlns:a16="http://schemas.microsoft.com/office/drawing/2014/main" id="{7E4537BC-512E-18BA-8110-B3B087AEBC76}"/>
              </a:ext>
            </a:extLst>
          </p:cNvPr>
          <p:cNvSpPr/>
          <p:nvPr userDrawn="1"/>
        </p:nvSpPr>
        <p:spPr>
          <a:xfrm>
            <a:off x="0" y="6140187"/>
            <a:ext cx="12192002" cy="728021"/>
          </a:xfrm>
          <a:custGeom>
            <a:avLst/>
            <a:gdLst>
              <a:gd name="connsiteX0" fmla="*/ 0 w 12192002"/>
              <a:gd name="connsiteY0" fmla="*/ 0 h 728021"/>
              <a:gd name="connsiteX1" fmla="*/ 2528739 w 12192002"/>
              <a:gd name="connsiteY1" fmla="*/ 0 h 728021"/>
              <a:gd name="connsiteX2" fmla="*/ 2765129 w 12192002"/>
              <a:gd name="connsiteY2" fmla="*/ 136016 h 728021"/>
              <a:gd name="connsiteX3" fmla="*/ 2765129 w 12192002"/>
              <a:gd name="connsiteY3" fmla="*/ 138901 h 728021"/>
              <a:gd name="connsiteX4" fmla="*/ 2770143 w 12192002"/>
              <a:gd name="connsiteY4" fmla="*/ 138901 h 728021"/>
              <a:gd name="connsiteX5" fmla="*/ 2774905 w 12192002"/>
              <a:gd name="connsiteY5" fmla="*/ 141641 h 728021"/>
              <a:gd name="connsiteX6" fmla="*/ 12192002 w 12192002"/>
              <a:gd name="connsiteY6" fmla="*/ 148090 h 728021"/>
              <a:gd name="connsiteX7" fmla="*/ 12192002 w 12192002"/>
              <a:gd name="connsiteY7" fmla="*/ 728021 h 728021"/>
              <a:gd name="connsiteX8" fmla="*/ 1 w 12192002"/>
              <a:gd name="connsiteY8" fmla="*/ 728021 h 728021"/>
              <a:gd name="connsiteX9" fmla="*/ 1 w 12192002"/>
              <a:gd name="connsiteY9" fmla="*/ 233465 h 728021"/>
              <a:gd name="connsiteX10" fmla="*/ 0 w 12192002"/>
              <a:gd name="connsiteY10" fmla="*/ 233465 h 728021"/>
              <a:gd name="connsiteX11" fmla="*/ 0 w 12192002"/>
              <a:gd name="connsiteY11" fmla="*/ 0 h 72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2" h="728021">
                <a:moveTo>
                  <a:pt x="0" y="0"/>
                </a:moveTo>
                <a:lnTo>
                  <a:pt x="2528739" y="0"/>
                </a:lnTo>
                <a:lnTo>
                  <a:pt x="2765129" y="136016"/>
                </a:lnTo>
                <a:lnTo>
                  <a:pt x="2765129" y="138901"/>
                </a:lnTo>
                <a:lnTo>
                  <a:pt x="2770143" y="138901"/>
                </a:lnTo>
                <a:lnTo>
                  <a:pt x="2774905" y="141641"/>
                </a:lnTo>
                <a:lnTo>
                  <a:pt x="12192002" y="148090"/>
                </a:lnTo>
                <a:lnTo>
                  <a:pt x="12192002" y="728021"/>
                </a:lnTo>
                <a:lnTo>
                  <a:pt x="1" y="728021"/>
                </a:lnTo>
                <a:lnTo>
                  <a:pt x="1" y="233465"/>
                </a:lnTo>
                <a:lnTo>
                  <a:pt x="0" y="233465"/>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a:solidFill>
                <a:schemeClr val="bg1"/>
              </a:solidFill>
            </a:endParaRPr>
          </a:p>
        </p:txBody>
      </p:sp>
      <p:sp>
        <p:nvSpPr>
          <p:cNvPr id="18" name="Freeform: Shape 17">
            <a:extLst>
              <a:ext uri="{FF2B5EF4-FFF2-40B4-BE49-F238E27FC236}">
                <a16:creationId xmlns:a16="http://schemas.microsoft.com/office/drawing/2014/main" id="{534A3752-F3F7-FB86-6751-E7B3ABC4C5BA}"/>
              </a:ext>
            </a:extLst>
          </p:cNvPr>
          <p:cNvSpPr/>
          <p:nvPr userDrawn="1"/>
        </p:nvSpPr>
        <p:spPr>
          <a:xfrm>
            <a:off x="9506712" y="6290093"/>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7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9" name="Freeform: Shape 18">
            <a:extLst>
              <a:ext uri="{FF2B5EF4-FFF2-40B4-BE49-F238E27FC236}">
                <a16:creationId xmlns:a16="http://schemas.microsoft.com/office/drawing/2014/main" id="{E1B0C51E-39FD-F660-0957-6E904BDC1E12}"/>
              </a:ext>
            </a:extLst>
          </p:cNvPr>
          <p:cNvSpPr/>
          <p:nvPr userDrawn="1"/>
        </p:nvSpPr>
        <p:spPr>
          <a:xfrm>
            <a:off x="9506712" y="6391694"/>
            <a:ext cx="3048" cy="22860"/>
          </a:xfrm>
          <a:custGeom>
            <a:avLst/>
            <a:gdLst>
              <a:gd name="connsiteX0" fmla="*/ 0 w 3048"/>
              <a:gd name="connsiteY0" fmla="*/ 0 h 22860"/>
              <a:gd name="connsiteX1" fmla="*/ 3048 w 3048"/>
              <a:gd name="connsiteY1" fmla="*/ 0 h 22860"/>
              <a:gd name="connsiteX2" fmla="*/ 3048 w 3048"/>
              <a:gd name="connsiteY2" fmla="*/ 22860 h 22860"/>
              <a:gd name="connsiteX3" fmla="*/ 0 w 3048"/>
              <a:gd name="connsiteY3" fmla="*/ 22860 h 22860"/>
              <a:gd name="connsiteX4" fmla="*/ 0 w 3048"/>
              <a:gd name="connsiteY4" fmla="*/ 0 h 22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 h="22860">
                <a:moveTo>
                  <a:pt x="0" y="0"/>
                </a:moveTo>
                <a:lnTo>
                  <a:pt x="3048" y="0"/>
                </a:lnTo>
                <a:lnTo>
                  <a:pt x="3048" y="22860"/>
                </a:lnTo>
                <a:lnTo>
                  <a:pt x="0" y="22860"/>
                </a:lnTo>
                <a:lnTo>
                  <a:pt x="0" y="0"/>
                </a:lnTo>
                <a:close/>
              </a:path>
            </a:pathLst>
          </a:custGeom>
          <a:solidFill>
            <a:schemeClr val="bg1">
              <a:alpha val="6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21" name="Graphic 20">
            <a:extLst>
              <a:ext uri="{FF2B5EF4-FFF2-40B4-BE49-F238E27FC236}">
                <a16:creationId xmlns:a16="http://schemas.microsoft.com/office/drawing/2014/main" id="{00990FCD-B399-1E5C-451A-4A5FDB52D85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040" y="6497832"/>
            <a:ext cx="2892560" cy="215304"/>
          </a:xfrm>
          <a:prstGeom prst="rect">
            <a:avLst/>
          </a:prstGeom>
        </p:spPr>
      </p:pic>
      <p:sp>
        <p:nvSpPr>
          <p:cNvPr id="22" name="Rectangle 6">
            <a:extLst>
              <a:ext uri="{FF2B5EF4-FFF2-40B4-BE49-F238E27FC236}">
                <a16:creationId xmlns:a16="http://schemas.microsoft.com/office/drawing/2014/main" id="{2FCD0542-E49B-B15E-B37E-A45F46ED1930}"/>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Tree>
    <p:extLst>
      <p:ext uri="{BB962C8B-B14F-4D97-AF65-F5344CB8AC3E}">
        <p14:creationId xmlns:p14="http://schemas.microsoft.com/office/powerpoint/2010/main" val="60172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third Content (RO)">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8B79B4C3-74D4-1148-92D8-F953B9CA9D04}"/>
              </a:ext>
            </a:extLst>
          </p:cNvPr>
          <p:cNvSpPr/>
          <p:nvPr userDrawn="1"/>
        </p:nvSpPr>
        <p:spPr>
          <a:xfrm>
            <a:off x="4572000" y="1575144"/>
            <a:ext cx="7086600" cy="4598988"/>
          </a:xfrm>
          <a:prstGeom prst="rect">
            <a:avLst/>
          </a:prstGeom>
          <a:blipFill>
            <a:blip r:embed="rId2"/>
            <a:stretch>
              <a:fillRect l="-55445" t="-20448" r="-17357" b="-52355"/>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4" name="Rectangle 13">
            <a:extLst>
              <a:ext uri="{FF2B5EF4-FFF2-40B4-BE49-F238E27FC236}">
                <a16:creationId xmlns:a16="http://schemas.microsoft.com/office/drawing/2014/main" id="{91DFB4FC-DBF3-4C25-B966-AEA10F97ECFF}"/>
              </a:ext>
            </a:extLst>
          </p:cNvPr>
          <p:cNvSpPr/>
          <p:nvPr userDrawn="1"/>
        </p:nvSpPr>
        <p:spPr>
          <a:xfrm>
            <a:off x="0" y="1465786"/>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2" name="Title 11"/>
          <p:cNvSpPr>
            <a:spLocks noGrp="1"/>
          </p:cNvSpPr>
          <p:nvPr userDrawn="1">
            <p:ph type="title" hasCustomPrompt="1"/>
          </p:nvPr>
        </p:nvSpPr>
        <p:spPr/>
        <p:txBody>
          <a:bodyPr vert="horz" lIns="0" tIns="0" rIns="0" bIns="0" rtlCol="0" anchor="t" anchorCtr="0">
            <a:spAutoFit/>
          </a:bodyPr>
          <a:lstStyle>
            <a:lvl1pPr>
              <a:defRPr lang="en-US" dirty="0"/>
            </a:lvl1pPr>
          </a:lstStyle>
          <a:p>
            <a:pPr lvl="0"/>
            <a:r>
              <a:rPr lang="en-US"/>
              <a:t>add title</a:t>
            </a:r>
          </a:p>
        </p:txBody>
      </p:sp>
      <p:grpSp>
        <p:nvGrpSpPr>
          <p:cNvPr id="4" name="Group 3">
            <a:extLst>
              <a:ext uri="{FF2B5EF4-FFF2-40B4-BE49-F238E27FC236}">
                <a16:creationId xmlns:a16="http://schemas.microsoft.com/office/drawing/2014/main" id="{5B8BB190-45C4-B4EA-E91F-D91647DD201A}"/>
              </a:ext>
            </a:extLst>
          </p:cNvPr>
          <p:cNvGrpSpPr/>
          <p:nvPr userDrawn="1"/>
        </p:nvGrpSpPr>
        <p:grpSpPr>
          <a:xfrm>
            <a:off x="592994" y="6253879"/>
            <a:ext cx="237934" cy="161861"/>
            <a:chOff x="4558698" y="6297424"/>
            <a:chExt cx="237934" cy="161861"/>
          </a:xfrm>
        </p:grpSpPr>
        <p:sp>
          <p:nvSpPr>
            <p:cNvPr id="5" name="Freeform: Shape 4">
              <a:extLst>
                <a:ext uri="{FF2B5EF4-FFF2-40B4-BE49-F238E27FC236}">
                  <a16:creationId xmlns:a16="http://schemas.microsoft.com/office/drawing/2014/main" id="{2AF73820-1083-FF47-1ED2-921C54B2DA0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 name="Freeform: Shape 5">
              <a:extLst>
                <a:ext uri="{FF2B5EF4-FFF2-40B4-BE49-F238E27FC236}">
                  <a16:creationId xmlns:a16="http://schemas.microsoft.com/office/drawing/2014/main" id="{7B83EE4A-325F-6424-ADD2-4C282A359E4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 name="Freeform: Shape 6">
              <a:extLst>
                <a:ext uri="{FF2B5EF4-FFF2-40B4-BE49-F238E27FC236}">
                  <a16:creationId xmlns:a16="http://schemas.microsoft.com/office/drawing/2014/main" id="{97D74398-9694-0B5D-3BB9-EF3F4A0B55BA}"/>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sp>
        <p:nvSpPr>
          <p:cNvPr id="20" name="Freeform: Shape 19">
            <a:extLst>
              <a:ext uri="{FF2B5EF4-FFF2-40B4-BE49-F238E27FC236}">
                <a16:creationId xmlns:a16="http://schemas.microsoft.com/office/drawing/2014/main" id="{E071EA64-5CFB-0226-2249-8AC5F19C3012}"/>
              </a:ext>
            </a:extLst>
          </p:cNvPr>
          <p:cNvSpPr/>
          <p:nvPr userDrawn="1"/>
        </p:nvSpPr>
        <p:spPr>
          <a:xfrm>
            <a:off x="567709" y="1465786"/>
            <a:ext cx="3558618" cy="4711129"/>
          </a:xfrm>
          <a:custGeom>
            <a:avLst/>
            <a:gdLst>
              <a:gd name="connsiteX0" fmla="*/ 1 w 3558618"/>
              <a:gd name="connsiteY0" fmla="*/ 0 h 4711129"/>
              <a:gd name="connsiteX1" fmla="*/ 1001702 w 3558618"/>
              <a:gd name="connsiteY1" fmla="*/ 0 h 4711129"/>
              <a:gd name="connsiteX2" fmla="*/ 1231093 w 3558618"/>
              <a:gd name="connsiteY2" fmla="*/ 110171 h 4711129"/>
              <a:gd name="connsiteX3" fmla="*/ 3558618 w 3558618"/>
              <a:gd name="connsiteY3" fmla="*/ 110171 h 4711129"/>
              <a:gd name="connsiteX4" fmla="*/ 3558618 w 3558618"/>
              <a:gd name="connsiteY4" fmla="*/ 4711129 h 4711129"/>
              <a:gd name="connsiteX5" fmla="*/ 0 w 3558618"/>
              <a:gd name="connsiteY5" fmla="*/ 4711129 h 4711129"/>
              <a:gd name="connsiteX6" fmla="*/ 0 w 3558618"/>
              <a:gd name="connsiteY6" fmla="*/ 110171 h 4711129"/>
              <a:gd name="connsiteX7" fmla="*/ 1 w 3558618"/>
              <a:gd name="connsiteY7" fmla="*/ 110171 h 471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8618" h="4711129">
                <a:moveTo>
                  <a:pt x="1" y="0"/>
                </a:moveTo>
                <a:lnTo>
                  <a:pt x="1001702" y="0"/>
                </a:lnTo>
                <a:lnTo>
                  <a:pt x="1231093" y="110171"/>
                </a:lnTo>
                <a:lnTo>
                  <a:pt x="3558618" y="110171"/>
                </a:lnTo>
                <a:lnTo>
                  <a:pt x="3558618" y="4711129"/>
                </a:lnTo>
                <a:lnTo>
                  <a:pt x="0" y="4711129"/>
                </a:lnTo>
                <a:lnTo>
                  <a:pt x="0" y="110171"/>
                </a:lnTo>
                <a:lnTo>
                  <a:pt x="1" y="110171"/>
                </a:lnTo>
                <a:close/>
              </a:path>
            </a:pathLst>
          </a:custGeom>
          <a:blipFill>
            <a:blip r:embed="rId3"/>
            <a:stretch>
              <a:fillRect l="-23771" t="-1974" r="-118454" b="-104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9" name="Freeform: Shape 18">
            <a:extLst>
              <a:ext uri="{FF2B5EF4-FFF2-40B4-BE49-F238E27FC236}">
                <a16:creationId xmlns:a16="http://schemas.microsoft.com/office/drawing/2014/main" id="{023FFA16-C664-87AF-EFB6-B862D3B24009}"/>
              </a:ext>
            </a:extLst>
          </p:cNvPr>
          <p:cNvSpPr/>
          <p:nvPr userDrawn="1"/>
        </p:nvSpPr>
        <p:spPr>
          <a:xfrm>
            <a:off x="567709" y="1465786"/>
            <a:ext cx="3558618" cy="4711129"/>
          </a:xfrm>
          <a:custGeom>
            <a:avLst/>
            <a:gdLst>
              <a:gd name="connsiteX0" fmla="*/ 1 w 3558618"/>
              <a:gd name="connsiteY0" fmla="*/ 0 h 4711129"/>
              <a:gd name="connsiteX1" fmla="*/ 1001702 w 3558618"/>
              <a:gd name="connsiteY1" fmla="*/ 0 h 4711129"/>
              <a:gd name="connsiteX2" fmla="*/ 1231094 w 3558618"/>
              <a:gd name="connsiteY2" fmla="*/ 110171 h 4711129"/>
              <a:gd name="connsiteX3" fmla="*/ 3558618 w 3558618"/>
              <a:gd name="connsiteY3" fmla="*/ 110171 h 4711129"/>
              <a:gd name="connsiteX4" fmla="*/ 3558618 w 3558618"/>
              <a:gd name="connsiteY4" fmla="*/ 4711129 h 4711129"/>
              <a:gd name="connsiteX5" fmla="*/ 0 w 3558618"/>
              <a:gd name="connsiteY5" fmla="*/ 4711129 h 4711129"/>
              <a:gd name="connsiteX6" fmla="*/ 0 w 3558618"/>
              <a:gd name="connsiteY6" fmla="*/ 110171 h 4711129"/>
              <a:gd name="connsiteX7" fmla="*/ 1 w 3558618"/>
              <a:gd name="connsiteY7" fmla="*/ 110171 h 471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8618" h="4711129">
                <a:moveTo>
                  <a:pt x="1" y="0"/>
                </a:moveTo>
                <a:lnTo>
                  <a:pt x="1001702" y="0"/>
                </a:lnTo>
                <a:lnTo>
                  <a:pt x="1231094" y="110171"/>
                </a:lnTo>
                <a:lnTo>
                  <a:pt x="3558618" y="110171"/>
                </a:lnTo>
                <a:lnTo>
                  <a:pt x="3558618" y="4711129"/>
                </a:lnTo>
                <a:lnTo>
                  <a:pt x="0" y="4711129"/>
                </a:lnTo>
                <a:lnTo>
                  <a:pt x="0" y="110171"/>
                </a:lnTo>
                <a:lnTo>
                  <a:pt x="1" y="110171"/>
                </a:lnTo>
                <a:close/>
              </a:path>
            </a:pathLst>
          </a:custGeom>
          <a:gradFill>
            <a:gsLst>
              <a:gs pos="1000">
                <a:srgbClr val="002C43">
                  <a:alpha val="85000"/>
                </a:srgbClr>
              </a:gs>
              <a:gs pos="83000">
                <a:schemeClr val="accent6">
                  <a:lumMod val="75000"/>
                  <a:alpha val="60000"/>
                </a:schemeClr>
              </a:gs>
              <a:gs pos="100000">
                <a:schemeClr val="accent6">
                  <a:lumMod val="50000"/>
                  <a:alpha val="85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nSpc>
                <a:spcPct val="90000"/>
              </a:lnSpc>
              <a:spcBef>
                <a:spcPts val="800"/>
              </a:spcBef>
            </a:pPr>
            <a:endParaRPr lang="es-PE" dirty="0">
              <a:solidFill>
                <a:schemeClr val="bg1"/>
              </a:solidFill>
            </a:endParaRPr>
          </a:p>
        </p:txBody>
      </p:sp>
      <p:sp>
        <p:nvSpPr>
          <p:cNvPr id="24" name="Text Placeholder 23">
            <a:extLst>
              <a:ext uri="{FF2B5EF4-FFF2-40B4-BE49-F238E27FC236}">
                <a16:creationId xmlns:a16="http://schemas.microsoft.com/office/drawing/2014/main" id="{8A7FA4A2-2CD6-B25F-EF54-1BF52A0192CE}"/>
              </a:ext>
            </a:extLst>
          </p:cNvPr>
          <p:cNvSpPr>
            <a:spLocks noGrp="1"/>
          </p:cNvSpPr>
          <p:nvPr>
            <p:ph type="body" sz="quarter" idx="11"/>
          </p:nvPr>
        </p:nvSpPr>
        <p:spPr>
          <a:xfrm>
            <a:off x="731838" y="1920193"/>
            <a:ext cx="3216275" cy="4023360"/>
          </a:xfrm>
        </p:spPr>
        <p:txBody>
          <a:bodyPr/>
          <a:lstStyle>
            <a:lvl1pPr>
              <a:defRPr>
                <a:solidFill>
                  <a:schemeClr val="bg1"/>
                </a:solidFill>
              </a:defRPr>
            </a:lvl1pPr>
            <a:lvl2pPr>
              <a:defRPr>
                <a:solidFill>
                  <a:schemeClr val="bg1"/>
                </a:solidFill>
              </a:defRPr>
            </a:lvl2pPr>
            <a:lvl3pPr marL="932688" indent="-274320">
              <a:buFontTx/>
              <a:buBlip>
                <a:blip r:embed="rId4"/>
              </a:buBlip>
              <a:defRPr>
                <a:solidFill>
                  <a:schemeClr val="bg1"/>
                </a:solidFill>
              </a:defRPr>
            </a:lvl3pPr>
            <a:lvl4pPr marL="1188720" indent="-228600">
              <a:buFontTx/>
              <a:buBlip>
                <a:blip r:embed="rId5"/>
              </a:buBlip>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a:extLst>
              <a:ext uri="{FF2B5EF4-FFF2-40B4-BE49-F238E27FC236}">
                <a16:creationId xmlns:a16="http://schemas.microsoft.com/office/drawing/2014/main" id="{FA43E793-B960-9937-DEB3-B3D59A64E46C}"/>
              </a:ext>
            </a:extLst>
          </p:cNvPr>
          <p:cNvSpPr>
            <a:spLocks noGrp="1"/>
          </p:cNvSpPr>
          <p:nvPr>
            <p:ph type="body" sz="quarter" idx="12"/>
          </p:nvPr>
        </p:nvSpPr>
        <p:spPr>
          <a:xfrm>
            <a:off x="4849789" y="1920193"/>
            <a:ext cx="6531023" cy="4011612"/>
          </a:xfrm>
        </p:spPr>
        <p:txBody>
          <a:bodyPr/>
          <a:lstStyle>
            <a:lvl1pPr>
              <a:defRPr>
                <a:solidFill>
                  <a:schemeClr val="bg1"/>
                </a:solidFill>
              </a:defRPr>
            </a:lvl1pPr>
            <a:lvl2pPr>
              <a:defRPr>
                <a:solidFill>
                  <a:schemeClr val="bg1"/>
                </a:solidFill>
              </a:defRPr>
            </a:lvl2pPr>
            <a:lvl3pPr marL="932688" indent="-274320">
              <a:buFontTx/>
              <a:buBlip>
                <a:blip r:embed="rId4"/>
              </a:buBlip>
              <a:defRPr>
                <a:solidFill>
                  <a:schemeClr val="bg1"/>
                </a:solidFill>
              </a:defRPr>
            </a:lvl3pPr>
            <a:lvl4pPr marL="1188720" indent="-228600">
              <a:buFontTx/>
              <a:buBlip>
                <a:blip r:embed="rId5"/>
              </a:buBlip>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26" name="Group 25">
            <a:extLst>
              <a:ext uri="{FF2B5EF4-FFF2-40B4-BE49-F238E27FC236}">
                <a16:creationId xmlns:a16="http://schemas.microsoft.com/office/drawing/2014/main" id="{6981DD98-BF3C-61AD-8B13-61C27CD2E305}"/>
              </a:ext>
            </a:extLst>
          </p:cNvPr>
          <p:cNvGrpSpPr/>
          <p:nvPr userDrawn="1"/>
        </p:nvGrpSpPr>
        <p:grpSpPr>
          <a:xfrm>
            <a:off x="4583953" y="1399621"/>
            <a:ext cx="7086077" cy="72235"/>
            <a:chOff x="4583953" y="1443166"/>
            <a:chExt cx="7086077" cy="72235"/>
          </a:xfrm>
        </p:grpSpPr>
        <p:cxnSp>
          <p:nvCxnSpPr>
            <p:cNvPr id="27" name="Straight Connector 26">
              <a:extLst>
                <a:ext uri="{FF2B5EF4-FFF2-40B4-BE49-F238E27FC236}">
                  <a16:creationId xmlns:a16="http://schemas.microsoft.com/office/drawing/2014/main" id="{195066E1-84F5-186F-6B9F-D9CFBF5843C2}"/>
                </a:ext>
              </a:extLst>
            </p:cNvPr>
            <p:cNvCxnSpPr>
              <a:cxnSpLocks/>
            </p:cNvCxnSpPr>
            <p:nvPr/>
          </p:nvCxnSpPr>
          <p:spPr>
            <a:xfrm>
              <a:off x="4583953"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69D21BA-CC43-4E7E-BD3A-7152AC153C37}"/>
                </a:ext>
              </a:extLst>
            </p:cNvPr>
            <p:cNvCxnSpPr>
              <a:cxnSpLocks/>
            </p:cNvCxnSpPr>
            <p:nvPr/>
          </p:nvCxnSpPr>
          <p:spPr>
            <a:xfrm>
              <a:off x="5684017"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B2C0E3E-5367-5D92-FBCB-140D7B65679C}"/>
                </a:ext>
              </a:extLst>
            </p:cNvPr>
            <p:cNvCxnSpPr>
              <a:cxnSpLocks/>
            </p:cNvCxnSpPr>
            <p:nvPr/>
          </p:nvCxnSpPr>
          <p:spPr>
            <a:xfrm>
              <a:off x="6784081"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B8BA349-E21D-23F9-4A17-22EAFEA3FB57}"/>
                </a:ext>
              </a:extLst>
            </p:cNvPr>
            <p:cNvCxnSpPr>
              <a:cxnSpLocks/>
            </p:cNvCxnSpPr>
            <p:nvPr/>
          </p:nvCxnSpPr>
          <p:spPr>
            <a:xfrm>
              <a:off x="7884145"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12C2A62-A1DF-6E9C-F3B4-A0390C8028BC}"/>
                </a:ext>
              </a:extLst>
            </p:cNvPr>
            <p:cNvCxnSpPr>
              <a:cxnSpLocks/>
            </p:cNvCxnSpPr>
            <p:nvPr/>
          </p:nvCxnSpPr>
          <p:spPr>
            <a:xfrm>
              <a:off x="8984209"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A782E25-E040-3B4F-89BF-FEA20BB9C986}"/>
                </a:ext>
              </a:extLst>
            </p:cNvPr>
            <p:cNvCxnSpPr>
              <a:cxnSpLocks/>
            </p:cNvCxnSpPr>
            <p:nvPr/>
          </p:nvCxnSpPr>
          <p:spPr>
            <a:xfrm>
              <a:off x="10084273"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CDEE9D-351E-7DF9-8349-713C4B740276}"/>
                </a:ext>
              </a:extLst>
            </p:cNvPr>
            <p:cNvCxnSpPr>
              <a:cxnSpLocks/>
            </p:cNvCxnSpPr>
            <p:nvPr/>
          </p:nvCxnSpPr>
          <p:spPr>
            <a:xfrm>
              <a:off x="11184341"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4" name="Graphic 1061">
              <a:extLst>
                <a:ext uri="{FF2B5EF4-FFF2-40B4-BE49-F238E27FC236}">
                  <a16:creationId xmlns:a16="http://schemas.microsoft.com/office/drawing/2014/main" id="{4DB13C53-6BFC-07F4-FCCB-B75BF297251F}"/>
                </a:ext>
              </a:extLst>
            </p:cNvPr>
            <p:cNvGrpSpPr/>
            <p:nvPr/>
          </p:nvGrpSpPr>
          <p:grpSpPr>
            <a:xfrm>
              <a:off x="10698946" y="1443166"/>
              <a:ext cx="356407" cy="72235"/>
              <a:chOff x="10361032" y="3050327"/>
              <a:chExt cx="356407" cy="72235"/>
            </a:xfrm>
            <a:solidFill>
              <a:schemeClr val="bg1">
                <a:lumMod val="65000"/>
              </a:schemeClr>
            </a:solidFill>
          </p:grpSpPr>
          <p:sp>
            <p:nvSpPr>
              <p:cNvPr id="60" name="Freeform: Shape 59">
                <a:extLst>
                  <a:ext uri="{FF2B5EF4-FFF2-40B4-BE49-F238E27FC236}">
                    <a16:creationId xmlns:a16="http://schemas.microsoft.com/office/drawing/2014/main" id="{23DDE20E-5F7F-7AD1-4844-745BDCB23315}"/>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61" name="Freeform: Shape 60">
                <a:extLst>
                  <a:ext uri="{FF2B5EF4-FFF2-40B4-BE49-F238E27FC236}">
                    <a16:creationId xmlns:a16="http://schemas.microsoft.com/office/drawing/2014/main" id="{03AB3A8A-7E81-38F1-BE51-0F2EE005A8B8}"/>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62" name="Freeform: Shape 61">
                <a:extLst>
                  <a:ext uri="{FF2B5EF4-FFF2-40B4-BE49-F238E27FC236}">
                    <a16:creationId xmlns:a16="http://schemas.microsoft.com/office/drawing/2014/main" id="{EC366D18-5715-0B05-E5F2-D634B4DC6FEB}"/>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63" name="Freeform: Shape 62">
                <a:extLst>
                  <a:ext uri="{FF2B5EF4-FFF2-40B4-BE49-F238E27FC236}">
                    <a16:creationId xmlns:a16="http://schemas.microsoft.com/office/drawing/2014/main" id="{6712441E-F151-23D6-062D-32CEF56DAA3A}"/>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35" name="Graphic 1061">
              <a:extLst>
                <a:ext uri="{FF2B5EF4-FFF2-40B4-BE49-F238E27FC236}">
                  <a16:creationId xmlns:a16="http://schemas.microsoft.com/office/drawing/2014/main" id="{AA005904-BD01-A73B-40D3-2278CAAA1547}"/>
                </a:ext>
              </a:extLst>
            </p:cNvPr>
            <p:cNvGrpSpPr/>
            <p:nvPr/>
          </p:nvGrpSpPr>
          <p:grpSpPr>
            <a:xfrm>
              <a:off x="9598882" y="1443166"/>
              <a:ext cx="356407" cy="72235"/>
              <a:chOff x="10361032" y="3050327"/>
              <a:chExt cx="356407" cy="72235"/>
            </a:xfrm>
            <a:solidFill>
              <a:schemeClr val="bg1">
                <a:lumMod val="65000"/>
              </a:schemeClr>
            </a:solidFill>
          </p:grpSpPr>
          <p:sp>
            <p:nvSpPr>
              <p:cNvPr id="56" name="Freeform: Shape 55">
                <a:extLst>
                  <a:ext uri="{FF2B5EF4-FFF2-40B4-BE49-F238E27FC236}">
                    <a16:creationId xmlns:a16="http://schemas.microsoft.com/office/drawing/2014/main" id="{A6CACEDB-189C-E410-8ACB-C4E7249CC0C2}"/>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7" name="Freeform: Shape 56">
                <a:extLst>
                  <a:ext uri="{FF2B5EF4-FFF2-40B4-BE49-F238E27FC236}">
                    <a16:creationId xmlns:a16="http://schemas.microsoft.com/office/drawing/2014/main" id="{4AFB0F1B-A0DA-7C8A-883F-37D8F5DC9C6F}"/>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8" name="Freeform: Shape 57">
                <a:extLst>
                  <a:ext uri="{FF2B5EF4-FFF2-40B4-BE49-F238E27FC236}">
                    <a16:creationId xmlns:a16="http://schemas.microsoft.com/office/drawing/2014/main" id="{0EE2E47C-E826-66D4-933A-23AD279E6B1A}"/>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9" name="Freeform: Shape 58">
                <a:extLst>
                  <a:ext uri="{FF2B5EF4-FFF2-40B4-BE49-F238E27FC236}">
                    <a16:creationId xmlns:a16="http://schemas.microsoft.com/office/drawing/2014/main" id="{7CA763E5-92E9-DE7B-0B5C-547B676F0993}"/>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36" name="Graphic 1061">
              <a:extLst>
                <a:ext uri="{FF2B5EF4-FFF2-40B4-BE49-F238E27FC236}">
                  <a16:creationId xmlns:a16="http://schemas.microsoft.com/office/drawing/2014/main" id="{DBDC294D-F5A1-E55B-2011-4ECB3D392EF5}"/>
                </a:ext>
              </a:extLst>
            </p:cNvPr>
            <p:cNvGrpSpPr/>
            <p:nvPr/>
          </p:nvGrpSpPr>
          <p:grpSpPr>
            <a:xfrm>
              <a:off x="8498818" y="1443166"/>
              <a:ext cx="356407" cy="72235"/>
              <a:chOff x="10361032" y="3050327"/>
              <a:chExt cx="356407" cy="72235"/>
            </a:xfrm>
            <a:solidFill>
              <a:schemeClr val="bg1">
                <a:lumMod val="65000"/>
              </a:schemeClr>
            </a:solidFill>
          </p:grpSpPr>
          <p:sp>
            <p:nvSpPr>
              <p:cNvPr id="52" name="Freeform: Shape 51">
                <a:extLst>
                  <a:ext uri="{FF2B5EF4-FFF2-40B4-BE49-F238E27FC236}">
                    <a16:creationId xmlns:a16="http://schemas.microsoft.com/office/drawing/2014/main" id="{6BEAE446-81AD-32EB-F11E-826E916D2E03}"/>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3" name="Freeform: Shape 52">
                <a:extLst>
                  <a:ext uri="{FF2B5EF4-FFF2-40B4-BE49-F238E27FC236}">
                    <a16:creationId xmlns:a16="http://schemas.microsoft.com/office/drawing/2014/main" id="{7FA000F7-D1F8-EBE6-2075-240EBF122AAF}"/>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4" name="Freeform: Shape 53">
                <a:extLst>
                  <a:ext uri="{FF2B5EF4-FFF2-40B4-BE49-F238E27FC236}">
                    <a16:creationId xmlns:a16="http://schemas.microsoft.com/office/drawing/2014/main" id="{F8189632-11F5-D38F-1AAE-3669E31BF435}"/>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5" name="Freeform: Shape 54">
                <a:extLst>
                  <a:ext uri="{FF2B5EF4-FFF2-40B4-BE49-F238E27FC236}">
                    <a16:creationId xmlns:a16="http://schemas.microsoft.com/office/drawing/2014/main" id="{13BA1272-D356-D400-73A7-995EB7C9A758}"/>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37" name="Graphic 1061">
              <a:extLst>
                <a:ext uri="{FF2B5EF4-FFF2-40B4-BE49-F238E27FC236}">
                  <a16:creationId xmlns:a16="http://schemas.microsoft.com/office/drawing/2014/main" id="{164ABBEC-069F-64A2-FEE6-A0C99406DC32}"/>
                </a:ext>
              </a:extLst>
            </p:cNvPr>
            <p:cNvGrpSpPr/>
            <p:nvPr/>
          </p:nvGrpSpPr>
          <p:grpSpPr>
            <a:xfrm>
              <a:off x="7398754" y="1443166"/>
              <a:ext cx="356407" cy="72235"/>
              <a:chOff x="10361032" y="3050327"/>
              <a:chExt cx="356407" cy="72235"/>
            </a:xfrm>
            <a:solidFill>
              <a:schemeClr val="bg1">
                <a:lumMod val="65000"/>
              </a:schemeClr>
            </a:solidFill>
          </p:grpSpPr>
          <p:sp>
            <p:nvSpPr>
              <p:cNvPr id="48" name="Freeform: Shape 47">
                <a:extLst>
                  <a:ext uri="{FF2B5EF4-FFF2-40B4-BE49-F238E27FC236}">
                    <a16:creationId xmlns:a16="http://schemas.microsoft.com/office/drawing/2014/main" id="{617AEF4B-594F-CAB1-47F3-AC583E9BF466}"/>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9" name="Freeform: Shape 48">
                <a:extLst>
                  <a:ext uri="{FF2B5EF4-FFF2-40B4-BE49-F238E27FC236}">
                    <a16:creationId xmlns:a16="http://schemas.microsoft.com/office/drawing/2014/main" id="{50E5EB2C-0065-6589-985B-AB2AB4451388}"/>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0" name="Freeform: Shape 49">
                <a:extLst>
                  <a:ext uri="{FF2B5EF4-FFF2-40B4-BE49-F238E27FC236}">
                    <a16:creationId xmlns:a16="http://schemas.microsoft.com/office/drawing/2014/main" id="{E933ADF0-6017-FD6D-2DE9-E45B159AFB1C}"/>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51" name="Freeform: Shape 50">
                <a:extLst>
                  <a:ext uri="{FF2B5EF4-FFF2-40B4-BE49-F238E27FC236}">
                    <a16:creationId xmlns:a16="http://schemas.microsoft.com/office/drawing/2014/main" id="{1A3E764C-DEF7-B51C-F407-590900BC9A15}"/>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38" name="Graphic 1061">
              <a:extLst>
                <a:ext uri="{FF2B5EF4-FFF2-40B4-BE49-F238E27FC236}">
                  <a16:creationId xmlns:a16="http://schemas.microsoft.com/office/drawing/2014/main" id="{A4069594-6AE4-7827-188D-191E561E46ED}"/>
                </a:ext>
              </a:extLst>
            </p:cNvPr>
            <p:cNvGrpSpPr/>
            <p:nvPr/>
          </p:nvGrpSpPr>
          <p:grpSpPr>
            <a:xfrm>
              <a:off x="6298690" y="1443166"/>
              <a:ext cx="356407" cy="72235"/>
              <a:chOff x="10361032" y="3050327"/>
              <a:chExt cx="356407" cy="72235"/>
            </a:xfrm>
            <a:solidFill>
              <a:schemeClr val="bg1">
                <a:lumMod val="65000"/>
              </a:schemeClr>
            </a:solidFill>
          </p:grpSpPr>
          <p:sp>
            <p:nvSpPr>
              <p:cNvPr id="44" name="Freeform: Shape 43">
                <a:extLst>
                  <a:ext uri="{FF2B5EF4-FFF2-40B4-BE49-F238E27FC236}">
                    <a16:creationId xmlns:a16="http://schemas.microsoft.com/office/drawing/2014/main" id="{D2FFB17B-BDD7-44DE-98DA-6CBCFC2369F4}"/>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5" name="Freeform: Shape 44">
                <a:extLst>
                  <a:ext uri="{FF2B5EF4-FFF2-40B4-BE49-F238E27FC236}">
                    <a16:creationId xmlns:a16="http://schemas.microsoft.com/office/drawing/2014/main" id="{24FCF9D1-E313-C0B3-FB85-21A24CA79224}"/>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6" name="Freeform: Shape 45">
                <a:extLst>
                  <a:ext uri="{FF2B5EF4-FFF2-40B4-BE49-F238E27FC236}">
                    <a16:creationId xmlns:a16="http://schemas.microsoft.com/office/drawing/2014/main" id="{0A43326D-CFED-C4E3-E8CA-10F30CA9EF5F}"/>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7" name="Freeform: Shape 46">
                <a:extLst>
                  <a:ext uri="{FF2B5EF4-FFF2-40B4-BE49-F238E27FC236}">
                    <a16:creationId xmlns:a16="http://schemas.microsoft.com/office/drawing/2014/main" id="{1C00DE4A-4DC4-5181-7FE9-50935D5B3CD0}"/>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39" name="Graphic 1061">
              <a:extLst>
                <a:ext uri="{FF2B5EF4-FFF2-40B4-BE49-F238E27FC236}">
                  <a16:creationId xmlns:a16="http://schemas.microsoft.com/office/drawing/2014/main" id="{C042D43E-78C1-E47B-60B7-3DF83EFAC3DA}"/>
                </a:ext>
              </a:extLst>
            </p:cNvPr>
            <p:cNvGrpSpPr/>
            <p:nvPr/>
          </p:nvGrpSpPr>
          <p:grpSpPr>
            <a:xfrm>
              <a:off x="5198626" y="1443166"/>
              <a:ext cx="356407" cy="72235"/>
              <a:chOff x="10361032" y="3050327"/>
              <a:chExt cx="356407" cy="72235"/>
            </a:xfrm>
            <a:solidFill>
              <a:schemeClr val="bg1">
                <a:lumMod val="65000"/>
              </a:schemeClr>
            </a:solidFill>
          </p:grpSpPr>
          <p:sp>
            <p:nvSpPr>
              <p:cNvPr id="40" name="Freeform: Shape 39">
                <a:extLst>
                  <a:ext uri="{FF2B5EF4-FFF2-40B4-BE49-F238E27FC236}">
                    <a16:creationId xmlns:a16="http://schemas.microsoft.com/office/drawing/2014/main" id="{649F9C97-0B18-A410-CCCC-DB1818A3A4D7}"/>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1" name="Freeform: Shape 40">
                <a:extLst>
                  <a:ext uri="{FF2B5EF4-FFF2-40B4-BE49-F238E27FC236}">
                    <a16:creationId xmlns:a16="http://schemas.microsoft.com/office/drawing/2014/main" id="{23D5C4E5-5A5C-8F9E-F1ED-1B5B9295E91A}"/>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2" name="Freeform: Shape 41">
                <a:extLst>
                  <a:ext uri="{FF2B5EF4-FFF2-40B4-BE49-F238E27FC236}">
                    <a16:creationId xmlns:a16="http://schemas.microsoft.com/office/drawing/2014/main" id="{2B58F025-E82C-47F0-2E45-B4CE27F8A810}"/>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3" name="Freeform: Shape 42">
                <a:extLst>
                  <a:ext uri="{FF2B5EF4-FFF2-40B4-BE49-F238E27FC236}">
                    <a16:creationId xmlns:a16="http://schemas.microsoft.com/office/drawing/2014/main" id="{73685F50-6133-0A71-8833-F9BAC90746B8}"/>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grpSp>
        <p:nvGrpSpPr>
          <p:cNvPr id="64" name="Group 63">
            <a:extLst>
              <a:ext uri="{FF2B5EF4-FFF2-40B4-BE49-F238E27FC236}">
                <a16:creationId xmlns:a16="http://schemas.microsoft.com/office/drawing/2014/main" id="{FA609F15-78C2-B0DD-E06F-A9AE93B7CFAC}"/>
              </a:ext>
            </a:extLst>
          </p:cNvPr>
          <p:cNvGrpSpPr/>
          <p:nvPr userDrawn="1"/>
        </p:nvGrpSpPr>
        <p:grpSpPr>
          <a:xfrm>
            <a:off x="4558698" y="6253879"/>
            <a:ext cx="237934" cy="161861"/>
            <a:chOff x="4558698" y="6297424"/>
            <a:chExt cx="237934" cy="161861"/>
          </a:xfrm>
        </p:grpSpPr>
        <p:sp>
          <p:nvSpPr>
            <p:cNvPr id="65" name="Freeform: Shape 64">
              <a:extLst>
                <a:ext uri="{FF2B5EF4-FFF2-40B4-BE49-F238E27FC236}">
                  <a16:creationId xmlns:a16="http://schemas.microsoft.com/office/drawing/2014/main" id="{7730E96A-B6C1-24CC-FBAB-D1359671A819}"/>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6" name="Freeform: Shape 65">
              <a:extLst>
                <a:ext uri="{FF2B5EF4-FFF2-40B4-BE49-F238E27FC236}">
                  <a16:creationId xmlns:a16="http://schemas.microsoft.com/office/drawing/2014/main" id="{E1EB3F3A-3200-852F-D674-49ABBE04AB18}"/>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7" name="Freeform: Shape 66">
              <a:extLst>
                <a:ext uri="{FF2B5EF4-FFF2-40B4-BE49-F238E27FC236}">
                  <a16:creationId xmlns:a16="http://schemas.microsoft.com/office/drawing/2014/main" id="{63251622-94F9-6D14-A6A5-4D5503F56AE8}"/>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spTree>
    <p:extLst>
      <p:ext uri="{BB962C8B-B14F-4D97-AF65-F5344CB8AC3E}">
        <p14:creationId xmlns:p14="http://schemas.microsoft.com/office/powerpoint/2010/main" val="199709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3317129"/>
            <a:ext cx="3108960" cy="443198"/>
          </a:xfrm>
        </p:spPr>
        <p:txBody>
          <a:bodyPr/>
          <a:lstStyle>
            <a:lvl1pPr>
              <a:defRPr sz="3600"/>
            </a:lvl1pPr>
          </a:lstStyle>
          <a:p>
            <a:r>
              <a:rPr lang="en-US"/>
              <a:t>add title</a:t>
            </a:r>
          </a:p>
        </p:txBody>
      </p:sp>
      <p:cxnSp>
        <p:nvCxnSpPr>
          <p:cNvPr id="5" name="Straight Connector 4">
            <a:extLst>
              <a:ext uri="{FF2B5EF4-FFF2-40B4-BE49-F238E27FC236}">
                <a16:creationId xmlns:a16="http://schemas.microsoft.com/office/drawing/2014/main" id="{AE0358D3-AC90-494A-B98F-19BDE159DB8E}"/>
              </a:ext>
            </a:extLst>
          </p:cNvPr>
          <p:cNvCxnSpPr>
            <a:cxnSpLocks/>
          </p:cNvCxnSpPr>
          <p:nvPr userDrawn="1"/>
        </p:nvCxnSpPr>
        <p:spPr>
          <a:xfrm>
            <a:off x="3805843" y="1051560"/>
            <a:ext cx="0" cy="475488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3C623BC-A0F7-46D7-87A2-096962F1FEC4}"/>
              </a:ext>
            </a:extLst>
          </p:cNvPr>
          <p:cNvSpPr/>
          <p:nvPr userDrawn="1"/>
        </p:nvSpPr>
        <p:spPr>
          <a:xfrm flipH="1" flipV="1">
            <a:off x="510776" y="2887137"/>
            <a:ext cx="960120"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sp>
        <p:nvSpPr>
          <p:cNvPr id="2" name="Rectangle 1">
            <a:extLst>
              <a:ext uri="{FF2B5EF4-FFF2-40B4-BE49-F238E27FC236}">
                <a16:creationId xmlns:a16="http://schemas.microsoft.com/office/drawing/2014/main" id="{53261691-7E98-456C-8945-F79E150DD66B}"/>
              </a:ext>
            </a:extLst>
          </p:cNvPr>
          <p:cNvSpPr/>
          <p:nvPr userDrawn="1"/>
        </p:nvSpPr>
        <p:spPr>
          <a:xfrm>
            <a:off x="490760" y="259080"/>
            <a:ext cx="1109440" cy="426721"/>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8" name="Text Placeholder 7">
            <a:extLst>
              <a:ext uri="{FF2B5EF4-FFF2-40B4-BE49-F238E27FC236}">
                <a16:creationId xmlns:a16="http://schemas.microsoft.com/office/drawing/2014/main" id="{410431AD-6A0B-4A59-8F14-809C8AA5B33B}"/>
              </a:ext>
            </a:extLst>
          </p:cNvPr>
          <p:cNvSpPr>
            <a:spLocks noGrp="1"/>
          </p:cNvSpPr>
          <p:nvPr>
            <p:ph type="body" sz="quarter" idx="10" hasCustomPrompt="1"/>
          </p:nvPr>
        </p:nvSpPr>
        <p:spPr>
          <a:xfrm>
            <a:off x="4632965" y="2533884"/>
            <a:ext cx="7068498" cy="1790234"/>
          </a:xfrm>
        </p:spPr>
        <p:txBody>
          <a:bodyPr vert="horz" wrap="square" lIns="0" tIns="0" rIns="0" bIns="0" rtlCol="0" anchor="ctr" anchorCtr="0">
            <a:spAutoFit/>
          </a:bodyPr>
          <a:lstStyle>
            <a:lvl1pPr marL="457200" indent="-457200">
              <a:spcBef>
                <a:spcPts val="1200"/>
              </a:spcBef>
              <a:defRPr lang="en-US" sz="3600" dirty="0" smtClean="0"/>
            </a:lvl1pPr>
            <a:lvl2pPr>
              <a:defRPr sz="2400"/>
            </a:lvl2pPr>
            <a:lvl3pPr>
              <a:defRPr sz="2000"/>
            </a:lvl3pPr>
            <a:lvl4pPr>
              <a:defRPr sz="2000"/>
            </a:lvl4pPr>
            <a:lvl5pPr>
              <a:defRPr sz="200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8488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Two-third Content (RO)">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1DFB4FC-DBF3-4C25-B966-AEA10F97ECFF}"/>
              </a:ext>
            </a:extLst>
          </p:cNvPr>
          <p:cNvSpPr/>
          <p:nvPr userDrawn="1"/>
        </p:nvSpPr>
        <p:spPr>
          <a:xfrm>
            <a:off x="0" y="1465786"/>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3" name="Content Placeholder 2"/>
          <p:cNvSpPr>
            <a:spLocks noGrp="1"/>
          </p:cNvSpPr>
          <p:nvPr userDrawn="1">
            <p:ph idx="1" hasCustomPrompt="1"/>
          </p:nvPr>
        </p:nvSpPr>
        <p:spPr>
          <a:xfrm>
            <a:off x="4572000" y="1575144"/>
            <a:ext cx="7086600" cy="4599432"/>
          </a:xfrm>
          <a:ln w="12700">
            <a:solidFill>
              <a:schemeClr val="bg2"/>
            </a:solidFill>
          </a:ln>
        </p:spPr>
        <p:txBody>
          <a:bodyPr vert="horz" lIns="182880" tIns="182880" rIns="182880" bIns="182880" rtlCol="0" anchor="ctr" anchorCtr="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2" name="Title 11"/>
          <p:cNvSpPr>
            <a:spLocks noGrp="1"/>
          </p:cNvSpPr>
          <p:nvPr userDrawn="1">
            <p:ph type="title" hasCustomPrompt="1"/>
          </p:nvPr>
        </p:nvSpPr>
        <p:spPr/>
        <p:txBody>
          <a:bodyPr vert="horz" lIns="0" tIns="0" rIns="0" bIns="0" rtlCol="0" anchor="t" anchorCtr="0">
            <a:spAutoFit/>
          </a:bodyPr>
          <a:lstStyle>
            <a:lvl1pPr>
              <a:defRPr lang="en-US" dirty="0"/>
            </a:lvl1pPr>
          </a:lstStyle>
          <a:p>
            <a:pPr lvl="0"/>
            <a:r>
              <a:rPr lang="en-US"/>
              <a:t>add title</a:t>
            </a:r>
          </a:p>
        </p:txBody>
      </p:sp>
      <p:grpSp>
        <p:nvGrpSpPr>
          <p:cNvPr id="4" name="Group 3">
            <a:extLst>
              <a:ext uri="{FF2B5EF4-FFF2-40B4-BE49-F238E27FC236}">
                <a16:creationId xmlns:a16="http://schemas.microsoft.com/office/drawing/2014/main" id="{5B8BB190-45C4-B4EA-E91F-D91647DD201A}"/>
              </a:ext>
            </a:extLst>
          </p:cNvPr>
          <p:cNvGrpSpPr/>
          <p:nvPr userDrawn="1"/>
        </p:nvGrpSpPr>
        <p:grpSpPr>
          <a:xfrm>
            <a:off x="592994" y="6253879"/>
            <a:ext cx="237934" cy="161861"/>
            <a:chOff x="4558698" y="6297424"/>
            <a:chExt cx="237934" cy="161861"/>
          </a:xfrm>
        </p:grpSpPr>
        <p:sp>
          <p:nvSpPr>
            <p:cNvPr id="5" name="Freeform: Shape 4">
              <a:extLst>
                <a:ext uri="{FF2B5EF4-FFF2-40B4-BE49-F238E27FC236}">
                  <a16:creationId xmlns:a16="http://schemas.microsoft.com/office/drawing/2014/main" id="{2AF73820-1083-FF47-1ED2-921C54B2DA0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 name="Freeform: Shape 5">
              <a:extLst>
                <a:ext uri="{FF2B5EF4-FFF2-40B4-BE49-F238E27FC236}">
                  <a16:creationId xmlns:a16="http://schemas.microsoft.com/office/drawing/2014/main" id="{7B83EE4A-325F-6424-ADD2-4C282A359E4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 name="Freeform: Shape 6">
              <a:extLst>
                <a:ext uri="{FF2B5EF4-FFF2-40B4-BE49-F238E27FC236}">
                  <a16:creationId xmlns:a16="http://schemas.microsoft.com/office/drawing/2014/main" id="{97D74398-9694-0B5D-3BB9-EF3F4A0B55BA}"/>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8" name="Group 7">
            <a:extLst>
              <a:ext uri="{FF2B5EF4-FFF2-40B4-BE49-F238E27FC236}">
                <a16:creationId xmlns:a16="http://schemas.microsoft.com/office/drawing/2014/main" id="{F4425904-F67A-52F2-9686-DE5DCC383C66}"/>
              </a:ext>
            </a:extLst>
          </p:cNvPr>
          <p:cNvGrpSpPr/>
          <p:nvPr userDrawn="1"/>
        </p:nvGrpSpPr>
        <p:grpSpPr>
          <a:xfrm>
            <a:off x="4583953" y="1399621"/>
            <a:ext cx="7086077" cy="72235"/>
            <a:chOff x="4583953" y="1443166"/>
            <a:chExt cx="7086077" cy="72235"/>
          </a:xfrm>
        </p:grpSpPr>
        <p:cxnSp>
          <p:nvCxnSpPr>
            <p:cNvPr id="9" name="Straight Connector 8">
              <a:extLst>
                <a:ext uri="{FF2B5EF4-FFF2-40B4-BE49-F238E27FC236}">
                  <a16:creationId xmlns:a16="http://schemas.microsoft.com/office/drawing/2014/main" id="{7FCCFA36-6972-A74C-1602-DCE78EEBC21C}"/>
                </a:ext>
              </a:extLst>
            </p:cNvPr>
            <p:cNvCxnSpPr>
              <a:cxnSpLocks/>
            </p:cNvCxnSpPr>
            <p:nvPr/>
          </p:nvCxnSpPr>
          <p:spPr>
            <a:xfrm>
              <a:off x="4583953"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DF24268-2ADB-E4FC-7112-C2986FD110AF}"/>
                </a:ext>
              </a:extLst>
            </p:cNvPr>
            <p:cNvCxnSpPr>
              <a:cxnSpLocks/>
            </p:cNvCxnSpPr>
            <p:nvPr/>
          </p:nvCxnSpPr>
          <p:spPr>
            <a:xfrm>
              <a:off x="5684017"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6F2B196-F5FD-66F8-4B36-97D2D1F9EB80}"/>
                </a:ext>
              </a:extLst>
            </p:cNvPr>
            <p:cNvCxnSpPr>
              <a:cxnSpLocks/>
            </p:cNvCxnSpPr>
            <p:nvPr/>
          </p:nvCxnSpPr>
          <p:spPr>
            <a:xfrm>
              <a:off x="6784081"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423A3EE-EF37-360D-8312-F708262D5B2B}"/>
                </a:ext>
              </a:extLst>
            </p:cNvPr>
            <p:cNvCxnSpPr>
              <a:cxnSpLocks/>
            </p:cNvCxnSpPr>
            <p:nvPr/>
          </p:nvCxnSpPr>
          <p:spPr>
            <a:xfrm>
              <a:off x="7884145"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37FE7FA-56EC-EF2F-470B-ECE0D1EF43AB}"/>
                </a:ext>
              </a:extLst>
            </p:cNvPr>
            <p:cNvCxnSpPr>
              <a:cxnSpLocks/>
            </p:cNvCxnSpPr>
            <p:nvPr/>
          </p:nvCxnSpPr>
          <p:spPr>
            <a:xfrm>
              <a:off x="8984209"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F6AA54F-D4BC-1294-231D-C8C2C1855E24}"/>
                </a:ext>
              </a:extLst>
            </p:cNvPr>
            <p:cNvCxnSpPr>
              <a:cxnSpLocks/>
            </p:cNvCxnSpPr>
            <p:nvPr/>
          </p:nvCxnSpPr>
          <p:spPr>
            <a:xfrm>
              <a:off x="10084273"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5DBC3D8-9AD7-E52F-B73B-855394B6388C}"/>
                </a:ext>
              </a:extLst>
            </p:cNvPr>
            <p:cNvCxnSpPr>
              <a:cxnSpLocks/>
            </p:cNvCxnSpPr>
            <p:nvPr/>
          </p:nvCxnSpPr>
          <p:spPr>
            <a:xfrm>
              <a:off x="11184341"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8" name="Graphic 1061">
              <a:extLst>
                <a:ext uri="{FF2B5EF4-FFF2-40B4-BE49-F238E27FC236}">
                  <a16:creationId xmlns:a16="http://schemas.microsoft.com/office/drawing/2014/main" id="{0FF2CA2F-35A1-F7CF-C38E-5F4CA96CFF92}"/>
                </a:ext>
              </a:extLst>
            </p:cNvPr>
            <p:cNvGrpSpPr/>
            <p:nvPr/>
          </p:nvGrpSpPr>
          <p:grpSpPr>
            <a:xfrm>
              <a:off x="10698946" y="1443166"/>
              <a:ext cx="356407" cy="72235"/>
              <a:chOff x="10361032" y="3050327"/>
              <a:chExt cx="356407" cy="72235"/>
            </a:xfrm>
            <a:solidFill>
              <a:schemeClr val="bg1">
                <a:lumMod val="65000"/>
              </a:schemeClr>
            </a:solidFill>
          </p:grpSpPr>
          <p:sp>
            <p:nvSpPr>
              <p:cNvPr id="44" name="Freeform: Shape 43">
                <a:extLst>
                  <a:ext uri="{FF2B5EF4-FFF2-40B4-BE49-F238E27FC236}">
                    <a16:creationId xmlns:a16="http://schemas.microsoft.com/office/drawing/2014/main" id="{5F47A802-2001-C2F1-056C-AF0B8C638173}"/>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5" name="Freeform: Shape 44">
                <a:extLst>
                  <a:ext uri="{FF2B5EF4-FFF2-40B4-BE49-F238E27FC236}">
                    <a16:creationId xmlns:a16="http://schemas.microsoft.com/office/drawing/2014/main" id="{1EF59DE5-BDCA-261D-31D7-034DABE35884}"/>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6" name="Freeform: Shape 45">
                <a:extLst>
                  <a:ext uri="{FF2B5EF4-FFF2-40B4-BE49-F238E27FC236}">
                    <a16:creationId xmlns:a16="http://schemas.microsoft.com/office/drawing/2014/main" id="{92A3A5DF-94BA-7336-B330-67CC365CECCE}"/>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7" name="Freeform: Shape 46">
                <a:extLst>
                  <a:ext uri="{FF2B5EF4-FFF2-40B4-BE49-F238E27FC236}">
                    <a16:creationId xmlns:a16="http://schemas.microsoft.com/office/drawing/2014/main" id="{940F5977-DF0B-BC76-7BC3-D04A19A44A88}"/>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19" name="Graphic 1061">
              <a:extLst>
                <a:ext uri="{FF2B5EF4-FFF2-40B4-BE49-F238E27FC236}">
                  <a16:creationId xmlns:a16="http://schemas.microsoft.com/office/drawing/2014/main" id="{C520A921-2FAC-D964-FFFD-E27A186618BB}"/>
                </a:ext>
              </a:extLst>
            </p:cNvPr>
            <p:cNvGrpSpPr/>
            <p:nvPr/>
          </p:nvGrpSpPr>
          <p:grpSpPr>
            <a:xfrm>
              <a:off x="9598882" y="1443166"/>
              <a:ext cx="356407" cy="72235"/>
              <a:chOff x="10361032" y="3050327"/>
              <a:chExt cx="356407" cy="72235"/>
            </a:xfrm>
            <a:solidFill>
              <a:schemeClr val="bg1">
                <a:lumMod val="65000"/>
              </a:schemeClr>
            </a:solidFill>
          </p:grpSpPr>
          <p:sp>
            <p:nvSpPr>
              <p:cNvPr id="40" name="Freeform: Shape 39">
                <a:extLst>
                  <a:ext uri="{FF2B5EF4-FFF2-40B4-BE49-F238E27FC236}">
                    <a16:creationId xmlns:a16="http://schemas.microsoft.com/office/drawing/2014/main" id="{8E2DC947-8A40-BEDB-380C-3CE3EF7F32F0}"/>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1" name="Freeform: Shape 40">
                <a:extLst>
                  <a:ext uri="{FF2B5EF4-FFF2-40B4-BE49-F238E27FC236}">
                    <a16:creationId xmlns:a16="http://schemas.microsoft.com/office/drawing/2014/main" id="{B7B85A27-06E6-09DB-0A85-F247CACA3B07}"/>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2" name="Freeform: Shape 41">
                <a:extLst>
                  <a:ext uri="{FF2B5EF4-FFF2-40B4-BE49-F238E27FC236}">
                    <a16:creationId xmlns:a16="http://schemas.microsoft.com/office/drawing/2014/main" id="{0FB2D358-3BA8-CE50-4508-6F6F074578EA}"/>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43" name="Freeform: Shape 42">
                <a:extLst>
                  <a:ext uri="{FF2B5EF4-FFF2-40B4-BE49-F238E27FC236}">
                    <a16:creationId xmlns:a16="http://schemas.microsoft.com/office/drawing/2014/main" id="{C2642712-EE7E-6A60-560B-77D8B46324A7}"/>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0" name="Graphic 1061">
              <a:extLst>
                <a:ext uri="{FF2B5EF4-FFF2-40B4-BE49-F238E27FC236}">
                  <a16:creationId xmlns:a16="http://schemas.microsoft.com/office/drawing/2014/main" id="{E1B9008A-7480-651D-947B-6ECE891A71CF}"/>
                </a:ext>
              </a:extLst>
            </p:cNvPr>
            <p:cNvGrpSpPr/>
            <p:nvPr/>
          </p:nvGrpSpPr>
          <p:grpSpPr>
            <a:xfrm>
              <a:off x="8498818" y="1443166"/>
              <a:ext cx="356407" cy="72235"/>
              <a:chOff x="10361032" y="3050327"/>
              <a:chExt cx="356407" cy="72235"/>
            </a:xfrm>
            <a:solidFill>
              <a:schemeClr val="bg1">
                <a:lumMod val="65000"/>
              </a:schemeClr>
            </a:solidFill>
          </p:grpSpPr>
          <p:sp>
            <p:nvSpPr>
              <p:cNvPr id="36" name="Freeform: Shape 35">
                <a:extLst>
                  <a:ext uri="{FF2B5EF4-FFF2-40B4-BE49-F238E27FC236}">
                    <a16:creationId xmlns:a16="http://schemas.microsoft.com/office/drawing/2014/main" id="{F3D88AB7-C381-B787-6280-60D4ED700B0A}"/>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7" name="Freeform: Shape 36">
                <a:extLst>
                  <a:ext uri="{FF2B5EF4-FFF2-40B4-BE49-F238E27FC236}">
                    <a16:creationId xmlns:a16="http://schemas.microsoft.com/office/drawing/2014/main" id="{9970DD72-0449-A135-A7E0-655E21E75E7C}"/>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8" name="Freeform: Shape 37">
                <a:extLst>
                  <a:ext uri="{FF2B5EF4-FFF2-40B4-BE49-F238E27FC236}">
                    <a16:creationId xmlns:a16="http://schemas.microsoft.com/office/drawing/2014/main" id="{0734681D-A144-AF8D-4C88-B0F1E24E167E}"/>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9" name="Freeform: Shape 38">
                <a:extLst>
                  <a:ext uri="{FF2B5EF4-FFF2-40B4-BE49-F238E27FC236}">
                    <a16:creationId xmlns:a16="http://schemas.microsoft.com/office/drawing/2014/main" id="{0F8CE018-5BD6-DA2F-09EA-0879616EC7C1}"/>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1" name="Graphic 1061">
              <a:extLst>
                <a:ext uri="{FF2B5EF4-FFF2-40B4-BE49-F238E27FC236}">
                  <a16:creationId xmlns:a16="http://schemas.microsoft.com/office/drawing/2014/main" id="{E388CD00-1547-7E93-9E05-6482F3253B21}"/>
                </a:ext>
              </a:extLst>
            </p:cNvPr>
            <p:cNvGrpSpPr/>
            <p:nvPr/>
          </p:nvGrpSpPr>
          <p:grpSpPr>
            <a:xfrm>
              <a:off x="7398754" y="1443166"/>
              <a:ext cx="356407" cy="72235"/>
              <a:chOff x="10361032" y="3050327"/>
              <a:chExt cx="356407" cy="72235"/>
            </a:xfrm>
            <a:solidFill>
              <a:schemeClr val="bg1">
                <a:lumMod val="65000"/>
              </a:schemeClr>
            </a:solidFill>
          </p:grpSpPr>
          <p:sp>
            <p:nvSpPr>
              <p:cNvPr id="32" name="Freeform: Shape 31">
                <a:extLst>
                  <a:ext uri="{FF2B5EF4-FFF2-40B4-BE49-F238E27FC236}">
                    <a16:creationId xmlns:a16="http://schemas.microsoft.com/office/drawing/2014/main" id="{1C6FC5C8-1BE4-1E46-7A21-0A9C45164565}"/>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3" name="Freeform: Shape 32">
                <a:extLst>
                  <a:ext uri="{FF2B5EF4-FFF2-40B4-BE49-F238E27FC236}">
                    <a16:creationId xmlns:a16="http://schemas.microsoft.com/office/drawing/2014/main" id="{F60E485B-97B8-5F08-975B-8C7BD1C46BD6}"/>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4" name="Freeform: Shape 33">
                <a:extLst>
                  <a:ext uri="{FF2B5EF4-FFF2-40B4-BE49-F238E27FC236}">
                    <a16:creationId xmlns:a16="http://schemas.microsoft.com/office/drawing/2014/main" id="{7BAAB747-4576-3212-AD3E-61762B7C414F}"/>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5" name="Freeform: Shape 34">
                <a:extLst>
                  <a:ext uri="{FF2B5EF4-FFF2-40B4-BE49-F238E27FC236}">
                    <a16:creationId xmlns:a16="http://schemas.microsoft.com/office/drawing/2014/main" id="{A17A051E-EECC-BBC6-81C9-C280B7D219AA}"/>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2" name="Graphic 1061">
              <a:extLst>
                <a:ext uri="{FF2B5EF4-FFF2-40B4-BE49-F238E27FC236}">
                  <a16:creationId xmlns:a16="http://schemas.microsoft.com/office/drawing/2014/main" id="{36600216-F00B-127E-BA3F-83F8F8D9BA9A}"/>
                </a:ext>
              </a:extLst>
            </p:cNvPr>
            <p:cNvGrpSpPr/>
            <p:nvPr/>
          </p:nvGrpSpPr>
          <p:grpSpPr>
            <a:xfrm>
              <a:off x="6298690" y="1443166"/>
              <a:ext cx="356407" cy="72235"/>
              <a:chOff x="10361032" y="3050327"/>
              <a:chExt cx="356407" cy="72235"/>
            </a:xfrm>
            <a:solidFill>
              <a:schemeClr val="bg1">
                <a:lumMod val="65000"/>
              </a:schemeClr>
            </a:solidFill>
          </p:grpSpPr>
          <p:sp>
            <p:nvSpPr>
              <p:cNvPr id="28" name="Freeform: Shape 27">
                <a:extLst>
                  <a:ext uri="{FF2B5EF4-FFF2-40B4-BE49-F238E27FC236}">
                    <a16:creationId xmlns:a16="http://schemas.microsoft.com/office/drawing/2014/main" id="{76002F59-5015-F78E-8FBA-7D8A71675EEC}"/>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29" name="Freeform: Shape 28">
                <a:extLst>
                  <a:ext uri="{FF2B5EF4-FFF2-40B4-BE49-F238E27FC236}">
                    <a16:creationId xmlns:a16="http://schemas.microsoft.com/office/drawing/2014/main" id="{A21C6F82-1185-8FEB-DE06-F317388FF3A4}"/>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0" name="Freeform: Shape 29">
                <a:extLst>
                  <a:ext uri="{FF2B5EF4-FFF2-40B4-BE49-F238E27FC236}">
                    <a16:creationId xmlns:a16="http://schemas.microsoft.com/office/drawing/2014/main" id="{0A17F376-AC83-537F-1E18-0FFAF215B3E1}"/>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31" name="Freeform: Shape 30">
                <a:extLst>
                  <a:ext uri="{FF2B5EF4-FFF2-40B4-BE49-F238E27FC236}">
                    <a16:creationId xmlns:a16="http://schemas.microsoft.com/office/drawing/2014/main" id="{83708C9E-896F-99EF-6CF0-F0433CAE6628}"/>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23" name="Graphic 1061">
              <a:extLst>
                <a:ext uri="{FF2B5EF4-FFF2-40B4-BE49-F238E27FC236}">
                  <a16:creationId xmlns:a16="http://schemas.microsoft.com/office/drawing/2014/main" id="{B7331062-AE85-C597-7F33-D115EDB66437}"/>
                </a:ext>
              </a:extLst>
            </p:cNvPr>
            <p:cNvGrpSpPr/>
            <p:nvPr/>
          </p:nvGrpSpPr>
          <p:grpSpPr>
            <a:xfrm>
              <a:off x="5198626" y="1443166"/>
              <a:ext cx="356407" cy="72235"/>
              <a:chOff x="10361032" y="3050327"/>
              <a:chExt cx="356407" cy="72235"/>
            </a:xfrm>
            <a:solidFill>
              <a:schemeClr val="bg1">
                <a:lumMod val="65000"/>
              </a:schemeClr>
            </a:solidFill>
          </p:grpSpPr>
          <p:sp>
            <p:nvSpPr>
              <p:cNvPr id="24" name="Freeform: Shape 23">
                <a:extLst>
                  <a:ext uri="{FF2B5EF4-FFF2-40B4-BE49-F238E27FC236}">
                    <a16:creationId xmlns:a16="http://schemas.microsoft.com/office/drawing/2014/main" id="{579D9321-3841-8F30-2408-81D01BBA0EB3}"/>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25" name="Freeform: Shape 24">
                <a:extLst>
                  <a:ext uri="{FF2B5EF4-FFF2-40B4-BE49-F238E27FC236}">
                    <a16:creationId xmlns:a16="http://schemas.microsoft.com/office/drawing/2014/main" id="{2A0077A6-C8AC-AAED-D9C5-86A578D1BBC2}"/>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26" name="Freeform: Shape 25">
                <a:extLst>
                  <a:ext uri="{FF2B5EF4-FFF2-40B4-BE49-F238E27FC236}">
                    <a16:creationId xmlns:a16="http://schemas.microsoft.com/office/drawing/2014/main" id="{F6AD5A49-FAD6-9F05-2E8A-99A6BA5944DD}"/>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27" name="Freeform: Shape 26">
                <a:extLst>
                  <a:ext uri="{FF2B5EF4-FFF2-40B4-BE49-F238E27FC236}">
                    <a16:creationId xmlns:a16="http://schemas.microsoft.com/office/drawing/2014/main" id="{F000D75F-CE95-9FB7-761D-FFA65847F67F}"/>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sp>
        <p:nvSpPr>
          <p:cNvPr id="51" name="Freeform: Shape 50">
            <a:extLst>
              <a:ext uri="{FF2B5EF4-FFF2-40B4-BE49-F238E27FC236}">
                <a16:creationId xmlns:a16="http://schemas.microsoft.com/office/drawing/2014/main" id="{3EB3DE59-D1B5-00B4-2CC7-534ED756AC47}"/>
              </a:ext>
            </a:extLst>
          </p:cNvPr>
          <p:cNvSpPr/>
          <p:nvPr userDrawn="1"/>
        </p:nvSpPr>
        <p:spPr>
          <a:xfrm>
            <a:off x="567709" y="1465786"/>
            <a:ext cx="3558618" cy="4711129"/>
          </a:xfrm>
          <a:custGeom>
            <a:avLst/>
            <a:gdLst>
              <a:gd name="connsiteX0" fmla="*/ 1 w 3558618"/>
              <a:gd name="connsiteY0" fmla="*/ 0 h 4711129"/>
              <a:gd name="connsiteX1" fmla="*/ 1001702 w 3558618"/>
              <a:gd name="connsiteY1" fmla="*/ 0 h 4711129"/>
              <a:gd name="connsiteX2" fmla="*/ 1231094 w 3558618"/>
              <a:gd name="connsiteY2" fmla="*/ 110171 h 4711129"/>
              <a:gd name="connsiteX3" fmla="*/ 3558618 w 3558618"/>
              <a:gd name="connsiteY3" fmla="*/ 110171 h 4711129"/>
              <a:gd name="connsiteX4" fmla="*/ 3558618 w 3558618"/>
              <a:gd name="connsiteY4" fmla="*/ 4711129 h 4711129"/>
              <a:gd name="connsiteX5" fmla="*/ 0 w 3558618"/>
              <a:gd name="connsiteY5" fmla="*/ 4711129 h 4711129"/>
              <a:gd name="connsiteX6" fmla="*/ 0 w 3558618"/>
              <a:gd name="connsiteY6" fmla="*/ 110171 h 4711129"/>
              <a:gd name="connsiteX7" fmla="*/ 1 w 3558618"/>
              <a:gd name="connsiteY7" fmla="*/ 110171 h 471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8618" h="4711129">
                <a:moveTo>
                  <a:pt x="1" y="0"/>
                </a:moveTo>
                <a:lnTo>
                  <a:pt x="1001702" y="0"/>
                </a:lnTo>
                <a:lnTo>
                  <a:pt x="1231094" y="110171"/>
                </a:lnTo>
                <a:lnTo>
                  <a:pt x="3558618" y="110171"/>
                </a:lnTo>
                <a:lnTo>
                  <a:pt x="3558618" y="4711129"/>
                </a:lnTo>
                <a:lnTo>
                  <a:pt x="0" y="4711129"/>
                </a:lnTo>
                <a:lnTo>
                  <a:pt x="0" y="110171"/>
                </a:lnTo>
                <a:lnTo>
                  <a:pt x="1" y="110171"/>
                </a:lnTo>
                <a:close/>
              </a:path>
            </a:pathLst>
          </a:custGeom>
          <a:blipFill>
            <a:blip r:embed="rId2"/>
            <a:stretch>
              <a:fillRect l="-61927" t="-4867" r="-36231"/>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nSpc>
                <a:spcPct val="90000"/>
              </a:lnSpc>
              <a:spcBef>
                <a:spcPts val="800"/>
              </a:spcBef>
            </a:pPr>
            <a:endParaRPr lang="es-PE" dirty="0">
              <a:solidFill>
                <a:schemeClr val="bg1"/>
              </a:solidFill>
            </a:endParaRPr>
          </a:p>
        </p:txBody>
      </p:sp>
      <p:sp>
        <p:nvSpPr>
          <p:cNvPr id="54" name="Text Placeholder 53">
            <a:extLst>
              <a:ext uri="{FF2B5EF4-FFF2-40B4-BE49-F238E27FC236}">
                <a16:creationId xmlns:a16="http://schemas.microsoft.com/office/drawing/2014/main" id="{12F3EACA-4746-D2DE-1DB1-AAA0EF1B3D91}"/>
              </a:ext>
            </a:extLst>
          </p:cNvPr>
          <p:cNvSpPr>
            <a:spLocks noGrp="1"/>
          </p:cNvSpPr>
          <p:nvPr>
            <p:ph type="body" sz="quarter" idx="10"/>
          </p:nvPr>
        </p:nvSpPr>
        <p:spPr>
          <a:xfrm>
            <a:off x="730250" y="1950355"/>
            <a:ext cx="3257550" cy="4023360"/>
          </a:xfrm>
        </p:spPr>
        <p:txBody>
          <a:bodyPr vert="horz" lIns="0" tIns="0" rIns="0" bIns="0" rtlCol="0">
            <a:noAutofit/>
          </a:bodyPr>
          <a:lstStyle>
            <a:lvl1pPr>
              <a:defRPr lang="en-US" smtClean="0">
                <a:solidFill>
                  <a:schemeClr val="bg1"/>
                </a:solidFill>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US" dirty="0"/>
              <a:t>Click to edit Master text styles</a:t>
            </a:r>
          </a:p>
          <a:p>
            <a:pPr lvl="1"/>
            <a:r>
              <a:rPr lang="en-US" dirty="0"/>
              <a:t>Second level</a:t>
            </a:r>
          </a:p>
          <a:p>
            <a:pPr lvl="2">
              <a:buBlip>
                <a:blip r:embed="rId3"/>
              </a:buBlip>
            </a:pPr>
            <a:r>
              <a:rPr lang="en-US" dirty="0"/>
              <a:t>Third level</a:t>
            </a:r>
          </a:p>
          <a:p>
            <a:pPr lvl="3">
              <a:buBlip>
                <a:blip r:embed="rId4"/>
              </a:buBlip>
            </a:pPr>
            <a:r>
              <a:rPr lang="en-US" dirty="0"/>
              <a:t>Fourth level</a:t>
            </a:r>
          </a:p>
          <a:p>
            <a:pPr lvl="4"/>
            <a:r>
              <a:rPr lang="en-US" dirty="0"/>
              <a:t>Fifth level</a:t>
            </a:r>
          </a:p>
        </p:txBody>
      </p:sp>
    </p:spTree>
    <p:extLst>
      <p:ext uri="{BB962C8B-B14F-4D97-AF65-F5344CB8AC3E}">
        <p14:creationId xmlns:p14="http://schemas.microsoft.com/office/powerpoint/2010/main" val="975573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ackground 5 (RO)">
    <p:spTree>
      <p:nvGrpSpPr>
        <p:cNvPr id="1" name=""/>
        <p:cNvGrpSpPr/>
        <p:nvPr/>
      </p:nvGrpSpPr>
      <p:grpSpPr>
        <a:xfrm>
          <a:off x="0" y="0"/>
          <a:ext cx="0" cy="0"/>
          <a:chOff x="0" y="0"/>
          <a:chExt cx="0" cy="0"/>
        </a:xfrm>
      </p:grpSpPr>
      <p:pic>
        <p:nvPicPr>
          <p:cNvPr id="2" name="Picture Placeholder 36" descr="A blue and green background with hexagons&#10;&#10;Description automatically generated">
            <a:extLst>
              <a:ext uri="{FF2B5EF4-FFF2-40B4-BE49-F238E27FC236}">
                <a16:creationId xmlns:a16="http://schemas.microsoft.com/office/drawing/2014/main" id="{42C11A4E-D18D-B3F1-C945-327839B200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88952" cy="5208644"/>
          </a:xfrm>
          <a:prstGeom prst="rect">
            <a:avLst/>
          </a:prstGeom>
          <a:solidFill>
            <a:schemeClr val="bg1">
              <a:alpha val="75000"/>
            </a:schemeClr>
          </a:solidFill>
          <a:ln w="9525">
            <a:noFill/>
          </a:ln>
        </p:spPr>
      </p:pic>
      <p:sp>
        <p:nvSpPr>
          <p:cNvPr id="20" name="Rectangle 19">
            <a:extLst>
              <a:ext uri="{FF2B5EF4-FFF2-40B4-BE49-F238E27FC236}">
                <a16:creationId xmlns:a16="http://schemas.microsoft.com/office/drawing/2014/main" id="{DF1877F8-6425-9311-44A1-D6D8A0596E0C}"/>
              </a:ext>
            </a:extLst>
          </p:cNvPr>
          <p:cNvSpPr/>
          <p:nvPr userDrawn="1"/>
        </p:nvSpPr>
        <p:spPr>
          <a:xfrm>
            <a:off x="0" y="0"/>
            <a:ext cx="12192001" cy="5205483"/>
          </a:xfrm>
          <a:prstGeom prst="rect">
            <a:avLst/>
          </a:prstGeom>
          <a:solidFill>
            <a:schemeClr val="accent6">
              <a:lumMod val="7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3" name="Freeform: Shape 2">
            <a:extLst>
              <a:ext uri="{FF2B5EF4-FFF2-40B4-BE49-F238E27FC236}">
                <a16:creationId xmlns:a16="http://schemas.microsoft.com/office/drawing/2014/main" id="{B82D8954-180F-4C00-166C-FDD7C6AE7FC7}"/>
              </a:ext>
            </a:extLst>
          </p:cNvPr>
          <p:cNvSpPr/>
          <p:nvPr userDrawn="1"/>
        </p:nvSpPr>
        <p:spPr>
          <a:xfrm>
            <a:off x="1524" y="4992785"/>
            <a:ext cx="12188952" cy="1867974"/>
          </a:xfrm>
          <a:custGeom>
            <a:avLst/>
            <a:gdLst>
              <a:gd name="connsiteX0" fmla="*/ 0 w 12197654"/>
              <a:gd name="connsiteY0" fmla="*/ 0 h 1867974"/>
              <a:gd name="connsiteX1" fmla="*/ 2255000 w 12197654"/>
              <a:gd name="connsiteY1" fmla="*/ 0 h 1867974"/>
              <a:gd name="connsiteX2" fmla="*/ 2661240 w 12197654"/>
              <a:gd name="connsiteY2" fmla="*/ 203741 h 1867974"/>
              <a:gd name="connsiteX3" fmla="*/ 12197654 w 12197654"/>
              <a:gd name="connsiteY3" fmla="*/ 203741 h 1867974"/>
              <a:gd name="connsiteX4" fmla="*/ 12197654 w 12197654"/>
              <a:gd name="connsiteY4" fmla="*/ 1555826 h 1867974"/>
              <a:gd name="connsiteX5" fmla="*/ 12197523 w 12197654"/>
              <a:gd name="connsiteY5" fmla="*/ 1606796 h 1867974"/>
              <a:gd name="connsiteX6" fmla="*/ 12197654 w 12197654"/>
              <a:gd name="connsiteY6" fmla="*/ 1606796 h 1867974"/>
              <a:gd name="connsiteX7" fmla="*/ 12197654 w 12197654"/>
              <a:gd name="connsiteY7" fmla="*/ 1867974 h 1867974"/>
              <a:gd name="connsiteX8" fmla="*/ 0 w 12197654"/>
              <a:gd name="connsiteY8" fmla="*/ 1867974 h 1867974"/>
              <a:gd name="connsiteX9" fmla="*/ 0 w 12197654"/>
              <a:gd name="connsiteY9" fmla="*/ 1765823 h 1867974"/>
              <a:gd name="connsiteX10" fmla="*/ 0 w 12197654"/>
              <a:gd name="connsiteY10" fmla="*/ 1606796 h 1867974"/>
              <a:gd name="connsiteX11" fmla="*/ 0 w 12197654"/>
              <a:gd name="connsiteY11" fmla="*/ 0 h 1867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7654" h="1867974">
                <a:moveTo>
                  <a:pt x="0" y="0"/>
                </a:moveTo>
                <a:lnTo>
                  <a:pt x="2255000" y="0"/>
                </a:lnTo>
                <a:lnTo>
                  <a:pt x="2661240" y="203741"/>
                </a:lnTo>
                <a:lnTo>
                  <a:pt x="12197654" y="203741"/>
                </a:lnTo>
                <a:lnTo>
                  <a:pt x="12197654" y="1555826"/>
                </a:lnTo>
                <a:lnTo>
                  <a:pt x="12197523" y="1606796"/>
                </a:lnTo>
                <a:lnTo>
                  <a:pt x="12197654" y="1606796"/>
                </a:lnTo>
                <a:lnTo>
                  <a:pt x="12197654" y="1867974"/>
                </a:lnTo>
                <a:lnTo>
                  <a:pt x="0" y="1867974"/>
                </a:lnTo>
                <a:lnTo>
                  <a:pt x="0" y="1765823"/>
                </a:lnTo>
                <a:lnTo>
                  <a:pt x="0" y="1606796"/>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3" name="Freeform: Shape 22">
            <a:extLst>
              <a:ext uri="{FF2B5EF4-FFF2-40B4-BE49-F238E27FC236}">
                <a16:creationId xmlns:a16="http://schemas.microsoft.com/office/drawing/2014/main" id="{B8AD71F6-E09D-25DA-AF4B-0091A259BCCA}"/>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24" name="Rectangle 6">
            <a:extLst>
              <a:ext uri="{FF2B5EF4-FFF2-40B4-BE49-F238E27FC236}">
                <a16:creationId xmlns:a16="http://schemas.microsoft.com/office/drawing/2014/main" id="{08EFC9A3-DD65-012F-35F9-FF4F5A154E0B}"/>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grpSp>
        <p:nvGrpSpPr>
          <p:cNvPr id="8" name="Group 7">
            <a:extLst>
              <a:ext uri="{FF2B5EF4-FFF2-40B4-BE49-F238E27FC236}">
                <a16:creationId xmlns:a16="http://schemas.microsoft.com/office/drawing/2014/main" id="{AA4F3904-223A-BD3C-7DE4-899719DBBE28}"/>
              </a:ext>
            </a:extLst>
          </p:cNvPr>
          <p:cNvGrpSpPr/>
          <p:nvPr userDrawn="1"/>
        </p:nvGrpSpPr>
        <p:grpSpPr>
          <a:xfrm>
            <a:off x="200393" y="5087410"/>
            <a:ext cx="1830509" cy="191126"/>
            <a:chOff x="200393" y="5135879"/>
            <a:chExt cx="1830509" cy="191126"/>
          </a:xfrm>
        </p:grpSpPr>
        <p:sp>
          <p:nvSpPr>
            <p:cNvPr id="16" name="Freeform: Shape 15">
              <a:extLst>
                <a:ext uri="{FF2B5EF4-FFF2-40B4-BE49-F238E27FC236}">
                  <a16:creationId xmlns:a16="http://schemas.microsoft.com/office/drawing/2014/main" id="{50FA62CB-2AEB-E12B-CDAE-490777ABE323}"/>
                </a:ext>
              </a:extLst>
            </p:cNvPr>
            <p:cNvSpPr/>
            <p:nvPr/>
          </p:nvSpPr>
          <p:spPr>
            <a:xfrm>
              <a:off x="202102" y="5148220"/>
              <a:ext cx="182880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7DDFFFD7-5937-874A-BAD0-EBD1844DE08E}"/>
                </a:ext>
              </a:extLst>
            </p:cNvPr>
            <p:cNvSpPr/>
            <p:nvPr/>
          </p:nvSpPr>
          <p:spPr>
            <a:xfrm>
              <a:off x="200393" y="5135879"/>
              <a:ext cx="28575"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DFA2169A-F972-5BBC-C800-37D097205E97}"/>
                </a:ext>
              </a:extLst>
            </p:cNvPr>
            <p:cNvSpPr/>
            <p:nvPr/>
          </p:nvSpPr>
          <p:spPr>
            <a:xfrm>
              <a:off x="292113" y="525671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0CC12354-B287-25B6-347E-122424539255}"/>
                </a:ext>
              </a:extLst>
            </p:cNvPr>
            <p:cNvSpPr/>
            <p:nvPr/>
          </p:nvSpPr>
          <p:spPr>
            <a:xfrm>
              <a:off x="210103" y="5136315"/>
              <a:ext cx="381095" cy="28575"/>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dirty="0"/>
            </a:p>
          </p:txBody>
        </p:sp>
      </p:grpSp>
      <p:grpSp>
        <p:nvGrpSpPr>
          <p:cNvPr id="25" name="Group 24">
            <a:extLst>
              <a:ext uri="{FF2B5EF4-FFF2-40B4-BE49-F238E27FC236}">
                <a16:creationId xmlns:a16="http://schemas.microsoft.com/office/drawing/2014/main" id="{2ABE7B4C-E74B-52FF-9658-C59FFFA6ABA7}"/>
              </a:ext>
            </a:extLst>
          </p:cNvPr>
          <p:cNvGrpSpPr/>
          <p:nvPr userDrawn="1"/>
        </p:nvGrpSpPr>
        <p:grpSpPr>
          <a:xfrm flipH="1" flipV="1">
            <a:off x="10235287" y="6334466"/>
            <a:ext cx="1828800" cy="192880"/>
            <a:chOff x="202102" y="5136315"/>
            <a:chExt cx="1828800" cy="192880"/>
          </a:xfrm>
        </p:grpSpPr>
        <p:sp>
          <p:nvSpPr>
            <p:cNvPr id="26" name="Freeform: Shape 25">
              <a:extLst>
                <a:ext uri="{FF2B5EF4-FFF2-40B4-BE49-F238E27FC236}">
                  <a16:creationId xmlns:a16="http://schemas.microsoft.com/office/drawing/2014/main" id="{F1193D62-06B0-2D8B-354E-A607897843F4}"/>
                </a:ext>
              </a:extLst>
            </p:cNvPr>
            <p:cNvSpPr/>
            <p:nvPr/>
          </p:nvSpPr>
          <p:spPr>
            <a:xfrm>
              <a:off x="202102" y="5148220"/>
              <a:ext cx="182880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19D826CE-5011-59D3-61E8-A8A7839E92A5}"/>
                </a:ext>
              </a:extLst>
            </p:cNvPr>
            <p:cNvSpPr/>
            <p:nvPr/>
          </p:nvSpPr>
          <p:spPr>
            <a:xfrm>
              <a:off x="202347" y="5145649"/>
              <a:ext cx="28575"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5FB03137-6092-58EE-D2AD-DF93B10EC8E6}"/>
                </a:ext>
              </a:extLst>
            </p:cNvPr>
            <p:cNvSpPr/>
            <p:nvPr/>
          </p:nvSpPr>
          <p:spPr>
            <a:xfrm>
              <a:off x="292113" y="525671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170371ED-9C30-6800-C294-5E98B6ED9F73}"/>
                </a:ext>
              </a:extLst>
            </p:cNvPr>
            <p:cNvSpPr/>
            <p:nvPr/>
          </p:nvSpPr>
          <p:spPr>
            <a:xfrm>
              <a:off x="202287" y="5136315"/>
              <a:ext cx="381095" cy="28575"/>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dirty="0"/>
            </a:p>
          </p:txBody>
        </p:sp>
      </p:grpSp>
      <p:sp>
        <p:nvSpPr>
          <p:cNvPr id="10" name="Text Placeholder 27"/>
          <p:cNvSpPr>
            <a:spLocks noGrp="1"/>
          </p:cNvSpPr>
          <p:nvPr>
            <p:ph type="body" sz="quarter" idx="15" hasCustomPrompt="1"/>
          </p:nvPr>
        </p:nvSpPr>
        <p:spPr bwMode="gray">
          <a:xfrm>
            <a:off x="316870" y="5598191"/>
            <a:ext cx="11558261" cy="498598"/>
          </a:xfrm>
        </p:spPr>
        <p:txBody>
          <a:bodyPr wrap="square" anchor="ctr" anchorCtr="0">
            <a:spAutoFit/>
          </a:bodyPr>
          <a:lstStyle>
            <a:lvl1pPr marL="0" indent="0" algn="ctr">
              <a:lnSpc>
                <a:spcPct val="90000"/>
              </a:lnSpc>
              <a:spcBef>
                <a:spcPts val="0"/>
              </a:spcBef>
              <a:buNone/>
              <a:defRPr sz="3600" b="1" cap="all" baseline="0">
                <a:solidFill>
                  <a:schemeClr val="tx1"/>
                </a:solidFill>
              </a:defRPr>
            </a:lvl1pPr>
          </a:lstStyle>
          <a:p>
            <a:pPr lvl="0"/>
            <a:r>
              <a:rPr lang="en-US" dirty="0"/>
              <a:t>ADD CALL OUT TEXT</a:t>
            </a:r>
          </a:p>
        </p:txBody>
      </p:sp>
      <p:pic>
        <p:nvPicPr>
          <p:cNvPr id="4" name="Graphic 3">
            <a:extLst>
              <a:ext uri="{FF2B5EF4-FFF2-40B4-BE49-F238E27FC236}">
                <a16:creationId xmlns:a16="http://schemas.microsoft.com/office/drawing/2014/main" id="{040A09FD-7088-DEE9-CE3C-19941E087DD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299440" y="5198624"/>
            <a:ext cx="2892560" cy="215304"/>
          </a:xfrm>
          <a:prstGeom prst="rect">
            <a:avLst/>
          </a:prstGeom>
        </p:spPr>
      </p:pic>
      <p:grpSp>
        <p:nvGrpSpPr>
          <p:cNvPr id="5" name="Group 4">
            <a:extLst>
              <a:ext uri="{FF2B5EF4-FFF2-40B4-BE49-F238E27FC236}">
                <a16:creationId xmlns:a16="http://schemas.microsoft.com/office/drawing/2014/main" id="{46746A23-1033-2C0D-575B-56280B78AF64}"/>
              </a:ext>
            </a:extLst>
          </p:cNvPr>
          <p:cNvGrpSpPr/>
          <p:nvPr userDrawn="1"/>
        </p:nvGrpSpPr>
        <p:grpSpPr>
          <a:xfrm>
            <a:off x="52821" y="6471827"/>
            <a:ext cx="3002723" cy="200345"/>
            <a:chOff x="52821" y="6295180"/>
            <a:chExt cx="3002723" cy="200345"/>
          </a:xfrm>
        </p:grpSpPr>
        <p:pic>
          <p:nvPicPr>
            <p:cNvPr id="6" name="Graphic 5">
              <a:extLst>
                <a:ext uri="{FF2B5EF4-FFF2-40B4-BE49-F238E27FC236}">
                  <a16:creationId xmlns:a16="http://schemas.microsoft.com/office/drawing/2014/main" id="{9CDE586F-1FB0-F863-5DBD-437916503A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26263" y="6374264"/>
              <a:ext cx="200345" cy="42178"/>
            </a:xfrm>
            <a:prstGeom prst="rect">
              <a:avLst/>
            </a:prstGeom>
          </p:spPr>
        </p:pic>
        <p:pic>
          <p:nvPicPr>
            <p:cNvPr id="7" name="Graphic 6">
              <a:extLst>
                <a:ext uri="{FF2B5EF4-FFF2-40B4-BE49-F238E27FC236}">
                  <a16:creationId xmlns:a16="http://schemas.microsoft.com/office/drawing/2014/main" id="{4791AB76-D927-B02A-2622-185636CE5D5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8970" y="6374264"/>
              <a:ext cx="200345" cy="42178"/>
            </a:xfrm>
            <a:prstGeom prst="rect">
              <a:avLst/>
            </a:prstGeom>
          </p:spPr>
        </p:pic>
        <p:pic>
          <p:nvPicPr>
            <p:cNvPr id="9" name="Graphic 8">
              <a:extLst>
                <a:ext uri="{FF2B5EF4-FFF2-40B4-BE49-F238E27FC236}">
                  <a16:creationId xmlns:a16="http://schemas.microsoft.com/office/drawing/2014/main" id="{004F98EC-C0C1-5F00-62FD-CA25CCC5960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531929" y="6374264"/>
              <a:ext cx="200345" cy="42178"/>
            </a:xfrm>
            <a:prstGeom prst="rect">
              <a:avLst/>
            </a:prstGeom>
          </p:spPr>
        </p:pic>
        <p:pic>
          <p:nvPicPr>
            <p:cNvPr id="11" name="Graphic 10">
              <a:extLst>
                <a:ext uri="{FF2B5EF4-FFF2-40B4-BE49-F238E27FC236}">
                  <a16:creationId xmlns:a16="http://schemas.microsoft.com/office/drawing/2014/main" id="{033894F5-5846-8FE2-3925-A4BA0C5759E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665009" y="6374264"/>
              <a:ext cx="200345" cy="42178"/>
            </a:xfrm>
            <a:prstGeom prst="rect">
              <a:avLst/>
            </a:prstGeom>
          </p:spPr>
        </p:pic>
        <p:pic>
          <p:nvPicPr>
            <p:cNvPr id="12" name="Graphic 11">
              <a:extLst>
                <a:ext uri="{FF2B5EF4-FFF2-40B4-BE49-F238E27FC236}">
                  <a16:creationId xmlns:a16="http://schemas.microsoft.com/office/drawing/2014/main" id="{1E1F9162-DDC4-6A4E-1D4C-7CA2BAE9493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6200000">
              <a:off x="1122069" y="6374264"/>
              <a:ext cx="200345" cy="42178"/>
            </a:xfrm>
            <a:prstGeom prst="rect">
              <a:avLst/>
            </a:prstGeom>
          </p:spPr>
        </p:pic>
        <p:pic>
          <p:nvPicPr>
            <p:cNvPr id="13" name="Graphic 12">
              <a:extLst>
                <a:ext uri="{FF2B5EF4-FFF2-40B4-BE49-F238E27FC236}">
                  <a16:creationId xmlns:a16="http://schemas.microsoft.com/office/drawing/2014/main" id="{3DBF85C3-5936-AF18-B17A-0845E8A65BF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rot="16200000">
              <a:off x="1262222" y="6374264"/>
              <a:ext cx="200345" cy="42178"/>
            </a:xfrm>
            <a:prstGeom prst="rect">
              <a:avLst/>
            </a:prstGeom>
          </p:spPr>
        </p:pic>
        <p:pic>
          <p:nvPicPr>
            <p:cNvPr id="14" name="Graphic 13">
              <a:extLst>
                <a:ext uri="{FF2B5EF4-FFF2-40B4-BE49-F238E27FC236}">
                  <a16:creationId xmlns:a16="http://schemas.microsoft.com/office/drawing/2014/main" id="{A02E8C83-4248-8810-1C3E-8E0880B8596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685657" y="6374264"/>
              <a:ext cx="200345" cy="42178"/>
            </a:xfrm>
            <a:prstGeom prst="rect">
              <a:avLst/>
            </a:prstGeom>
          </p:spPr>
        </p:pic>
        <p:pic>
          <p:nvPicPr>
            <p:cNvPr id="15" name="Graphic 14">
              <a:extLst>
                <a:ext uri="{FF2B5EF4-FFF2-40B4-BE49-F238E27FC236}">
                  <a16:creationId xmlns:a16="http://schemas.microsoft.com/office/drawing/2014/main" id="{0C53C429-1118-6B34-BABA-129E839845F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1815113" y="6374264"/>
              <a:ext cx="200345" cy="42178"/>
            </a:xfrm>
            <a:prstGeom prst="rect">
              <a:avLst/>
            </a:prstGeom>
          </p:spPr>
        </p:pic>
        <p:pic>
          <p:nvPicPr>
            <p:cNvPr id="21" name="Graphic 20">
              <a:extLst>
                <a:ext uri="{FF2B5EF4-FFF2-40B4-BE49-F238E27FC236}">
                  <a16:creationId xmlns:a16="http://schemas.microsoft.com/office/drawing/2014/main" id="{278F9D91-941C-66C4-DE34-7E24ACC3C1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2238940" y="6374264"/>
              <a:ext cx="200345" cy="42178"/>
            </a:xfrm>
            <a:prstGeom prst="rect">
              <a:avLst/>
            </a:prstGeom>
          </p:spPr>
        </p:pic>
        <p:pic>
          <p:nvPicPr>
            <p:cNvPr id="22" name="Graphic 21">
              <a:extLst>
                <a:ext uri="{FF2B5EF4-FFF2-40B4-BE49-F238E27FC236}">
                  <a16:creationId xmlns:a16="http://schemas.microsoft.com/office/drawing/2014/main" id="{E6DE7B65-C00B-11A7-2700-9F72F31C889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2365017" y="6374264"/>
              <a:ext cx="200345" cy="42178"/>
            </a:xfrm>
            <a:prstGeom prst="rect">
              <a:avLst/>
            </a:prstGeom>
          </p:spPr>
        </p:pic>
        <p:pic>
          <p:nvPicPr>
            <p:cNvPr id="30" name="Graphic 29">
              <a:extLst>
                <a:ext uri="{FF2B5EF4-FFF2-40B4-BE49-F238E27FC236}">
                  <a16:creationId xmlns:a16="http://schemas.microsoft.com/office/drawing/2014/main" id="{9A0398EA-6530-8311-FA2A-0259CD7D4FD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2808162" y="6374264"/>
              <a:ext cx="200345" cy="42178"/>
            </a:xfrm>
            <a:prstGeom prst="rect">
              <a:avLst/>
            </a:prstGeom>
          </p:spPr>
        </p:pic>
        <p:pic>
          <p:nvPicPr>
            <p:cNvPr id="31" name="Graphic 30">
              <a:extLst>
                <a:ext uri="{FF2B5EF4-FFF2-40B4-BE49-F238E27FC236}">
                  <a16:creationId xmlns:a16="http://schemas.microsoft.com/office/drawing/2014/main" id="{DC981475-FAE3-BA34-8CD1-F840F699B8D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2934282" y="6374264"/>
              <a:ext cx="200345" cy="42178"/>
            </a:xfrm>
            <a:prstGeom prst="rect">
              <a:avLst/>
            </a:prstGeom>
          </p:spPr>
        </p:pic>
      </p:grpSp>
    </p:spTree>
    <p:extLst>
      <p:ext uri="{BB962C8B-B14F-4D97-AF65-F5344CB8AC3E}">
        <p14:creationId xmlns:p14="http://schemas.microsoft.com/office/powerpoint/2010/main" val="3088810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ackground 6 (RO)">
    <p:spTree>
      <p:nvGrpSpPr>
        <p:cNvPr id="1" name=""/>
        <p:cNvGrpSpPr/>
        <p:nvPr/>
      </p:nvGrpSpPr>
      <p:grpSpPr>
        <a:xfrm>
          <a:off x="0" y="0"/>
          <a:ext cx="0" cy="0"/>
          <a:chOff x="0" y="0"/>
          <a:chExt cx="0" cy="0"/>
        </a:xfrm>
      </p:grpSpPr>
      <p:pic>
        <p:nvPicPr>
          <p:cNvPr id="57" name="Picture Placeholder 8">
            <a:extLst>
              <a:ext uri="{FF2B5EF4-FFF2-40B4-BE49-F238E27FC236}">
                <a16:creationId xmlns:a16="http://schemas.microsoft.com/office/drawing/2014/main" id="{22366F37-1DF3-4D5F-C28B-55FF99F0F078}"/>
              </a:ext>
            </a:extLst>
          </p:cNvPr>
          <p:cNvPicPr>
            <a:picLocks noChangeAspect="1"/>
          </p:cNvPicPr>
          <p:nvPr userDrawn="1"/>
        </p:nvPicPr>
        <p:blipFill>
          <a:blip r:embed="rId2"/>
          <a:srcRect/>
          <a:stretch/>
        </p:blipFill>
        <p:spPr>
          <a:xfrm>
            <a:off x="0" y="0"/>
            <a:ext cx="12192000" cy="6858000"/>
          </a:xfrm>
          <a:prstGeom prst="rect">
            <a:avLst/>
          </a:prstGeom>
        </p:spPr>
      </p:pic>
      <p:sp>
        <p:nvSpPr>
          <p:cNvPr id="86" name="Rectangle 85">
            <a:extLst>
              <a:ext uri="{FF2B5EF4-FFF2-40B4-BE49-F238E27FC236}">
                <a16:creationId xmlns:a16="http://schemas.microsoft.com/office/drawing/2014/main" id="{93B704A8-FD21-E5B5-2342-BBCA1E814E79}"/>
              </a:ext>
            </a:extLst>
          </p:cNvPr>
          <p:cNvSpPr/>
          <p:nvPr userDrawn="1"/>
        </p:nvSpPr>
        <p:spPr>
          <a:xfrm>
            <a:off x="0" y="-1"/>
            <a:ext cx="12192001" cy="6033705"/>
          </a:xfrm>
          <a:prstGeom prst="rect">
            <a:avLst/>
          </a:prstGeom>
          <a:gradFill>
            <a:gsLst>
              <a:gs pos="77000">
                <a:schemeClr val="accent6">
                  <a:lumMod val="75000"/>
                  <a:alpha val="70000"/>
                </a:schemeClr>
              </a:gs>
              <a:gs pos="26000">
                <a:srgbClr val="002C43">
                  <a:alpha val="50000"/>
                </a:srgbClr>
              </a:gs>
              <a:gs pos="100000">
                <a:schemeClr val="accent1">
                  <a:lumMod val="50000"/>
                  <a:alpha val="49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 name="Rectangle 1">
            <a:extLst>
              <a:ext uri="{FF2B5EF4-FFF2-40B4-BE49-F238E27FC236}">
                <a16:creationId xmlns:a16="http://schemas.microsoft.com/office/drawing/2014/main" id="{C57C9490-18E4-C78D-BB14-6F01B97A6930}"/>
              </a:ext>
            </a:extLst>
          </p:cNvPr>
          <p:cNvSpPr/>
          <p:nvPr userDrawn="1"/>
        </p:nvSpPr>
        <p:spPr>
          <a:xfrm>
            <a:off x="0" y="0"/>
            <a:ext cx="12192001" cy="5933041"/>
          </a:xfrm>
          <a:prstGeom prst="rect">
            <a:avLst/>
          </a:prstGeom>
          <a:solidFill>
            <a:schemeClr val="accent6">
              <a:lumMod val="7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58" name="Freeform: Shape 57">
            <a:extLst>
              <a:ext uri="{FF2B5EF4-FFF2-40B4-BE49-F238E27FC236}">
                <a16:creationId xmlns:a16="http://schemas.microsoft.com/office/drawing/2014/main" id="{88846726-A208-E425-4CDE-B76D6F6BCFDD}"/>
              </a:ext>
            </a:extLst>
          </p:cNvPr>
          <p:cNvSpPr/>
          <p:nvPr userDrawn="1"/>
        </p:nvSpPr>
        <p:spPr>
          <a:xfrm>
            <a:off x="0" y="5586730"/>
            <a:ext cx="12192000" cy="1029970"/>
          </a:xfrm>
          <a:custGeom>
            <a:avLst/>
            <a:gdLst>
              <a:gd name="connsiteX0" fmla="*/ 0 w 12192000"/>
              <a:gd name="connsiteY0" fmla="*/ 0 h 1029970"/>
              <a:gd name="connsiteX1" fmla="*/ 1524001 w 12192000"/>
              <a:gd name="connsiteY1" fmla="*/ 0 h 1029970"/>
              <a:gd name="connsiteX2" fmla="*/ 2529790 w 12192000"/>
              <a:gd name="connsiteY2" fmla="*/ 0 h 1029970"/>
              <a:gd name="connsiteX3" fmla="*/ 2766180 w 12192000"/>
              <a:gd name="connsiteY3" fmla="*/ 136016 h 1029970"/>
              <a:gd name="connsiteX4" fmla="*/ 2766180 w 12192000"/>
              <a:gd name="connsiteY4" fmla="*/ 138901 h 1029970"/>
              <a:gd name="connsiteX5" fmla="*/ 2771194 w 12192000"/>
              <a:gd name="connsiteY5" fmla="*/ 138901 h 1029970"/>
              <a:gd name="connsiteX6" fmla="*/ 2775956 w 12192000"/>
              <a:gd name="connsiteY6" fmla="*/ 141641 h 1029970"/>
              <a:gd name="connsiteX7" fmla="*/ 3541206 w 12192000"/>
              <a:gd name="connsiteY7" fmla="*/ 138901 h 1029970"/>
              <a:gd name="connsiteX8" fmla="*/ 9509760 w 12192000"/>
              <a:gd name="connsiteY8" fmla="*/ 138901 h 1029970"/>
              <a:gd name="connsiteX9" fmla="*/ 9509760 w 12192000"/>
              <a:gd name="connsiteY9" fmla="*/ 134741 h 1029970"/>
              <a:gd name="connsiteX10" fmla="*/ 11646409 w 12192000"/>
              <a:gd name="connsiteY10" fmla="*/ 134741 h 1029970"/>
              <a:gd name="connsiteX11" fmla="*/ 12192000 w 12192000"/>
              <a:gd name="connsiteY11" fmla="*/ 134741 h 1029970"/>
              <a:gd name="connsiteX12" fmla="*/ 12192000 w 12192000"/>
              <a:gd name="connsiteY12" fmla="*/ 1029970 h 1029970"/>
              <a:gd name="connsiteX13" fmla="*/ 0 w 12192000"/>
              <a:gd name="connsiteY13" fmla="*/ 1029970 h 1029970"/>
              <a:gd name="connsiteX14" fmla="*/ 0 w 12192000"/>
              <a:gd name="connsiteY14" fmla="*/ 0 h 1029970"/>
              <a:gd name="connsiteX15" fmla="*/ 9506712 w 12192000"/>
              <a:gd name="connsiteY15" fmla="*/ 233465 h 1029970"/>
              <a:gd name="connsiteX16" fmla="*/ 9506712 w 12192000"/>
              <a:gd name="connsiteY16" fmla="*/ 256325 h 1029970"/>
              <a:gd name="connsiteX17" fmla="*/ 9509760 w 12192000"/>
              <a:gd name="connsiteY17" fmla="*/ 256325 h 1029970"/>
              <a:gd name="connsiteX18" fmla="*/ 9509760 w 12192000"/>
              <a:gd name="connsiteY18" fmla="*/ 233465 h 1029970"/>
              <a:gd name="connsiteX19" fmla="*/ 9506712 w 12192000"/>
              <a:gd name="connsiteY19" fmla="*/ 233465 h 1029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029970">
                <a:moveTo>
                  <a:pt x="0" y="0"/>
                </a:moveTo>
                <a:lnTo>
                  <a:pt x="1524001" y="0"/>
                </a:lnTo>
                <a:lnTo>
                  <a:pt x="2529790" y="0"/>
                </a:lnTo>
                <a:lnTo>
                  <a:pt x="2766180" y="136016"/>
                </a:lnTo>
                <a:lnTo>
                  <a:pt x="2766180" y="138901"/>
                </a:lnTo>
                <a:lnTo>
                  <a:pt x="2771194" y="138901"/>
                </a:lnTo>
                <a:lnTo>
                  <a:pt x="2775956" y="141641"/>
                </a:lnTo>
                <a:lnTo>
                  <a:pt x="3541206" y="138901"/>
                </a:lnTo>
                <a:lnTo>
                  <a:pt x="9509760" y="138901"/>
                </a:lnTo>
                <a:lnTo>
                  <a:pt x="9509760" y="134741"/>
                </a:lnTo>
                <a:lnTo>
                  <a:pt x="11646409" y="134741"/>
                </a:lnTo>
                <a:lnTo>
                  <a:pt x="12192000" y="134741"/>
                </a:lnTo>
                <a:lnTo>
                  <a:pt x="12192000" y="1029970"/>
                </a:lnTo>
                <a:lnTo>
                  <a:pt x="0" y="1029970"/>
                </a:lnTo>
                <a:lnTo>
                  <a:pt x="0" y="0"/>
                </a:lnTo>
                <a:close/>
                <a:moveTo>
                  <a:pt x="9506712" y="233465"/>
                </a:moveTo>
                <a:lnTo>
                  <a:pt x="9506712" y="256325"/>
                </a:lnTo>
                <a:lnTo>
                  <a:pt x="9509760" y="256325"/>
                </a:lnTo>
                <a:lnTo>
                  <a:pt x="9509760" y="233465"/>
                </a:lnTo>
                <a:lnTo>
                  <a:pt x="9506712" y="233465"/>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85" name="Rectangle 84">
            <a:extLst>
              <a:ext uri="{FF2B5EF4-FFF2-40B4-BE49-F238E27FC236}">
                <a16:creationId xmlns:a16="http://schemas.microsoft.com/office/drawing/2014/main" id="{2FE53BD5-8EF8-C6B7-8DC8-9B1AA01461BD}"/>
              </a:ext>
            </a:extLst>
          </p:cNvPr>
          <p:cNvSpPr/>
          <p:nvPr userDrawn="1"/>
        </p:nvSpPr>
        <p:spPr>
          <a:xfrm>
            <a:off x="0" y="6210300"/>
            <a:ext cx="12192000" cy="5829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65" name="Freeform: Shape 64">
            <a:extLst>
              <a:ext uri="{FF2B5EF4-FFF2-40B4-BE49-F238E27FC236}">
                <a16:creationId xmlns:a16="http://schemas.microsoft.com/office/drawing/2014/main" id="{6A21147B-6EDA-9121-4549-38168C2769E3}"/>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66" name="Rectangle 6">
            <a:extLst>
              <a:ext uri="{FF2B5EF4-FFF2-40B4-BE49-F238E27FC236}">
                <a16:creationId xmlns:a16="http://schemas.microsoft.com/office/drawing/2014/main" id="{962305D3-A62E-7E82-7DF1-F3C5DD589E3D}"/>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grpSp>
        <p:nvGrpSpPr>
          <p:cNvPr id="67" name="Group 66">
            <a:extLst>
              <a:ext uri="{FF2B5EF4-FFF2-40B4-BE49-F238E27FC236}">
                <a16:creationId xmlns:a16="http://schemas.microsoft.com/office/drawing/2014/main" id="{7DBC258B-D6C5-D6F6-A911-27A88DA5506C}"/>
              </a:ext>
            </a:extLst>
          </p:cNvPr>
          <p:cNvGrpSpPr/>
          <p:nvPr userDrawn="1"/>
        </p:nvGrpSpPr>
        <p:grpSpPr>
          <a:xfrm flipH="1" flipV="1">
            <a:off x="10235287" y="6334466"/>
            <a:ext cx="1828800" cy="192880"/>
            <a:chOff x="202102" y="5136315"/>
            <a:chExt cx="1828800" cy="192880"/>
          </a:xfrm>
        </p:grpSpPr>
        <p:sp>
          <p:nvSpPr>
            <p:cNvPr id="68" name="Freeform: Shape 67">
              <a:extLst>
                <a:ext uri="{FF2B5EF4-FFF2-40B4-BE49-F238E27FC236}">
                  <a16:creationId xmlns:a16="http://schemas.microsoft.com/office/drawing/2014/main" id="{E88F8D86-37DA-AEB3-41AF-DF80137200B4}"/>
                </a:ext>
              </a:extLst>
            </p:cNvPr>
            <p:cNvSpPr/>
            <p:nvPr/>
          </p:nvSpPr>
          <p:spPr>
            <a:xfrm>
              <a:off x="202102" y="5148220"/>
              <a:ext cx="182880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583C8BDC-14BF-1CA7-841B-BAD978FD14AC}"/>
                </a:ext>
              </a:extLst>
            </p:cNvPr>
            <p:cNvSpPr/>
            <p:nvPr/>
          </p:nvSpPr>
          <p:spPr>
            <a:xfrm>
              <a:off x="202347" y="5145649"/>
              <a:ext cx="28575"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B22E3463-97D8-C0E2-4AC7-54E64250432C}"/>
                </a:ext>
              </a:extLst>
            </p:cNvPr>
            <p:cNvSpPr/>
            <p:nvPr/>
          </p:nvSpPr>
          <p:spPr>
            <a:xfrm>
              <a:off x="292113" y="525671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E9414426-CC4E-36EC-BF69-1BC4F5B8905B}"/>
                </a:ext>
              </a:extLst>
            </p:cNvPr>
            <p:cNvSpPr/>
            <p:nvPr/>
          </p:nvSpPr>
          <p:spPr>
            <a:xfrm>
              <a:off x="202287" y="5136315"/>
              <a:ext cx="381095" cy="28575"/>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dirty="0"/>
            </a:p>
          </p:txBody>
        </p:sp>
      </p:grpSp>
      <p:grpSp>
        <p:nvGrpSpPr>
          <p:cNvPr id="59" name="Group 58">
            <a:extLst>
              <a:ext uri="{FF2B5EF4-FFF2-40B4-BE49-F238E27FC236}">
                <a16:creationId xmlns:a16="http://schemas.microsoft.com/office/drawing/2014/main" id="{FA5A36C4-635E-D3F6-FA14-7D0F7178739D}"/>
              </a:ext>
            </a:extLst>
          </p:cNvPr>
          <p:cNvGrpSpPr/>
          <p:nvPr userDrawn="1"/>
        </p:nvGrpSpPr>
        <p:grpSpPr>
          <a:xfrm>
            <a:off x="136895" y="5686664"/>
            <a:ext cx="1830509" cy="191126"/>
            <a:chOff x="200393" y="5135879"/>
            <a:chExt cx="1830509" cy="191126"/>
          </a:xfrm>
        </p:grpSpPr>
        <p:sp>
          <p:nvSpPr>
            <p:cNvPr id="60" name="Freeform: Shape 15">
              <a:extLst>
                <a:ext uri="{FF2B5EF4-FFF2-40B4-BE49-F238E27FC236}">
                  <a16:creationId xmlns:a16="http://schemas.microsoft.com/office/drawing/2014/main" id="{07B1DE86-416B-1BF9-48B5-E4210DDC821E}"/>
                </a:ext>
              </a:extLst>
            </p:cNvPr>
            <p:cNvSpPr/>
            <p:nvPr/>
          </p:nvSpPr>
          <p:spPr>
            <a:xfrm>
              <a:off x="202102" y="5148220"/>
              <a:ext cx="182880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dirty="0">
                <a:solidFill>
                  <a:schemeClr val="bg1"/>
                </a:solidFill>
              </a:endParaRPr>
            </a:p>
          </p:txBody>
        </p:sp>
        <p:sp>
          <p:nvSpPr>
            <p:cNvPr id="61" name="Freeform: Shape 16">
              <a:extLst>
                <a:ext uri="{FF2B5EF4-FFF2-40B4-BE49-F238E27FC236}">
                  <a16:creationId xmlns:a16="http://schemas.microsoft.com/office/drawing/2014/main" id="{0DC14BCA-9B0B-F69A-17FF-74F5EDCF8C0C}"/>
                </a:ext>
              </a:extLst>
            </p:cNvPr>
            <p:cNvSpPr/>
            <p:nvPr/>
          </p:nvSpPr>
          <p:spPr>
            <a:xfrm>
              <a:off x="200393" y="5135879"/>
              <a:ext cx="28575"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dirty="0">
                <a:solidFill>
                  <a:schemeClr val="bg1"/>
                </a:solidFill>
              </a:endParaRPr>
            </a:p>
          </p:txBody>
        </p:sp>
        <p:sp>
          <p:nvSpPr>
            <p:cNvPr id="62" name="Freeform: Shape 17">
              <a:extLst>
                <a:ext uri="{FF2B5EF4-FFF2-40B4-BE49-F238E27FC236}">
                  <a16:creationId xmlns:a16="http://schemas.microsoft.com/office/drawing/2014/main" id="{8FE945CE-1F0C-1B6B-C0E9-A4396112D944}"/>
                </a:ext>
              </a:extLst>
            </p:cNvPr>
            <p:cNvSpPr/>
            <p:nvPr/>
          </p:nvSpPr>
          <p:spPr>
            <a:xfrm>
              <a:off x="292113" y="525671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dirty="0">
                <a:solidFill>
                  <a:schemeClr val="bg1"/>
                </a:solidFill>
              </a:endParaRPr>
            </a:p>
          </p:txBody>
        </p:sp>
        <p:sp>
          <p:nvSpPr>
            <p:cNvPr id="63" name="Freeform: Shape 18">
              <a:extLst>
                <a:ext uri="{FF2B5EF4-FFF2-40B4-BE49-F238E27FC236}">
                  <a16:creationId xmlns:a16="http://schemas.microsoft.com/office/drawing/2014/main" id="{495FE219-BBDB-ACE6-37DF-0657E22F91ED}"/>
                </a:ext>
              </a:extLst>
            </p:cNvPr>
            <p:cNvSpPr/>
            <p:nvPr/>
          </p:nvSpPr>
          <p:spPr>
            <a:xfrm>
              <a:off x="210103" y="5136315"/>
              <a:ext cx="381095" cy="28575"/>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dirty="0">
                <a:solidFill>
                  <a:schemeClr val="bg1"/>
                </a:solidFill>
              </a:endParaRPr>
            </a:p>
          </p:txBody>
        </p:sp>
      </p:grpSp>
      <p:sp>
        <p:nvSpPr>
          <p:cNvPr id="3" name="Title 2">
            <a:extLst>
              <a:ext uri="{FF2B5EF4-FFF2-40B4-BE49-F238E27FC236}">
                <a16:creationId xmlns:a16="http://schemas.microsoft.com/office/drawing/2014/main" id="{5317214C-6509-64AF-1C4A-962C99D6B22F}"/>
              </a:ext>
            </a:extLst>
          </p:cNvPr>
          <p:cNvSpPr>
            <a:spLocks noGrp="1"/>
          </p:cNvSpPr>
          <p:nvPr>
            <p:ph type="title" hasCustomPrompt="1"/>
          </p:nvPr>
        </p:nvSpPr>
        <p:spPr>
          <a:xfrm>
            <a:off x="701040" y="5966969"/>
            <a:ext cx="10789920" cy="369332"/>
          </a:xfrm>
        </p:spPr>
        <p:txBody>
          <a:bodyPr/>
          <a:lstStyle>
            <a:lvl1pPr algn="ctr">
              <a:defRPr/>
            </a:lvl1pPr>
          </a:lstStyle>
          <a:p>
            <a:pPr lvl="0"/>
            <a:r>
              <a:rPr lang="en-US" dirty="0"/>
              <a:t>ADD CALL OUT TEXT</a:t>
            </a:r>
          </a:p>
        </p:txBody>
      </p:sp>
    </p:spTree>
    <p:extLst>
      <p:ext uri="{BB962C8B-B14F-4D97-AF65-F5344CB8AC3E}">
        <p14:creationId xmlns:p14="http://schemas.microsoft.com/office/powerpoint/2010/main" val="2404760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ase Study 1 (RO)">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EE027F-361C-E8F2-6AE8-948C97BBF714}"/>
              </a:ext>
            </a:extLst>
          </p:cNvPr>
          <p:cNvSpPr/>
          <p:nvPr userDrawn="1"/>
        </p:nvSpPr>
        <p:spPr>
          <a:xfrm>
            <a:off x="0" y="3429001"/>
            <a:ext cx="5788152" cy="3429000"/>
          </a:xfrm>
          <a:prstGeom prst="rect">
            <a:avLst/>
          </a:prstGeom>
          <a:blipFill dpi="0" rotWithShape="1">
            <a:blip r:embed="rId2"/>
            <a:srcRect/>
            <a:stretch>
              <a:fillRect l="-2" t="-1988" r="-788" b="-478"/>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a:ea typeface="+mn-ea"/>
              <a:cs typeface="+mn-cs"/>
            </a:endParaRPr>
          </a:p>
        </p:txBody>
      </p:sp>
      <p:sp>
        <p:nvSpPr>
          <p:cNvPr id="3" name="Rectangle 2">
            <a:extLst>
              <a:ext uri="{FF2B5EF4-FFF2-40B4-BE49-F238E27FC236}">
                <a16:creationId xmlns:a16="http://schemas.microsoft.com/office/drawing/2014/main" id="{07B1B04E-34EC-9188-2CCE-D2A42AB54B06}"/>
              </a:ext>
            </a:extLst>
          </p:cNvPr>
          <p:cNvSpPr/>
          <p:nvPr userDrawn="1"/>
        </p:nvSpPr>
        <p:spPr>
          <a:xfrm>
            <a:off x="0" y="3429001"/>
            <a:ext cx="5788152" cy="3429000"/>
          </a:xfrm>
          <a:prstGeom prst="rect">
            <a:avLst/>
          </a:prstGeom>
          <a:gradFill>
            <a:gsLst>
              <a:gs pos="30000">
                <a:srgbClr val="002C43">
                  <a:alpha val="85000"/>
                </a:srgbClr>
              </a:gs>
              <a:gs pos="100000">
                <a:schemeClr val="accent6">
                  <a:lumMod val="75000"/>
                  <a:alpha val="85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nSpc>
                <a:spcPct val="90000"/>
              </a:lnSpc>
              <a:spcBef>
                <a:spcPts val="800"/>
              </a:spcBef>
            </a:pPr>
            <a:endParaRPr lang="en-US" err="1">
              <a:solidFill>
                <a:schemeClr val="bg1"/>
              </a:solidFill>
            </a:endParaRPr>
          </a:p>
        </p:txBody>
      </p:sp>
      <p:sp>
        <p:nvSpPr>
          <p:cNvPr id="2" name="Picture Placeholder 21">
            <a:extLst>
              <a:ext uri="{FF2B5EF4-FFF2-40B4-BE49-F238E27FC236}">
                <a16:creationId xmlns:a16="http://schemas.microsoft.com/office/drawing/2014/main" id="{612B576C-24C9-358C-2054-40AF1ABCB118}"/>
              </a:ext>
            </a:extLst>
          </p:cNvPr>
          <p:cNvSpPr>
            <a:spLocks noGrp="1"/>
          </p:cNvSpPr>
          <p:nvPr>
            <p:ph type="pic" sz="quarter" idx="39" hasCustomPrompt="1"/>
          </p:nvPr>
        </p:nvSpPr>
        <p:spPr>
          <a:xfrm>
            <a:off x="0" y="111612"/>
            <a:ext cx="5792915" cy="3300984"/>
          </a:xfrm>
          <a:custGeom>
            <a:avLst/>
            <a:gdLst>
              <a:gd name="connsiteX0" fmla="*/ 0 w 5808663"/>
              <a:gd name="connsiteY0" fmla="*/ 0 h 3287713"/>
              <a:gd name="connsiteX1" fmla="*/ 5251987 w 5808663"/>
              <a:gd name="connsiteY1" fmla="*/ 0 h 3287713"/>
              <a:gd name="connsiteX2" fmla="*/ 5808663 w 5808663"/>
              <a:gd name="connsiteY2" fmla="*/ 556676 h 3287713"/>
              <a:gd name="connsiteX3" fmla="*/ 5808663 w 5808663"/>
              <a:gd name="connsiteY3" fmla="*/ 3287713 h 3287713"/>
              <a:gd name="connsiteX4" fmla="*/ 0 w 5808663"/>
              <a:gd name="connsiteY4" fmla="*/ 3287713 h 3287713"/>
              <a:gd name="connsiteX5" fmla="*/ 0 w 5808663"/>
              <a:gd name="connsiteY5" fmla="*/ 0 h 3287713"/>
              <a:gd name="connsiteX0" fmla="*/ 0 w 5808663"/>
              <a:gd name="connsiteY0" fmla="*/ 0 h 3287713"/>
              <a:gd name="connsiteX1" fmla="*/ 5251987 w 5808663"/>
              <a:gd name="connsiteY1" fmla="*/ 0 h 3287713"/>
              <a:gd name="connsiteX2" fmla="*/ 5808663 w 5808663"/>
              <a:gd name="connsiteY2" fmla="*/ 356379 h 3287713"/>
              <a:gd name="connsiteX3" fmla="*/ 5808663 w 5808663"/>
              <a:gd name="connsiteY3" fmla="*/ 3287713 h 3287713"/>
              <a:gd name="connsiteX4" fmla="*/ 0 w 5808663"/>
              <a:gd name="connsiteY4" fmla="*/ 3287713 h 3287713"/>
              <a:gd name="connsiteX5" fmla="*/ 0 w 5808663"/>
              <a:gd name="connsiteY5" fmla="*/ 0 h 3287713"/>
              <a:gd name="connsiteX0" fmla="*/ 0 w 5813443"/>
              <a:gd name="connsiteY0" fmla="*/ 0 h 3287713"/>
              <a:gd name="connsiteX1" fmla="*/ 5251987 w 5813443"/>
              <a:gd name="connsiteY1" fmla="*/ 0 h 3287713"/>
              <a:gd name="connsiteX2" fmla="*/ 5813443 w 5813443"/>
              <a:gd name="connsiteY2" fmla="*/ 342091 h 3287713"/>
              <a:gd name="connsiteX3" fmla="*/ 5808663 w 5813443"/>
              <a:gd name="connsiteY3" fmla="*/ 3287713 h 3287713"/>
              <a:gd name="connsiteX4" fmla="*/ 0 w 5813443"/>
              <a:gd name="connsiteY4" fmla="*/ 3287713 h 3287713"/>
              <a:gd name="connsiteX5" fmla="*/ 0 w 5813443"/>
              <a:gd name="connsiteY5" fmla="*/ 0 h 3287713"/>
              <a:gd name="connsiteX0" fmla="*/ 0 w 5813443"/>
              <a:gd name="connsiteY0" fmla="*/ 0 h 3287713"/>
              <a:gd name="connsiteX1" fmla="*/ 5237650 w 5813443"/>
              <a:gd name="connsiteY1" fmla="*/ 4762 h 3287713"/>
              <a:gd name="connsiteX2" fmla="*/ 5813443 w 5813443"/>
              <a:gd name="connsiteY2" fmla="*/ 342091 h 3287713"/>
              <a:gd name="connsiteX3" fmla="*/ 5808663 w 5813443"/>
              <a:gd name="connsiteY3" fmla="*/ 3287713 h 3287713"/>
              <a:gd name="connsiteX4" fmla="*/ 0 w 5813443"/>
              <a:gd name="connsiteY4" fmla="*/ 3287713 h 3287713"/>
              <a:gd name="connsiteX5" fmla="*/ 0 w 5813443"/>
              <a:gd name="connsiteY5" fmla="*/ 0 h 328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3443" h="3287713">
                <a:moveTo>
                  <a:pt x="0" y="0"/>
                </a:moveTo>
                <a:lnTo>
                  <a:pt x="5237650" y="4762"/>
                </a:lnTo>
                <a:lnTo>
                  <a:pt x="5813443" y="342091"/>
                </a:lnTo>
                <a:cubicBezTo>
                  <a:pt x="5811850" y="1323965"/>
                  <a:pt x="5810256" y="2305839"/>
                  <a:pt x="5808663" y="3287713"/>
                </a:cubicBezTo>
                <a:lnTo>
                  <a:pt x="0" y="3287713"/>
                </a:lnTo>
                <a:lnTo>
                  <a:pt x="0" y="0"/>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buFont typeface="Wingdings" panose="05000000000000000000" pitchFamily="2" charset="2"/>
              <a:buChar char="§"/>
              <a:defRPr lang="en-US" sz="1000"/>
            </a:lvl1pPr>
          </a:lstStyle>
          <a:p>
            <a:pPr marL="0" lvl="0" indent="0" algn="ctr">
              <a:spcBef>
                <a:spcPts val="800"/>
              </a:spcBef>
              <a:buNone/>
            </a:pPr>
            <a:r>
              <a:rPr lang="en-US" dirty="0"/>
              <a:t>Click picture icon to add image</a:t>
            </a:r>
          </a:p>
        </p:txBody>
      </p: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559854"/>
            <a:ext cx="5486400" cy="369332"/>
          </a:xfrm>
        </p:spPr>
        <p:txBody>
          <a:bodyPr/>
          <a:lstStyle>
            <a:lvl1pPr>
              <a:defRPr sz="3000"/>
            </a:lvl1pPr>
          </a:lstStyle>
          <a:p>
            <a:r>
              <a:rPr lang="en-US" dirty="0"/>
              <a:t>Case study title</a:t>
            </a:r>
          </a:p>
        </p:txBody>
      </p:sp>
      <p:grpSp>
        <p:nvGrpSpPr>
          <p:cNvPr id="102" name="Group 101">
            <a:extLst>
              <a:ext uri="{FF2B5EF4-FFF2-40B4-BE49-F238E27FC236}">
                <a16:creationId xmlns:a16="http://schemas.microsoft.com/office/drawing/2014/main" id="{96A1FBE7-9A49-4893-BE73-C040CC83491F}"/>
              </a:ext>
            </a:extLst>
          </p:cNvPr>
          <p:cNvGrpSpPr/>
          <p:nvPr userDrawn="1"/>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7" name="Rectangle 6">
            <a:extLst>
              <a:ext uri="{FF2B5EF4-FFF2-40B4-BE49-F238E27FC236}">
                <a16:creationId xmlns:a16="http://schemas.microsoft.com/office/drawing/2014/main" id="{66869BB4-81C8-4935-AA15-82CB480F24D6}"/>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
        <p:nvSpPr>
          <p:cNvPr id="10" name="Text Placeholder 4">
            <a:extLst>
              <a:ext uri="{FF2B5EF4-FFF2-40B4-BE49-F238E27FC236}">
                <a16:creationId xmlns:a16="http://schemas.microsoft.com/office/drawing/2014/main" id="{885007B6-B3BA-AC5D-BBD4-04C1246A4711}"/>
              </a:ext>
            </a:extLst>
          </p:cNvPr>
          <p:cNvSpPr>
            <a:spLocks noGrp="1"/>
          </p:cNvSpPr>
          <p:nvPr>
            <p:ph type="body" sz="quarter" idx="28" hasCustomPrompt="1"/>
          </p:nvPr>
        </p:nvSpPr>
        <p:spPr>
          <a:xfrm>
            <a:off x="6235700" y="2043277"/>
            <a:ext cx="5486400" cy="1097280"/>
          </a:xfrm>
        </p:spPr>
        <p:txBody>
          <a:bodyPr vert="horz" lIns="0" tIns="0" rIns="0" bIns="0" rtlCol="0" anchor="t" anchorCtr="0">
            <a:spAutoFit/>
          </a:bodyPr>
          <a:lstStyle>
            <a:lvl1pPr marL="173038" indent="-173038">
              <a:defRPr lang="en-US" sz="1400" dirty="0"/>
            </a:lvl1pPr>
            <a:lvl2pPr marL="344488" indent="-171450">
              <a:defRPr sz="1200"/>
            </a:lvl2pPr>
          </a:lstStyle>
          <a:p>
            <a:pPr lvl="0"/>
            <a:r>
              <a:rPr lang="en-US" dirty="0"/>
              <a:t>Add text</a:t>
            </a:r>
          </a:p>
          <a:p>
            <a:pPr lvl="1"/>
            <a:r>
              <a:rPr lang="en-US" dirty="0"/>
              <a:t>Second level</a:t>
            </a:r>
          </a:p>
        </p:txBody>
      </p:sp>
      <p:sp>
        <p:nvSpPr>
          <p:cNvPr id="11" name="Text Placeholder 15">
            <a:extLst>
              <a:ext uri="{FF2B5EF4-FFF2-40B4-BE49-F238E27FC236}">
                <a16:creationId xmlns:a16="http://schemas.microsoft.com/office/drawing/2014/main" id="{896F6491-BA52-98B2-37D9-6C72A51E4E9E}"/>
              </a:ext>
            </a:extLst>
          </p:cNvPr>
          <p:cNvSpPr>
            <a:spLocks noGrp="1"/>
          </p:cNvSpPr>
          <p:nvPr>
            <p:ph type="body" sz="quarter" idx="16" hasCustomPrompt="1"/>
          </p:nvPr>
        </p:nvSpPr>
        <p:spPr>
          <a:xfrm>
            <a:off x="6235700" y="1631047"/>
            <a:ext cx="5486400" cy="347472"/>
          </a:xfrm>
        </p:spPr>
        <p:txBody>
          <a:bodyPr anchor="ctr" anchorCtr="0"/>
          <a:lstStyle>
            <a:lvl1pPr marL="0" indent="0" algn="l">
              <a:lnSpc>
                <a:spcPct val="85000"/>
              </a:lnSpc>
              <a:spcBef>
                <a:spcPts val="0"/>
              </a:spcBef>
              <a:buFontTx/>
              <a:buNone/>
              <a:defRPr sz="2000" b="1">
                <a:solidFill>
                  <a:schemeClr val="accent1"/>
                </a:solidFill>
              </a:defRPr>
            </a:lvl1pPr>
          </a:lstStyle>
          <a:p>
            <a:pPr lvl="0"/>
            <a:r>
              <a:rPr lang="en-US" dirty="0"/>
              <a:t>Add title</a:t>
            </a:r>
          </a:p>
        </p:txBody>
      </p:sp>
      <p:sp>
        <p:nvSpPr>
          <p:cNvPr id="12" name="Text Placeholder 4">
            <a:extLst>
              <a:ext uri="{FF2B5EF4-FFF2-40B4-BE49-F238E27FC236}">
                <a16:creationId xmlns:a16="http://schemas.microsoft.com/office/drawing/2014/main" id="{5390ED08-AE15-F397-DD15-1B04A0FA43B1}"/>
              </a:ext>
            </a:extLst>
          </p:cNvPr>
          <p:cNvSpPr>
            <a:spLocks noGrp="1"/>
          </p:cNvSpPr>
          <p:nvPr>
            <p:ph type="body" sz="quarter" idx="34" hasCustomPrompt="1"/>
          </p:nvPr>
        </p:nvSpPr>
        <p:spPr>
          <a:xfrm>
            <a:off x="6235700" y="3697086"/>
            <a:ext cx="5486400" cy="1097280"/>
          </a:xfrm>
        </p:spPr>
        <p:txBody>
          <a:bodyPr vert="horz" lIns="0" tIns="0" rIns="0" bIns="0" rtlCol="0" anchor="t" anchorCtr="0">
            <a:spAutoFit/>
          </a:bodyPr>
          <a:lstStyle>
            <a:lvl1pPr marL="173038" indent="-173038">
              <a:defRPr lang="en-US" sz="1400" dirty="0"/>
            </a:lvl1pPr>
            <a:lvl2pPr marL="344488" indent="-171450">
              <a:defRPr sz="1200"/>
            </a:lvl2pPr>
          </a:lstStyle>
          <a:p>
            <a:pPr lvl="0"/>
            <a:r>
              <a:rPr lang="en-US" dirty="0"/>
              <a:t>Add text</a:t>
            </a:r>
          </a:p>
          <a:p>
            <a:pPr lvl="1"/>
            <a:r>
              <a:rPr lang="en-US" dirty="0"/>
              <a:t>Second level</a:t>
            </a:r>
          </a:p>
        </p:txBody>
      </p:sp>
      <p:sp>
        <p:nvSpPr>
          <p:cNvPr id="13" name="Text Placeholder 15">
            <a:extLst>
              <a:ext uri="{FF2B5EF4-FFF2-40B4-BE49-F238E27FC236}">
                <a16:creationId xmlns:a16="http://schemas.microsoft.com/office/drawing/2014/main" id="{9C142775-A644-08C7-3662-FFB34A0B558E}"/>
              </a:ext>
            </a:extLst>
          </p:cNvPr>
          <p:cNvSpPr>
            <a:spLocks noGrp="1"/>
          </p:cNvSpPr>
          <p:nvPr>
            <p:ph type="body" sz="quarter" idx="35" hasCustomPrompt="1"/>
          </p:nvPr>
        </p:nvSpPr>
        <p:spPr>
          <a:xfrm>
            <a:off x="6235700" y="3308920"/>
            <a:ext cx="5486400" cy="347472"/>
          </a:xfrm>
        </p:spPr>
        <p:txBody>
          <a:bodyPr anchor="ctr" anchorCtr="0"/>
          <a:lstStyle>
            <a:lvl1pPr marL="0" indent="0" algn="l">
              <a:lnSpc>
                <a:spcPct val="85000"/>
              </a:lnSpc>
              <a:spcBef>
                <a:spcPts val="0"/>
              </a:spcBef>
              <a:buFontTx/>
              <a:buNone/>
              <a:defRPr sz="2000" b="1">
                <a:solidFill>
                  <a:schemeClr val="accent1"/>
                </a:solidFill>
              </a:defRPr>
            </a:lvl1pPr>
          </a:lstStyle>
          <a:p>
            <a:pPr lvl="0"/>
            <a:r>
              <a:rPr lang="en-US" dirty="0"/>
              <a:t>Add title</a:t>
            </a:r>
          </a:p>
        </p:txBody>
      </p:sp>
      <p:sp>
        <p:nvSpPr>
          <p:cNvPr id="15" name="Text Placeholder 4">
            <a:extLst>
              <a:ext uri="{FF2B5EF4-FFF2-40B4-BE49-F238E27FC236}">
                <a16:creationId xmlns:a16="http://schemas.microsoft.com/office/drawing/2014/main" id="{7D450CF5-81DE-A6B3-D170-BD90EA102388}"/>
              </a:ext>
            </a:extLst>
          </p:cNvPr>
          <p:cNvSpPr>
            <a:spLocks noGrp="1"/>
          </p:cNvSpPr>
          <p:nvPr>
            <p:ph type="body" sz="quarter" idx="36" hasCustomPrompt="1"/>
          </p:nvPr>
        </p:nvSpPr>
        <p:spPr>
          <a:xfrm>
            <a:off x="6235700" y="5361645"/>
            <a:ext cx="5486400" cy="1097280"/>
          </a:xfrm>
        </p:spPr>
        <p:txBody>
          <a:bodyPr vert="horz" lIns="0" tIns="0" rIns="0" bIns="0" rtlCol="0" anchor="t" anchorCtr="0">
            <a:spAutoFit/>
          </a:bodyPr>
          <a:lstStyle>
            <a:lvl1pPr marL="173038" indent="-173038">
              <a:defRPr lang="en-US" sz="1400" dirty="0"/>
            </a:lvl1pPr>
            <a:lvl2pPr marL="344488" indent="-171450">
              <a:defRPr sz="1200"/>
            </a:lvl2pPr>
          </a:lstStyle>
          <a:p>
            <a:pPr lvl="0"/>
            <a:r>
              <a:rPr lang="en-US" dirty="0"/>
              <a:t>Add text</a:t>
            </a:r>
          </a:p>
          <a:p>
            <a:pPr lvl="1"/>
            <a:r>
              <a:rPr lang="en-US" dirty="0"/>
              <a:t>Second level</a:t>
            </a:r>
          </a:p>
        </p:txBody>
      </p:sp>
      <p:sp>
        <p:nvSpPr>
          <p:cNvPr id="16" name="Text Placeholder 15">
            <a:extLst>
              <a:ext uri="{FF2B5EF4-FFF2-40B4-BE49-F238E27FC236}">
                <a16:creationId xmlns:a16="http://schemas.microsoft.com/office/drawing/2014/main" id="{3FD7B1A8-8A61-D6C7-EE4E-E1A0A163B872}"/>
              </a:ext>
            </a:extLst>
          </p:cNvPr>
          <p:cNvSpPr>
            <a:spLocks noGrp="1"/>
          </p:cNvSpPr>
          <p:nvPr>
            <p:ph type="body" sz="quarter" idx="37" hasCustomPrompt="1"/>
          </p:nvPr>
        </p:nvSpPr>
        <p:spPr>
          <a:xfrm>
            <a:off x="6235700" y="4961447"/>
            <a:ext cx="5486400" cy="347472"/>
          </a:xfrm>
        </p:spPr>
        <p:txBody>
          <a:bodyPr anchor="ctr" anchorCtr="0"/>
          <a:lstStyle>
            <a:lvl1pPr marL="0" indent="0" algn="l">
              <a:lnSpc>
                <a:spcPct val="85000"/>
              </a:lnSpc>
              <a:spcBef>
                <a:spcPts val="0"/>
              </a:spcBef>
              <a:buFontTx/>
              <a:buNone/>
              <a:defRPr sz="2000" b="1">
                <a:solidFill>
                  <a:schemeClr val="accent1"/>
                </a:solidFill>
              </a:defRPr>
            </a:lvl1pPr>
          </a:lstStyle>
          <a:p>
            <a:pPr lvl="0"/>
            <a:r>
              <a:rPr lang="en-US" dirty="0"/>
              <a:t>Add title</a:t>
            </a:r>
          </a:p>
        </p:txBody>
      </p:sp>
      <p:sp>
        <p:nvSpPr>
          <p:cNvPr id="17" name="Text Placeholder 103">
            <a:extLst>
              <a:ext uri="{FF2B5EF4-FFF2-40B4-BE49-F238E27FC236}">
                <a16:creationId xmlns:a16="http://schemas.microsoft.com/office/drawing/2014/main" id="{E2EAEB2B-FDF7-AADE-7DBB-146DF31854F3}"/>
              </a:ext>
            </a:extLst>
          </p:cNvPr>
          <p:cNvSpPr>
            <a:spLocks noGrp="1"/>
          </p:cNvSpPr>
          <p:nvPr>
            <p:ph type="body" sz="quarter" idx="29" hasCustomPrompt="1"/>
          </p:nvPr>
        </p:nvSpPr>
        <p:spPr>
          <a:xfrm>
            <a:off x="129397" y="3880452"/>
            <a:ext cx="5532910" cy="1267048"/>
          </a:xfrm>
        </p:spPr>
        <p:txBody>
          <a:bodyPr anchor="t" anchorCtr="0"/>
          <a:lstStyle>
            <a:lvl1pPr marL="0" indent="0" algn="ctr">
              <a:spcBef>
                <a:spcPts val="0"/>
              </a:spcBef>
              <a:buFontTx/>
              <a:buNone/>
              <a:defRPr sz="1600">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Quote</a:t>
            </a:r>
          </a:p>
          <a:p>
            <a:pPr lvl="0"/>
            <a:r>
              <a:rPr lang="en-US" dirty="0"/>
              <a:t>Author</a:t>
            </a:r>
          </a:p>
          <a:p>
            <a:pPr lvl="0"/>
            <a:r>
              <a:rPr lang="en-US" dirty="0"/>
              <a:t>Title</a:t>
            </a:r>
          </a:p>
        </p:txBody>
      </p:sp>
      <p:pic>
        <p:nvPicPr>
          <p:cNvPr id="22" name="Graphic 21">
            <a:extLst>
              <a:ext uri="{FF2B5EF4-FFF2-40B4-BE49-F238E27FC236}">
                <a16:creationId xmlns:a16="http://schemas.microsoft.com/office/drawing/2014/main" id="{FC3D283A-9DFB-1AC8-0BA0-B2AF60C0A09B}"/>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53787"/>
          <a:stretch/>
        </p:blipFill>
        <p:spPr>
          <a:xfrm>
            <a:off x="4646577" y="4684194"/>
            <a:ext cx="1161626" cy="2313432"/>
          </a:xfrm>
          <a:prstGeom prst="rect">
            <a:avLst/>
          </a:prstGeom>
        </p:spPr>
      </p:pic>
      <p:cxnSp>
        <p:nvCxnSpPr>
          <p:cNvPr id="8" name="Straight Connector 7">
            <a:extLst>
              <a:ext uri="{FF2B5EF4-FFF2-40B4-BE49-F238E27FC236}">
                <a16:creationId xmlns:a16="http://schemas.microsoft.com/office/drawing/2014/main" id="{7638B98C-FD7C-B9E5-8316-983788A6BC21}"/>
              </a:ext>
            </a:extLst>
          </p:cNvPr>
          <p:cNvCxnSpPr>
            <a:cxnSpLocks/>
          </p:cNvCxnSpPr>
          <p:nvPr userDrawn="1"/>
        </p:nvCxnSpPr>
        <p:spPr>
          <a:xfrm>
            <a:off x="0" y="3429001"/>
            <a:ext cx="5788152" cy="0"/>
          </a:xfrm>
          <a:prstGeom prst="line">
            <a:avLst/>
          </a:prstGeom>
          <a:ln w="34925">
            <a:gradFill>
              <a:gsLst>
                <a:gs pos="2797">
                  <a:srgbClr val="488631"/>
                </a:gs>
                <a:gs pos="50000">
                  <a:schemeClr val="accent1">
                    <a:lumMod val="50000"/>
                  </a:schemeClr>
                </a:gs>
                <a:gs pos="97902">
                  <a:srgbClr val="002B43"/>
                </a:gs>
                <a:gs pos="75000">
                  <a:srgbClr val="002B43"/>
                </a:gs>
              </a:gsLst>
              <a:lin ang="0" scaled="0"/>
            </a:gradFill>
            <a:miter lim="800000"/>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932ED89C-67CB-32AB-B71A-76003B52B69E}"/>
              </a:ext>
            </a:extLst>
          </p:cNvPr>
          <p:cNvGrpSpPr/>
          <p:nvPr userDrawn="1"/>
        </p:nvGrpSpPr>
        <p:grpSpPr>
          <a:xfrm>
            <a:off x="-2980" y="6555932"/>
            <a:ext cx="1621710" cy="223261"/>
            <a:chOff x="-2980" y="6329503"/>
            <a:chExt cx="1621710" cy="223261"/>
          </a:xfrm>
          <a:solidFill>
            <a:schemeClr val="bg1">
              <a:alpha val="10000"/>
            </a:schemeClr>
          </a:solidFill>
        </p:grpSpPr>
        <p:sp>
          <p:nvSpPr>
            <p:cNvPr id="7" name="Freeform: Shape 6">
              <a:extLst>
                <a:ext uri="{FF2B5EF4-FFF2-40B4-BE49-F238E27FC236}">
                  <a16:creationId xmlns:a16="http://schemas.microsoft.com/office/drawing/2014/main" id="{95575F59-37E7-C1DC-ACE6-83E8E549DDF3}"/>
                </a:ext>
              </a:extLst>
            </p:cNvPr>
            <p:cNvSpPr/>
            <p:nvPr/>
          </p:nvSpPr>
          <p:spPr>
            <a:xfrm>
              <a:off x="509822" y="6329504"/>
              <a:ext cx="287290" cy="213899"/>
            </a:xfrm>
            <a:custGeom>
              <a:avLst/>
              <a:gdLst>
                <a:gd name="connsiteX0" fmla="*/ 221014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1014"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D434247A-917E-7520-FC3B-328CFCB2974E}"/>
                </a:ext>
              </a:extLst>
            </p:cNvPr>
            <p:cNvSpPr/>
            <p:nvPr/>
          </p:nvSpPr>
          <p:spPr>
            <a:xfrm>
              <a:off x="373057" y="6329504"/>
              <a:ext cx="287196" cy="213899"/>
            </a:xfrm>
            <a:custGeom>
              <a:avLst/>
              <a:gdLst>
                <a:gd name="connsiteX0" fmla="*/ 220921 w 287196"/>
                <a:gd name="connsiteY0" fmla="*/ 0 h 213899"/>
                <a:gd name="connsiteX1" fmla="*/ 0 w 287196"/>
                <a:gd name="connsiteY1" fmla="*/ 213900 h 213899"/>
                <a:gd name="connsiteX2" fmla="*/ 66276 w 287196"/>
                <a:gd name="connsiteY2" fmla="*/ 213900 h 213899"/>
                <a:gd name="connsiteX3" fmla="*/ 287197 w 287196"/>
                <a:gd name="connsiteY3" fmla="*/ 0 h 213899"/>
              </a:gdLst>
              <a:ahLst/>
              <a:cxnLst>
                <a:cxn ang="0">
                  <a:pos x="connsiteX0" y="connsiteY0"/>
                </a:cxn>
                <a:cxn ang="0">
                  <a:pos x="connsiteX1" y="connsiteY1"/>
                </a:cxn>
                <a:cxn ang="0">
                  <a:pos x="connsiteX2" y="connsiteY2"/>
                </a:cxn>
                <a:cxn ang="0">
                  <a:pos x="connsiteX3" y="connsiteY3"/>
                </a:cxn>
              </a:cxnLst>
              <a:rect l="l" t="t" r="r" b="b"/>
              <a:pathLst>
                <a:path w="287196" h="213899">
                  <a:moveTo>
                    <a:pt x="220921" y="0"/>
                  </a:moveTo>
                  <a:lnTo>
                    <a:pt x="0" y="213900"/>
                  </a:lnTo>
                  <a:lnTo>
                    <a:pt x="66276" y="213900"/>
                  </a:lnTo>
                  <a:lnTo>
                    <a:pt x="287197" y="0"/>
                  </a:lnTo>
                  <a:close/>
                </a:path>
              </a:pathLst>
            </a:custGeom>
            <a:grpFill/>
            <a:ln w="15567"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8CA88749-6754-2330-7862-4DA683D4709F}"/>
                </a:ext>
              </a:extLst>
            </p:cNvPr>
            <p:cNvSpPr/>
            <p:nvPr/>
          </p:nvSpPr>
          <p:spPr>
            <a:xfrm>
              <a:off x="236199" y="6329504"/>
              <a:ext cx="287290" cy="213899"/>
            </a:xfrm>
            <a:custGeom>
              <a:avLst/>
              <a:gdLst>
                <a:gd name="connsiteX0" fmla="*/ 220920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0"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4CB7ECE7-554C-A0E4-50E9-07C2DA2B2672}"/>
                </a:ext>
              </a:extLst>
            </p:cNvPr>
            <p:cNvSpPr/>
            <p:nvPr/>
          </p:nvSpPr>
          <p:spPr>
            <a:xfrm>
              <a:off x="99340" y="6329504"/>
              <a:ext cx="287290" cy="213899"/>
            </a:xfrm>
            <a:custGeom>
              <a:avLst/>
              <a:gdLst>
                <a:gd name="connsiteX0" fmla="*/ 220921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1"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A9B270EE-6AA2-5342-B419-CAC912BA6692}"/>
                </a:ext>
              </a:extLst>
            </p:cNvPr>
            <p:cNvSpPr/>
            <p:nvPr/>
          </p:nvSpPr>
          <p:spPr>
            <a:xfrm>
              <a:off x="-2980" y="6329504"/>
              <a:ext cx="115988" cy="112303"/>
            </a:xfrm>
            <a:custGeom>
              <a:avLst/>
              <a:gdLst>
                <a:gd name="connsiteX0" fmla="*/ 49619 w 115988"/>
                <a:gd name="connsiteY0" fmla="*/ 0 h 112303"/>
                <a:gd name="connsiteX1" fmla="*/ 115988 w 115988"/>
                <a:gd name="connsiteY1" fmla="*/ 0 h 112303"/>
                <a:gd name="connsiteX2" fmla="*/ 0 w 115988"/>
                <a:gd name="connsiteY2" fmla="*/ 112303 h 112303"/>
                <a:gd name="connsiteX3" fmla="*/ 0 w 115988"/>
                <a:gd name="connsiteY3" fmla="*/ 48042 h 112303"/>
                <a:gd name="connsiteX4" fmla="*/ 49619 w 115988"/>
                <a:gd name="connsiteY4" fmla="*/ 0 h 112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88" h="112303">
                  <a:moveTo>
                    <a:pt x="49619" y="0"/>
                  </a:moveTo>
                  <a:lnTo>
                    <a:pt x="115988" y="0"/>
                  </a:lnTo>
                  <a:lnTo>
                    <a:pt x="0" y="112303"/>
                  </a:lnTo>
                  <a:lnTo>
                    <a:pt x="0" y="48042"/>
                  </a:lnTo>
                  <a:lnTo>
                    <a:pt x="49619" y="0"/>
                  </a:lnTo>
                  <a:close/>
                </a:path>
              </a:pathLst>
            </a:custGeom>
            <a:grpFill/>
            <a:ln w="15567"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CB65342A-8885-2215-A539-8525B6936C67}"/>
                </a:ext>
              </a:extLst>
            </p:cNvPr>
            <p:cNvSpPr/>
            <p:nvPr/>
          </p:nvSpPr>
          <p:spPr>
            <a:xfrm>
              <a:off x="-2980" y="6329503"/>
              <a:ext cx="252754" cy="213900"/>
            </a:xfrm>
            <a:custGeom>
              <a:avLst/>
              <a:gdLst>
                <a:gd name="connsiteX0" fmla="*/ 186477 w 252754"/>
                <a:gd name="connsiteY0" fmla="*/ 0 h 213900"/>
                <a:gd name="connsiteX1" fmla="*/ 252754 w 252754"/>
                <a:gd name="connsiteY1" fmla="*/ 0 h 213900"/>
                <a:gd name="connsiteX2" fmla="*/ 31833 w 252754"/>
                <a:gd name="connsiteY2" fmla="*/ 213900 h 213900"/>
                <a:gd name="connsiteX3" fmla="*/ 0 w 252754"/>
                <a:gd name="connsiteY3" fmla="*/ 213900 h 213900"/>
                <a:gd name="connsiteX4" fmla="*/ 0 w 252754"/>
                <a:gd name="connsiteY4" fmla="*/ 180552 h 213900"/>
                <a:gd name="connsiteX5" fmla="*/ 186477 w 252754"/>
                <a:gd name="connsiteY5" fmla="*/ 0 h 21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754" h="213900">
                  <a:moveTo>
                    <a:pt x="186477" y="0"/>
                  </a:moveTo>
                  <a:lnTo>
                    <a:pt x="252754" y="0"/>
                  </a:lnTo>
                  <a:lnTo>
                    <a:pt x="31833" y="213900"/>
                  </a:lnTo>
                  <a:lnTo>
                    <a:pt x="0" y="213900"/>
                  </a:lnTo>
                  <a:lnTo>
                    <a:pt x="0" y="180552"/>
                  </a:lnTo>
                  <a:lnTo>
                    <a:pt x="186477" y="0"/>
                  </a:lnTo>
                  <a:close/>
                </a:path>
              </a:pathLst>
            </a:custGeom>
            <a:grpFill/>
            <a:ln w="15567"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F871B3EC-3B44-E64D-5AD1-94AFA35A0B92}"/>
                </a:ext>
              </a:extLst>
            </p:cNvPr>
            <p:cNvSpPr/>
            <p:nvPr/>
          </p:nvSpPr>
          <p:spPr>
            <a:xfrm>
              <a:off x="1335746" y="6329504"/>
              <a:ext cx="273622" cy="213899"/>
            </a:xfrm>
            <a:custGeom>
              <a:avLst/>
              <a:gdLst>
                <a:gd name="connsiteX0" fmla="*/ 273623 w 273622"/>
                <a:gd name="connsiteY0" fmla="*/ 0 h 213899"/>
                <a:gd name="connsiteX1" fmla="*/ 220920 w 273622"/>
                <a:gd name="connsiteY1" fmla="*/ 0 h 213899"/>
                <a:gd name="connsiteX2" fmla="*/ 0 w 273622"/>
                <a:gd name="connsiteY2" fmla="*/ 213900 h 213899"/>
                <a:gd name="connsiteX3" fmla="*/ 66276 w 273622"/>
                <a:gd name="connsiteY3" fmla="*/ 213900 h 213899"/>
                <a:gd name="connsiteX4" fmla="*/ 273623 w 273622"/>
                <a:gd name="connsiteY4" fmla="*/ 13199 h 21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2" h="213899">
                  <a:moveTo>
                    <a:pt x="273623" y="0"/>
                  </a:moveTo>
                  <a:lnTo>
                    <a:pt x="220920" y="0"/>
                  </a:lnTo>
                  <a:lnTo>
                    <a:pt x="0" y="213900"/>
                  </a:lnTo>
                  <a:lnTo>
                    <a:pt x="66276" y="213900"/>
                  </a:lnTo>
                  <a:lnTo>
                    <a:pt x="273623" y="13199"/>
                  </a:lnTo>
                  <a:close/>
                </a:path>
              </a:pathLst>
            </a:custGeom>
            <a:grpFill/>
            <a:ln w="15567"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630AA978-489B-B0FB-B24E-77089FBF1652}"/>
                </a:ext>
              </a:extLst>
            </p:cNvPr>
            <p:cNvSpPr/>
            <p:nvPr/>
          </p:nvSpPr>
          <p:spPr>
            <a:xfrm>
              <a:off x="646680" y="6329504"/>
              <a:ext cx="287290" cy="213899"/>
            </a:xfrm>
            <a:custGeom>
              <a:avLst/>
              <a:gdLst>
                <a:gd name="connsiteX0" fmla="*/ 220921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1"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1047670F-C548-F9FF-93B5-5C6B723234F7}"/>
                </a:ext>
              </a:extLst>
            </p:cNvPr>
            <p:cNvSpPr/>
            <p:nvPr/>
          </p:nvSpPr>
          <p:spPr>
            <a:xfrm>
              <a:off x="1198888" y="6329504"/>
              <a:ext cx="287289" cy="213899"/>
            </a:xfrm>
            <a:custGeom>
              <a:avLst/>
              <a:gdLst>
                <a:gd name="connsiteX0" fmla="*/ 220920 w 287289"/>
                <a:gd name="connsiteY0" fmla="*/ 0 h 213899"/>
                <a:gd name="connsiteX1" fmla="*/ 0 w 287289"/>
                <a:gd name="connsiteY1" fmla="*/ 213900 h 213899"/>
                <a:gd name="connsiteX2" fmla="*/ 66370 w 287289"/>
                <a:gd name="connsiteY2" fmla="*/ 213900 h 213899"/>
                <a:gd name="connsiteX3" fmla="*/ 287290 w 287289"/>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89" h="213899">
                  <a:moveTo>
                    <a:pt x="220920"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3C58185C-63EC-A487-29B8-E9D1C0AC4C71}"/>
                </a:ext>
              </a:extLst>
            </p:cNvPr>
            <p:cNvSpPr/>
            <p:nvPr/>
          </p:nvSpPr>
          <p:spPr>
            <a:xfrm>
              <a:off x="1609369" y="6543403"/>
              <a:ext cx="9361" cy="9361"/>
            </a:xfrm>
            <a:custGeom>
              <a:avLst/>
              <a:gdLst>
                <a:gd name="connsiteX0" fmla="*/ 0 w 9361"/>
                <a:gd name="connsiteY0" fmla="*/ 0 h 9361"/>
                <a:gd name="connsiteX1" fmla="*/ 0 w 9361"/>
                <a:gd name="connsiteY1" fmla="*/ 0 h 9361"/>
                <a:gd name="connsiteX2" fmla="*/ 0 w 9361"/>
                <a:gd name="connsiteY2" fmla="*/ 0 h 9361"/>
              </a:gdLst>
              <a:ahLst/>
              <a:cxnLst>
                <a:cxn ang="0">
                  <a:pos x="connsiteX0" y="connsiteY0"/>
                </a:cxn>
                <a:cxn ang="0">
                  <a:pos x="connsiteX1" y="connsiteY1"/>
                </a:cxn>
                <a:cxn ang="0">
                  <a:pos x="connsiteX2" y="connsiteY2"/>
                </a:cxn>
              </a:cxnLst>
              <a:rect l="l" t="t" r="r" b="b"/>
              <a:pathLst>
                <a:path w="9361" h="9361">
                  <a:moveTo>
                    <a:pt x="0" y="0"/>
                  </a:moveTo>
                  <a:lnTo>
                    <a:pt x="0" y="0"/>
                  </a:lnTo>
                  <a:lnTo>
                    <a:pt x="0" y="0"/>
                  </a:lnTo>
                  <a:close/>
                </a:path>
              </a:pathLst>
            </a:custGeom>
            <a:grpFill/>
            <a:ln w="15567"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77A299A3-A41A-8C43-5A26-FE5D26465502}"/>
                </a:ext>
              </a:extLst>
            </p:cNvPr>
            <p:cNvSpPr/>
            <p:nvPr/>
          </p:nvSpPr>
          <p:spPr>
            <a:xfrm>
              <a:off x="1472511" y="6410945"/>
              <a:ext cx="136858" cy="132458"/>
            </a:xfrm>
            <a:custGeom>
              <a:avLst/>
              <a:gdLst>
                <a:gd name="connsiteX0" fmla="*/ 136858 w 136858"/>
                <a:gd name="connsiteY0" fmla="*/ 0 h 132458"/>
                <a:gd name="connsiteX1" fmla="*/ 0 w 136858"/>
                <a:gd name="connsiteY1" fmla="*/ 132459 h 132458"/>
                <a:gd name="connsiteX2" fmla="*/ 66370 w 136858"/>
                <a:gd name="connsiteY2" fmla="*/ 132459 h 132458"/>
                <a:gd name="connsiteX3" fmla="*/ 136858 w 136858"/>
                <a:gd name="connsiteY3" fmla="*/ 64217 h 132458"/>
              </a:gdLst>
              <a:ahLst/>
              <a:cxnLst>
                <a:cxn ang="0">
                  <a:pos x="connsiteX0" y="connsiteY0"/>
                </a:cxn>
                <a:cxn ang="0">
                  <a:pos x="connsiteX1" y="connsiteY1"/>
                </a:cxn>
                <a:cxn ang="0">
                  <a:pos x="connsiteX2" y="connsiteY2"/>
                </a:cxn>
                <a:cxn ang="0">
                  <a:pos x="connsiteX3" y="connsiteY3"/>
                </a:cxn>
              </a:cxnLst>
              <a:rect l="l" t="t" r="r" b="b"/>
              <a:pathLst>
                <a:path w="136858" h="132458">
                  <a:moveTo>
                    <a:pt x="136858" y="0"/>
                  </a:moveTo>
                  <a:lnTo>
                    <a:pt x="0" y="132459"/>
                  </a:lnTo>
                  <a:lnTo>
                    <a:pt x="66370" y="132459"/>
                  </a:lnTo>
                  <a:lnTo>
                    <a:pt x="136858" y="64217"/>
                  </a:lnTo>
                  <a:close/>
                </a:path>
              </a:pathLst>
            </a:custGeom>
            <a:grpFill/>
            <a:ln w="15567"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96317720-86F0-45E0-12C2-F517A08B4A70}"/>
                </a:ext>
              </a:extLst>
            </p:cNvPr>
            <p:cNvSpPr/>
            <p:nvPr/>
          </p:nvSpPr>
          <p:spPr>
            <a:xfrm>
              <a:off x="783539" y="6329504"/>
              <a:ext cx="292157" cy="213899"/>
            </a:xfrm>
            <a:custGeom>
              <a:avLst/>
              <a:gdLst>
                <a:gd name="connsiteX0" fmla="*/ 220920 w 292157"/>
                <a:gd name="connsiteY0" fmla="*/ 0 h 213899"/>
                <a:gd name="connsiteX1" fmla="*/ 0 w 292157"/>
                <a:gd name="connsiteY1" fmla="*/ 213900 h 213899"/>
                <a:gd name="connsiteX2" fmla="*/ 71237 w 292157"/>
                <a:gd name="connsiteY2" fmla="*/ 213900 h 213899"/>
                <a:gd name="connsiteX3" fmla="*/ 292158 w 292157"/>
                <a:gd name="connsiteY3" fmla="*/ 0 h 213899"/>
              </a:gdLst>
              <a:ahLst/>
              <a:cxnLst>
                <a:cxn ang="0">
                  <a:pos x="connsiteX0" y="connsiteY0"/>
                </a:cxn>
                <a:cxn ang="0">
                  <a:pos x="connsiteX1" y="connsiteY1"/>
                </a:cxn>
                <a:cxn ang="0">
                  <a:pos x="connsiteX2" y="connsiteY2"/>
                </a:cxn>
                <a:cxn ang="0">
                  <a:pos x="connsiteX3" y="connsiteY3"/>
                </a:cxn>
              </a:cxnLst>
              <a:rect l="l" t="t" r="r" b="b"/>
              <a:pathLst>
                <a:path w="292157" h="213899">
                  <a:moveTo>
                    <a:pt x="220920" y="0"/>
                  </a:moveTo>
                  <a:lnTo>
                    <a:pt x="0" y="213900"/>
                  </a:lnTo>
                  <a:lnTo>
                    <a:pt x="71237" y="213900"/>
                  </a:lnTo>
                  <a:lnTo>
                    <a:pt x="292158" y="0"/>
                  </a:lnTo>
                  <a:close/>
                </a:path>
              </a:pathLst>
            </a:custGeom>
            <a:grpFill/>
            <a:ln w="15567"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25B30854-82D2-B4D9-F806-ECF19B6A84CB}"/>
                </a:ext>
              </a:extLst>
            </p:cNvPr>
            <p:cNvSpPr/>
            <p:nvPr/>
          </p:nvSpPr>
          <p:spPr>
            <a:xfrm>
              <a:off x="1062029" y="6329504"/>
              <a:ext cx="287290" cy="213899"/>
            </a:xfrm>
            <a:custGeom>
              <a:avLst/>
              <a:gdLst>
                <a:gd name="connsiteX0" fmla="*/ 221014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1014"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35697B6B-DC9B-8E7B-C846-CEB5F3C1C6FB}"/>
                </a:ext>
              </a:extLst>
            </p:cNvPr>
            <p:cNvSpPr/>
            <p:nvPr/>
          </p:nvSpPr>
          <p:spPr>
            <a:xfrm>
              <a:off x="925265" y="6329504"/>
              <a:ext cx="287196" cy="213899"/>
            </a:xfrm>
            <a:custGeom>
              <a:avLst/>
              <a:gdLst>
                <a:gd name="connsiteX0" fmla="*/ 220921 w 287196"/>
                <a:gd name="connsiteY0" fmla="*/ 0 h 213899"/>
                <a:gd name="connsiteX1" fmla="*/ 0 w 287196"/>
                <a:gd name="connsiteY1" fmla="*/ 213900 h 213899"/>
                <a:gd name="connsiteX2" fmla="*/ 66276 w 287196"/>
                <a:gd name="connsiteY2" fmla="*/ 213900 h 213899"/>
                <a:gd name="connsiteX3" fmla="*/ 287197 w 287196"/>
                <a:gd name="connsiteY3" fmla="*/ 0 h 213899"/>
              </a:gdLst>
              <a:ahLst/>
              <a:cxnLst>
                <a:cxn ang="0">
                  <a:pos x="connsiteX0" y="connsiteY0"/>
                </a:cxn>
                <a:cxn ang="0">
                  <a:pos x="connsiteX1" y="connsiteY1"/>
                </a:cxn>
                <a:cxn ang="0">
                  <a:pos x="connsiteX2" y="connsiteY2"/>
                </a:cxn>
                <a:cxn ang="0">
                  <a:pos x="connsiteX3" y="connsiteY3"/>
                </a:cxn>
              </a:cxnLst>
              <a:rect l="l" t="t" r="r" b="b"/>
              <a:pathLst>
                <a:path w="287196" h="213899">
                  <a:moveTo>
                    <a:pt x="220921" y="0"/>
                  </a:moveTo>
                  <a:lnTo>
                    <a:pt x="0" y="213900"/>
                  </a:lnTo>
                  <a:lnTo>
                    <a:pt x="66276" y="213900"/>
                  </a:lnTo>
                  <a:lnTo>
                    <a:pt x="287197" y="0"/>
                  </a:lnTo>
                  <a:close/>
                </a:path>
              </a:pathLst>
            </a:custGeom>
            <a:grpFill/>
            <a:ln w="15567" cap="flat">
              <a:noFill/>
              <a:prstDash val="solid"/>
              <a:miter/>
            </a:ln>
          </p:spPr>
          <p:txBody>
            <a:bodyPr rtlCol="0" anchor="ctr"/>
            <a:lstStyle/>
            <a:p>
              <a:endParaRPr lang="en-US" dirty="0"/>
            </a:p>
          </p:txBody>
        </p:sp>
      </p:grpSp>
      <p:sp>
        <p:nvSpPr>
          <p:cNvPr id="49" name="Text Placeholder 33">
            <a:extLst>
              <a:ext uri="{FF2B5EF4-FFF2-40B4-BE49-F238E27FC236}">
                <a16:creationId xmlns:a16="http://schemas.microsoft.com/office/drawing/2014/main" id="{E3522E4E-99EF-4494-6598-0BEBF803E474}"/>
              </a:ext>
            </a:extLst>
          </p:cNvPr>
          <p:cNvSpPr>
            <a:spLocks noGrp="1"/>
          </p:cNvSpPr>
          <p:nvPr>
            <p:ph type="body" sz="quarter" idx="18" hasCustomPrompt="1"/>
          </p:nvPr>
        </p:nvSpPr>
        <p:spPr>
          <a:xfrm>
            <a:off x="-9345" y="5287124"/>
            <a:ext cx="3560922" cy="1107295"/>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 name="connsiteX0" fmla="*/ 0 w 3653537"/>
              <a:gd name="connsiteY0" fmla="*/ 1249154 h 1249946"/>
              <a:gd name="connsiteX1" fmla="*/ 3934 w 3653537"/>
              <a:gd name="connsiteY1" fmla="*/ 1677 h 1249946"/>
              <a:gd name="connsiteX2" fmla="*/ 2601911 w 3653537"/>
              <a:gd name="connsiteY2" fmla="*/ 0 h 1249946"/>
              <a:gd name="connsiteX3" fmla="*/ 3150718 w 3653537"/>
              <a:gd name="connsiteY3" fmla="*/ 266682 h 1249946"/>
              <a:gd name="connsiteX4" fmla="*/ 3653537 w 3653537"/>
              <a:gd name="connsiteY4" fmla="*/ 269460 h 1249946"/>
              <a:gd name="connsiteX5" fmla="*/ 3066332 w 3653537"/>
              <a:gd name="connsiteY5" fmla="*/ 1249946 h 1249946"/>
              <a:gd name="connsiteX6" fmla="*/ 0 w 3653537"/>
              <a:gd name="connsiteY6" fmla="*/ 1249154 h 1249946"/>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178092 w 3653537"/>
              <a:gd name="connsiteY5" fmla="*/ 1244866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259372 w 3653537"/>
              <a:gd name="connsiteY5" fmla="*/ 1239786 h 1249154"/>
              <a:gd name="connsiteX6" fmla="*/ 0 w 3653537"/>
              <a:gd name="connsiteY6" fmla="*/ 1249154 h 1249154"/>
              <a:gd name="connsiteX0" fmla="*/ 0 w 3653537"/>
              <a:gd name="connsiteY0" fmla="*/ 1249154 h 1249311"/>
              <a:gd name="connsiteX1" fmla="*/ 3934 w 3653537"/>
              <a:gd name="connsiteY1" fmla="*/ 1677 h 1249311"/>
              <a:gd name="connsiteX2" fmla="*/ 2601911 w 3653537"/>
              <a:gd name="connsiteY2" fmla="*/ 0 h 1249311"/>
              <a:gd name="connsiteX3" fmla="*/ 3150718 w 3653537"/>
              <a:gd name="connsiteY3" fmla="*/ 266682 h 1249311"/>
              <a:gd name="connsiteX4" fmla="*/ 3653537 w 3653537"/>
              <a:gd name="connsiteY4" fmla="*/ 269460 h 1249311"/>
              <a:gd name="connsiteX5" fmla="*/ 3549884 w 3653537"/>
              <a:gd name="connsiteY5" fmla="*/ 1249311 h 1249311"/>
              <a:gd name="connsiteX6" fmla="*/ 0 w 3653537"/>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64698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8985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88818 w 3553525"/>
              <a:gd name="connsiteY3" fmla="*/ 271444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009594 w 3559258"/>
              <a:gd name="connsiteY3" fmla="*/ 123057 h 1249311"/>
              <a:gd name="connsiteX4" fmla="*/ 3194551 w 3559258"/>
              <a:gd name="connsiteY4" fmla="*/ 271444 h 1249311"/>
              <a:gd name="connsiteX5" fmla="*/ 3559258 w 3559258"/>
              <a:gd name="connsiteY5" fmla="*/ 274223 h 1249311"/>
              <a:gd name="connsiteX6" fmla="*/ 3555617 w 3559258"/>
              <a:gd name="connsiteY6" fmla="*/ 1249311 h 1249311"/>
              <a:gd name="connsiteX7" fmla="*/ 5733 w 3559258"/>
              <a:gd name="connsiteY7" fmla="*/ 1249154 h 1249311"/>
              <a:gd name="connsiteX0" fmla="*/ 5733 w 3559258"/>
              <a:gd name="connsiteY0" fmla="*/ 1247477 h 1247634"/>
              <a:gd name="connsiteX1" fmla="*/ 142 w 3559258"/>
              <a:gd name="connsiteY1" fmla="*/ 0 h 1247634"/>
              <a:gd name="connsiteX2" fmla="*/ 3009594 w 3559258"/>
              <a:gd name="connsiteY2" fmla="*/ 121380 h 1247634"/>
              <a:gd name="connsiteX3" fmla="*/ 3194551 w 3559258"/>
              <a:gd name="connsiteY3" fmla="*/ 269767 h 1247634"/>
              <a:gd name="connsiteX4" fmla="*/ 3559258 w 3559258"/>
              <a:gd name="connsiteY4" fmla="*/ 272546 h 1247634"/>
              <a:gd name="connsiteX5" fmla="*/ 3555617 w 3559258"/>
              <a:gd name="connsiteY5" fmla="*/ 1247634 h 1247634"/>
              <a:gd name="connsiteX6" fmla="*/ 5733 w 3559258"/>
              <a:gd name="connsiteY6" fmla="*/ 1247477 h 1247634"/>
              <a:gd name="connsiteX0" fmla="*/ 265934 w 3819459"/>
              <a:gd name="connsiteY0" fmla="*/ 1255838 h 1255995"/>
              <a:gd name="connsiteX1" fmla="*/ 256431 w 3819459"/>
              <a:gd name="connsiteY1" fmla="*/ 150521 h 1255995"/>
              <a:gd name="connsiteX2" fmla="*/ 260343 w 3819459"/>
              <a:gd name="connsiteY2" fmla="*/ 8361 h 1255995"/>
              <a:gd name="connsiteX3" fmla="*/ 3269795 w 3819459"/>
              <a:gd name="connsiteY3" fmla="*/ 129741 h 1255995"/>
              <a:gd name="connsiteX4" fmla="*/ 3454752 w 3819459"/>
              <a:gd name="connsiteY4" fmla="*/ 278128 h 1255995"/>
              <a:gd name="connsiteX5" fmla="*/ 3819459 w 3819459"/>
              <a:gd name="connsiteY5" fmla="*/ 280907 h 1255995"/>
              <a:gd name="connsiteX6" fmla="*/ 3815818 w 3819459"/>
              <a:gd name="connsiteY6" fmla="*/ 1255995 h 1255995"/>
              <a:gd name="connsiteX7" fmla="*/ 265934 w 3819459"/>
              <a:gd name="connsiteY7" fmla="*/ 1255838 h 1255995"/>
              <a:gd name="connsiteX0" fmla="*/ 415417 w 3968942"/>
              <a:gd name="connsiteY0" fmla="*/ 1199998 h 1200155"/>
              <a:gd name="connsiteX1" fmla="*/ 405914 w 3968942"/>
              <a:gd name="connsiteY1" fmla="*/ 94681 h 1200155"/>
              <a:gd name="connsiteX2" fmla="*/ 3419278 w 3968942"/>
              <a:gd name="connsiteY2" fmla="*/ 73901 h 1200155"/>
              <a:gd name="connsiteX3" fmla="*/ 3604235 w 3968942"/>
              <a:gd name="connsiteY3" fmla="*/ 222288 h 1200155"/>
              <a:gd name="connsiteX4" fmla="*/ 3968942 w 3968942"/>
              <a:gd name="connsiteY4" fmla="*/ 225067 h 1200155"/>
              <a:gd name="connsiteX5" fmla="*/ 3965301 w 3968942"/>
              <a:gd name="connsiteY5" fmla="*/ 1200155 h 1200155"/>
              <a:gd name="connsiteX6" fmla="*/ 415417 w 3968942"/>
              <a:gd name="connsiteY6" fmla="*/ 1199998 h 1200155"/>
              <a:gd name="connsiteX0" fmla="*/ 232068 w 3785593"/>
              <a:gd name="connsiteY0" fmla="*/ 1199998 h 1200155"/>
              <a:gd name="connsiteX1" fmla="*/ 222565 w 3785593"/>
              <a:gd name="connsiteY1" fmla="*/ 94681 h 1200155"/>
              <a:gd name="connsiteX2" fmla="*/ 3235929 w 3785593"/>
              <a:gd name="connsiteY2" fmla="*/ 73901 h 1200155"/>
              <a:gd name="connsiteX3" fmla="*/ 3420886 w 3785593"/>
              <a:gd name="connsiteY3" fmla="*/ 222288 h 1200155"/>
              <a:gd name="connsiteX4" fmla="*/ 3785593 w 3785593"/>
              <a:gd name="connsiteY4" fmla="*/ 225067 h 1200155"/>
              <a:gd name="connsiteX5" fmla="*/ 3781952 w 3785593"/>
              <a:gd name="connsiteY5" fmla="*/ 1200155 h 1200155"/>
              <a:gd name="connsiteX6" fmla="*/ 232068 w 3785593"/>
              <a:gd name="connsiteY6" fmla="*/ 1199998 h 1200155"/>
              <a:gd name="connsiteX0" fmla="*/ 16560 w 3570085"/>
              <a:gd name="connsiteY0" fmla="*/ 1199998 h 1200155"/>
              <a:gd name="connsiteX1" fmla="*/ 7057 w 3570085"/>
              <a:gd name="connsiteY1" fmla="*/ 94681 h 1200155"/>
              <a:gd name="connsiteX2" fmla="*/ 3020421 w 3570085"/>
              <a:gd name="connsiteY2" fmla="*/ 73901 h 1200155"/>
              <a:gd name="connsiteX3" fmla="*/ 3205378 w 3570085"/>
              <a:gd name="connsiteY3" fmla="*/ 222288 h 1200155"/>
              <a:gd name="connsiteX4" fmla="*/ 3570085 w 3570085"/>
              <a:gd name="connsiteY4" fmla="*/ 225067 h 1200155"/>
              <a:gd name="connsiteX5" fmla="*/ 3566444 w 3570085"/>
              <a:gd name="connsiteY5" fmla="*/ 1200155 h 1200155"/>
              <a:gd name="connsiteX6" fmla="*/ 16560 w 3570085"/>
              <a:gd name="connsiteY6" fmla="*/ 1199998 h 1200155"/>
              <a:gd name="connsiteX0" fmla="*/ 16560 w 3570085"/>
              <a:gd name="connsiteY0" fmla="*/ 1133874 h 1134031"/>
              <a:gd name="connsiteX1" fmla="*/ 7057 w 3570085"/>
              <a:gd name="connsiteY1" fmla="*/ 28557 h 1134031"/>
              <a:gd name="connsiteX2" fmla="*/ 3020421 w 3570085"/>
              <a:gd name="connsiteY2" fmla="*/ 7777 h 1134031"/>
              <a:gd name="connsiteX3" fmla="*/ 3205378 w 3570085"/>
              <a:gd name="connsiteY3" fmla="*/ 156164 h 1134031"/>
              <a:gd name="connsiteX4" fmla="*/ 3570085 w 3570085"/>
              <a:gd name="connsiteY4" fmla="*/ 158943 h 1134031"/>
              <a:gd name="connsiteX5" fmla="*/ 3566444 w 3570085"/>
              <a:gd name="connsiteY5" fmla="*/ 1134031 h 1134031"/>
              <a:gd name="connsiteX6" fmla="*/ 16560 w 3570085"/>
              <a:gd name="connsiteY6" fmla="*/ 1133874 h 1134031"/>
              <a:gd name="connsiteX0" fmla="*/ 16560 w 3570085"/>
              <a:gd name="connsiteY0" fmla="*/ 1109331 h 1109488"/>
              <a:gd name="connsiteX1" fmla="*/ 7057 w 3570085"/>
              <a:gd name="connsiteY1" fmla="*/ 4014 h 1109488"/>
              <a:gd name="connsiteX2" fmla="*/ 3048130 w 3570085"/>
              <a:gd name="connsiteY2" fmla="*/ 38652 h 1109488"/>
              <a:gd name="connsiteX3" fmla="*/ 3205378 w 3570085"/>
              <a:gd name="connsiteY3" fmla="*/ 131621 h 1109488"/>
              <a:gd name="connsiteX4" fmla="*/ 3570085 w 3570085"/>
              <a:gd name="connsiteY4" fmla="*/ 134400 h 1109488"/>
              <a:gd name="connsiteX5" fmla="*/ 3566444 w 3570085"/>
              <a:gd name="connsiteY5" fmla="*/ 1109488 h 1109488"/>
              <a:gd name="connsiteX6" fmla="*/ 16560 w 3570085"/>
              <a:gd name="connsiteY6" fmla="*/ 1109331 h 1109488"/>
              <a:gd name="connsiteX0" fmla="*/ 16560 w 3570085"/>
              <a:gd name="connsiteY0" fmla="*/ 1107515 h 1107672"/>
              <a:gd name="connsiteX1" fmla="*/ 7057 w 3570085"/>
              <a:gd name="connsiteY1" fmla="*/ 2198 h 1107672"/>
              <a:gd name="connsiteX2" fmla="*/ 3048130 w 3570085"/>
              <a:gd name="connsiteY2" fmla="*/ 36836 h 1107672"/>
              <a:gd name="connsiteX3" fmla="*/ 3205378 w 3570085"/>
              <a:gd name="connsiteY3" fmla="*/ 129805 h 1107672"/>
              <a:gd name="connsiteX4" fmla="*/ 3570085 w 3570085"/>
              <a:gd name="connsiteY4" fmla="*/ 132584 h 1107672"/>
              <a:gd name="connsiteX5" fmla="*/ 3566444 w 3570085"/>
              <a:gd name="connsiteY5" fmla="*/ 1107672 h 1107672"/>
              <a:gd name="connsiteX6" fmla="*/ 16560 w 3570085"/>
              <a:gd name="connsiteY6" fmla="*/ 1107515 h 1107672"/>
              <a:gd name="connsiteX0" fmla="*/ 16560 w 3570085"/>
              <a:gd name="connsiteY0" fmla="*/ 1112243 h 1112400"/>
              <a:gd name="connsiteX1" fmla="*/ 7057 w 3570085"/>
              <a:gd name="connsiteY1" fmla="*/ 6926 h 1112400"/>
              <a:gd name="connsiteX2" fmla="*/ 2992712 w 3570085"/>
              <a:gd name="connsiteY2" fmla="*/ 0 h 1112400"/>
              <a:gd name="connsiteX3" fmla="*/ 3205378 w 3570085"/>
              <a:gd name="connsiteY3" fmla="*/ 134533 h 1112400"/>
              <a:gd name="connsiteX4" fmla="*/ 3570085 w 3570085"/>
              <a:gd name="connsiteY4" fmla="*/ 137312 h 1112400"/>
              <a:gd name="connsiteX5" fmla="*/ 3566444 w 3570085"/>
              <a:gd name="connsiteY5" fmla="*/ 1112400 h 1112400"/>
              <a:gd name="connsiteX6" fmla="*/ 16560 w 3570085"/>
              <a:gd name="connsiteY6" fmla="*/ 1112243 h 1112400"/>
              <a:gd name="connsiteX0" fmla="*/ 22098 w 3575623"/>
              <a:gd name="connsiteY0" fmla="*/ 1112243 h 1112400"/>
              <a:gd name="connsiteX1" fmla="*/ 5668 w 3575623"/>
              <a:gd name="connsiteY1" fmla="*/ 34635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2098 w 3575623"/>
              <a:gd name="connsiteY0" fmla="*/ 1112243 h 1112400"/>
              <a:gd name="connsiteX1" fmla="*/ 5668 w 3575623"/>
              <a:gd name="connsiteY1" fmla="*/ 13854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0024 w 3573549"/>
              <a:gd name="connsiteY0" fmla="*/ 1112243 h 1112400"/>
              <a:gd name="connsiteX1" fmla="*/ 3594 w 3573549"/>
              <a:gd name="connsiteY1" fmla="*/ 13854 h 1112400"/>
              <a:gd name="connsiteX2" fmla="*/ 2996176 w 3573549"/>
              <a:gd name="connsiteY2" fmla="*/ 0 h 1112400"/>
              <a:gd name="connsiteX3" fmla="*/ 3208842 w 3573549"/>
              <a:gd name="connsiteY3" fmla="*/ 134533 h 1112400"/>
              <a:gd name="connsiteX4" fmla="*/ 3573549 w 3573549"/>
              <a:gd name="connsiteY4" fmla="*/ 137312 h 1112400"/>
              <a:gd name="connsiteX5" fmla="*/ 3569908 w 3573549"/>
              <a:gd name="connsiteY5" fmla="*/ 1112400 h 1112400"/>
              <a:gd name="connsiteX6" fmla="*/ 20024 w 3573549"/>
              <a:gd name="connsiteY6" fmla="*/ 1112243 h 1112400"/>
              <a:gd name="connsiteX0" fmla="*/ 16430 w 3569955"/>
              <a:gd name="connsiteY0" fmla="*/ 1112243 h 1112400"/>
              <a:gd name="connsiteX1" fmla="*/ 0 w 3569955"/>
              <a:gd name="connsiteY1" fmla="*/ 13854 h 1112400"/>
              <a:gd name="connsiteX2" fmla="*/ 2992582 w 3569955"/>
              <a:gd name="connsiteY2" fmla="*/ 0 h 1112400"/>
              <a:gd name="connsiteX3" fmla="*/ 3205248 w 3569955"/>
              <a:gd name="connsiteY3" fmla="*/ 134533 h 1112400"/>
              <a:gd name="connsiteX4" fmla="*/ 3569955 w 3569955"/>
              <a:gd name="connsiteY4" fmla="*/ 137312 h 1112400"/>
              <a:gd name="connsiteX5" fmla="*/ 3566314 w 3569955"/>
              <a:gd name="connsiteY5" fmla="*/ 1112400 h 1112400"/>
              <a:gd name="connsiteX6" fmla="*/ 16430 w 3569955"/>
              <a:gd name="connsiteY6" fmla="*/ 1112243 h 1112400"/>
              <a:gd name="connsiteX0" fmla="*/ 2575 w 3556100"/>
              <a:gd name="connsiteY0" fmla="*/ 1116552 h 1116709"/>
              <a:gd name="connsiteX1" fmla="*/ 0 w 3556100"/>
              <a:gd name="connsiteY1" fmla="*/ 4308 h 1116709"/>
              <a:gd name="connsiteX2" fmla="*/ 2978727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6552 h 1116709"/>
              <a:gd name="connsiteX1" fmla="*/ 0 w 3556100"/>
              <a:gd name="connsiteY1" fmla="*/ 4308 h 1116709"/>
              <a:gd name="connsiteX2" fmla="*/ 2971799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5351 h 1115508"/>
              <a:gd name="connsiteX1" fmla="*/ 0 w 3556100"/>
              <a:gd name="connsiteY1" fmla="*/ 3107 h 1115508"/>
              <a:gd name="connsiteX2" fmla="*/ 2964872 w 3556100"/>
              <a:gd name="connsiteY2" fmla="*/ 16963 h 1115508"/>
              <a:gd name="connsiteX3" fmla="*/ 3191393 w 3556100"/>
              <a:gd name="connsiteY3" fmla="*/ 137641 h 1115508"/>
              <a:gd name="connsiteX4" fmla="*/ 3556100 w 3556100"/>
              <a:gd name="connsiteY4" fmla="*/ 140420 h 1115508"/>
              <a:gd name="connsiteX5" fmla="*/ 3552459 w 3556100"/>
              <a:gd name="connsiteY5" fmla="*/ 1115508 h 1115508"/>
              <a:gd name="connsiteX6" fmla="*/ 2575 w 3556100"/>
              <a:gd name="connsiteY6" fmla="*/ 1115351 h 1115508"/>
              <a:gd name="connsiteX0" fmla="*/ 2575 w 3556100"/>
              <a:gd name="connsiteY0" fmla="*/ 1119170 h 1119327"/>
              <a:gd name="connsiteX1" fmla="*/ 0 w 3556100"/>
              <a:gd name="connsiteY1" fmla="*/ 6926 h 1119327"/>
              <a:gd name="connsiteX2" fmla="*/ 2971800 w 3556100"/>
              <a:gd name="connsiteY2" fmla="*/ 0 h 1119327"/>
              <a:gd name="connsiteX3" fmla="*/ 3191393 w 3556100"/>
              <a:gd name="connsiteY3" fmla="*/ 141460 h 1119327"/>
              <a:gd name="connsiteX4" fmla="*/ 3556100 w 3556100"/>
              <a:gd name="connsiteY4" fmla="*/ 144239 h 1119327"/>
              <a:gd name="connsiteX5" fmla="*/ 3552459 w 3556100"/>
              <a:gd name="connsiteY5" fmla="*/ 1119327 h 1119327"/>
              <a:gd name="connsiteX6" fmla="*/ 2575 w 3556100"/>
              <a:gd name="connsiteY6" fmla="*/ 1119170 h 1119327"/>
              <a:gd name="connsiteX0" fmla="*/ 5397 w 3558922"/>
              <a:gd name="connsiteY0" fmla="*/ 1127370 h 1127527"/>
              <a:gd name="connsiteX1" fmla="*/ 0 w 3558922"/>
              <a:gd name="connsiteY1" fmla="*/ 3837 h 1127527"/>
              <a:gd name="connsiteX2" fmla="*/ 2974622 w 3558922"/>
              <a:gd name="connsiteY2" fmla="*/ 8200 h 1127527"/>
              <a:gd name="connsiteX3" fmla="*/ 3194215 w 3558922"/>
              <a:gd name="connsiteY3" fmla="*/ 149660 h 1127527"/>
              <a:gd name="connsiteX4" fmla="*/ 3558922 w 3558922"/>
              <a:gd name="connsiteY4" fmla="*/ 152439 h 1127527"/>
              <a:gd name="connsiteX5" fmla="*/ 3555281 w 3558922"/>
              <a:gd name="connsiteY5" fmla="*/ 1127527 h 1127527"/>
              <a:gd name="connsiteX6" fmla="*/ 5397 w 3558922"/>
              <a:gd name="connsiteY6" fmla="*/ 1127370 h 1127527"/>
              <a:gd name="connsiteX0" fmla="*/ 5397 w 3558922"/>
              <a:gd name="connsiteY0" fmla="*/ 1123533 h 1123690"/>
              <a:gd name="connsiteX1" fmla="*/ 0 w 3558922"/>
              <a:gd name="connsiteY1" fmla="*/ 0 h 1123690"/>
              <a:gd name="connsiteX2" fmla="*/ 2974622 w 3558922"/>
              <a:gd name="connsiteY2" fmla="*/ 4363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5397 w 3558922"/>
              <a:gd name="connsiteY0" fmla="*/ 1123533 h 1123690"/>
              <a:gd name="connsiteX1" fmla="*/ 0 w 3558922"/>
              <a:gd name="connsiteY1" fmla="*/ 0 h 1123690"/>
              <a:gd name="connsiteX2" fmla="*/ 2962591 w 3558922"/>
              <a:gd name="connsiteY2" fmla="*/ 16395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10477 w 3564002"/>
              <a:gd name="connsiteY0" fmla="*/ 1108293 h 1108450"/>
              <a:gd name="connsiteX1" fmla="*/ 0 w 3564002"/>
              <a:gd name="connsiteY1" fmla="*/ 0 h 1108450"/>
              <a:gd name="connsiteX2" fmla="*/ 2967671 w 3564002"/>
              <a:gd name="connsiteY2" fmla="*/ 1155 h 1108450"/>
              <a:gd name="connsiteX3" fmla="*/ 3199295 w 3564002"/>
              <a:gd name="connsiteY3" fmla="*/ 130583 h 1108450"/>
              <a:gd name="connsiteX4" fmla="*/ 3564002 w 3564002"/>
              <a:gd name="connsiteY4" fmla="*/ 133362 h 1108450"/>
              <a:gd name="connsiteX5" fmla="*/ 3560361 w 3564002"/>
              <a:gd name="connsiteY5" fmla="*/ 1108450 h 1108450"/>
              <a:gd name="connsiteX6" fmla="*/ 10477 w 3564002"/>
              <a:gd name="connsiteY6" fmla="*/ 1108293 h 1108450"/>
              <a:gd name="connsiteX0" fmla="*/ 5397 w 3558922"/>
              <a:gd name="connsiteY0" fmla="*/ 1107138 h 1107295"/>
              <a:gd name="connsiteX1" fmla="*/ 0 w 3558922"/>
              <a:gd name="connsiteY1" fmla="*/ 3925 h 1107295"/>
              <a:gd name="connsiteX2" fmla="*/ 2962591 w 3558922"/>
              <a:gd name="connsiteY2" fmla="*/ 0 h 1107295"/>
              <a:gd name="connsiteX3" fmla="*/ 3194215 w 3558922"/>
              <a:gd name="connsiteY3" fmla="*/ 129428 h 1107295"/>
              <a:gd name="connsiteX4" fmla="*/ 3558922 w 3558922"/>
              <a:gd name="connsiteY4" fmla="*/ 132207 h 1107295"/>
              <a:gd name="connsiteX5" fmla="*/ 3555281 w 3558922"/>
              <a:gd name="connsiteY5" fmla="*/ 1107295 h 1107295"/>
              <a:gd name="connsiteX6" fmla="*/ 5397 w 3558922"/>
              <a:gd name="connsiteY6" fmla="*/ 1107138 h 1107295"/>
              <a:gd name="connsiteX0" fmla="*/ 7397 w 3560922"/>
              <a:gd name="connsiteY0" fmla="*/ 1107138 h 1107295"/>
              <a:gd name="connsiteX1" fmla="*/ 2000 w 3560922"/>
              <a:gd name="connsiteY1" fmla="*/ 3925 h 1107295"/>
              <a:gd name="connsiteX2" fmla="*/ 2964591 w 3560922"/>
              <a:gd name="connsiteY2" fmla="*/ 0 h 1107295"/>
              <a:gd name="connsiteX3" fmla="*/ 3196215 w 3560922"/>
              <a:gd name="connsiteY3" fmla="*/ 129428 h 1107295"/>
              <a:gd name="connsiteX4" fmla="*/ 3560922 w 3560922"/>
              <a:gd name="connsiteY4" fmla="*/ 132207 h 1107295"/>
              <a:gd name="connsiteX5" fmla="*/ 3557281 w 3560922"/>
              <a:gd name="connsiteY5" fmla="*/ 1107295 h 1107295"/>
              <a:gd name="connsiteX6" fmla="*/ 7397 w 3560922"/>
              <a:gd name="connsiteY6" fmla="*/ 1107138 h 1107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0922" h="1107295">
                <a:moveTo>
                  <a:pt x="7397" y="1107138"/>
                </a:moveTo>
                <a:cubicBezTo>
                  <a:pt x="-8561" y="635179"/>
                  <a:pt x="7048" y="669590"/>
                  <a:pt x="2000" y="3925"/>
                </a:cubicBezTo>
                <a:lnTo>
                  <a:pt x="2964591" y="0"/>
                </a:lnTo>
                <a:lnTo>
                  <a:pt x="3196215" y="129428"/>
                </a:lnTo>
                <a:lnTo>
                  <a:pt x="3560922" y="132207"/>
                </a:lnTo>
                <a:cubicBezTo>
                  <a:pt x="3559708" y="460411"/>
                  <a:pt x="3561670" y="779091"/>
                  <a:pt x="3557281" y="1107295"/>
                </a:cubicBezTo>
                <a:lnTo>
                  <a:pt x="7397" y="1107138"/>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a:t> </a:t>
            </a:r>
          </a:p>
        </p:txBody>
      </p:sp>
      <p:sp>
        <p:nvSpPr>
          <p:cNvPr id="50" name="Text Placeholder 33">
            <a:extLst>
              <a:ext uri="{FF2B5EF4-FFF2-40B4-BE49-F238E27FC236}">
                <a16:creationId xmlns:a16="http://schemas.microsoft.com/office/drawing/2014/main" id="{4E4A2D4C-3FFD-9FCB-0219-13811CD687D8}"/>
              </a:ext>
            </a:extLst>
          </p:cNvPr>
          <p:cNvSpPr>
            <a:spLocks noGrp="1"/>
          </p:cNvSpPr>
          <p:nvPr>
            <p:ph type="body" sz="quarter" idx="22" hasCustomPrompt="1"/>
          </p:nvPr>
        </p:nvSpPr>
        <p:spPr>
          <a:xfrm>
            <a:off x="-3135" y="5417011"/>
            <a:ext cx="5344068" cy="1042416"/>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183655 w 5344068"/>
              <a:gd name="connsiteY2" fmla="*/ 96335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25985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63040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88067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20056"/>
                  <a:pt x="1336" y="988067"/>
                </a:cubicBezTo>
                <a:lnTo>
                  <a:pt x="3552965" y="977327"/>
                </a:lnTo>
                <a:cubicBezTo>
                  <a:pt x="3550551" y="657901"/>
                  <a:pt x="3555066" y="324189"/>
                  <a:pt x="3552652" y="4763"/>
                </a:cubicBez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a:t> </a:t>
            </a:r>
          </a:p>
        </p:txBody>
      </p:sp>
      <p:sp>
        <p:nvSpPr>
          <p:cNvPr id="51" name="Text Placeholder 103">
            <a:extLst>
              <a:ext uri="{FF2B5EF4-FFF2-40B4-BE49-F238E27FC236}">
                <a16:creationId xmlns:a16="http://schemas.microsoft.com/office/drawing/2014/main" id="{CD0E8EFB-08CA-F022-5D28-2AAFD523436C}"/>
              </a:ext>
            </a:extLst>
          </p:cNvPr>
          <p:cNvSpPr>
            <a:spLocks noGrp="1"/>
          </p:cNvSpPr>
          <p:nvPr>
            <p:ph type="body" sz="quarter" idx="26" hasCustomPrompt="1"/>
          </p:nvPr>
        </p:nvSpPr>
        <p:spPr>
          <a:xfrm>
            <a:off x="150008" y="5489041"/>
            <a:ext cx="3271178" cy="822960"/>
          </a:xfrm>
        </p:spPr>
        <p:txBody>
          <a:bodyPr anchor="ctr" anchorCtr="0"/>
          <a:lstStyle>
            <a:lvl1pPr marL="0" indent="0" algn="l">
              <a:spcBef>
                <a:spcPts val="0"/>
              </a:spcBef>
              <a:buFontTx/>
              <a:buNone/>
              <a:defRPr sz="1600" b="1">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ompany description</a:t>
            </a:r>
          </a:p>
        </p:txBody>
      </p:sp>
      <p:sp>
        <p:nvSpPr>
          <p:cNvPr id="52" name="Text Placeholder 20">
            <a:extLst>
              <a:ext uri="{FF2B5EF4-FFF2-40B4-BE49-F238E27FC236}">
                <a16:creationId xmlns:a16="http://schemas.microsoft.com/office/drawing/2014/main" id="{C7201A23-6FE8-81C7-958C-DE2225A0A80D}"/>
              </a:ext>
            </a:extLst>
          </p:cNvPr>
          <p:cNvSpPr>
            <a:spLocks noGrp="1"/>
          </p:cNvSpPr>
          <p:nvPr>
            <p:ph type="body" sz="quarter" idx="27" hasCustomPrompt="1"/>
          </p:nvPr>
        </p:nvSpPr>
        <p:spPr>
          <a:xfrm>
            <a:off x="3680340" y="5550001"/>
            <a:ext cx="1472491" cy="723900"/>
          </a:xfrm>
        </p:spPr>
        <p:txBody>
          <a:bodyPr anchor="ctr" anchorCtr="0"/>
          <a:lstStyle>
            <a:lvl1pPr marL="0" indent="0" algn="ctr">
              <a:buFontTx/>
              <a:buNone/>
              <a:defRPr sz="1400">
                <a:solidFill>
                  <a:schemeClr val="tx1"/>
                </a:solidFill>
              </a:defRPr>
            </a:lvl1pPr>
          </a:lstStyle>
          <a:p>
            <a:pPr lvl="0"/>
            <a:r>
              <a:rPr lang="en-US"/>
              <a:t>Paste logo</a:t>
            </a:r>
          </a:p>
        </p:txBody>
      </p:sp>
      <p:sp>
        <p:nvSpPr>
          <p:cNvPr id="18" name="Rectangle 17">
            <a:extLst>
              <a:ext uri="{FF2B5EF4-FFF2-40B4-BE49-F238E27FC236}">
                <a16:creationId xmlns:a16="http://schemas.microsoft.com/office/drawing/2014/main" id="{5F70D51C-9437-3CFC-F51E-F5547DD734BA}"/>
              </a:ext>
            </a:extLst>
          </p:cNvPr>
          <p:cNvSpPr/>
          <p:nvPr userDrawn="1"/>
        </p:nvSpPr>
        <p:spPr>
          <a:xfrm>
            <a:off x="6235700"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1479107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ase Study 2 (RO)">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A98053EB-E904-0AF0-C691-5F20D906E7E1}"/>
              </a:ext>
            </a:extLst>
          </p:cNvPr>
          <p:cNvSpPr/>
          <p:nvPr userDrawn="1"/>
        </p:nvSpPr>
        <p:spPr>
          <a:xfrm>
            <a:off x="0" y="3429001"/>
            <a:ext cx="5788152" cy="3429000"/>
          </a:xfrm>
          <a:prstGeom prst="rect">
            <a:avLst/>
          </a:prstGeom>
          <a:blipFill dpi="0" rotWithShape="1">
            <a:blip r:embed="rId2"/>
            <a:srcRect/>
            <a:stretch>
              <a:fillRect l="-2" t="-1988" r="-788" b="-478"/>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a:ea typeface="+mn-ea"/>
              <a:cs typeface="+mn-cs"/>
            </a:endParaRPr>
          </a:p>
        </p:txBody>
      </p:sp>
      <p:sp>
        <p:nvSpPr>
          <p:cNvPr id="2" name="Picture Placeholder 21">
            <a:extLst>
              <a:ext uri="{FF2B5EF4-FFF2-40B4-BE49-F238E27FC236}">
                <a16:creationId xmlns:a16="http://schemas.microsoft.com/office/drawing/2014/main" id="{612B576C-24C9-358C-2054-40AF1ABCB118}"/>
              </a:ext>
            </a:extLst>
          </p:cNvPr>
          <p:cNvSpPr>
            <a:spLocks noGrp="1"/>
          </p:cNvSpPr>
          <p:nvPr>
            <p:ph type="pic" sz="quarter" idx="39" hasCustomPrompt="1"/>
          </p:nvPr>
        </p:nvSpPr>
        <p:spPr>
          <a:xfrm>
            <a:off x="0" y="111612"/>
            <a:ext cx="5792915" cy="3300984"/>
          </a:xfrm>
          <a:custGeom>
            <a:avLst/>
            <a:gdLst>
              <a:gd name="connsiteX0" fmla="*/ 0 w 5808663"/>
              <a:gd name="connsiteY0" fmla="*/ 0 h 3287713"/>
              <a:gd name="connsiteX1" fmla="*/ 5251987 w 5808663"/>
              <a:gd name="connsiteY1" fmla="*/ 0 h 3287713"/>
              <a:gd name="connsiteX2" fmla="*/ 5808663 w 5808663"/>
              <a:gd name="connsiteY2" fmla="*/ 556676 h 3287713"/>
              <a:gd name="connsiteX3" fmla="*/ 5808663 w 5808663"/>
              <a:gd name="connsiteY3" fmla="*/ 3287713 h 3287713"/>
              <a:gd name="connsiteX4" fmla="*/ 0 w 5808663"/>
              <a:gd name="connsiteY4" fmla="*/ 3287713 h 3287713"/>
              <a:gd name="connsiteX5" fmla="*/ 0 w 5808663"/>
              <a:gd name="connsiteY5" fmla="*/ 0 h 3287713"/>
              <a:gd name="connsiteX0" fmla="*/ 0 w 5808663"/>
              <a:gd name="connsiteY0" fmla="*/ 0 h 3287713"/>
              <a:gd name="connsiteX1" fmla="*/ 5251987 w 5808663"/>
              <a:gd name="connsiteY1" fmla="*/ 0 h 3287713"/>
              <a:gd name="connsiteX2" fmla="*/ 5808663 w 5808663"/>
              <a:gd name="connsiteY2" fmla="*/ 356379 h 3287713"/>
              <a:gd name="connsiteX3" fmla="*/ 5808663 w 5808663"/>
              <a:gd name="connsiteY3" fmla="*/ 3287713 h 3287713"/>
              <a:gd name="connsiteX4" fmla="*/ 0 w 5808663"/>
              <a:gd name="connsiteY4" fmla="*/ 3287713 h 3287713"/>
              <a:gd name="connsiteX5" fmla="*/ 0 w 5808663"/>
              <a:gd name="connsiteY5" fmla="*/ 0 h 3287713"/>
              <a:gd name="connsiteX0" fmla="*/ 0 w 5813443"/>
              <a:gd name="connsiteY0" fmla="*/ 0 h 3287713"/>
              <a:gd name="connsiteX1" fmla="*/ 5251987 w 5813443"/>
              <a:gd name="connsiteY1" fmla="*/ 0 h 3287713"/>
              <a:gd name="connsiteX2" fmla="*/ 5813443 w 5813443"/>
              <a:gd name="connsiteY2" fmla="*/ 342091 h 3287713"/>
              <a:gd name="connsiteX3" fmla="*/ 5808663 w 5813443"/>
              <a:gd name="connsiteY3" fmla="*/ 3287713 h 3287713"/>
              <a:gd name="connsiteX4" fmla="*/ 0 w 5813443"/>
              <a:gd name="connsiteY4" fmla="*/ 3287713 h 3287713"/>
              <a:gd name="connsiteX5" fmla="*/ 0 w 5813443"/>
              <a:gd name="connsiteY5" fmla="*/ 0 h 3287713"/>
              <a:gd name="connsiteX0" fmla="*/ 0 w 5813443"/>
              <a:gd name="connsiteY0" fmla="*/ 0 h 3287713"/>
              <a:gd name="connsiteX1" fmla="*/ 5237650 w 5813443"/>
              <a:gd name="connsiteY1" fmla="*/ 4762 h 3287713"/>
              <a:gd name="connsiteX2" fmla="*/ 5813443 w 5813443"/>
              <a:gd name="connsiteY2" fmla="*/ 342091 h 3287713"/>
              <a:gd name="connsiteX3" fmla="*/ 5808663 w 5813443"/>
              <a:gd name="connsiteY3" fmla="*/ 3287713 h 3287713"/>
              <a:gd name="connsiteX4" fmla="*/ 0 w 5813443"/>
              <a:gd name="connsiteY4" fmla="*/ 3287713 h 3287713"/>
              <a:gd name="connsiteX5" fmla="*/ 0 w 5813443"/>
              <a:gd name="connsiteY5" fmla="*/ 0 h 328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3443" h="3287713">
                <a:moveTo>
                  <a:pt x="0" y="0"/>
                </a:moveTo>
                <a:lnTo>
                  <a:pt x="5237650" y="4762"/>
                </a:lnTo>
                <a:lnTo>
                  <a:pt x="5813443" y="342091"/>
                </a:lnTo>
                <a:cubicBezTo>
                  <a:pt x="5811850" y="1323965"/>
                  <a:pt x="5810256" y="2305839"/>
                  <a:pt x="5808663" y="3287713"/>
                </a:cubicBezTo>
                <a:lnTo>
                  <a:pt x="0" y="3287713"/>
                </a:lnTo>
                <a:lnTo>
                  <a:pt x="0" y="0"/>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buFont typeface="Wingdings" panose="05000000000000000000" pitchFamily="2" charset="2"/>
              <a:buChar char="§"/>
              <a:defRPr lang="en-US" sz="1000"/>
            </a:lvl1pPr>
          </a:lstStyle>
          <a:p>
            <a:pPr marL="0" lvl="0" indent="0" algn="ctr">
              <a:spcBef>
                <a:spcPts val="800"/>
              </a:spcBef>
              <a:buNone/>
            </a:pPr>
            <a:r>
              <a:rPr lang="en-US" dirty="0"/>
              <a:t>Click picture icon to add image</a:t>
            </a:r>
          </a:p>
        </p:txBody>
      </p: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559854"/>
            <a:ext cx="5486400" cy="369332"/>
          </a:xfrm>
        </p:spPr>
        <p:txBody>
          <a:bodyPr/>
          <a:lstStyle>
            <a:lvl1pPr>
              <a:defRPr sz="3000"/>
            </a:lvl1pPr>
          </a:lstStyle>
          <a:p>
            <a:r>
              <a:rPr lang="en-US" dirty="0"/>
              <a:t>Case study title</a:t>
            </a:r>
          </a:p>
        </p:txBody>
      </p:sp>
      <p:grpSp>
        <p:nvGrpSpPr>
          <p:cNvPr id="102" name="Group 101">
            <a:extLst>
              <a:ext uri="{FF2B5EF4-FFF2-40B4-BE49-F238E27FC236}">
                <a16:creationId xmlns:a16="http://schemas.microsoft.com/office/drawing/2014/main" id="{96A1FBE7-9A49-4893-BE73-C040CC83491F}"/>
              </a:ext>
            </a:extLst>
          </p:cNvPr>
          <p:cNvGrpSpPr/>
          <p:nvPr userDrawn="1"/>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7" name="Rectangle 6">
            <a:extLst>
              <a:ext uri="{FF2B5EF4-FFF2-40B4-BE49-F238E27FC236}">
                <a16:creationId xmlns:a16="http://schemas.microsoft.com/office/drawing/2014/main" id="{66869BB4-81C8-4935-AA15-82CB480F24D6}"/>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
        <p:nvSpPr>
          <p:cNvPr id="10" name="Text Placeholder 4">
            <a:extLst>
              <a:ext uri="{FF2B5EF4-FFF2-40B4-BE49-F238E27FC236}">
                <a16:creationId xmlns:a16="http://schemas.microsoft.com/office/drawing/2014/main" id="{885007B6-B3BA-AC5D-BBD4-04C1246A4711}"/>
              </a:ext>
            </a:extLst>
          </p:cNvPr>
          <p:cNvSpPr>
            <a:spLocks noGrp="1"/>
          </p:cNvSpPr>
          <p:nvPr>
            <p:ph type="body" sz="quarter" idx="28" hasCustomPrompt="1"/>
          </p:nvPr>
        </p:nvSpPr>
        <p:spPr>
          <a:xfrm>
            <a:off x="6235700" y="2043277"/>
            <a:ext cx="5486400" cy="1097280"/>
          </a:xfrm>
        </p:spPr>
        <p:txBody>
          <a:bodyPr vert="horz" lIns="0" tIns="0" rIns="0" bIns="0" rtlCol="0" anchor="t" anchorCtr="0">
            <a:spAutoFit/>
          </a:bodyPr>
          <a:lstStyle>
            <a:lvl1pPr marL="173038" indent="-173038">
              <a:defRPr lang="en-US" sz="1400" dirty="0"/>
            </a:lvl1pPr>
            <a:lvl2pPr marL="344488" indent="-171450">
              <a:defRPr sz="1200"/>
            </a:lvl2pPr>
          </a:lstStyle>
          <a:p>
            <a:pPr lvl="0"/>
            <a:r>
              <a:rPr lang="en-US" dirty="0"/>
              <a:t>Add text</a:t>
            </a:r>
          </a:p>
          <a:p>
            <a:pPr lvl="1"/>
            <a:r>
              <a:rPr lang="en-US" dirty="0"/>
              <a:t>Second level</a:t>
            </a:r>
          </a:p>
        </p:txBody>
      </p:sp>
      <p:sp>
        <p:nvSpPr>
          <p:cNvPr id="11" name="Text Placeholder 15">
            <a:extLst>
              <a:ext uri="{FF2B5EF4-FFF2-40B4-BE49-F238E27FC236}">
                <a16:creationId xmlns:a16="http://schemas.microsoft.com/office/drawing/2014/main" id="{896F6491-BA52-98B2-37D9-6C72A51E4E9E}"/>
              </a:ext>
            </a:extLst>
          </p:cNvPr>
          <p:cNvSpPr>
            <a:spLocks noGrp="1"/>
          </p:cNvSpPr>
          <p:nvPr>
            <p:ph type="body" sz="quarter" idx="16" hasCustomPrompt="1"/>
          </p:nvPr>
        </p:nvSpPr>
        <p:spPr>
          <a:xfrm>
            <a:off x="6235700" y="1631047"/>
            <a:ext cx="5486400" cy="347472"/>
          </a:xfrm>
        </p:spPr>
        <p:txBody>
          <a:bodyPr anchor="ctr" anchorCtr="0"/>
          <a:lstStyle>
            <a:lvl1pPr marL="0" indent="0" algn="l">
              <a:lnSpc>
                <a:spcPct val="85000"/>
              </a:lnSpc>
              <a:spcBef>
                <a:spcPts val="0"/>
              </a:spcBef>
              <a:buFontTx/>
              <a:buNone/>
              <a:defRPr sz="2000" b="1">
                <a:solidFill>
                  <a:schemeClr val="accent1"/>
                </a:solidFill>
              </a:defRPr>
            </a:lvl1pPr>
          </a:lstStyle>
          <a:p>
            <a:pPr lvl="0"/>
            <a:r>
              <a:rPr lang="en-US" dirty="0"/>
              <a:t>Add title</a:t>
            </a:r>
          </a:p>
        </p:txBody>
      </p:sp>
      <p:sp>
        <p:nvSpPr>
          <p:cNvPr id="5" name="Text Placeholder 103">
            <a:extLst>
              <a:ext uri="{FF2B5EF4-FFF2-40B4-BE49-F238E27FC236}">
                <a16:creationId xmlns:a16="http://schemas.microsoft.com/office/drawing/2014/main" id="{EF4CBFDF-EE71-8D4A-C821-ECA39D257B71}"/>
              </a:ext>
            </a:extLst>
          </p:cNvPr>
          <p:cNvSpPr>
            <a:spLocks noGrp="1"/>
          </p:cNvSpPr>
          <p:nvPr>
            <p:ph type="body" sz="quarter" idx="29" hasCustomPrompt="1"/>
          </p:nvPr>
        </p:nvSpPr>
        <p:spPr>
          <a:xfrm>
            <a:off x="6235700" y="4261518"/>
            <a:ext cx="5486400" cy="1469163"/>
          </a:xfrm>
        </p:spPr>
        <p:txBody>
          <a:bodyPr anchor="t" anchorCtr="0"/>
          <a:lstStyle>
            <a:lvl1pPr marL="0" indent="0" algn="l">
              <a:spcBef>
                <a:spcPts val="0"/>
              </a:spcBef>
              <a:buFontTx/>
              <a:buNone/>
              <a:defRPr sz="1600">
                <a:solidFill>
                  <a:schemeClr val="tx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Quote</a:t>
            </a:r>
          </a:p>
          <a:p>
            <a:pPr lvl="0"/>
            <a:r>
              <a:rPr lang="en-US" dirty="0"/>
              <a:t>Author</a:t>
            </a:r>
          </a:p>
          <a:p>
            <a:pPr lvl="0"/>
            <a:r>
              <a:rPr lang="en-US" dirty="0"/>
              <a:t>Title</a:t>
            </a:r>
          </a:p>
        </p:txBody>
      </p:sp>
      <p:sp>
        <p:nvSpPr>
          <p:cNvPr id="56" name="Rectangle 55">
            <a:extLst>
              <a:ext uri="{FF2B5EF4-FFF2-40B4-BE49-F238E27FC236}">
                <a16:creationId xmlns:a16="http://schemas.microsoft.com/office/drawing/2014/main" id="{A80E76A8-EBE6-AEE6-56B0-393A1B651E50}"/>
              </a:ext>
            </a:extLst>
          </p:cNvPr>
          <p:cNvSpPr/>
          <p:nvPr userDrawn="1"/>
        </p:nvSpPr>
        <p:spPr>
          <a:xfrm>
            <a:off x="0" y="3429000"/>
            <a:ext cx="5788152" cy="3429000"/>
          </a:xfrm>
          <a:prstGeom prst="rect">
            <a:avLst/>
          </a:prstGeom>
          <a:gradFill>
            <a:gsLst>
              <a:gs pos="30000">
                <a:srgbClr val="002C43">
                  <a:alpha val="85000"/>
                </a:srgbClr>
              </a:gs>
              <a:gs pos="100000">
                <a:schemeClr val="accent6">
                  <a:lumMod val="75000"/>
                  <a:alpha val="85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nSpc>
                <a:spcPct val="90000"/>
              </a:lnSpc>
              <a:spcBef>
                <a:spcPts val="800"/>
              </a:spcBef>
            </a:pPr>
            <a:endParaRPr lang="en-US" err="1">
              <a:solidFill>
                <a:schemeClr val="bg1"/>
              </a:solidFill>
            </a:endParaRPr>
          </a:p>
        </p:txBody>
      </p:sp>
      <p:cxnSp>
        <p:nvCxnSpPr>
          <p:cNvPr id="54" name="Straight Connector 53">
            <a:extLst>
              <a:ext uri="{FF2B5EF4-FFF2-40B4-BE49-F238E27FC236}">
                <a16:creationId xmlns:a16="http://schemas.microsoft.com/office/drawing/2014/main" id="{F6FCC382-359D-3970-427A-7BD2931C16F3}"/>
              </a:ext>
            </a:extLst>
          </p:cNvPr>
          <p:cNvCxnSpPr>
            <a:cxnSpLocks/>
          </p:cNvCxnSpPr>
          <p:nvPr userDrawn="1"/>
        </p:nvCxnSpPr>
        <p:spPr>
          <a:xfrm>
            <a:off x="0" y="3429001"/>
            <a:ext cx="5788152" cy="0"/>
          </a:xfrm>
          <a:prstGeom prst="line">
            <a:avLst/>
          </a:prstGeom>
          <a:ln w="34925">
            <a:gradFill>
              <a:gsLst>
                <a:gs pos="2797">
                  <a:srgbClr val="488631"/>
                </a:gs>
                <a:gs pos="50000">
                  <a:schemeClr val="accent1">
                    <a:lumMod val="50000"/>
                  </a:schemeClr>
                </a:gs>
                <a:gs pos="97902">
                  <a:srgbClr val="002B43"/>
                </a:gs>
                <a:gs pos="75000">
                  <a:srgbClr val="002B43"/>
                </a:gs>
              </a:gsLst>
              <a:lin ang="0" scaled="0"/>
            </a:gradFill>
            <a:miter lim="800000"/>
          </a:ln>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91FB941E-1915-BD31-6032-860B9D751611}"/>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53787"/>
          <a:stretch/>
        </p:blipFill>
        <p:spPr>
          <a:xfrm>
            <a:off x="4646577" y="4684194"/>
            <a:ext cx="1161626" cy="2313432"/>
          </a:xfrm>
          <a:prstGeom prst="rect">
            <a:avLst/>
          </a:prstGeom>
        </p:spPr>
      </p:pic>
      <p:sp>
        <p:nvSpPr>
          <p:cNvPr id="3" name="Text Placeholder 4">
            <a:extLst>
              <a:ext uri="{FF2B5EF4-FFF2-40B4-BE49-F238E27FC236}">
                <a16:creationId xmlns:a16="http://schemas.microsoft.com/office/drawing/2014/main" id="{3675A8DE-330D-C8EE-9437-2AF20BD79268}"/>
              </a:ext>
            </a:extLst>
          </p:cNvPr>
          <p:cNvSpPr>
            <a:spLocks noGrp="1"/>
          </p:cNvSpPr>
          <p:nvPr>
            <p:ph type="body" sz="quarter" idx="34" hasCustomPrompt="1"/>
          </p:nvPr>
        </p:nvSpPr>
        <p:spPr>
          <a:xfrm>
            <a:off x="487094" y="3922569"/>
            <a:ext cx="5014242" cy="411395"/>
          </a:xfrm>
        </p:spPr>
        <p:txBody>
          <a:bodyPr vert="horz" wrap="square" lIns="0" tIns="0" rIns="0" bIns="0" rtlCol="0" anchor="t" anchorCtr="0">
            <a:spAutoFit/>
          </a:bodyPr>
          <a:lstStyle>
            <a:lvl1pPr marL="173038" indent="-173038">
              <a:defRPr lang="en-US" sz="1400" dirty="0">
                <a:solidFill>
                  <a:schemeClr val="bg1"/>
                </a:solidFill>
              </a:defRPr>
            </a:lvl1pPr>
            <a:lvl2pPr marL="344488" indent="-171450">
              <a:defRPr sz="1200">
                <a:solidFill>
                  <a:schemeClr val="bg1"/>
                </a:solidFill>
              </a:defRPr>
            </a:lvl2pPr>
          </a:lstStyle>
          <a:p>
            <a:pPr lvl="0"/>
            <a:r>
              <a:rPr lang="en-US" dirty="0"/>
              <a:t>Add text</a:t>
            </a:r>
          </a:p>
          <a:p>
            <a:pPr lvl="1"/>
            <a:r>
              <a:rPr lang="en-US" dirty="0"/>
              <a:t>Second level</a:t>
            </a:r>
          </a:p>
        </p:txBody>
      </p:sp>
      <p:sp>
        <p:nvSpPr>
          <p:cNvPr id="6" name="Text Placeholder 15">
            <a:extLst>
              <a:ext uri="{FF2B5EF4-FFF2-40B4-BE49-F238E27FC236}">
                <a16:creationId xmlns:a16="http://schemas.microsoft.com/office/drawing/2014/main" id="{DAC6CB93-C779-DD94-52AE-1B442F5B7BEA}"/>
              </a:ext>
            </a:extLst>
          </p:cNvPr>
          <p:cNvSpPr>
            <a:spLocks noGrp="1"/>
          </p:cNvSpPr>
          <p:nvPr>
            <p:ph type="body" sz="quarter" idx="35" hasCustomPrompt="1"/>
          </p:nvPr>
        </p:nvSpPr>
        <p:spPr>
          <a:xfrm>
            <a:off x="487094" y="3510339"/>
            <a:ext cx="5014242" cy="347472"/>
          </a:xfrm>
        </p:spPr>
        <p:txBody>
          <a:bodyPr anchor="ctr" anchorCtr="0"/>
          <a:lstStyle>
            <a:lvl1pPr marL="0" indent="0" algn="l">
              <a:lnSpc>
                <a:spcPct val="85000"/>
              </a:lnSpc>
              <a:spcBef>
                <a:spcPts val="0"/>
              </a:spcBef>
              <a:buFontTx/>
              <a:buNone/>
              <a:defRPr sz="1800" b="1">
                <a:solidFill>
                  <a:schemeClr val="accent1"/>
                </a:solidFill>
              </a:defRPr>
            </a:lvl1pPr>
          </a:lstStyle>
          <a:p>
            <a:pPr lvl="0"/>
            <a:r>
              <a:rPr lang="en-US" dirty="0"/>
              <a:t>Add title</a:t>
            </a:r>
          </a:p>
        </p:txBody>
      </p:sp>
      <p:grpSp>
        <p:nvGrpSpPr>
          <p:cNvPr id="9" name="Group 8">
            <a:extLst>
              <a:ext uri="{FF2B5EF4-FFF2-40B4-BE49-F238E27FC236}">
                <a16:creationId xmlns:a16="http://schemas.microsoft.com/office/drawing/2014/main" id="{E9EFA294-11A0-D1C6-8CEB-78C597B977F5}"/>
              </a:ext>
            </a:extLst>
          </p:cNvPr>
          <p:cNvGrpSpPr/>
          <p:nvPr userDrawn="1"/>
        </p:nvGrpSpPr>
        <p:grpSpPr>
          <a:xfrm>
            <a:off x="-2980" y="6555932"/>
            <a:ext cx="1621710" cy="223261"/>
            <a:chOff x="-2980" y="6329503"/>
            <a:chExt cx="1621710" cy="223261"/>
          </a:xfrm>
          <a:solidFill>
            <a:schemeClr val="bg1">
              <a:alpha val="10000"/>
            </a:schemeClr>
          </a:solidFill>
        </p:grpSpPr>
        <p:sp>
          <p:nvSpPr>
            <p:cNvPr id="12" name="Freeform: Shape 11">
              <a:extLst>
                <a:ext uri="{FF2B5EF4-FFF2-40B4-BE49-F238E27FC236}">
                  <a16:creationId xmlns:a16="http://schemas.microsoft.com/office/drawing/2014/main" id="{73593BE6-8370-5E6B-2336-21C5E00BAD91}"/>
                </a:ext>
              </a:extLst>
            </p:cNvPr>
            <p:cNvSpPr/>
            <p:nvPr/>
          </p:nvSpPr>
          <p:spPr>
            <a:xfrm>
              <a:off x="509822" y="6329504"/>
              <a:ext cx="287290" cy="213899"/>
            </a:xfrm>
            <a:custGeom>
              <a:avLst/>
              <a:gdLst>
                <a:gd name="connsiteX0" fmla="*/ 221014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1014"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37B992DB-326E-B4E0-6B38-4B135E68D691}"/>
                </a:ext>
              </a:extLst>
            </p:cNvPr>
            <p:cNvSpPr/>
            <p:nvPr/>
          </p:nvSpPr>
          <p:spPr>
            <a:xfrm>
              <a:off x="373057" y="6329504"/>
              <a:ext cx="287196" cy="213899"/>
            </a:xfrm>
            <a:custGeom>
              <a:avLst/>
              <a:gdLst>
                <a:gd name="connsiteX0" fmla="*/ 220921 w 287196"/>
                <a:gd name="connsiteY0" fmla="*/ 0 h 213899"/>
                <a:gd name="connsiteX1" fmla="*/ 0 w 287196"/>
                <a:gd name="connsiteY1" fmla="*/ 213900 h 213899"/>
                <a:gd name="connsiteX2" fmla="*/ 66276 w 287196"/>
                <a:gd name="connsiteY2" fmla="*/ 213900 h 213899"/>
                <a:gd name="connsiteX3" fmla="*/ 287197 w 287196"/>
                <a:gd name="connsiteY3" fmla="*/ 0 h 213899"/>
              </a:gdLst>
              <a:ahLst/>
              <a:cxnLst>
                <a:cxn ang="0">
                  <a:pos x="connsiteX0" y="connsiteY0"/>
                </a:cxn>
                <a:cxn ang="0">
                  <a:pos x="connsiteX1" y="connsiteY1"/>
                </a:cxn>
                <a:cxn ang="0">
                  <a:pos x="connsiteX2" y="connsiteY2"/>
                </a:cxn>
                <a:cxn ang="0">
                  <a:pos x="connsiteX3" y="connsiteY3"/>
                </a:cxn>
              </a:cxnLst>
              <a:rect l="l" t="t" r="r" b="b"/>
              <a:pathLst>
                <a:path w="287196" h="213899">
                  <a:moveTo>
                    <a:pt x="220921" y="0"/>
                  </a:moveTo>
                  <a:lnTo>
                    <a:pt x="0" y="213900"/>
                  </a:lnTo>
                  <a:lnTo>
                    <a:pt x="66276" y="213900"/>
                  </a:lnTo>
                  <a:lnTo>
                    <a:pt x="287197" y="0"/>
                  </a:lnTo>
                  <a:close/>
                </a:path>
              </a:pathLst>
            </a:custGeom>
            <a:grpFill/>
            <a:ln w="15567"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057708FB-BE6A-54D0-7395-0C518B81B543}"/>
                </a:ext>
              </a:extLst>
            </p:cNvPr>
            <p:cNvSpPr/>
            <p:nvPr/>
          </p:nvSpPr>
          <p:spPr>
            <a:xfrm>
              <a:off x="236199" y="6329504"/>
              <a:ext cx="287290" cy="213899"/>
            </a:xfrm>
            <a:custGeom>
              <a:avLst/>
              <a:gdLst>
                <a:gd name="connsiteX0" fmla="*/ 220920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0"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CB39735F-9126-A9A0-5ED3-1C46DA3E1452}"/>
                </a:ext>
              </a:extLst>
            </p:cNvPr>
            <p:cNvSpPr/>
            <p:nvPr/>
          </p:nvSpPr>
          <p:spPr>
            <a:xfrm>
              <a:off x="99340" y="6329504"/>
              <a:ext cx="287290" cy="213899"/>
            </a:xfrm>
            <a:custGeom>
              <a:avLst/>
              <a:gdLst>
                <a:gd name="connsiteX0" fmla="*/ 220921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1"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4F4E5C30-B035-25DF-D8E5-4B890C0CFCA9}"/>
                </a:ext>
              </a:extLst>
            </p:cNvPr>
            <p:cNvSpPr/>
            <p:nvPr/>
          </p:nvSpPr>
          <p:spPr>
            <a:xfrm>
              <a:off x="-2980" y="6329504"/>
              <a:ext cx="115988" cy="112303"/>
            </a:xfrm>
            <a:custGeom>
              <a:avLst/>
              <a:gdLst>
                <a:gd name="connsiteX0" fmla="*/ 49619 w 115988"/>
                <a:gd name="connsiteY0" fmla="*/ 0 h 112303"/>
                <a:gd name="connsiteX1" fmla="*/ 115988 w 115988"/>
                <a:gd name="connsiteY1" fmla="*/ 0 h 112303"/>
                <a:gd name="connsiteX2" fmla="*/ 0 w 115988"/>
                <a:gd name="connsiteY2" fmla="*/ 112303 h 112303"/>
                <a:gd name="connsiteX3" fmla="*/ 0 w 115988"/>
                <a:gd name="connsiteY3" fmla="*/ 48042 h 112303"/>
                <a:gd name="connsiteX4" fmla="*/ 49619 w 115988"/>
                <a:gd name="connsiteY4" fmla="*/ 0 h 112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88" h="112303">
                  <a:moveTo>
                    <a:pt x="49619" y="0"/>
                  </a:moveTo>
                  <a:lnTo>
                    <a:pt x="115988" y="0"/>
                  </a:lnTo>
                  <a:lnTo>
                    <a:pt x="0" y="112303"/>
                  </a:lnTo>
                  <a:lnTo>
                    <a:pt x="0" y="48042"/>
                  </a:lnTo>
                  <a:lnTo>
                    <a:pt x="49619" y="0"/>
                  </a:lnTo>
                  <a:close/>
                </a:path>
              </a:pathLst>
            </a:custGeom>
            <a:grpFill/>
            <a:ln w="15567"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50F2D516-A0ED-6F24-2960-BA38702D9843}"/>
                </a:ext>
              </a:extLst>
            </p:cNvPr>
            <p:cNvSpPr/>
            <p:nvPr/>
          </p:nvSpPr>
          <p:spPr>
            <a:xfrm>
              <a:off x="-2980" y="6329503"/>
              <a:ext cx="252754" cy="213900"/>
            </a:xfrm>
            <a:custGeom>
              <a:avLst/>
              <a:gdLst>
                <a:gd name="connsiteX0" fmla="*/ 186477 w 252754"/>
                <a:gd name="connsiteY0" fmla="*/ 0 h 213900"/>
                <a:gd name="connsiteX1" fmla="*/ 252754 w 252754"/>
                <a:gd name="connsiteY1" fmla="*/ 0 h 213900"/>
                <a:gd name="connsiteX2" fmla="*/ 31833 w 252754"/>
                <a:gd name="connsiteY2" fmla="*/ 213900 h 213900"/>
                <a:gd name="connsiteX3" fmla="*/ 0 w 252754"/>
                <a:gd name="connsiteY3" fmla="*/ 213900 h 213900"/>
                <a:gd name="connsiteX4" fmla="*/ 0 w 252754"/>
                <a:gd name="connsiteY4" fmla="*/ 180552 h 213900"/>
                <a:gd name="connsiteX5" fmla="*/ 186477 w 252754"/>
                <a:gd name="connsiteY5" fmla="*/ 0 h 21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754" h="213900">
                  <a:moveTo>
                    <a:pt x="186477" y="0"/>
                  </a:moveTo>
                  <a:lnTo>
                    <a:pt x="252754" y="0"/>
                  </a:lnTo>
                  <a:lnTo>
                    <a:pt x="31833" y="213900"/>
                  </a:lnTo>
                  <a:lnTo>
                    <a:pt x="0" y="213900"/>
                  </a:lnTo>
                  <a:lnTo>
                    <a:pt x="0" y="180552"/>
                  </a:lnTo>
                  <a:lnTo>
                    <a:pt x="186477" y="0"/>
                  </a:lnTo>
                  <a:close/>
                </a:path>
              </a:pathLst>
            </a:custGeom>
            <a:grpFill/>
            <a:ln w="15567"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04DA1EC3-930D-4A95-4DB4-B733EE7F20B2}"/>
                </a:ext>
              </a:extLst>
            </p:cNvPr>
            <p:cNvSpPr/>
            <p:nvPr/>
          </p:nvSpPr>
          <p:spPr>
            <a:xfrm>
              <a:off x="1335746" y="6329504"/>
              <a:ext cx="273622" cy="213899"/>
            </a:xfrm>
            <a:custGeom>
              <a:avLst/>
              <a:gdLst>
                <a:gd name="connsiteX0" fmla="*/ 273623 w 273622"/>
                <a:gd name="connsiteY0" fmla="*/ 0 h 213899"/>
                <a:gd name="connsiteX1" fmla="*/ 220920 w 273622"/>
                <a:gd name="connsiteY1" fmla="*/ 0 h 213899"/>
                <a:gd name="connsiteX2" fmla="*/ 0 w 273622"/>
                <a:gd name="connsiteY2" fmla="*/ 213900 h 213899"/>
                <a:gd name="connsiteX3" fmla="*/ 66276 w 273622"/>
                <a:gd name="connsiteY3" fmla="*/ 213900 h 213899"/>
                <a:gd name="connsiteX4" fmla="*/ 273623 w 273622"/>
                <a:gd name="connsiteY4" fmla="*/ 13199 h 21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22" h="213899">
                  <a:moveTo>
                    <a:pt x="273623" y="0"/>
                  </a:moveTo>
                  <a:lnTo>
                    <a:pt x="220920" y="0"/>
                  </a:lnTo>
                  <a:lnTo>
                    <a:pt x="0" y="213900"/>
                  </a:lnTo>
                  <a:lnTo>
                    <a:pt x="66276" y="213900"/>
                  </a:lnTo>
                  <a:lnTo>
                    <a:pt x="273623" y="13199"/>
                  </a:lnTo>
                  <a:close/>
                </a:path>
              </a:pathLst>
            </a:custGeom>
            <a:grpFill/>
            <a:ln w="15567"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97FF52C1-88F9-0913-C0E3-A0A2144D224B}"/>
                </a:ext>
              </a:extLst>
            </p:cNvPr>
            <p:cNvSpPr/>
            <p:nvPr/>
          </p:nvSpPr>
          <p:spPr>
            <a:xfrm>
              <a:off x="646680" y="6329504"/>
              <a:ext cx="287290" cy="213899"/>
            </a:xfrm>
            <a:custGeom>
              <a:avLst/>
              <a:gdLst>
                <a:gd name="connsiteX0" fmla="*/ 220921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0921"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74C0A45D-6579-C24E-FD8F-6702F8BEA2D3}"/>
                </a:ext>
              </a:extLst>
            </p:cNvPr>
            <p:cNvSpPr/>
            <p:nvPr/>
          </p:nvSpPr>
          <p:spPr>
            <a:xfrm>
              <a:off x="1198888" y="6329504"/>
              <a:ext cx="287289" cy="213899"/>
            </a:xfrm>
            <a:custGeom>
              <a:avLst/>
              <a:gdLst>
                <a:gd name="connsiteX0" fmla="*/ 220920 w 287289"/>
                <a:gd name="connsiteY0" fmla="*/ 0 h 213899"/>
                <a:gd name="connsiteX1" fmla="*/ 0 w 287289"/>
                <a:gd name="connsiteY1" fmla="*/ 213900 h 213899"/>
                <a:gd name="connsiteX2" fmla="*/ 66370 w 287289"/>
                <a:gd name="connsiteY2" fmla="*/ 213900 h 213899"/>
                <a:gd name="connsiteX3" fmla="*/ 287290 w 287289"/>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89" h="213899">
                  <a:moveTo>
                    <a:pt x="220920"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76749077-3F97-A32A-2856-306B12111DD9}"/>
                </a:ext>
              </a:extLst>
            </p:cNvPr>
            <p:cNvSpPr/>
            <p:nvPr/>
          </p:nvSpPr>
          <p:spPr>
            <a:xfrm>
              <a:off x="1609369" y="6543403"/>
              <a:ext cx="9361" cy="9361"/>
            </a:xfrm>
            <a:custGeom>
              <a:avLst/>
              <a:gdLst>
                <a:gd name="connsiteX0" fmla="*/ 0 w 9361"/>
                <a:gd name="connsiteY0" fmla="*/ 0 h 9361"/>
                <a:gd name="connsiteX1" fmla="*/ 0 w 9361"/>
                <a:gd name="connsiteY1" fmla="*/ 0 h 9361"/>
                <a:gd name="connsiteX2" fmla="*/ 0 w 9361"/>
                <a:gd name="connsiteY2" fmla="*/ 0 h 9361"/>
              </a:gdLst>
              <a:ahLst/>
              <a:cxnLst>
                <a:cxn ang="0">
                  <a:pos x="connsiteX0" y="connsiteY0"/>
                </a:cxn>
                <a:cxn ang="0">
                  <a:pos x="connsiteX1" y="connsiteY1"/>
                </a:cxn>
                <a:cxn ang="0">
                  <a:pos x="connsiteX2" y="connsiteY2"/>
                </a:cxn>
              </a:cxnLst>
              <a:rect l="l" t="t" r="r" b="b"/>
              <a:pathLst>
                <a:path w="9361" h="9361">
                  <a:moveTo>
                    <a:pt x="0" y="0"/>
                  </a:moveTo>
                  <a:lnTo>
                    <a:pt x="0" y="0"/>
                  </a:lnTo>
                  <a:lnTo>
                    <a:pt x="0" y="0"/>
                  </a:lnTo>
                  <a:close/>
                </a:path>
              </a:pathLst>
            </a:custGeom>
            <a:grpFill/>
            <a:ln w="15567"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5722EB93-0CEF-9CC5-6455-D3C948EFD598}"/>
                </a:ext>
              </a:extLst>
            </p:cNvPr>
            <p:cNvSpPr/>
            <p:nvPr/>
          </p:nvSpPr>
          <p:spPr>
            <a:xfrm>
              <a:off x="1472511" y="6410945"/>
              <a:ext cx="136858" cy="132458"/>
            </a:xfrm>
            <a:custGeom>
              <a:avLst/>
              <a:gdLst>
                <a:gd name="connsiteX0" fmla="*/ 136858 w 136858"/>
                <a:gd name="connsiteY0" fmla="*/ 0 h 132458"/>
                <a:gd name="connsiteX1" fmla="*/ 0 w 136858"/>
                <a:gd name="connsiteY1" fmla="*/ 132459 h 132458"/>
                <a:gd name="connsiteX2" fmla="*/ 66370 w 136858"/>
                <a:gd name="connsiteY2" fmla="*/ 132459 h 132458"/>
                <a:gd name="connsiteX3" fmla="*/ 136858 w 136858"/>
                <a:gd name="connsiteY3" fmla="*/ 64217 h 132458"/>
              </a:gdLst>
              <a:ahLst/>
              <a:cxnLst>
                <a:cxn ang="0">
                  <a:pos x="connsiteX0" y="connsiteY0"/>
                </a:cxn>
                <a:cxn ang="0">
                  <a:pos x="connsiteX1" y="connsiteY1"/>
                </a:cxn>
                <a:cxn ang="0">
                  <a:pos x="connsiteX2" y="connsiteY2"/>
                </a:cxn>
                <a:cxn ang="0">
                  <a:pos x="connsiteX3" y="connsiteY3"/>
                </a:cxn>
              </a:cxnLst>
              <a:rect l="l" t="t" r="r" b="b"/>
              <a:pathLst>
                <a:path w="136858" h="132458">
                  <a:moveTo>
                    <a:pt x="136858" y="0"/>
                  </a:moveTo>
                  <a:lnTo>
                    <a:pt x="0" y="132459"/>
                  </a:lnTo>
                  <a:lnTo>
                    <a:pt x="66370" y="132459"/>
                  </a:lnTo>
                  <a:lnTo>
                    <a:pt x="136858" y="64217"/>
                  </a:lnTo>
                  <a:close/>
                </a:path>
              </a:pathLst>
            </a:custGeom>
            <a:grpFill/>
            <a:ln w="15567"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0698C6F4-D63F-851B-7F7E-F471169DD7CE}"/>
                </a:ext>
              </a:extLst>
            </p:cNvPr>
            <p:cNvSpPr/>
            <p:nvPr/>
          </p:nvSpPr>
          <p:spPr>
            <a:xfrm>
              <a:off x="783539" y="6329504"/>
              <a:ext cx="292157" cy="213899"/>
            </a:xfrm>
            <a:custGeom>
              <a:avLst/>
              <a:gdLst>
                <a:gd name="connsiteX0" fmla="*/ 220920 w 292157"/>
                <a:gd name="connsiteY0" fmla="*/ 0 h 213899"/>
                <a:gd name="connsiteX1" fmla="*/ 0 w 292157"/>
                <a:gd name="connsiteY1" fmla="*/ 213900 h 213899"/>
                <a:gd name="connsiteX2" fmla="*/ 71237 w 292157"/>
                <a:gd name="connsiteY2" fmla="*/ 213900 h 213899"/>
                <a:gd name="connsiteX3" fmla="*/ 292158 w 292157"/>
                <a:gd name="connsiteY3" fmla="*/ 0 h 213899"/>
              </a:gdLst>
              <a:ahLst/>
              <a:cxnLst>
                <a:cxn ang="0">
                  <a:pos x="connsiteX0" y="connsiteY0"/>
                </a:cxn>
                <a:cxn ang="0">
                  <a:pos x="connsiteX1" y="connsiteY1"/>
                </a:cxn>
                <a:cxn ang="0">
                  <a:pos x="connsiteX2" y="connsiteY2"/>
                </a:cxn>
                <a:cxn ang="0">
                  <a:pos x="connsiteX3" y="connsiteY3"/>
                </a:cxn>
              </a:cxnLst>
              <a:rect l="l" t="t" r="r" b="b"/>
              <a:pathLst>
                <a:path w="292157" h="213899">
                  <a:moveTo>
                    <a:pt x="220920" y="0"/>
                  </a:moveTo>
                  <a:lnTo>
                    <a:pt x="0" y="213900"/>
                  </a:lnTo>
                  <a:lnTo>
                    <a:pt x="71237" y="213900"/>
                  </a:lnTo>
                  <a:lnTo>
                    <a:pt x="292158" y="0"/>
                  </a:lnTo>
                  <a:close/>
                </a:path>
              </a:pathLst>
            </a:custGeom>
            <a:grpFill/>
            <a:ln w="15567"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1E89061D-5754-A686-54B4-393C8A167D2E}"/>
                </a:ext>
              </a:extLst>
            </p:cNvPr>
            <p:cNvSpPr/>
            <p:nvPr/>
          </p:nvSpPr>
          <p:spPr>
            <a:xfrm>
              <a:off x="1062029" y="6329504"/>
              <a:ext cx="287290" cy="213899"/>
            </a:xfrm>
            <a:custGeom>
              <a:avLst/>
              <a:gdLst>
                <a:gd name="connsiteX0" fmla="*/ 221014 w 287290"/>
                <a:gd name="connsiteY0" fmla="*/ 0 h 213899"/>
                <a:gd name="connsiteX1" fmla="*/ 0 w 287290"/>
                <a:gd name="connsiteY1" fmla="*/ 213900 h 213899"/>
                <a:gd name="connsiteX2" fmla="*/ 66370 w 287290"/>
                <a:gd name="connsiteY2" fmla="*/ 213900 h 213899"/>
                <a:gd name="connsiteX3" fmla="*/ 287290 w 287290"/>
                <a:gd name="connsiteY3" fmla="*/ 0 h 213899"/>
              </a:gdLst>
              <a:ahLst/>
              <a:cxnLst>
                <a:cxn ang="0">
                  <a:pos x="connsiteX0" y="connsiteY0"/>
                </a:cxn>
                <a:cxn ang="0">
                  <a:pos x="connsiteX1" y="connsiteY1"/>
                </a:cxn>
                <a:cxn ang="0">
                  <a:pos x="connsiteX2" y="connsiteY2"/>
                </a:cxn>
                <a:cxn ang="0">
                  <a:pos x="connsiteX3" y="connsiteY3"/>
                </a:cxn>
              </a:cxnLst>
              <a:rect l="l" t="t" r="r" b="b"/>
              <a:pathLst>
                <a:path w="287290" h="213899">
                  <a:moveTo>
                    <a:pt x="221014" y="0"/>
                  </a:moveTo>
                  <a:lnTo>
                    <a:pt x="0" y="213900"/>
                  </a:lnTo>
                  <a:lnTo>
                    <a:pt x="66370" y="213900"/>
                  </a:lnTo>
                  <a:lnTo>
                    <a:pt x="287290" y="0"/>
                  </a:lnTo>
                  <a:close/>
                </a:path>
              </a:pathLst>
            </a:custGeom>
            <a:grpFill/>
            <a:ln w="15567"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F73A1041-264B-B5AB-467B-E874856B9D71}"/>
                </a:ext>
              </a:extLst>
            </p:cNvPr>
            <p:cNvSpPr/>
            <p:nvPr/>
          </p:nvSpPr>
          <p:spPr>
            <a:xfrm>
              <a:off x="925265" y="6329504"/>
              <a:ext cx="287196" cy="213899"/>
            </a:xfrm>
            <a:custGeom>
              <a:avLst/>
              <a:gdLst>
                <a:gd name="connsiteX0" fmla="*/ 220921 w 287196"/>
                <a:gd name="connsiteY0" fmla="*/ 0 h 213899"/>
                <a:gd name="connsiteX1" fmla="*/ 0 w 287196"/>
                <a:gd name="connsiteY1" fmla="*/ 213900 h 213899"/>
                <a:gd name="connsiteX2" fmla="*/ 66276 w 287196"/>
                <a:gd name="connsiteY2" fmla="*/ 213900 h 213899"/>
                <a:gd name="connsiteX3" fmla="*/ 287197 w 287196"/>
                <a:gd name="connsiteY3" fmla="*/ 0 h 213899"/>
              </a:gdLst>
              <a:ahLst/>
              <a:cxnLst>
                <a:cxn ang="0">
                  <a:pos x="connsiteX0" y="connsiteY0"/>
                </a:cxn>
                <a:cxn ang="0">
                  <a:pos x="connsiteX1" y="connsiteY1"/>
                </a:cxn>
                <a:cxn ang="0">
                  <a:pos x="connsiteX2" y="connsiteY2"/>
                </a:cxn>
                <a:cxn ang="0">
                  <a:pos x="connsiteX3" y="connsiteY3"/>
                </a:cxn>
              </a:cxnLst>
              <a:rect l="l" t="t" r="r" b="b"/>
              <a:pathLst>
                <a:path w="287196" h="213899">
                  <a:moveTo>
                    <a:pt x="220921" y="0"/>
                  </a:moveTo>
                  <a:lnTo>
                    <a:pt x="0" y="213900"/>
                  </a:lnTo>
                  <a:lnTo>
                    <a:pt x="66276" y="213900"/>
                  </a:lnTo>
                  <a:lnTo>
                    <a:pt x="287197" y="0"/>
                  </a:lnTo>
                  <a:close/>
                </a:path>
              </a:pathLst>
            </a:custGeom>
            <a:grpFill/>
            <a:ln w="15567" cap="flat">
              <a:noFill/>
              <a:prstDash val="solid"/>
              <a:miter/>
            </a:ln>
          </p:spPr>
          <p:txBody>
            <a:bodyPr rtlCol="0" anchor="ctr"/>
            <a:lstStyle/>
            <a:p>
              <a:endParaRPr lang="en-US" dirty="0"/>
            </a:p>
          </p:txBody>
        </p:sp>
      </p:grpSp>
      <p:sp>
        <p:nvSpPr>
          <p:cNvPr id="30" name="Text Placeholder 33">
            <a:extLst>
              <a:ext uri="{FF2B5EF4-FFF2-40B4-BE49-F238E27FC236}">
                <a16:creationId xmlns:a16="http://schemas.microsoft.com/office/drawing/2014/main" id="{02834500-4049-E37B-841A-C38D5403CE60}"/>
              </a:ext>
            </a:extLst>
          </p:cNvPr>
          <p:cNvSpPr>
            <a:spLocks noGrp="1"/>
          </p:cNvSpPr>
          <p:nvPr>
            <p:ph type="body" sz="quarter" idx="18" hasCustomPrompt="1"/>
          </p:nvPr>
        </p:nvSpPr>
        <p:spPr>
          <a:xfrm>
            <a:off x="-9345" y="5287124"/>
            <a:ext cx="3560922" cy="1107295"/>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 name="connsiteX0" fmla="*/ 0 w 3653537"/>
              <a:gd name="connsiteY0" fmla="*/ 1249154 h 1249946"/>
              <a:gd name="connsiteX1" fmla="*/ 3934 w 3653537"/>
              <a:gd name="connsiteY1" fmla="*/ 1677 h 1249946"/>
              <a:gd name="connsiteX2" fmla="*/ 2601911 w 3653537"/>
              <a:gd name="connsiteY2" fmla="*/ 0 h 1249946"/>
              <a:gd name="connsiteX3" fmla="*/ 3150718 w 3653537"/>
              <a:gd name="connsiteY3" fmla="*/ 266682 h 1249946"/>
              <a:gd name="connsiteX4" fmla="*/ 3653537 w 3653537"/>
              <a:gd name="connsiteY4" fmla="*/ 269460 h 1249946"/>
              <a:gd name="connsiteX5" fmla="*/ 3066332 w 3653537"/>
              <a:gd name="connsiteY5" fmla="*/ 1249946 h 1249946"/>
              <a:gd name="connsiteX6" fmla="*/ 0 w 3653537"/>
              <a:gd name="connsiteY6" fmla="*/ 1249154 h 1249946"/>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178092 w 3653537"/>
              <a:gd name="connsiteY5" fmla="*/ 1244866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259372 w 3653537"/>
              <a:gd name="connsiteY5" fmla="*/ 1239786 h 1249154"/>
              <a:gd name="connsiteX6" fmla="*/ 0 w 3653537"/>
              <a:gd name="connsiteY6" fmla="*/ 1249154 h 1249154"/>
              <a:gd name="connsiteX0" fmla="*/ 0 w 3653537"/>
              <a:gd name="connsiteY0" fmla="*/ 1249154 h 1249311"/>
              <a:gd name="connsiteX1" fmla="*/ 3934 w 3653537"/>
              <a:gd name="connsiteY1" fmla="*/ 1677 h 1249311"/>
              <a:gd name="connsiteX2" fmla="*/ 2601911 w 3653537"/>
              <a:gd name="connsiteY2" fmla="*/ 0 h 1249311"/>
              <a:gd name="connsiteX3" fmla="*/ 3150718 w 3653537"/>
              <a:gd name="connsiteY3" fmla="*/ 266682 h 1249311"/>
              <a:gd name="connsiteX4" fmla="*/ 3653537 w 3653537"/>
              <a:gd name="connsiteY4" fmla="*/ 269460 h 1249311"/>
              <a:gd name="connsiteX5" fmla="*/ 3549884 w 3653537"/>
              <a:gd name="connsiteY5" fmla="*/ 1249311 h 1249311"/>
              <a:gd name="connsiteX6" fmla="*/ 0 w 3653537"/>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64698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8985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88818 w 3553525"/>
              <a:gd name="connsiteY3" fmla="*/ 271444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009594 w 3559258"/>
              <a:gd name="connsiteY3" fmla="*/ 123057 h 1249311"/>
              <a:gd name="connsiteX4" fmla="*/ 3194551 w 3559258"/>
              <a:gd name="connsiteY4" fmla="*/ 271444 h 1249311"/>
              <a:gd name="connsiteX5" fmla="*/ 3559258 w 3559258"/>
              <a:gd name="connsiteY5" fmla="*/ 274223 h 1249311"/>
              <a:gd name="connsiteX6" fmla="*/ 3555617 w 3559258"/>
              <a:gd name="connsiteY6" fmla="*/ 1249311 h 1249311"/>
              <a:gd name="connsiteX7" fmla="*/ 5733 w 3559258"/>
              <a:gd name="connsiteY7" fmla="*/ 1249154 h 1249311"/>
              <a:gd name="connsiteX0" fmla="*/ 5733 w 3559258"/>
              <a:gd name="connsiteY0" fmla="*/ 1247477 h 1247634"/>
              <a:gd name="connsiteX1" fmla="*/ 142 w 3559258"/>
              <a:gd name="connsiteY1" fmla="*/ 0 h 1247634"/>
              <a:gd name="connsiteX2" fmla="*/ 3009594 w 3559258"/>
              <a:gd name="connsiteY2" fmla="*/ 121380 h 1247634"/>
              <a:gd name="connsiteX3" fmla="*/ 3194551 w 3559258"/>
              <a:gd name="connsiteY3" fmla="*/ 269767 h 1247634"/>
              <a:gd name="connsiteX4" fmla="*/ 3559258 w 3559258"/>
              <a:gd name="connsiteY4" fmla="*/ 272546 h 1247634"/>
              <a:gd name="connsiteX5" fmla="*/ 3555617 w 3559258"/>
              <a:gd name="connsiteY5" fmla="*/ 1247634 h 1247634"/>
              <a:gd name="connsiteX6" fmla="*/ 5733 w 3559258"/>
              <a:gd name="connsiteY6" fmla="*/ 1247477 h 1247634"/>
              <a:gd name="connsiteX0" fmla="*/ 265934 w 3819459"/>
              <a:gd name="connsiteY0" fmla="*/ 1255838 h 1255995"/>
              <a:gd name="connsiteX1" fmla="*/ 256431 w 3819459"/>
              <a:gd name="connsiteY1" fmla="*/ 150521 h 1255995"/>
              <a:gd name="connsiteX2" fmla="*/ 260343 w 3819459"/>
              <a:gd name="connsiteY2" fmla="*/ 8361 h 1255995"/>
              <a:gd name="connsiteX3" fmla="*/ 3269795 w 3819459"/>
              <a:gd name="connsiteY3" fmla="*/ 129741 h 1255995"/>
              <a:gd name="connsiteX4" fmla="*/ 3454752 w 3819459"/>
              <a:gd name="connsiteY4" fmla="*/ 278128 h 1255995"/>
              <a:gd name="connsiteX5" fmla="*/ 3819459 w 3819459"/>
              <a:gd name="connsiteY5" fmla="*/ 280907 h 1255995"/>
              <a:gd name="connsiteX6" fmla="*/ 3815818 w 3819459"/>
              <a:gd name="connsiteY6" fmla="*/ 1255995 h 1255995"/>
              <a:gd name="connsiteX7" fmla="*/ 265934 w 3819459"/>
              <a:gd name="connsiteY7" fmla="*/ 1255838 h 1255995"/>
              <a:gd name="connsiteX0" fmla="*/ 415417 w 3968942"/>
              <a:gd name="connsiteY0" fmla="*/ 1199998 h 1200155"/>
              <a:gd name="connsiteX1" fmla="*/ 405914 w 3968942"/>
              <a:gd name="connsiteY1" fmla="*/ 94681 h 1200155"/>
              <a:gd name="connsiteX2" fmla="*/ 3419278 w 3968942"/>
              <a:gd name="connsiteY2" fmla="*/ 73901 h 1200155"/>
              <a:gd name="connsiteX3" fmla="*/ 3604235 w 3968942"/>
              <a:gd name="connsiteY3" fmla="*/ 222288 h 1200155"/>
              <a:gd name="connsiteX4" fmla="*/ 3968942 w 3968942"/>
              <a:gd name="connsiteY4" fmla="*/ 225067 h 1200155"/>
              <a:gd name="connsiteX5" fmla="*/ 3965301 w 3968942"/>
              <a:gd name="connsiteY5" fmla="*/ 1200155 h 1200155"/>
              <a:gd name="connsiteX6" fmla="*/ 415417 w 3968942"/>
              <a:gd name="connsiteY6" fmla="*/ 1199998 h 1200155"/>
              <a:gd name="connsiteX0" fmla="*/ 232068 w 3785593"/>
              <a:gd name="connsiteY0" fmla="*/ 1199998 h 1200155"/>
              <a:gd name="connsiteX1" fmla="*/ 222565 w 3785593"/>
              <a:gd name="connsiteY1" fmla="*/ 94681 h 1200155"/>
              <a:gd name="connsiteX2" fmla="*/ 3235929 w 3785593"/>
              <a:gd name="connsiteY2" fmla="*/ 73901 h 1200155"/>
              <a:gd name="connsiteX3" fmla="*/ 3420886 w 3785593"/>
              <a:gd name="connsiteY3" fmla="*/ 222288 h 1200155"/>
              <a:gd name="connsiteX4" fmla="*/ 3785593 w 3785593"/>
              <a:gd name="connsiteY4" fmla="*/ 225067 h 1200155"/>
              <a:gd name="connsiteX5" fmla="*/ 3781952 w 3785593"/>
              <a:gd name="connsiteY5" fmla="*/ 1200155 h 1200155"/>
              <a:gd name="connsiteX6" fmla="*/ 232068 w 3785593"/>
              <a:gd name="connsiteY6" fmla="*/ 1199998 h 1200155"/>
              <a:gd name="connsiteX0" fmla="*/ 16560 w 3570085"/>
              <a:gd name="connsiteY0" fmla="*/ 1199998 h 1200155"/>
              <a:gd name="connsiteX1" fmla="*/ 7057 w 3570085"/>
              <a:gd name="connsiteY1" fmla="*/ 94681 h 1200155"/>
              <a:gd name="connsiteX2" fmla="*/ 3020421 w 3570085"/>
              <a:gd name="connsiteY2" fmla="*/ 73901 h 1200155"/>
              <a:gd name="connsiteX3" fmla="*/ 3205378 w 3570085"/>
              <a:gd name="connsiteY3" fmla="*/ 222288 h 1200155"/>
              <a:gd name="connsiteX4" fmla="*/ 3570085 w 3570085"/>
              <a:gd name="connsiteY4" fmla="*/ 225067 h 1200155"/>
              <a:gd name="connsiteX5" fmla="*/ 3566444 w 3570085"/>
              <a:gd name="connsiteY5" fmla="*/ 1200155 h 1200155"/>
              <a:gd name="connsiteX6" fmla="*/ 16560 w 3570085"/>
              <a:gd name="connsiteY6" fmla="*/ 1199998 h 1200155"/>
              <a:gd name="connsiteX0" fmla="*/ 16560 w 3570085"/>
              <a:gd name="connsiteY0" fmla="*/ 1133874 h 1134031"/>
              <a:gd name="connsiteX1" fmla="*/ 7057 w 3570085"/>
              <a:gd name="connsiteY1" fmla="*/ 28557 h 1134031"/>
              <a:gd name="connsiteX2" fmla="*/ 3020421 w 3570085"/>
              <a:gd name="connsiteY2" fmla="*/ 7777 h 1134031"/>
              <a:gd name="connsiteX3" fmla="*/ 3205378 w 3570085"/>
              <a:gd name="connsiteY3" fmla="*/ 156164 h 1134031"/>
              <a:gd name="connsiteX4" fmla="*/ 3570085 w 3570085"/>
              <a:gd name="connsiteY4" fmla="*/ 158943 h 1134031"/>
              <a:gd name="connsiteX5" fmla="*/ 3566444 w 3570085"/>
              <a:gd name="connsiteY5" fmla="*/ 1134031 h 1134031"/>
              <a:gd name="connsiteX6" fmla="*/ 16560 w 3570085"/>
              <a:gd name="connsiteY6" fmla="*/ 1133874 h 1134031"/>
              <a:gd name="connsiteX0" fmla="*/ 16560 w 3570085"/>
              <a:gd name="connsiteY0" fmla="*/ 1109331 h 1109488"/>
              <a:gd name="connsiteX1" fmla="*/ 7057 w 3570085"/>
              <a:gd name="connsiteY1" fmla="*/ 4014 h 1109488"/>
              <a:gd name="connsiteX2" fmla="*/ 3048130 w 3570085"/>
              <a:gd name="connsiteY2" fmla="*/ 38652 h 1109488"/>
              <a:gd name="connsiteX3" fmla="*/ 3205378 w 3570085"/>
              <a:gd name="connsiteY3" fmla="*/ 131621 h 1109488"/>
              <a:gd name="connsiteX4" fmla="*/ 3570085 w 3570085"/>
              <a:gd name="connsiteY4" fmla="*/ 134400 h 1109488"/>
              <a:gd name="connsiteX5" fmla="*/ 3566444 w 3570085"/>
              <a:gd name="connsiteY5" fmla="*/ 1109488 h 1109488"/>
              <a:gd name="connsiteX6" fmla="*/ 16560 w 3570085"/>
              <a:gd name="connsiteY6" fmla="*/ 1109331 h 1109488"/>
              <a:gd name="connsiteX0" fmla="*/ 16560 w 3570085"/>
              <a:gd name="connsiteY0" fmla="*/ 1107515 h 1107672"/>
              <a:gd name="connsiteX1" fmla="*/ 7057 w 3570085"/>
              <a:gd name="connsiteY1" fmla="*/ 2198 h 1107672"/>
              <a:gd name="connsiteX2" fmla="*/ 3048130 w 3570085"/>
              <a:gd name="connsiteY2" fmla="*/ 36836 h 1107672"/>
              <a:gd name="connsiteX3" fmla="*/ 3205378 w 3570085"/>
              <a:gd name="connsiteY3" fmla="*/ 129805 h 1107672"/>
              <a:gd name="connsiteX4" fmla="*/ 3570085 w 3570085"/>
              <a:gd name="connsiteY4" fmla="*/ 132584 h 1107672"/>
              <a:gd name="connsiteX5" fmla="*/ 3566444 w 3570085"/>
              <a:gd name="connsiteY5" fmla="*/ 1107672 h 1107672"/>
              <a:gd name="connsiteX6" fmla="*/ 16560 w 3570085"/>
              <a:gd name="connsiteY6" fmla="*/ 1107515 h 1107672"/>
              <a:gd name="connsiteX0" fmla="*/ 16560 w 3570085"/>
              <a:gd name="connsiteY0" fmla="*/ 1112243 h 1112400"/>
              <a:gd name="connsiteX1" fmla="*/ 7057 w 3570085"/>
              <a:gd name="connsiteY1" fmla="*/ 6926 h 1112400"/>
              <a:gd name="connsiteX2" fmla="*/ 2992712 w 3570085"/>
              <a:gd name="connsiteY2" fmla="*/ 0 h 1112400"/>
              <a:gd name="connsiteX3" fmla="*/ 3205378 w 3570085"/>
              <a:gd name="connsiteY3" fmla="*/ 134533 h 1112400"/>
              <a:gd name="connsiteX4" fmla="*/ 3570085 w 3570085"/>
              <a:gd name="connsiteY4" fmla="*/ 137312 h 1112400"/>
              <a:gd name="connsiteX5" fmla="*/ 3566444 w 3570085"/>
              <a:gd name="connsiteY5" fmla="*/ 1112400 h 1112400"/>
              <a:gd name="connsiteX6" fmla="*/ 16560 w 3570085"/>
              <a:gd name="connsiteY6" fmla="*/ 1112243 h 1112400"/>
              <a:gd name="connsiteX0" fmla="*/ 22098 w 3575623"/>
              <a:gd name="connsiteY0" fmla="*/ 1112243 h 1112400"/>
              <a:gd name="connsiteX1" fmla="*/ 5668 w 3575623"/>
              <a:gd name="connsiteY1" fmla="*/ 34635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2098 w 3575623"/>
              <a:gd name="connsiteY0" fmla="*/ 1112243 h 1112400"/>
              <a:gd name="connsiteX1" fmla="*/ 5668 w 3575623"/>
              <a:gd name="connsiteY1" fmla="*/ 13854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0024 w 3573549"/>
              <a:gd name="connsiteY0" fmla="*/ 1112243 h 1112400"/>
              <a:gd name="connsiteX1" fmla="*/ 3594 w 3573549"/>
              <a:gd name="connsiteY1" fmla="*/ 13854 h 1112400"/>
              <a:gd name="connsiteX2" fmla="*/ 2996176 w 3573549"/>
              <a:gd name="connsiteY2" fmla="*/ 0 h 1112400"/>
              <a:gd name="connsiteX3" fmla="*/ 3208842 w 3573549"/>
              <a:gd name="connsiteY3" fmla="*/ 134533 h 1112400"/>
              <a:gd name="connsiteX4" fmla="*/ 3573549 w 3573549"/>
              <a:gd name="connsiteY4" fmla="*/ 137312 h 1112400"/>
              <a:gd name="connsiteX5" fmla="*/ 3569908 w 3573549"/>
              <a:gd name="connsiteY5" fmla="*/ 1112400 h 1112400"/>
              <a:gd name="connsiteX6" fmla="*/ 20024 w 3573549"/>
              <a:gd name="connsiteY6" fmla="*/ 1112243 h 1112400"/>
              <a:gd name="connsiteX0" fmla="*/ 16430 w 3569955"/>
              <a:gd name="connsiteY0" fmla="*/ 1112243 h 1112400"/>
              <a:gd name="connsiteX1" fmla="*/ 0 w 3569955"/>
              <a:gd name="connsiteY1" fmla="*/ 13854 h 1112400"/>
              <a:gd name="connsiteX2" fmla="*/ 2992582 w 3569955"/>
              <a:gd name="connsiteY2" fmla="*/ 0 h 1112400"/>
              <a:gd name="connsiteX3" fmla="*/ 3205248 w 3569955"/>
              <a:gd name="connsiteY3" fmla="*/ 134533 h 1112400"/>
              <a:gd name="connsiteX4" fmla="*/ 3569955 w 3569955"/>
              <a:gd name="connsiteY4" fmla="*/ 137312 h 1112400"/>
              <a:gd name="connsiteX5" fmla="*/ 3566314 w 3569955"/>
              <a:gd name="connsiteY5" fmla="*/ 1112400 h 1112400"/>
              <a:gd name="connsiteX6" fmla="*/ 16430 w 3569955"/>
              <a:gd name="connsiteY6" fmla="*/ 1112243 h 1112400"/>
              <a:gd name="connsiteX0" fmla="*/ 2575 w 3556100"/>
              <a:gd name="connsiteY0" fmla="*/ 1116552 h 1116709"/>
              <a:gd name="connsiteX1" fmla="*/ 0 w 3556100"/>
              <a:gd name="connsiteY1" fmla="*/ 4308 h 1116709"/>
              <a:gd name="connsiteX2" fmla="*/ 2978727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6552 h 1116709"/>
              <a:gd name="connsiteX1" fmla="*/ 0 w 3556100"/>
              <a:gd name="connsiteY1" fmla="*/ 4308 h 1116709"/>
              <a:gd name="connsiteX2" fmla="*/ 2971799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5351 h 1115508"/>
              <a:gd name="connsiteX1" fmla="*/ 0 w 3556100"/>
              <a:gd name="connsiteY1" fmla="*/ 3107 h 1115508"/>
              <a:gd name="connsiteX2" fmla="*/ 2964872 w 3556100"/>
              <a:gd name="connsiteY2" fmla="*/ 16963 h 1115508"/>
              <a:gd name="connsiteX3" fmla="*/ 3191393 w 3556100"/>
              <a:gd name="connsiteY3" fmla="*/ 137641 h 1115508"/>
              <a:gd name="connsiteX4" fmla="*/ 3556100 w 3556100"/>
              <a:gd name="connsiteY4" fmla="*/ 140420 h 1115508"/>
              <a:gd name="connsiteX5" fmla="*/ 3552459 w 3556100"/>
              <a:gd name="connsiteY5" fmla="*/ 1115508 h 1115508"/>
              <a:gd name="connsiteX6" fmla="*/ 2575 w 3556100"/>
              <a:gd name="connsiteY6" fmla="*/ 1115351 h 1115508"/>
              <a:gd name="connsiteX0" fmla="*/ 2575 w 3556100"/>
              <a:gd name="connsiteY0" fmla="*/ 1119170 h 1119327"/>
              <a:gd name="connsiteX1" fmla="*/ 0 w 3556100"/>
              <a:gd name="connsiteY1" fmla="*/ 6926 h 1119327"/>
              <a:gd name="connsiteX2" fmla="*/ 2971800 w 3556100"/>
              <a:gd name="connsiteY2" fmla="*/ 0 h 1119327"/>
              <a:gd name="connsiteX3" fmla="*/ 3191393 w 3556100"/>
              <a:gd name="connsiteY3" fmla="*/ 141460 h 1119327"/>
              <a:gd name="connsiteX4" fmla="*/ 3556100 w 3556100"/>
              <a:gd name="connsiteY4" fmla="*/ 144239 h 1119327"/>
              <a:gd name="connsiteX5" fmla="*/ 3552459 w 3556100"/>
              <a:gd name="connsiteY5" fmla="*/ 1119327 h 1119327"/>
              <a:gd name="connsiteX6" fmla="*/ 2575 w 3556100"/>
              <a:gd name="connsiteY6" fmla="*/ 1119170 h 1119327"/>
              <a:gd name="connsiteX0" fmla="*/ 5397 w 3558922"/>
              <a:gd name="connsiteY0" fmla="*/ 1127370 h 1127527"/>
              <a:gd name="connsiteX1" fmla="*/ 0 w 3558922"/>
              <a:gd name="connsiteY1" fmla="*/ 3837 h 1127527"/>
              <a:gd name="connsiteX2" fmla="*/ 2974622 w 3558922"/>
              <a:gd name="connsiteY2" fmla="*/ 8200 h 1127527"/>
              <a:gd name="connsiteX3" fmla="*/ 3194215 w 3558922"/>
              <a:gd name="connsiteY3" fmla="*/ 149660 h 1127527"/>
              <a:gd name="connsiteX4" fmla="*/ 3558922 w 3558922"/>
              <a:gd name="connsiteY4" fmla="*/ 152439 h 1127527"/>
              <a:gd name="connsiteX5" fmla="*/ 3555281 w 3558922"/>
              <a:gd name="connsiteY5" fmla="*/ 1127527 h 1127527"/>
              <a:gd name="connsiteX6" fmla="*/ 5397 w 3558922"/>
              <a:gd name="connsiteY6" fmla="*/ 1127370 h 1127527"/>
              <a:gd name="connsiteX0" fmla="*/ 5397 w 3558922"/>
              <a:gd name="connsiteY0" fmla="*/ 1123533 h 1123690"/>
              <a:gd name="connsiteX1" fmla="*/ 0 w 3558922"/>
              <a:gd name="connsiteY1" fmla="*/ 0 h 1123690"/>
              <a:gd name="connsiteX2" fmla="*/ 2974622 w 3558922"/>
              <a:gd name="connsiteY2" fmla="*/ 4363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5397 w 3558922"/>
              <a:gd name="connsiteY0" fmla="*/ 1123533 h 1123690"/>
              <a:gd name="connsiteX1" fmla="*/ 0 w 3558922"/>
              <a:gd name="connsiteY1" fmla="*/ 0 h 1123690"/>
              <a:gd name="connsiteX2" fmla="*/ 2962591 w 3558922"/>
              <a:gd name="connsiteY2" fmla="*/ 16395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10477 w 3564002"/>
              <a:gd name="connsiteY0" fmla="*/ 1108293 h 1108450"/>
              <a:gd name="connsiteX1" fmla="*/ 0 w 3564002"/>
              <a:gd name="connsiteY1" fmla="*/ 0 h 1108450"/>
              <a:gd name="connsiteX2" fmla="*/ 2967671 w 3564002"/>
              <a:gd name="connsiteY2" fmla="*/ 1155 h 1108450"/>
              <a:gd name="connsiteX3" fmla="*/ 3199295 w 3564002"/>
              <a:gd name="connsiteY3" fmla="*/ 130583 h 1108450"/>
              <a:gd name="connsiteX4" fmla="*/ 3564002 w 3564002"/>
              <a:gd name="connsiteY4" fmla="*/ 133362 h 1108450"/>
              <a:gd name="connsiteX5" fmla="*/ 3560361 w 3564002"/>
              <a:gd name="connsiteY5" fmla="*/ 1108450 h 1108450"/>
              <a:gd name="connsiteX6" fmla="*/ 10477 w 3564002"/>
              <a:gd name="connsiteY6" fmla="*/ 1108293 h 1108450"/>
              <a:gd name="connsiteX0" fmla="*/ 5397 w 3558922"/>
              <a:gd name="connsiteY0" fmla="*/ 1107138 h 1107295"/>
              <a:gd name="connsiteX1" fmla="*/ 0 w 3558922"/>
              <a:gd name="connsiteY1" fmla="*/ 3925 h 1107295"/>
              <a:gd name="connsiteX2" fmla="*/ 2962591 w 3558922"/>
              <a:gd name="connsiteY2" fmla="*/ 0 h 1107295"/>
              <a:gd name="connsiteX3" fmla="*/ 3194215 w 3558922"/>
              <a:gd name="connsiteY3" fmla="*/ 129428 h 1107295"/>
              <a:gd name="connsiteX4" fmla="*/ 3558922 w 3558922"/>
              <a:gd name="connsiteY4" fmla="*/ 132207 h 1107295"/>
              <a:gd name="connsiteX5" fmla="*/ 3555281 w 3558922"/>
              <a:gd name="connsiteY5" fmla="*/ 1107295 h 1107295"/>
              <a:gd name="connsiteX6" fmla="*/ 5397 w 3558922"/>
              <a:gd name="connsiteY6" fmla="*/ 1107138 h 1107295"/>
              <a:gd name="connsiteX0" fmla="*/ 7397 w 3560922"/>
              <a:gd name="connsiteY0" fmla="*/ 1107138 h 1107295"/>
              <a:gd name="connsiteX1" fmla="*/ 2000 w 3560922"/>
              <a:gd name="connsiteY1" fmla="*/ 3925 h 1107295"/>
              <a:gd name="connsiteX2" fmla="*/ 2964591 w 3560922"/>
              <a:gd name="connsiteY2" fmla="*/ 0 h 1107295"/>
              <a:gd name="connsiteX3" fmla="*/ 3196215 w 3560922"/>
              <a:gd name="connsiteY3" fmla="*/ 129428 h 1107295"/>
              <a:gd name="connsiteX4" fmla="*/ 3560922 w 3560922"/>
              <a:gd name="connsiteY4" fmla="*/ 132207 h 1107295"/>
              <a:gd name="connsiteX5" fmla="*/ 3557281 w 3560922"/>
              <a:gd name="connsiteY5" fmla="*/ 1107295 h 1107295"/>
              <a:gd name="connsiteX6" fmla="*/ 7397 w 3560922"/>
              <a:gd name="connsiteY6" fmla="*/ 1107138 h 1107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0922" h="1107295">
                <a:moveTo>
                  <a:pt x="7397" y="1107138"/>
                </a:moveTo>
                <a:cubicBezTo>
                  <a:pt x="-8561" y="635179"/>
                  <a:pt x="7048" y="669590"/>
                  <a:pt x="2000" y="3925"/>
                </a:cubicBezTo>
                <a:lnTo>
                  <a:pt x="2964591" y="0"/>
                </a:lnTo>
                <a:lnTo>
                  <a:pt x="3196215" y="129428"/>
                </a:lnTo>
                <a:lnTo>
                  <a:pt x="3560922" y="132207"/>
                </a:lnTo>
                <a:cubicBezTo>
                  <a:pt x="3559708" y="460411"/>
                  <a:pt x="3561670" y="779091"/>
                  <a:pt x="3557281" y="1107295"/>
                </a:cubicBezTo>
                <a:lnTo>
                  <a:pt x="7397" y="1107138"/>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a:t> </a:t>
            </a:r>
          </a:p>
        </p:txBody>
      </p:sp>
      <p:sp>
        <p:nvSpPr>
          <p:cNvPr id="31" name="Text Placeholder 33">
            <a:extLst>
              <a:ext uri="{FF2B5EF4-FFF2-40B4-BE49-F238E27FC236}">
                <a16:creationId xmlns:a16="http://schemas.microsoft.com/office/drawing/2014/main" id="{0E305669-AD11-06AE-ABD3-912D2C14C40C}"/>
              </a:ext>
            </a:extLst>
          </p:cNvPr>
          <p:cNvSpPr>
            <a:spLocks noGrp="1"/>
          </p:cNvSpPr>
          <p:nvPr>
            <p:ph type="body" sz="quarter" idx="22" hasCustomPrompt="1"/>
          </p:nvPr>
        </p:nvSpPr>
        <p:spPr>
          <a:xfrm>
            <a:off x="-3135" y="5417011"/>
            <a:ext cx="5344068" cy="1042416"/>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183655 w 5344068"/>
              <a:gd name="connsiteY2" fmla="*/ 96335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25985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63040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88067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20056"/>
                  <a:pt x="1336" y="988067"/>
                </a:cubicBezTo>
                <a:lnTo>
                  <a:pt x="3552965" y="977327"/>
                </a:lnTo>
                <a:cubicBezTo>
                  <a:pt x="3550551" y="657901"/>
                  <a:pt x="3555066" y="324189"/>
                  <a:pt x="3552652" y="4763"/>
                </a:cubicBez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a:t> </a:t>
            </a:r>
          </a:p>
        </p:txBody>
      </p:sp>
      <p:sp>
        <p:nvSpPr>
          <p:cNvPr id="32" name="Text Placeholder 103">
            <a:extLst>
              <a:ext uri="{FF2B5EF4-FFF2-40B4-BE49-F238E27FC236}">
                <a16:creationId xmlns:a16="http://schemas.microsoft.com/office/drawing/2014/main" id="{9ED3CE1A-659B-FCF1-41A2-B30B41A22367}"/>
              </a:ext>
            </a:extLst>
          </p:cNvPr>
          <p:cNvSpPr>
            <a:spLocks noGrp="1"/>
          </p:cNvSpPr>
          <p:nvPr>
            <p:ph type="body" sz="quarter" idx="26" hasCustomPrompt="1"/>
          </p:nvPr>
        </p:nvSpPr>
        <p:spPr>
          <a:xfrm>
            <a:off x="150008" y="5489041"/>
            <a:ext cx="3271178" cy="822960"/>
          </a:xfrm>
        </p:spPr>
        <p:txBody>
          <a:bodyPr anchor="ctr" anchorCtr="0"/>
          <a:lstStyle>
            <a:lvl1pPr marL="0" indent="0" algn="l">
              <a:spcBef>
                <a:spcPts val="0"/>
              </a:spcBef>
              <a:buFontTx/>
              <a:buNone/>
              <a:defRPr sz="1600" b="1">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ompany description</a:t>
            </a:r>
          </a:p>
        </p:txBody>
      </p:sp>
      <p:sp>
        <p:nvSpPr>
          <p:cNvPr id="33" name="Text Placeholder 20">
            <a:extLst>
              <a:ext uri="{FF2B5EF4-FFF2-40B4-BE49-F238E27FC236}">
                <a16:creationId xmlns:a16="http://schemas.microsoft.com/office/drawing/2014/main" id="{FCDF81FA-03F5-D2F4-4B79-1B76708E2053}"/>
              </a:ext>
            </a:extLst>
          </p:cNvPr>
          <p:cNvSpPr>
            <a:spLocks noGrp="1"/>
          </p:cNvSpPr>
          <p:nvPr>
            <p:ph type="body" sz="quarter" idx="27" hasCustomPrompt="1"/>
          </p:nvPr>
        </p:nvSpPr>
        <p:spPr>
          <a:xfrm>
            <a:off x="3680340" y="5550001"/>
            <a:ext cx="1472491" cy="723900"/>
          </a:xfrm>
        </p:spPr>
        <p:txBody>
          <a:bodyPr anchor="ctr" anchorCtr="0"/>
          <a:lstStyle>
            <a:lvl1pPr marL="0" indent="0" algn="ctr">
              <a:buFontTx/>
              <a:buNone/>
              <a:defRPr sz="1400">
                <a:solidFill>
                  <a:schemeClr val="tx1"/>
                </a:solidFill>
              </a:defRPr>
            </a:lvl1pPr>
          </a:lstStyle>
          <a:p>
            <a:pPr lvl="0"/>
            <a:r>
              <a:rPr lang="en-US"/>
              <a:t>Paste logo</a:t>
            </a:r>
          </a:p>
        </p:txBody>
      </p:sp>
      <p:sp>
        <p:nvSpPr>
          <p:cNvPr id="7" name="Rectangle 6">
            <a:extLst>
              <a:ext uri="{FF2B5EF4-FFF2-40B4-BE49-F238E27FC236}">
                <a16:creationId xmlns:a16="http://schemas.microsoft.com/office/drawing/2014/main" id="{12C58AF4-53D0-4E1E-5834-5FA6419A4EEE}"/>
              </a:ext>
            </a:extLst>
          </p:cNvPr>
          <p:cNvSpPr/>
          <p:nvPr userDrawn="1"/>
        </p:nvSpPr>
        <p:spPr>
          <a:xfrm>
            <a:off x="6235700"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2574418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ase Study 3 (RO)">
    <p:spTree>
      <p:nvGrpSpPr>
        <p:cNvPr id="1" name=""/>
        <p:cNvGrpSpPr/>
        <p:nvPr/>
      </p:nvGrpSpPr>
      <p:grpSpPr>
        <a:xfrm>
          <a:off x="0" y="0"/>
          <a:ext cx="0" cy="0"/>
          <a:chOff x="0" y="0"/>
          <a:chExt cx="0" cy="0"/>
        </a:xfrm>
      </p:grpSpPr>
      <p:pic>
        <p:nvPicPr>
          <p:cNvPr id="5" name="Picture Placeholder 36" descr="A blue and green background with hexagons&#10;&#10;Description automatically generated">
            <a:extLst>
              <a:ext uri="{FF2B5EF4-FFF2-40B4-BE49-F238E27FC236}">
                <a16:creationId xmlns:a16="http://schemas.microsoft.com/office/drawing/2014/main" id="{786B9C96-1360-687E-65CB-9FCB35DAD47A}"/>
              </a:ext>
            </a:extLst>
          </p:cNvPr>
          <p:cNvPicPr>
            <a:picLocks noChangeAspect="1"/>
          </p:cNvPicPr>
          <p:nvPr userDrawn="1"/>
        </p:nvPicPr>
        <p:blipFill>
          <a:blip r:embed="rId2">
            <a:extLst>
              <a:ext uri="{28A0092B-C50C-407E-A947-70E740481C1C}">
                <a14:useLocalDpi xmlns:a14="http://schemas.microsoft.com/office/drawing/2010/main" val="0"/>
              </a:ext>
            </a:extLst>
          </a:blip>
          <a:srcRect l="-13" t="9759" b="14593"/>
          <a:stretch/>
        </p:blipFill>
        <p:spPr>
          <a:xfrm>
            <a:off x="1524" y="0"/>
            <a:ext cx="12190476" cy="5186592"/>
          </a:xfrm>
          <a:prstGeom prst="rect">
            <a:avLst/>
          </a:prstGeom>
          <a:solidFill>
            <a:schemeClr val="bg1">
              <a:alpha val="75000"/>
            </a:schemeClr>
          </a:solidFill>
          <a:ln w="9525">
            <a:noFill/>
          </a:ln>
        </p:spPr>
      </p:pic>
      <p:sp>
        <p:nvSpPr>
          <p:cNvPr id="6" name="Freeform: Shape 5">
            <a:extLst>
              <a:ext uri="{FF2B5EF4-FFF2-40B4-BE49-F238E27FC236}">
                <a16:creationId xmlns:a16="http://schemas.microsoft.com/office/drawing/2014/main" id="{A90B2528-832A-7B07-D9B1-F69E82F2C6EC}"/>
              </a:ext>
            </a:extLst>
          </p:cNvPr>
          <p:cNvSpPr/>
          <p:nvPr userDrawn="1"/>
        </p:nvSpPr>
        <p:spPr>
          <a:xfrm flipH="1">
            <a:off x="-3048" y="2578391"/>
            <a:ext cx="12198096" cy="3715178"/>
          </a:xfrm>
          <a:custGeom>
            <a:avLst/>
            <a:gdLst>
              <a:gd name="connsiteX0" fmla="*/ 12174159 w 12184029"/>
              <a:gd name="connsiteY0" fmla="*/ 0 h 3715178"/>
              <a:gd name="connsiteX1" fmla="*/ 9920768 w 12184029"/>
              <a:gd name="connsiteY1" fmla="*/ 0 h 3715178"/>
              <a:gd name="connsiteX2" fmla="*/ 9514817 w 12184029"/>
              <a:gd name="connsiteY2" fmla="*/ 203741 h 3715178"/>
              <a:gd name="connsiteX3" fmla="*/ 4034983 w 12184029"/>
              <a:gd name="connsiteY3" fmla="*/ 203741 h 3715178"/>
              <a:gd name="connsiteX4" fmla="*/ 4034983 w 12184029"/>
              <a:gd name="connsiteY4" fmla="*/ 211754 h 3715178"/>
              <a:gd name="connsiteX5" fmla="*/ 0 w 12184029"/>
              <a:gd name="connsiteY5" fmla="*/ 211754 h 3715178"/>
              <a:gd name="connsiteX6" fmla="*/ 0 w 12184029"/>
              <a:gd name="connsiteY6" fmla="*/ 3715178 h 3715178"/>
              <a:gd name="connsiteX7" fmla="*/ 1523 w 12184029"/>
              <a:gd name="connsiteY7" fmla="*/ 3715178 h 3715178"/>
              <a:gd name="connsiteX8" fmla="*/ 1523 w 12184029"/>
              <a:gd name="connsiteY8" fmla="*/ 3350105 h 3715178"/>
              <a:gd name="connsiteX9" fmla="*/ 2254914 w 12184029"/>
              <a:gd name="connsiteY9" fmla="*/ 3350105 h 3715178"/>
              <a:gd name="connsiteX10" fmla="*/ 2660865 w 12184029"/>
              <a:gd name="connsiteY10" fmla="*/ 3553846 h 3715178"/>
              <a:gd name="connsiteX11" fmla="*/ 4043330 w 12184029"/>
              <a:gd name="connsiteY11" fmla="*/ 3553846 h 3715178"/>
              <a:gd name="connsiteX12" fmla="*/ 4043330 w 12184029"/>
              <a:gd name="connsiteY12" fmla="*/ 3715178 h 3715178"/>
              <a:gd name="connsiteX13" fmla="*/ 4044853 w 12184029"/>
              <a:gd name="connsiteY13" fmla="*/ 3715178 h 3715178"/>
              <a:gd name="connsiteX14" fmla="*/ 4044853 w 12184029"/>
              <a:gd name="connsiteY14" fmla="*/ 3553846 h 3715178"/>
              <a:gd name="connsiteX15" fmla="*/ 6704195 w 12184029"/>
              <a:gd name="connsiteY15" fmla="*/ 3553846 h 3715178"/>
              <a:gd name="connsiteX16" fmla="*/ 8140699 w 12184029"/>
              <a:gd name="connsiteY16" fmla="*/ 3553846 h 3715178"/>
              <a:gd name="connsiteX17" fmla="*/ 12184029 w 12184029"/>
              <a:gd name="connsiteY17" fmla="*/ 3553846 h 3715178"/>
              <a:gd name="connsiteX18" fmla="*/ 12184029 w 12184029"/>
              <a:gd name="connsiteY18" fmla="*/ 211754 h 3715178"/>
              <a:gd name="connsiteX19" fmla="*/ 12174159 w 12184029"/>
              <a:gd name="connsiteY19" fmla="*/ 211754 h 3715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84029" h="3715178">
                <a:moveTo>
                  <a:pt x="12174159" y="0"/>
                </a:moveTo>
                <a:lnTo>
                  <a:pt x="9920768" y="0"/>
                </a:lnTo>
                <a:lnTo>
                  <a:pt x="9514817" y="203741"/>
                </a:lnTo>
                <a:lnTo>
                  <a:pt x="4034983" y="203741"/>
                </a:lnTo>
                <a:lnTo>
                  <a:pt x="4034983" y="211754"/>
                </a:lnTo>
                <a:lnTo>
                  <a:pt x="0" y="211754"/>
                </a:lnTo>
                <a:lnTo>
                  <a:pt x="0" y="3715178"/>
                </a:lnTo>
                <a:lnTo>
                  <a:pt x="1523" y="3715178"/>
                </a:lnTo>
                <a:lnTo>
                  <a:pt x="1523" y="3350105"/>
                </a:lnTo>
                <a:lnTo>
                  <a:pt x="2254914" y="3350105"/>
                </a:lnTo>
                <a:lnTo>
                  <a:pt x="2660865" y="3553846"/>
                </a:lnTo>
                <a:lnTo>
                  <a:pt x="4043330" y="3553846"/>
                </a:lnTo>
                <a:lnTo>
                  <a:pt x="4043330" y="3715178"/>
                </a:lnTo>
                <a:lnTo>
                  <a:pt x="4044853" y="3715178"/>
                </a:lnTo>
                <a:lnTo>
                  <a:pt x="4044853" y="3553846"/>
                </a:lnTo>
                <a:lnTo>
                  <a:pt x="6704195" y="3553846"/>
                </a:lnTo>
                <a:lnTo>
                  <a:pt x="8140699" y="3553846"/>
                </a:lnTo>
                <a:lnTo>
                  <a:pt x="12184029" y="3553846"/>
                </a:lnTo>
                <a:lnTo>
                  <a:pt x="12184029" y="211754"/>
                </a:lnTo>
                <a:lnTo>
                  <a:pt x="12174159" y="211754"/>
                </a:lnTo>
                <a:close/>
              </a:path>
            </a:pathLst>
          </a:custGeom>
          <a:solidFill>
            <a:srgbClr val="0E253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1" name="Picture Placeholder 10">
            <a:extLst>
              <a:ext uri="{FF2B5EF4-FFF2-40B4-BE49-F238E27FC236}">
                <a16:creationId xmlns:a16="http://schemas.microsoft.com/office/drawing/2014/main" id="{A8914F67-4BA9-F961-8F25-3D6BC17AFEE9}"/>
              </a:ext>
            </a:extLst>
          </p:cNvPr>
          <p:cNvSpPr>
            <a:spLocks noGrp="1"/>
          </p:cNvSpPr>
          <p:nvPr>
            <p:ph type="pic" sz="quarter" idx="10" hasCustomPrompt="1"/>
          </p:nvPr>
        </p:nvSpPr>
        <p:spPr>
          <a:xfrm>
            <a:off x="0" y="2975504"/>
            <a:ext cx="5080000" cy="2760662"/>
          </a:xfrm>
          <a:prstGeom prst="snip1Rect">
            <a:avLst/>
          </a:prstGeom>
          <a:ln>
            <a:solidFill>
              <a:schemeClr val="bg2"/>
            </a:solidFill>
          </a:ln>
        </p:spPr>
        <p:txBody>
          <a:bodyPr bIns="914400" anchor="ctr" anchorCtr="0"/>
          <a:lstStyle>
            <a:lvl1pPr marL="0" indent="0" algn="ctr">
              <a:buFontTx/>
              <a:buNone/>
              <a:defRPr sz="1400">
                <a:solidFill>
                  <a:schemeClr val="accent5"/>
                </a:solidFill>
              </a:defRPr>
            </a:lvl1pPr>
          </a:lstStyle>
          <a:p>
            <a:r>
              <a:rPr lang="en-US" dirty="0"/>
              <a:t>Insert Picture</a:t>
            </a:r>
          </a:p>
        </p:txBody>
      </p:sp>
      <p:pic>
        <p:nvPicPr>
          <p:cNvPr id="7" name="Graphic 6">
            <a:extLst>
              <a:ext uri="{FF2B5EF4-FFF2-40B4-BE49-F238E27FC236}">
                <a16:creationId xmlns:a16="http://schemas.microsoft.com/office/drawing/2014/main" id="{A850E60D-9F6F-1416-DF8C-0D3A599510B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299440" y="2676021"/>
            <a:ext cx="2892560" cy="215304"/>
          </a:xfrm>
          <a:prstGeom prst="rect">
            <a:avLst/>
          </a:prstGeom>
        </p:spPr>
      </p:pic>
      <p:sp>
        <p:nvSpPr>
          <p:cNvPr id="3" name="Text Placeholder 2">
            <a:extLst>
              <a:ext uri="{FF2B5EF4-FFF2-40B4-BE49-F238E27FC236}">
                <a16:creationId xmlns:a16="http://schemas.microsoft.com/office/drawing/2014/main" id="{598AF178-D1C4-5822-6227-54B71E9FD741}"/>
              </a:ext>
            </a:extLst>
          </p:cNvPr>
          <p:cNvSpPr>
            <a:spLocks noGrp="1"/>
          </p:cNvSpPr>
          <p:nvPr>
            <p:ph type="body" sz="quarter" idx="11" hasCustomPrompt="1"/>
          </p:nvPr>
        </p:nvSpPr>
        <p:spPr>
          <a:xfrm>
            <a:off x="495300" y="1488944"/>
            <a:ext cx="3432266" cy="1005840"/>
          </a:xfrm>
        </p:spPr>
        <p:txBody>
          <a:bodyPr vert="horz" lIns="0" tIns="0" rIns="0" bIns="0" rtlCol="0">
            <a:noAutofit/>
          </a:bodyPr>
          <a:lstStyle>
            <a:lvl1pPr>
              <a:defRPr lang="en-US" sz="1600" dirty="0" smtClean="0">
                <a:solidFill>
                  <a:schemeClr val="bg1"/>
                </a:solidFill>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stStyle>
          <a:p>
            <a:pPr marL="274320" lvl="0" indent="-274320"/>
            <a:r>
              <a:rPr lang="en-US" dirty="0"/>
              <a:t>Add text</a:t>
            </a:r>
          </a:p>
        </p:txBody>
      </p:sp>
      <p:sp>
        <p:nvSpPr>
          <p:cNvPr id="4" name="Text Placeholder 2">
            <a:extLst>
              <a:ext uri="{FF2B5EF4-FFF2-40B4-BE49-F238E27FC236}">
                <a16:creationId xmlns:a16="http://schemas.microsoft.com/office/drawing/2014/main" id="{148DC18C-3CF4-715F-AD2B-F5FB8E7D5E4D}"/>
              </a:ext>
            </a:extLst>
          </p:cNvPr>
          <p:cNvSpPr>
            <a:spLocks noGrp="1"/>
          </p:cNvSpPr>
          <p:nvPr>
            <p:ph type="body" sz="quarter" idx="12" hasCustomPrompt="1"/>
          </p:nvPr>
        </p:nvSpPr>
        <p:spPr>
          <a:xfrm>
            <a:off x="4409803" y="1488944"/>
            <a:ext cx="3432266" cy="1005840"/>
          </a:xfrm>
        </p:spPr>
        <p:txBody>
          <a:bodyPr vert="horz" lIns="0" tIns="0" rIns="0" bIns="0" rtlCol="0">
            <a:noAutofit/>
          </a:bodyPr>
          <a:lstStyle>
            <a:lvl1pPr>
              <a:defRPr lang="en-US" sz="1600" dirty="0">
                <a:solidFill>
                  <a:schemeClr val="bg1"/>
                </a:solidFill>
              </a:defRPr>
            </a:lvl1pPr>
          </a:lstStyle>
          <a:p>
            <a:pPr marL="274320" lvl="0" indent="-274320"/>
            <a:r>
              <a:rPr lang="en-US" dirty="0"/>
              <a:t>Add text</a:t>
            </a:r>
          </a:p>
        </p:txBody>
      </p:sp>
      <p:sp>
        <p:nvSpPr>
          <p:cNvPr id="9" name="Text Placeholder 2">
            <a:extLst>
              <a:ext uri="{FF2B5EF4-FFF2-40B4-BE49-F238E27FC236}">
                <a16:creationId xmlns:a16="http://schemas.microsoft.com/office/drawing/2014/main" id="{4E2EE35D-3376-72FF-5B37-B1C3519C3588}"/>
              </a:ext>
            </a:extLst>
          </p:cNvPr>
          <p:cNvSpPr>
            <a:spLocks noGrp="1"/>
          </p:cNvSpPr>
          <p:nvPr>
            <p:ph type="body" sz="quarter" idx="13" hasCustomPrompt="1"/>
          </p:nvPr>
        </p:nvSpPr>
        <p:spPr>
          <a:xfrm>
            <a:off x="8324306" y="1488944"/>
            <a:ext cx="3432266" cy="1005840"/>
          </a:xfrm>
        </p:spPr>
        <p:txBody>
          <a:bodyPr vert="horz" lIns="0" tIns="0" rIns="0" bIns="0" rtlCol="0">
            <a:noAutofit/>
          </a:bodyPr>
          <a:lstStyle>
            <a:lvl1pPr>
              <a:defRPr lang="en-US" sz="1600" dirty="0">
                <a:solidFill>
                  <a:schemeClr val="bg1"/>
                </a:solidFill>
              </a:defRPr>
            </a:lvl1pPr>
          </a:lstStyle>
          <a:p>
            <a:pPr marL="274320" lvl="0" indent="-274320"/>
            <a:r>
              <a:rPr lang="en-US" dirty="0"/>
              <a:t>Add text</a:t>
            </a:r>
          </a:p>
        </p:txBody>
      </p:sp>
      <p:sp>
        <p:nvSpPr>
          <p:cNvPr id="10" name="Text Placeholder 2">
            <a:extLst>
              <a:ext uri="{FF2B5EF4-FFF2-40B4-BE49-F238E27FC236}">
                <a16:creationId xmlns:a16="http://schemas.microsoft.com/office/drawing/2014/main" id="{F4B8B878-35F0-B68B-FB3C-F99E2A002120}"/>
              </a:ext>
            </a:extLst>
          </p:cNvPr>
          <p:cNvSpPr>
            <a:spLocks noGrp="1"/>
          </p:cNvSpPr>
          <p:nvPr>
            <p:ph type="body" sz="quarter" idx="14" hasCustomPrompt="1"/>
          </p:nvPr>
        </p:nvSpPr>
        <p:spPr>
          <a:xfrm>
            <a:off x="5395868" y="3032563"/>
            <a:ext cx="6300831" cy="2732594"/>
          </a:xfrm>
        </p:spPr>
        <p:txBody>
          <a:bodyPr/>
          <a:lstStyle>
            <a:lvl1pPr marL="274320" indent="-274320">
              <a:defRPr sz="1800">
                <a:solidFill>
                  <a:schemeClr val="bg1"/>
                </a:solidFill>
              </a:defRPr>
            </a:lvl1pPr>
            <a:lvl2pPr marL="576263" indent="-228600">
              <a:defRPr sz="1600">
                <a:solidFill>
                  <a:schemeClr val="bg1"/>
                </a:solidFill>
              </a:defRPr>
            </a:lvl2pPr>
            <a:lvl3pPr marL="804863" indent="-228600">
              <a:buFontTx/>
              <a:buBlip>
                <a:blip r:embed="rId5"/>
              </a:buBlip>
              <a:defRPr sz="1400">
                <a:solidFill>
                  <a:schemeClr val="bg1"/>
                </a:solidFill>
              </a:defRPr>
            </a:lvl3pPr>
            <a:lvl4pPr marL="1082675" indent="-228600">
              <a:buFontTx/>
              <a:buBlip>
                <a:blip r:embed="rId6"/>
              </a:buBlip>
              <a:defRPr sz="1200">
                <a:solidFill>
                  <a:schemeClr val="bg1"/>
                </a:solidFill>
              </a:defRPr>
            </a:lvl4pPr>
            <a:lvl5pPr marL="1311275" indent="-228600">
              <a:defRPr sz="1100">
                <a:solidFill>
                  <a:schemeClr val="bg1"/>
                </a:solidFill>
              </a:defRPr>
            </a:lvl5pPr>
          </a:lstStyle>
          <a:p>
            <a:pPr lvl="0"/>
            <a:r>
              <a:rPr lang="en-US" dirty="0"/>
              <a:t>Ad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3">
            <a:extLst>
              <a:ext uri="{FF2B5EF4-FFF2-40B4-BE49-F238E27FC236}">
                <a16:creationId xmlns:a16="http://schemas.microsoft.com/office/drawing/2014/main" id="{3C107A8E-02F5-C70A-32AF-8890B9EBB00D}"/>
              </a:ext>
            </a:extLst>
          </p:cNvPr>
          <p:cNvSpPr>
            <a:spLocks noGrp="1"/>
          </p:cNvSpPr>
          <p:nvPr>
            <p:ph type="body" sz="quarter" idx="15" hasCustomPrompt="1"/>
          </p:nvPr>
        </p:nvSpPr>
        <p:spPr>
          <a:xfrm>
            <a:off x="490761" y="6207258"/>
            <a:ext cx="2073536" cy="431285"/>
          </a:xfrm>
          <a:solidFill>
            <a:schemeClr val="tx2"/>
          </a:solidFill>
        </p:spPr>
        <p:txBody>
          <a:bodyPr anchor="ctr" anchorCtr="0"/>
          <a:lstStyle>
            <a:lvl1pPr marL="0" indent="0" algn="ctr">
              <a:buFontTx/>
              <a:buNone/>
              <a:defRPr sz="1200"/>
            </a:lvl1pPr>
            <a:lvl5pPr>
              <a:defRPr/>
            </a:lvl5pPr>
          </a:lstStyle>
          <a:p>
            <a:pPr lvl="0"/>
            <a:r>
              <a:rPr lang="en-US" dirty="0"/>
              <a:t>Add logo (s) in this section</a:t>
            </a:r>
          </a:p>
        </p:txBody>
      </p:sp>
      <p:sp>
        <p:nvSpPr>
          <p:cNvPr id="15" name="Text Placeholder 13">
            <a:extLst>
              <a:ext uri="{FF2B5EF4-FFF2-40B4-BE49-F238E27FC236}">
                <a16:creationId xmlns:a16="http://schemas.microsoft.com/office/drawing/2014/main" id="{17FE32CD-B4E2-D52C-6ACB-E7DE61BAEE5C}"/>
              </a:ext>
            </a:extLst>
          </p:cNvPr>
          <p:cNvSpPr>
            <a:spLocks noGrp="1"/>
          </p:cNvSpPr>
          <p:nvPr>
            <p:ph type="body" sz="quarter" idx="16" hasCustomPrompt="1"/>
          </p:nvPr>
        </p:nvSpPr>
        <p:spPr>
          <a:xfrm>
            <a:off x="2868192" y="6335215"/>
            <a:ext cx="5775057" cy="193899"/>
          </a:xfrm>
        </p:spPr>
        <p:txBody>
          <a:bodyPr anchor="ctr" anchorCtr="0">
            <a:spAutoFit/>
          </a:bodyPr>
          <a:lstStyle>
            <a:lvl1pPr marL="0" indent="0">
              <a:buFontTx/>
              <a:buNone/>
              <a:defRPr sz="1400" b="1"/>
            </a:lvl1pPr>
            <a:lvl5pPr>
              <a:defRPr/>
            </a:lvl5pPr>
          </a:lstStyle>
          <a:p>
            <a:pPr lvl="0"/>
            <a:r>
              <a:rPr lang="en-US" dirty="0"/>
              <a:t>Add company description in this section</a:t>
            </a:r>
          </a:p>
        </p:txBody>
      </p:sp>
      <p:sp>
        <p:nvSpPr>
          <p:cNvPr id="13" name="Freeform: Shape 12">
            <a:extLst>
              <a:ext uri="{FF2B5EF4-FFF2-40B4-BE49-F238E27FC236}">
                <a16:creationId xmlns:a16="http://schemas.microsoft.com/office/drawing/2014/main" id="{7B515AA3-02A1-028A-59BA-39316C2CE805}"/>
              </a:ext>
            </a:extLst>
          </p:cNvPr>
          <p:cNvSpPr/>
          <p:nvPr userDrawn="1"/>
        </p:nvSpPr>
        <p:spPr>
          <a:xfrm flipH="1" flipV="1">
            <a:off x="-1" y="0"/>
            <a:ext cx="12192001" cy="1399325"/>
          </a:xfrm>
          <a:custGeom>
            <a:avLst/>
            <a:gdLst>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922105 h 1399325"/>
              <a:gd name="connsiteX4" fmla="*/ 3049 w 12192001"/>
              <a:gd name="connsiteY4" fmla="*/ 0 h 1399325"/>
              <a:gd name="connsiteX5" fmla="*/ 734133 w 12192001"/>
              <a:gd name="connsiteY5" fmla="*/ 0 h 1399325"/>
              <a:gd name="connsiteX6" fmla="*/ 2801055 w 12192001"/>
              <a:gd name="connsiteY6" fmla="*/ 0 h 1399325"/>
              <a:gd name="connsiteX7" fmla="*/ 3805546 w 12192001"/>
              <a:gd name="connsiteY7" fmla="*/ 0 h 1399325"/>
              <a:gd name="connsiteX8" fmla="*/ 4041631 w 12192001"/>
              <a:gd name="connsiteY8" fmla="*/ 136016 h 1399325"/>
              <a:gd name="connsiteX9" fmla="*/ 4041631 w 12192001"/>
              <a:gd name="connsiteY9" fmla="*/ 138901 h 1399325"/>
              <a:gd name="connsiteX10" fmla="*/ 4046639 w 12192001"/>
              <a:gd name="connsiteY10" fmla="*/ 138901 h 1399325"/>
              <a:gd name="connsiteX11" fmla="*/ 4051394 w 12192001"/>
              <a:gd name="connsiteY11" fmla="*/ 141641 h 1399325"/>
              <a:gd name="connsiteX12" fmla="*/ 4815657 w 12192001"/>
              <a:gd name="connsiteY12" fmla="*/ 138901 h 1399325"/>
              <a:gd name="connsiteX13" fmla="*/ 8511256 w 12192001"/>
              <a:gd name="connsiteY13" fmla="*/ 138901 h 1399325"/>
              <a:gd name="connsiteX14" fmla="*/ 8511256 w 12192001"/>
              <a:gd name="connsiteY14" fmla="*/ 131623 h 1399325"/>
              <a:gd name="connsiteX15" fmla="*/ 12192001 w 12192001"/>
              <a:gd name="connsiteY15" fmla="*/ 131623 h 1399325"/>
              <a:gd name="connsiteX16" fmla="*/ 12192001 w 12192001"/>
              <a:gd name="connsiteY16" fmla="*/ 1208825 h 1399325"/>
              <a:gd name="connsiteX17" fmla="*/ 12192000 w 12192001"/>
              <a:gd name="connsiteY17" fmla="*/ 12088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208825 h 1399325"/>
              <a:gd name="connsiteX17" fmla="*/ 12192000 w 12192001"/>
              <a:gd name="connsiteY17"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1 w 12192001"/>
              <a:gd name="connsiteY15" fmla="*/ 1208825 h 1399325"/>
              <a:gd name="connsiteX16" fmla="*/ 12192000 w 12192001"/>
              <a:gd name="connsiteY16" fmla="*/ 1399325 h 1399325"/>
              <a:gd name="connsiteX0" fmla="*/ 12192000 w 12192001"/>
              <a:gd name="connsiteY0" fmla="*/ 1399325 h 1399325"/>
              <a:gd name="connsiteX1" fmla="*/ 0 w 12192001"/>
              <a:gd name="connsiteY1" fmla="*/ 1399325 h 1399325"/>
              <a:gd name="connsiteX2" fmla="*/ 0 w 12192001"/>
              <a:gd name="connsiteY2" fmla="*/ 922105 h 1399325"/>
              <a:gd name="connsiteX3" fmla="*/ 3049 w 12192001"/>
              <a:gd name="connsiteY3" fmla="*/ 0 h 1399325"/>
              <a:gd name="connsiteX4" fmla="*/ 734133 w 12192001"/>
              <a:gd name="connsiteY4" fmla="*/ 0 h 1399325"/>
              <a:gd name="connsiteX5" fmla="*/ 2801055 w 12192001"/>
              <a:gd name="connsiteY5" fmla="*/ 0 h 1399325"/>
              <a:gd name="connsiteX6" fmla="*/ 3805546 w 12192001"/>
              <a:gd name="connsiteY6" fmla="*/ 0 h 1399325"/>
              <a:gd name="connsiteX7" fmla="*/ 4041631 w 12192001"/>
              <a:gd name="connsiteY7" fmla="*/ 136016 h 1399325"/>
              <a:gd name="connsiteX8" fmla="*/ 4041631 w 12192001"/>
              <a:gd name="connsiteY8" fmla="*/ 138901 h 1399325"/>
              <a:gd name="connsiteX9" fmla="*/ 4046639 w 12192001"/>
              <a:gd name="connsiteY9" fmla="*/ 138901 h 1399325"/>
              <a:gd name="connsiteX10" fmla="*/ 4051394 w 12192001"/>
              <a:gd name="connsiteY10" fmla="*/ 141641 h 1399325"/>
              <a:gd name="connsiteX11" fmla="*/ 4815657 w 12192001"/>
              <a:gd name="connsiteY11" fmla="*/ 138901 h 1399325"/>
              <a:gd name="connsiteX12" fmla="*/ 8511256 w 12192001"/>
              <a:gd name="connsiteY12" fmla="*/ 138901 h 1399325"/>
              <a:gd name="connsiteX13" fmla="*/ 8511256 w 12192001"/>
              <a:gd name="connsiteY13" fmla="*/ 131623 h 1399325"/>
              <a:gd name="connsiteX14" fmla="*/ 12192001 w 12192001"/>
              <a:gd name="connsiteY14" fmla="*/ 131623 h 1399325"/>
              <a:gd name="connsiteX15" fmla="*/ 12192000 w 12192001"/>
              <a:gd name="connsiteY15"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8511256 w 12192001"/>
              <a:gd name="connsiteY12" fmla="*/ 131623 h 1399325"/>
              <a:gd name="connsiteX13" fmla="*/ 12192001 w 12192001"/>
              <a:gd name="connsiteY13" fmla="*/ 131623 h 1399325"/>
              <a:gd name="connsiteX14" fmla="*/ 12192000 w 12192001"/>
              <a:gd name="connsiteY14"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8511256 w 12192001"/>
              <a:gd name="connsiteY11" fmla="*/ 138901 h 1399325"/>
              <a:gd name="connsiteX12" fmla="*/ 12192001 w 12192001"/>
              <a:gd name="connsiteY12" fmla="*/ 131623 h 1399325"/>
              <a:gd name="connsiteX13" fmla="*/ 12192000 w 12192001"/>
              <a:gd name="connsiteY13" fmla="*/ 1399325 h 1399325"/>
              <a:gd name="connsiteX0" fmla="*/ 12192000 w 12192001"/>
              <a:gd name="connsiteY0" fmla="*/ 1399325 h 1399325"/>
              <a:gd name="connsiteX1" fmla="*/ 0 w 12192001"/>
              <a:gd name="connsiteY1" fmla="*/ 1399325 h 1399325"/>
              <a:gd name="connsiteX2" fmla="*/ 3049 w 12192001"/>
              <a:gd name="connsiteY2" fmla="*/ 0 h 1399325"/>
              <a:gd name="connsiteX3" fmla="*/ 734133 w 12192001"/>
              <a:gd name="connsiteY3" fmla="*/ 0 h 1399325"/>
              <a:gd name="connsiteX4" fmla="*/ 2801055 w 12192001"/>
              <a:gd name="connsiteY4" fmla="*/ 0 h 1399325"/>
              <a:gd name="connsiteX5" fmla="*/ 3805546 w 12192001"/>
              <a:gd name="connsiteY5" fmla="*/ 0 h 1399325"/>
              <a:gd name="connsiteX6" fmla="*/ 4041631 w 12192001"/>
              <a:gd name="connsiteY6" fmla="*/ 136016 h 1399325"/>
              <a:gd name="connsiteX7" fmla="*/ 4041631 w 12192001"/>
              <a:gd name="connsiteY7" fmla="*/ 138901 h 1399325"/>
              <a:gd name="connsiteX8" fmla="*/ 4046639 w 12192001"/>
              <a:gd name="connsiteY8" fmla="*/ 138901 h 1399325"/>
              <a:gd name="connsiteX9" fmla="*/ 4051394 w 12192001"/>
              <a:gd name="connsiteY9" fmla="*/ 141641 h 1399325"/>
              <a:gd name="connsiteX10" fmla="*/ 4815657 w 12192001"/>
              <a:gd name="connsiteY10" fmla="*/ 138901 h 1399325"/>
              <a:gd name="connsiteX11" fmla="*/ 12192001 w 12192001"/>
              <a:gd name="connsiteY11" fmla="*/ 131623 h 1399325"/>
              <a:gd name="connsiteX12" fmla="*/ 12192000 w 12192001"/>
              <a:gd name="connsiteY12" fmla="*/ 1399325 h 139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1" h="1399325">
                <a:moveTo>
                  <a:pt x="12192000" y="1399325"/>
                </a:moveTo>
                <a:lnTo>
                  <a:pt x="0" y="1399325"/>
                </a:lnTo>
                <a:cubicBezTo>
                  <a:pt x="1016" y="932883"/>
                  <a:pt x="2033" y="466442"/>
                  <a:pt x="3049" y="0"/>
                </a:cubicBezTo>
                <a:lnTo>
                  <a:pt x="734133" y="0"/>
                </a:lnTo>
                <a:lnTo>
                  <a:pt x="2801055" y="0"/>
                </a:lnTo>
                <a:lnTo>
                  <a:pt x="3805546" y="0"/>
                </a:lnTo>
                <a:lnTo>
                  <a:pt x="4041631" y="136016"/>
                </a:lnTo>
                <a:lnTo>
                  <a:pt x="4041631" y="138901"/>
                </a:lnTo>
                <a:lnTo>
                  <a:pt x="4046639" y="138901"/>
                </a:lnTo>
                <a:lnTo>
                  <a:pt x="4051394" y="141641"/>
                </a:lnTo>
                <a:lnTo>
                  <a:pt x="4815657" y="138901"/>
                </a:lnTo>
                <a:lnTo>
                  <a:pt x="12192001" y="131623"/>
                </a:lnTo>
                <a:cubicBezTo>
                  <a:pt x="12192001" y="554190"/>
                  <a:pt x="12192000" y="976758"/>
                  <a:pt x="12192000" y="1399325"/>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6" name="Title 15">
            <a:extLst>
              <a:ext uri="{FF2B5EF4-FFF2-40B4-BE49-F238E27FC236}">
                <a16:creationId xmlns:a16="http://schemas.microsoft.com/office/drawing/2014/main" id="{BD60FCA2-92BB-4571-8AEC-8C10106A2512}"/>
              </a:ext>
            </a:extLst>
          </p:cNvPr>
          <p:cNvSpPr>
            <a:spLocks noGrp="1"/>
          </p:cNvSpPr>
          <p:nvPr>
            <p:ph type="title" hasCustomPrompt="1"/>
          </p:nvPr>
        </p:nvSpPr>
        <p:spPr/>
        <p:txBody>
          <a:bodyPr/>
          <a:lstStyle>
            <a:lvl1pPr>
              <a:defRPr/>
            </a:lvl1pPr>
          </a:lstStyle>
          <a:p>
            <a:r>
              <a:rPr lang="en-US" dirty="0"/>
              <a:t>Case study title (one line)</a:t>
            </a:r>
          </a:p>
        </p:txBody>
      </p:sp>
      <p:sp>
        <p:nvSpPr>
          <p:cNvPr id="2" name="Rectangle 1">
            <a:extLst>
              <a:ext uri="{FF2B5EF4-FFF2-40B4-BE49-F238E27FC236}">
                <a16:creationId xmlns:a16="http://schemas.microsoft.com/office/drawing/2014/main" id="{4F777EFF-3DC1-C505-C734-F815EFA47F50}"/>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11512530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a:t>add tit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2">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C31322FB-E72D-10EB-2AAD-D3DBFEEF7769}"/>
              </a:ext>
            </a:extLst>
          </p:cNvPr>
          <p:cNvSpPr txBox="1">
            <a:spLocks noChangeArrowheads="1"/>
          </p:cNvSpPr>
          <p:nvPr userDrawn="1"/>
        </p:nvSpPr>
        <p:spPr bwMode="ltGray">
          <a:xfrm>
            <a:off x="11567159" y="6633988"/>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tx2">
                    <a:lumMod val="7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tx2">
                  <a:lumMod val="75000"/>
                </a:schemeClr>
              </a:solidFill>
              <a:effectLst/>
              <a:uLnTx/>
              <a:uFillTx/>
              <a:ea typeface="MS PGothic" pitchFamily="34" charset="-128"/>
            </a:endParaRPr>
          </a:p>
        </p:txBody>
      </p:sp>
      <p:sp>
        <p:nvSpPr>
          <p:cNvPr id="8" name="Rectangle 7">
            <a:extLst>
              <a:ext uri="{FF2B5EF4-FFF2-40B4-BE49-F238E27FC236}">
                <a16:creationId xmlns:a16="http://schemas.microsoft.com/office/drawing/2014/main" id="{4673ADCF-62CE-FC90-00EB-ABC6D1FD21D9}"/>
              </a:ext>
            </a:extLst>
          </p:cNvPr>
          <p:cNvSpPr/>
          <p:nvPr userDrawn="1"/>
        </p:nvSpPr>
        <p:spPr>
          <a:xfrm>
            <a:off x="3048" y="6767576"/>
            <a:ext cx="12188952" cy="1005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3" name="Rectangle 2">
            <a:extLst>
              <a:ext uri="{FF2B5EF4-FFF2-40B4-BE49-F238E27FC236}">
                <a16:creationId xmlns:a16="http://schemas.microsoft.com/office/drawing/2014/main" id="{38564E83-7913-BE13-C55F-D10D0A17D2AE}"/>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4" name="Title 3">
            <a:extLst>
              <a:ext uri="{FF2B5EF4-FFF2-40B4-BE49-F238E27FC236}">
                <a16:creationId xmlns:a16="http://schemas.microsoft.com/office/drawing/2014/main" id="{F64F24FC-1586-DE22-953E-D20FB8C9F7A4}"/>
              </a:ext>
            </a:extLst>
          </p:cNvPr>
          <p:cNvSpPr>
            <a:spLocks noGrp="1"/>
          </p:cNvSpPr>
          <p:nvPr>
            <p:ph type="title" hasCustomPrompt="1"/>
          </p:nvPr>
        </p:nvSpPr>
        <p:spPr/>
        <p:txBody>
          <a:bodyPr/>
          <a:lstStyle>
            <a:lvl1pPr>
              <a:defRPr/>
            </a:lvl1pPr>
          </a:lstStyle>
          <a:p>
            <a:r>
              <a:rPr lang="en-US" dirty="0"/>
              <a:t>ADD TITLE</a:t>
            </a:r>
          </a:p>
        </p:txBody>
      </p:sp>
    </p:spTree>
    <p:extLst>
      <p:ext uri="{BB962C8B-B14F-4D97-AF65-F5344CB8AC3E}">
        <p14:creationId xmlns:p14="http://schemas.microsoft.com/office/powerpoint/2010/main" val="1755810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2 Imag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A4810EA-6AC4-42A0-98B5-8E13D873B935}"/>
              </a:ext>
            </a:extLst>
          </p:cNvPr>
          <p:cNvSpPr/>
          <p:nvPr userDrawn="1"/>
        </p:nvSpPr>
        <p:spPr>
          <a:xfrm>
            <a:off x="0" y="2132297"/>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accent3"/>
              </a:solidFill>
            </a:endParaRPr>
          </a:p>
        </p:txBody>
      </p:sp>
      <p:sp>
        <p:nvSpPr>
          <p:cNvPr id="22" name="Text Placeholder 21">
            <a:extLst>
              <a:ext uri="{FF2B5EF4-FFF2-40B4-BE49-F238E27FC236}">
                <a16:creationId xmlns:a16="http://schemas.microsoft.com/office/drawing/2014/main" id="{A5417A66-28C9-4F74-8725-ED614CCC78BC}"/>
              </a:ext>
            </a:extLst>
          </p:cNvPr>
          <p:cNvSpPr>
            <a:spLocks noGrp="1"/>
          </p:cNvSpPr>
          <p:nvPr>
            <p:ph type="body" sz="quarter" idx="44" hasCustomPrompt="1"/>
          </p:nvPr>
        </p:nvSpPr>
        <p:spPr>
          <a:xfrm>
            <a:off x="6402571" y="1644951"/>
            <a:ext cx="5166493" cy="369332"/>
          </a:xfrm>
        </p:spPr>
        <p:txBody>
          <a:bodyPr vert="horz" lIns="0" tIns="0" rIns="0" bIns="0" rtlCol="0" anchor="b" anchorCtr="0">
            <a:spAutoFit/>
          </a:bodyPr>
          <a:lstStyle>
            <a:lvl1pPr marL="342900" indent="-342900" algn="ctr">
              <a:buFontTx/>
              <a:buNone/>
              <a:defRPr lang="en-US" b="1" dirty="0"/>
            </a:lvl1pPr>
          </a:lstStyle>
          <a:p>
            <a:pPr marL="0" lvl="0" indent="0" algn="ctr">
              <a:lnSpc>
                <a:spcPct val="100000"/>
              </a:lnSpc>
              <a:spcBef>
                <a:spcPts val="0"/>
              </a:spcBef>
              <a:buNone/>
            </a:pPr>
            <a:r>
              <a:rPr lang="en-US" dirty="0"/>
              <a:t>Add Title </a:t>
            </a:r>
          </a:p>
        </p:txBody>
      </p:sp>
      <p:sp>
        <p:nvSpPr>
          <p:cNvPr id="5" name="Text Placeholder 4">
            <a:extLst>
              <a:ext uri="{FF2B5EF4-FFF2-40B4-BE49-F238E27FC236}">
                <a16:creationId xmlns:a16="http://schemas.microsoft.com/office/drawing/2014/main" id="{BC71067A-153F-402A-9705-FE6682164957}"/>
              </a:ext>
            </a:extLst>
          </p:cNvPr>
          <p:cNvSpPr>
            <a:spLocks noGrp="1"/>
          </p:cNvSpPr>
          <p:nvPr>
            <p:ph type="body" sz="quarter" idx="43" hasCustomPrompt="1"/>
          </p:nvPr>
        </p:nvSpPr>
        <p:spPr>
          <a:xfrm>
            <a:off x="868361" y="1644951"/>
            <a:ext cx="5166489" cy="369332"/>
          </a:xfrm>
        </p:spPr>
        <p:txBody>
          <a:bodyPr anchor="b" anchorCtr="0">
            <a:spAutoFit/>
          </a:bodyPr>
          <a:lstStyle>
            <a:lvl1pPr marL="0" indent="0" algn="ctr">
              <a:lnSpc>
                <a:spcPct val="100000"/>
              </a:lnSpc>
              <a:spcBef>
                <a:spcPts val="0"/>
              </a:spcBef>
              <a:buFontTx/>
              <a:buNone/>
              <a:defRPr b="1">
                <a:solidFill>
                  <a:schemeClr val="tx1"/>
                </a:solidFill>
              </a:defRPr>
            </a:lvl1pPr>
          </a:lstStyle>
          <a:p>
            <a:pPr lvl="0"/>
            <a:r>
              <a:rPr lang="en-US" dirty="0"/>
              <a:t>Add Title</a:t>
            </a:r>
          </a:p>
        </p:txBody>
      </p:sp>
      <p:sp>
        <p:nvSpPr>
          <p:cNvPr id="15" name="Picture Placeholder 9">
            <a:extLst>
              <a:ext uri="{FF2B5EF4-FFF2-40B4-BE49-F238E27FC236}">
                <a16:creationId xmlns:a16="http://schemas.microsoft.com/office/drawing/2014/main" id="{992F3403-9E0E-4B63-A839-BDA384B8E3CD}"/>
              </a:ext>
            </a:extLst>
          </p:cNvPr>
          <p:cNvSpPr>
            <a:spLocks noGrp="1"/>
          </p:cNvSpPr>
          <p:nvPr>
            <p:ph type="pic" sz="quarter" idx="20" hasCustomPrompt="1"/>
          </p:nvPr>
        </p:nvSpPr>
        <p:spPr>
          <a:xfrm>
            <a:off x="6402571" y="2132298"/>
            <a:ext cx="5166360" cy="281201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solidFill>
                  <a:schemeClr val="tx1"/>
                </a:solidFill>
              </a:defRPr>
            </a:lvl1pPr>
          </a:lstStyle>
          <a:p>
            <a:pPr marL="0" lvl="0" indent="0" algn="ctr">
              <a:spcBef>
                <a:spcPts val="800"/>
              </a:spcBef>
              <a:buNone/>
            </a:pPr>
            <a:r>
              <a:rPr lang="en-US" dirty="0"/>
              <a:t>Click picture icon to add image</a:t>
            </a:r>
          </a:p>
        </p:txBody>
      </p:sp>
      <p:sp>
        <p:nvSpPr>
          <p:cNvPr id="8" name="Picture Placeholder 2">
            <a:extLst>
              <a:ext uri="{FF2B5EF4-FFF2-40B4-BE49-F238E27FC236}">
                <a16:creationId xmlns:a16="http://schemas.microsoft.com/office/drawing/2014/main" id="{2BD43F86-E489-4FF1-B499-7BF132B537E4}"/>
              </a:ext>
            </a:extLst>
          </p:cNvPr>
          <p:cNvSpPr>
            <a:spLocks noGrp="1"/>
          </p:cNvSpPr>
          <p:nvPr>
            <p:ph type="pic" idx="14" hasCustomPrompt="1"/>
          </p:nvPr>
        </p:nvSpPr>
        <p:spPr>
          <a:xfrm>
            <a:off x="868491" y="2132298"/>
            <a:ext cx="5166360" cy="2818946"/>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solidFill>
                  <a:schemeClr val="tx1"/>
                </a:solidFill>
              </a:defRPr>
            </a:lvl1pPr>
          </a:lstStyle>
          <a:p>
            <a:pPr marL="0" lvl="0" indent="0" algn="ctr">
              <a:spcBef>
                <a:spcPts val="800"/>
              </a:spcBef>
              <a:buNone/>
            </a:pPr>
            <a:r>
              <a:rPr lang="en-US" dirty="0"/>
              <a:t>Click picture icon to add image</a:t>
            </a:r>
          </a:p>
        </p:txBody>
      </p:sp>
      <p:sp>
        <p:nvSpPr>
          <p:cNvPr id="4" name="Text Placeholder 3">
            <a:extLst>
              <a:ext uri="{FF2B5EF4-FFF2-40B4-BE49-F238E27FC236}">
                <a16:creationId xmlns:a16="http://schemas.microsoft.com/office/drawing/2014/main" id="{A25A81C6-E459-47F8-BE7E-E79BDF03FDEA}"/>
              </a:ext>
            </a:extLst>
          </p:cNvPr>
          <p:cNvSpPr>
            <a:spLocks noGrp="1"/>
          </p:cNvSpPr>
          <p:nvPr>
            <p:ph type="body" sz="quarter" idx="15" hasCustomPrompt="1"/>
          </p:nvPr>
        </p:nvSpPr>
        <p:spPr>
          <a:xfrm>
            <a:off x="868490" y="5125609"/>
            <a:ext cx="5166359" cy="307777"/>
          </a:xfrm>
        </p:spPr>
        <p:txBody>
          <a:bodyPr wrap="square" anchor="t" anchorCtr="0">
            <a:spAutoFit/>
          </a:bodyPr>
          <a:lstStyle>
            <a:lvl1pPr marL="0" indent="0" algn="ctr">
              <a:lnSpc>
                <a:spcPct val="100000"/>
              </a:lnSpc>
              <a:spcBef>
                <a:spcPts val="0"/>
              </a:spcBef>
              <a:buFontTx/>
              <a:buNone/>
              <a:defRPr sz="2000"/>
            </a:lvl1pPr>
          </a:lstStyle>
          <a:p>
            <a:pPr lvl="0"/>
            <a:r>
              <a:rPr lang="en-US" dirty="0"/>
              <a:t>Add text</a:t>
            </a:r>
          </a:p>
        </p:txBody>
      </p:sp>
      <p:sp>
        <p:nvSpPr>
          <p:cNvPr id="13" name="Text Placeholder 12">
            <a:extLst>
              <a:ext uri="{FF2B5EF4-FFF2-40B4-BE49-F238E27FC236}">
                <a16:creationId xmlns:a16="http://schemas.microsoft.com/office/drawing/2014/main" id="{A63526DB-9535-4082-B91B-6B7BAEA14DD3}"/>
              </a:ext>
            </a:extLst>
          </p:cNvPr>
          <p:cNvSpPr>
            <a:spLocks noGrp="1"/>
          </p:cNvSpPr>
          <p:nvPr>
            <p:ph type="body" sz="quarter" idx="25" hasCustomPrompt="1"/>
          </p:nvPr>
        </p:nvSpPr>
        <p:spPr>
          <a:xfrm>
            <a:off x="6402571" y="5125609"/>
            <a:ext cx="5166360" cy="307777"/>
          </a:xfrm>
        </p:spPr>
        <p:txBody>
          <a:bodyPr wrap="square" anchor="t" anchorCtr="0">
            <a:spAutoFit/>
          </a:bodyPr>
          <a:lstStyle>
            <a:lvl1pPr marL="0" indent="0" algn="ctr">
              <a:lnSpc>
                <a:spcPct val="100000"/>
              </a:lnSpc>
              <a:spcBef>
                <a:spcPts val="0"/>
              </a:spcBef>
              <a:buFontTx/>
              <a:buNone/>
              <a:defRPr sz="2000"/>
            </a:lvl1pPr>
          </a:lstStyle>
          <a:p>
            <a:pPr lvl="0"/>
            <a:r>
              <a:rPr lang="en-US" dirty="0"/>
              <a:t>Add text</a:t>
            </a:r>
          </a:p>
        </p:txBody>
      </p:sp>
      <p:sp>
        <p:nvSpPr>
          <p:cNvPr id="3" name="Title 2">
            <a:extLst>
              <a:ext uri="{FF2B5EF4-FFF2-40B4-BE49-F238E27FC236}">
                <a16:creationId xmlns:a16="http://schemas.microsoft.com/office/drawing/2014/main" id="{A1ACC0E3-5E84-4BB5-8DA2-7D1265BD1860}"/>
              </a:ext>
            </a:extLst>
          </p:cNvPr>
          <p:cNvSpPr>
            <a:spLocks noGrp="1"/>
          </p:cNvSpPr>
          <p:nvPr>
            <p:ph type="title" hasCustomPrompt="1"/>
          </p:nvPr>
        </p:nvSpPr>
        <p:spPr/>
        <p:txBody>
          <a:bodyPr/>
          <a:lstStyle>
            <a:lvl1pPr>
              <a:defRPr/>
            </a:lvl1pPr>
          </a:lstStyle>
          <a:p>
            <a:r>
              <a:rPr lang="en-US"/>
              <a:t>add title</a:t>
            </a:r>
          </a:p>
        </p:txBody>
      </p:sp>
    </p:spTree>
    <p:extLst>
      <p:ext uri="{BB962C8B-B14F-4D97-AF65-F5344CB8AC3E}">
        <p14:creationId xmlns:p14="http://schemas.microsoft.com/office/powerpoint/2010/main" val="3841307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3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a:t>add title</a:t>
            </a:r>
          </a:p>
        </p:txBody>
      </p:sp>
      <p:sp>
        <p:nvSpPr>
          <p:cNvPr id="17" name="Picture Placeholder 2">
            <a:extLst>
              <a:ext uri="{FF2B5EF4-FFF2-40B4-BE49-F238E27FC236}">
                <a16:creationId xmlns:a16="http://schemas.microsoft.com/office/drawing/2014/main" id="{734315CC-5450-4530-9C7C-C6329202BB8A}"/>
              </a:ext>
            </a:extLst>
          </p:cNvPr>
          <p:cNvSpPr>
            <a:spLocks noGrp="1"/>
          </p:cNvSpPr>
          <p:nvPr>
            <p:ph type="pic" idx="14" hasCustomPrompt="1"/>
          </p:nvPr>
        </p:nvSpPr>
        <p:spPr>
          <a:xfrm>
            <a:off x="868491" y="2132297"/>
            <a:ext cx="3322676"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solidFill>
                  <a:schemeClr val="tx1"/>
                </a:solidFill>
              </a:defRPr>
            </a:lvl1pPr>
          </a:lstStyle>
          <a:p>
            <a:pPr marL="0" lvl="0" indent="0" algn="ctr">
              <a:spcBef>
                <a:spcPts val="800"/>
              </a:spcBef>
              <a:buNone/>
            </a:pPr>
            <a:r>
              <a:rPr lang="en-US" dirty="0"/>
              <a:t>Click picture icon to add image</a:t>
            </a:r>
          </a:p>
        </p:txBody>
      </p:sp>
      <p:sp>
        <p:nvSpPr>
          <p:cNvPr id="18" name="Text Placeholder 3">
            <a:extLst>
              <a:ext uri="{FF2B5EF4-FFF2-40B4-BE49-F238E27FC236}">
                <a16:creationId xmlns:a16="http://schemas.microsoft.com/office/drawing/2014/main" id="{EB534821-3EEB-4445-9BFD-DB59E8633CDB}"/>
              </a:ext>
            </a:extLst>
          </p:cNvPr>
          <p:cNvSpPr>
            <a:spLocks noGrp="1"/>
          </p:cNvSpPr>
          <p:nvPr>
            <p:ph type="body" sz="quarter" idx="15" hasCustomPrompt="1"/>
          </p:nvPr>
        </p:nvSpPr>
        <p:spPr>
          <a:xfrm>
            <a:off x="883909" y="5125608"/>
            <a:ext cx="3291840" cy="276999"/>
          </a:xfrm>
        </p:spPr>
        <p:txBody>
          <a:bodyPr anchor="t" anchorCtr="0">
            <a:spAutoFit/>
          </a:bodyPr>
          <a:lstStyle>
            <a:lvl1pPr marL="0" indent="0" algn="ctr">
              <a:spcBef>
                <a:spcPts val="600"/>
              </a:spcBef>
              <a:buFontTx/>
              <a:buNone/>
              <a:defRPr sz="2000"/>
            </a:lvl1pPr>
          </a:lstStyle>
          <a:p>
            <a:pPr lvl="0"/>
            <a:r>
              <a:rPr lang="en-US"/>
              <a:t>Add text</a:t>
            </a:r>
          </a:p>
        </p:txBody>
      </p:sp>
      <p:sp>
        <p:nvSpPr>
          <p:cNvPr id="19" name="Text Placeholder 15">
            <a:extLst>
              <a:ext uri="{FF2B5EF4-FFF2-40B4-BE49-F238E27FC236}">
                <a16:creationId xmlns:a16="http://schemas.microsoft.com/office/drawing/2014/main" id="{CC531C6F-4A51-422E-AAD3-66A97107E2E5}"/>
              </a:ext>
            </a:extLst>
          </p:cNvPr>
          <p:cNvSpPr>
            <a:spLocks noGrp="1"/>
          </p:cNvSpPr>
          <p:nvPr>
            <p:ph type="body" sz="quarter" idx="16" hasCustomPrompt="1"/>
          </p:nvPr>
        </p:nvSpPr>
        <p:spPr>
          <a:xfrm>
            <a:off x="868491" y="1679478"/>
            <a:ext cx="3322676"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0" name="Picture Placeholder 2">
            <a:extLst>
              <a:ext uri="{FF2B5EF4-FFF2-40B4-BE49-F238E27FC236}">
                <a16:creationId xmlns:a16="http://schemas.microsoft.com/office/drawing/2014/main" id="{6967C944-2E33-48AF-A92E-64B48BAE381C}"/>
              </a:ext>
            </a:extLst>
          </p:cNvPr>
          <p:cNvSpPr>
            <a:spLocks noGrp="1"/>
          </p:cNvSpPr>
          <p:nvPr>
            <p:ph type="pic" idx="17" hasCustomPrompt="1"/>
          </p:nvPr>
        </p:nvSpPr>
        <p:spPr>
          <a:xfrm>
            <a:off x="4554532" y="2132298"/>
            <a:ext cx="3319272"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solidFill>
                  <a:schemeClr val="tx1"/>
                </a:solidFill>
              </a:defRPr>
            </a:lvl1pPr>
          </a:lstStyle>
          <a:p>
            <a:pPr marL="0" lvl="0" indent="0" algn="ctr">
              <a:spcBef>
                <a:spcPts val="800"/>
              </a:spcBef>
              <a:buNone/>
            </a:pPr>
            <a:r>
              <a:rPr lang="en-US" dirty="0"/>
              <a:t>Click picture icon to add image</a:t>
            </a:r>
          </a:p>
        </p:txBody>
      </p:sp>
      <p:sp>
        <p:nvSpPr>
          <p:cNvPr id="31" name="Text Placeholder 3">
            <a:extLst>
              <a:ext uri="{FF2B5EF4-FFF2-40B4-BE49-F238E27FC236}">
                <a16:creationId xmlns:a16="http://schemas.microsoft.com/office/drawing/2014/main" id="{E3C1D16A-B36B-4A37-80DC-56B397DB69FA}"/>
              </a:ext>
            </a:extLst>
          </p:cNvPr>
          <p:cNvSpPr>
            <a:spLocks noGrp="1"/>
          </p:cNvSpPr>
          <p:nvPr>
            <p:ph type="body" sz="quarter" idx="18" hasCustomPrompt="1"/>
          </p:nvPr>
        </p:nvSpPr>
        <p:spPr>
          <a:xfrm>
            <a:off x="4537558" y="5125609"/>
            <a:ext cx="3353221" cy="276999"/>
          </a:xfrm>
        </p:spPr>
        <p:txBody>
          <a:bodyPr wrap="square" anchor="t" anchorCtr="0">
            <a:spAutoFit/>
          </a:bodyPr>
          <a:lstStyle>
            <a:lvl1pPr marL="0" indent="0" algn="ctr">
              <a:spcBef>
                <a:spcPts val="600"/>
              </a:spcBef>
              <a:buFontTx/>
              <a:buNone/>
              <a:defRPr sz="2000"/>
            </a:lvl1pPr>
          </a:lstStyle>
          <a:p>
            <a:pPr lvl="0"/>
            <a:r>
              <a:rPr lang="en-US"/>
              <a:t>Add text</a:t>
            </a:r>
          </a:p>
        </p:txBody>
      </p:sp>
      <p:sp>
        <p:nvSpPr>
          <p:cNvPr id="32" name="Text Placeholder 15">
            <a:extLst>
              <a:ext uri="{FF2B5EF4-FFF2-40B4-BE49-F238E27FC236}">
                <a16:creationId xmlns:a16="http://schemas.microsoft.com/office/drawing/2014/main" id="{962DDCE9-BA3F-487A-BE50-C54836969250}"/>
              </a:ext>
            </a:extLst>
          </p:cNvPr>
          <p:cNvSpPr>
            <a:spLocks noGrp="1"/>
          </p:cNvSpPr>
          <p:nvPr>
            <p:ph type="body" sz="quarter" idx="19" hasCustomPrompt="1"/>
          </p:nvPr>
        </p:nvSpPr>
        <p:spPr>
          <a:xfrm>
            <a:off x="4537558" y="1679479"/>
            <a:ext cx="3353221"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a:t>Add title</a:t>
            </a:r>
          </a:p>
        </p:txBody>
      </p:sp>
      <p:sp>
        <p:nvSpPr>
          <p:cNvPr id="33" name="Picture Placeholder 2">
            <a:extLst>
              <a:ext uri="{FF2B5EF4-FFF2-40B4-BE49-F238E27FC236}">
                <a16:creationId xmlns:a16="http://schemas.microsoft.com/office/drawing/2014/main" id="{82F5E967-4A83-4253-BD21-C1AF0745354A}"/>
              </a:ext>
            </a:extLst>
          </p:cNvPr>
          <p:cNvSpPr>
            <a:spLocks noGrp="1"/>
          </p:cNvSpPr>
          <p:nvPr>
            <p:ph type="pic" idx="20" hasCustomPrompt="1"/>
          </p:nvPr>
        </p:nvSpPr>
        <p:spPr>
          <a:xfrm>
            <a:off x="8237172" y="2132298"/>
            <a:ext cx="3322967"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lgn="ctr">
              <a:buFontTx/>
              <a:buNone/>
              <a:defRPr lang="en-US" sz="1000" dirty="0">
                <a:solidFill>
                  <a:schemeClr val="tx1"/>
                </a:solidFill>
              </a:defRPr>
            </a:lvl1pPr>
          </a:lstStyle>
          <a:p>
            <a:pPr marL="0" lvl="0" indent="0" algn="ctr">
              <a:spcBef>
                <a:spcPts val="800"/>
              </a:spcBef>
              <a:buNone/>
            </a:pPr>
            <a:r>
              <a:rPr lang="en-US" dirty="0"/>
              <a:t>Click picture icon to add image</a:t>
            </a:r>
          </a:p>
        </p:txBody>
      </p:sp>
      <p:sp>
        <p:nvSpPr>
          <p:cNvPr id="34" name="Text Placeholder 3">
            <a:extLst>
              <a:ext uri="{FF2B5EF4-FFF2-40B4-BE49-F238E27FC236}">
                <a16:creationId xmlns:a16="http://schemas.microsoft.com/office/drawing/2014/main" id="{75B09AD7-1999-496D-94CA-E2EF33498E38}"/>
              </a:ext>
            </a:extLst>
          </p:cNvPr>
          <p:cNvSpPr>
            <a:spLocks noGrp="1"/>
          </p:cNvSpPr>
          <p:nvPr>
            <p:ph type="body" sz="quarter" idx="21" hasCustomPrompt="1"/>
          </p:nvPr>
        </p:nvSpPr>
        <p:spPr>
          <a:xfrm>
            <a:off x="8252736" y="5125609"/>
            <a:ext cx="3291839" cy="276999"/>
          </a:xfrm>
        </p:spPr>
        <p:txBody>
          <a:bodyPr anchor="t" anchorCtr="0">
            <a:spAutoFit/>
          </a:bodyPr>
          <a:lstStyle>
            <a:lvl1pPr marL="0" indent="0" algn="ctr">
              <a:spcBef>
                <a:spcPts val="600"/>
              </a:spcBef>
              <a:buFontTx/>
              <a:buNone/>
              <a:defRPr sz="2000"/>
            </a:lvl1pPr>
          </a:lstStyle>
          <a:p>
            <a:pPr lvl="0"/>
            <a:r>
              <a:rPr lang="en-US"/>
              <a:t>Add text</a:t>
            </a:r>
          </a:p>
        </p:txBody>
      </p:sp>
      <p:sp>
        <p:nvSpPr>
          <p:cNvPr id="35" name="Text Placeholder 15">
            <a:extLst>
              <a:ext uri="{FF2B5EF4-FFF2-40B4-BE49-F238E27FC236}">
                <a16:creationId xmlns:a16="http://schemas.microsoft.com/office/drawing/2014/main" id="{EBE0EF1C-084A-4014-B7CE-5126CE9333B6}"/>
              </a:ext>
            </a:extLst>
          </p:cNvPr>
          <p:cNvSpPr>
            <a:spLocks noGrp="1"/>
          </p:cNvSpPr>
          <p:nvPr>
            <p:ph type="body" sz="quarter" idx="22" hasCustomPrompt="1"/>
          </p:nvPr>
        </p:nvSpPr>
        <p:spPr>
          <a:xfrm>
            <a:off x="8237172" y="1679479"/>
            <a:ext cx="3322967"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a:t>Add title</a:t>
            </a:r>
          </a:p>
        </p:txBody>
      </p:sp>
      <p:sp>
        <p:nvSpPr>
          <p:cNvPr id="23" name="Rectangle 22">
            <a:extLst>
              <a:ext uri="{FF2B5EF4-FFF2-40B4-BE49-F238E27FC236}">
                <a16:creationId xmlns:a16="http://schemas.microsoft.com/office/drawing/2014/main" id="{AB871635-60AD-42B6-916B-AB696FC21C48}"/>
              </a:ext>
            </a:extLst>
          </p:cNvPr>
          <p:cNvSpPr/>
          <p:nvPr userDrawn="1"/>
        </p:nvSpPr>
        <p:spPr>
          <a:xfrm>
            <a:off x="0" y="21322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accent3"/>
              </a:solidFill>
            </a:endParaRPr>
          </a:p>
        </p:txBody>
      </p:sp>
    </p:spTree>
    <p:extLst>
      <p:ext uri="{BB962C8B-B14F-4D97-AF65-F5344CB8AC3E}">
        <p14:creationId xmlns:p14="http://schemas.microsoft.com/office/powerpoint/2010/main" val="114281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45"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46" Type="http://schemas.openxmlformats.org/officeDocument/2006/relationships/image" Target="../media/image5.png"/><Relationship Id="rId20" Type="http://schemas.openxmlformats.org/officeDocument/2006/relationships/slideLayout" Target="../slideLayouts/slideLayout20.xml"/><Relationship Id="rId41"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image" Target="../media/image4.png"/><Relationship Id="rId3" Type="http://schemas.openxmlformats.org/officeDocument/2006/relationships/slideLayout" Target="../slideLayouts/slideLayout40.xml"/><Relationship Id="rId21" Type="http://schemas.openxmlformats.org/officeDocument/2006/relationships/tags" Target="../tags/tag1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image" Target="../media/image3.png"/><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tags" Target="../tags/tag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image" Target="../media/image2.png"/><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image" Target="../media/image1.emf"/><Relationship Id="rId10" Type="http://schemas.openxmlformats.org/officeDocument/2006/relationships/slideLayout" Target="../slideLayouts/slideLayout47.xml"/><Relationship Id="rId19" Type="http://schemas.openxmlformats.org/officeDocument/2006/relationships/theme" Target="../theme/theme2.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oleObject" Target="../embeddings/oleObject1.bin"/><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90734D-BEF5-41A5-9F49-51E157572097}"/>
              </a:ext>
            </a:extLst>
          </p:cNvPr>
          <p:cNvGraphicFramePr>
            <a:graphicFrameLocks noChangeAspect="1"/>
          </p:cNvGraphicFramePr>
          <p:nvPr>
            <p:custDataLst>
              <p:tags r:id="rId39"/>
            </p:custDataLst>
            <p:extLst>
              <p:ext uri="{D42A27DB-BD31-4B8C-83A1-F6EECF244321}">
                <p14:modId xmlns:p14="http://schemas.microsoft.com/office/powerpoint/2010/main" val="353261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383" imgH="384" progId="TCLayout.ActiveDocument.1">
                  <p:embed/>
                </p:oleObj>
              </mc:Choice>
              <mc:Fallback>
                <p:oleObj name="think-cell Slide" r:id="rId41" imgW="383" imgH="384" progId="TCLayout.ActiveDocument.1">
                  <p:embed/>
                  <p:pic>
                    <p:nvPicPr>
                      <p:cNvPr id="5" name="Object 4" hidden="1">
                        <a:extLst>
                          <a:ext uri="{FF2B5EF4-FFF2-40B4-BE49-F238E27FC236}">
                            <a16:creationId xmlns:a16="http://schemas.microsoft.com/office/drawing/2014/main" id="{E790734D-BEF5-41A5-9F49-51E157572097}"/>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BF71598-268F-4340-989F-8086D0EE7691}"/>
              </a:ext>
            </a:extLst>
          </p:cNvPr>
          <p:cNvSpPr/>
          <p:nvPr>
            <p:custDataLst>
              <p:tags r:id="rId40"/>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490760" y="547539"/>
            <a:ext cx="10789920" cy="369332"/>
          </a:xfrm>
          <a:prstGeom prst="rect">
            <a:avLst/>
          </a:prstGeom>
        </p:spPr>
        <p:txBody>
          <a:bodyPr vert="horz" lIns="0" tIns="0" rIns="0" bIns="0" rtlCol="0" anchor="t" anchorCtr="0">
            <a:spAutoFit/>
          </a:bodyPr>
          <a:lstStyle/>
          <a:p>
            <a:r>
              <a:rPr lang="en-US" dirty="0"/>
              <a:t>add title</a:t>
            </a:r>
          </a:p>
        </p:txBody>
      </p:sp>
      <p:sp>
        <p:nvSpPr>
          <p:cNvPr id="3" name="Text Placeholder 2"/>
          <p:cNvSpPr>
            <a:spLocks noGrp="1"/>
          </p:cNvSpPr>
          <p:nvPr>
            <p:ph type="body" idx="1"/>
          </p:nvPr>
        </p:nvSpPr>
        <p:spPr>
          <a:xfrm>
            <a:off x="496648" y="1633756"/>
            <a:ext cx="10789919" cy="4752680"/>
          </a:xfrm>
          <a:prstGeom prst="rect">
            <a:avLst/>
          </a:prstGeom>
        </p:spPr>
        <p:txBody>
          <a:bodyPr vert="horz" lIns="0" tIns="0" rIns="0" bIns="0" rtlCol="0">
            <a:noAutofit/>
          </a:body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Rectangle 18">
            <a:extLst>
              <a:ext uri="{FF2B5EF4-FFF2-40B4-BE49-F238E27FC236}">
                <a16:creationId xmlns:a16="http://schemas.microsoft.com/office/drawing/2014/main" id="{16FE1755-5705-4A27-8F5C-B2D6D4D1E477}"/>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11" name="Freeform: Shape 10">
            <a:extLst>
              <a:ext uri="{FF2B5EF4-FFF2-40B4-BE49-F238E27FC236}">
                <a16:creationId xmlns:a16="http://schemas.microsoft.com/office/drawing/2014/main" id="{6CD2066A-3AAA-4679-6307-6D4C0B5B1912}"/>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122" name="Rectangle 6">
            <a:extLst>
              <a:ext uri="{FF2B5EF4-FFF2-40B4-BE49-F238E27FC236}">
                <a16:creationId xmlns:a16="http://schemas.microsoft.com/office/drawing/2014/main" id="{909BD88B-614B-40D2-9807-224D2FD3634C}"/>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4157" r:id="rId1"/>
    <p:sldLayoutId id="2147483650" r:id="rId2"/>
    <p:sldLayoutId id="2147484277" r:id="rId3"/>
    <p:sldLayoutId id="2147484276" r:id="rId4"/>
    <p:sldLayoutId id="2147484059" r:id="rId5"/>
    <p:sldLayoutId id="2147483654" r:id="rId6"/>
    <p:sldLayoutId id="2147484218" r:id="rId7"/>
    <p:sldLayoutId id="2147484063" r:id="rId8"/>
    <p:sldLayoutId id="2147484001" r:id="rId9"/>
    <p:sldLayoutId id="2147484002" r:id="rId10"/>
    <p:sldLayoutId id="2147484322" r:id="rId11"/>
    <p:sldLayoutId id="2147484370" r:id="rId12"/>
    <p:sldLayoutId id="2147484369" r:id="rId13"/>
    <p:sldLayoutId id="2147483972" r:id="rId14"/>
    <p:sldLayoutId id="2147483938" r:id="rId15"/>
    <p:sldLayoutId id="2147484231" r:id="rId16"/>
    <p:sldLayoutId id="2147484271" r:id="rId17"/>
    <p:sldLayoutId id="2147484220" r:id="rId18"/>
    <p:sldLayoutId id="2147484389" r:id="rId19"/>
    <p:sldLayoutId id="2147484382" r:id="rId20"/>
    <p:sldLayoutId id="2147483652" r:id="rId21"/>
    <p:sldLayoutId id="2147483653" r:id="rId22"/>
    <p:sldLayoutId id="2147483998" r:id="rId23"/>
    <p:sldLayoutId id="2147483999" r:id="rId24"/>
    <p:sldLayoutId id="2147484000" r:id="rId25"/>
    <p:sldLayoutId id="2147484114" r:id="rId26"/>
    <p:sldLayoutId id="2147484212" r:id="rId27"/>
    <p:sldLayoutId id="2147484318" r:id="rId28"/>
    <p:sldLayoutId id="2147484228" r:id="rId29"/>
    <p:sldLayoutId id="2147484319" r:id="rId30"/>
    <p:sldLayoutId id="2147483956" r:id="rId31"/>
    <p:sldLayoutId id="2147483992" r:id="rId32"/>
    <p:sldLayoutId id="2147484060" r:id="rId33"/>
    <p:sldLayoutId id="2147484054" r:id="rId34"/>
    <p:sldLayoutId id="2147484062" r:id="rId35"/>
    <p:sldLayoutId id="2147484274" r:id="rId36"/>
    <p:sldLayoutId id="2147484272"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3000" b="1" kern="1200" cap="all" baseline="0">
          <a:solidFill>
            <a:schemeClr val="tx1"/>
          </a:solidFill>
          <a:latin typeface="+mj-lt"/>
          <a:ea typeface="+mj-ea"/>
          <a:cs typeface="+mj-cs"/>
        </a:defRPr>
      </a:lvl1pPr>
    </p:titleStyle>
    <p:bodyStyle>
      <a:lvl1pPr marL="342900" indent="-342900" algn="l" defTabSz="1086775" rtl="0" eaLnBrk="1" latinLnBrk="0" hangingPunct="1">
        <a:lnSpc>
          <a:spcPct val="90000"/>
        </a:lnSpc>
        <a:spcBef>
          <a:spcPts val="1200"/>
        </a:spcBef>
        <a:buClr>
          <a:schemeClr val="bg2"/>
        </a:buClr>
        <a:buFontTx/>
        <a:buBlip>
          <a:blip r:embed="rId43"/>
        </a:buBlip>
        <a:defRPr sz="2400" kern="1200">
          <a:solidFill>
            <a:schemeClr val="tx1"/>
          </a:solidFill>
          <a:latin typeface="+mn-lt"/>
          <a:ea typeface="+mn-ea"/>
          <a:cs typeface="+mn-cs"/>
        </a:defRPr>
      </a:lvl1pPr>
      <a:lvl2pPr marL="640080" indent="-274320" algn="l" defTabSz="1086775" rtl="0" eaLnBrk="1" latinLnBrk="0" hangingPunct="1">
        <a:lnSpc>
          <a:spcPct val="90000"/>
        </a:lnSpc>
        <a:spcBef>
          <a:spcPts val="400"/>
        </a:spcBef>
        <a:spcAft>
          <a:spcPts val="0"/>
        </a:spcAft>
        <a:buClr>
          <a:schemeClr val="tx1"/>
        </a:buClr>
        <a:buSzPct val="100000"/>
        <a:buFontTx/>
        <a:buBlip>
          <a:blip r:embed="rId44"/>
        </a:buBlip>
        <a:defRPr sz="2000" kern="1200">
          <a:solidFill>
            <a:schemeClr val="tx1"/>
          </a:solidFill>
          <a:latin typeface="+mn-lt"/>
          <a:ea typeface="+mn-ea"/>
          <a:cs typeface="+mn-cs"/>
        </a:defRPr>
      </a:lvl2pPr>
      <a:lvl3pPr marL="932688" indent="-274320" algn="l" defTabSz="1290546" rtl="0" eaLnBrk="1" latinLnBrk="0" hangingPunct="1">
        <a:lnSpc>
          <a:spcPct val="90000"/>
        </a:lnSpc>
        <a:spcBef>
          <a:spcPts val="200"/>
        </a:spcBef>
        <a:spcAft>
          <a:spcPts val="0"/>
        </a:spcAft>
        <a:buClr>
          <a:schemeClr val="tx1"/>
        </a:buClr>
        <a:buFontTx/>
        <a:buBlip>
          <a:blip r:embed="rId45"/>
        </a:buBlip>
        <a:defRPr sz="1800" kern="1200">
          <a:solidFill>
            <a:schemeClr val="tx1"/>
          </a:solidFill>
          <a:latin typeface="+mn-lt"/>
          <a:ea typeface="+mn-ea"/>
          <a:cs typeface="+mn-cs"/>
        </a:defRPr>
      </a:lvl3pPr>
      <a:lvl4pPr marL="1188720" indent="-228600" algn="l" defTabSz="1086775" rtl="0" eaLnBrk="1" latinLnBrk="0" hangingPunct="1">
        <a:lnSpc>
          <a:spcPct val="90000"/>
        </a:lnSpc>
        <a:spcBef>
          <a:spcPts val="200"/>
        </a:spcBef>
        <a:spcAft>
          <a:spcPts val="0"/>
        </a:spcAft>
        <a:buClr>
          <a:schemeClr val="tx1"/>
        </a:buClr>
        <a:buSzPct val="100000"/>
        <a:buFontTx/>
        <a:buBlip>
          <a:blip r:embed="rId46"/>
        </a:buBlip>
        <a:tabLst/>
        <a:defRPr sz="1600" kern="1200" baseline="0">
          <a:solidFill>
            <a:schemeClr val="tx1"/>
          </a:solidFill>
          <a:latin typeface="+mn-lt"/>
          <a:ea typeface="+mn-ea"/>
          <a:cs typeface="+mn-cs"/>
        </a:defRPr>
      </a:lvl4pPr>
      <a:lvl5pPr marL="1417320" indent="-228600" algn="l" defTabSz="1086775" rtl="0" eaLnBrk="1" latinLnBrk="0" hangingPunct="1">
        <a:lnSpc>
          <a:spcPct val="90000"/>
        </a:lnSpc>
        <a:spcBef>
          <a:spcPts val="200"/>
        </a:spcBef>
        <a:spcAft>
          <a:spcPts val="0"/>
        </a:spcAft>
        <a:buClr>
          <a:schemeClr val="tx1"/>
        </a:buClr>
        <a:buFontTx/>
        <a:buBlip>
          <a:blip r:embed="rId43"/>
        </a:buBlip>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9FCC3B"/>
          </p15:clr>
        </p15:guide>
        <p15:guide id="2" pos="7368" userDrawn="1">
          <p15:clr>
            <a:srgbClr val="9FCC3B"/>
          </p15:clr>
        </p15:guide>
        <p15:guide id="3" orient="horz" pos="528" userDrawn="1">
          <p15:clr>
            <a:srgbClr val="9FCC3B"/>
          </p15:clr>
        </p15:guide>
        <p15:guide id="4" orient="horz" pos="4128" userDrawn="1">
          <p15:clr>
            <a:srgbClr val="9FCC3B"/>
          </p15:clr>
        </p15:guide>
        <p15:guide id="5" orient="horz" pos="1032"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90734D-BEF5-41A5-9F49-51E157572097}"/>
              </a:ext>
            </a:extLst>
          </p:cNvPr>
          <p:cNvGraphicFramePr>
            <a:graphicFrameLocks noChangeAspect="1"/>
          </p:cNvGraphicFramePr>
          <p:nvPr>
            <p:custDataLst>
              <p:tags r:id="rId20"/>
            </p:custDataLst>
            <p:extLst>
              <p:ext uri="{D42A27DB-BD31-4B8C-83A1-F6EECF244321}">
                <p14:modId xmlns:p14="http://schemas.microsoft.com/office/powerpoint/2010/main" val="353261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83" imgH="384" progId="TCLayout.ActiveDocument.1">
                  <p:embed/>
                </p:oleObj>
              </mc:Choice>
              <mc:Fallback>
                <p:oleObj name="think-cell Slide" r:id="rId22" imgW="383" imgH="384" progId="TCLayout.ActiveDocument.1">
                  <p:embed/>
                  <p:pic>
                    <p:nvPicPr>
                      <p:cNvPr id="5" name="Object 4" hidden="1">
                        <a:extLst>
                          <a:ext uri="{FF2B5EF4-FFF2-40B4-BE49-F238E27FC236}">
                            <a16:creationId xmlns:a16="http://schemas.microsoft.com/office/drawing/2014/main" id="{E790734D-BEF5-41A5-9F49-51E157572097}"/>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BF71598-268F-4340-989F-8086D0EE7691}"/>
              </a:ext>
            </a:extLst>
          </p:cNvPr>
          <p:cNvSpPr/>
          <p:nvPr>
            <p:custDataLst>
              <p:tags r:id="rId21"/>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490760" y="547543"/>
            <a:ext cx="10789920" cy="369332"/>
          </a:xfrm>
          <a:prstGeom prst="rect">
            <a:avLst/>
          </a:prstGeom>
        </p:spPr>
        <p:txBody>
          <a:bodyPr vert="horz" lIns="0" tIns="0" rIns="0" bIns="0" rtlCol="0" anchor="t" anchorCtr="0">
            <a:spAutoFit/>
          </a:bodyPr>
          <a:lstStyle/>
          <a:p>
            <a:r>
              <a:rPr lang="en-US" dirty="0"/>
              <a:t>add title</a:t>
            </a:r>
          </a:p>
        </p:txBody>
      </p:sp>
      <p:sp>
        <p:nvSpPr>
          <p:cNvPr id="3" name="Text Placeholder 2"/>
          <p:cNvSpPr>
            <a:spLocks noGrp="1"/>
          </p:cNvSpPr>
          <p:nvPr>
            <p:ph type="body" idx="1"/>
          </p:nvPr>
        </p:nvSpPr>
        <p:spPr>
          <a:xfrm>
            <a:off x="496648" y="1640256"/>
            <a:ext cx="10789919" cy="4572000"/>
          </a:xfrm>
          <a:prstGeom prst="rect">
            <a:avLst/>
          </a:prstGeom>
        </p:spPr>
        <p:txBody>
          <a:bodyPr vert="horz" lIns="0" tIns="0" rIns="0" bIns="0" rtlCol="0">
            <a:noAutofit/>
          </a:body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reeform: Shape 10">
            <a:extLst>
              <a:ext uri="{FF2B5EF4-FFF2-40B4-BE49-F238E27FC236}">
                <a16:creationId xmlns:a16="http://schemas.microsoft.com/office/drawing/2014/main" id="{6CD2066A-3AAA-4679-6307-6D4C0B5B1912}"/>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122" name="Rectangle 6">
            <a:extLst>
              <a:ext uri="{FF2B5EF4-FFF2-40B4-BE49-F238E27FC236}">
                <a16:creationId xmlns:a16="http://schemas.microsoft.com/office/drawing/2014/main" id="{909BD88B-614B-40D2-9807-224D2FD3634C}"/>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sp>
        <p:nvSpPr>
          <p:cNvPr id="7" name="Rectangle 6">
            <a:extLst>
              <a:ext uri="{FF2B5EF4-FFF2-40B4-BE49-F238E27FC236}">
                <a16:creationId xmlns:a16="http://schemas.microsoft.com/office/drawing/2014/main" id="{2EFF9DBF-BAF8-D3E7-D981-38F33405257B}"/>
              </a:ext>
            </a:extLst>
          </p:cNvPr>
          <p:cNvSpPr/>
          <p:nvPr userDrawn="1"/>
        </p:nvSpPr>
        <p:spPr>
          <a:xfrm>
            <a:off x="496649" y="258775"/>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4284437070"/>
      </p:ext>
    </p:extLst>
  </p:cSld>
  <p:clrMap bg1="lt1" tx1="dk1" bg2="lt2" tx2="dk2" accent1="accent1" accent2="accent2" accent3="accent3" accent4="accent4" accent5="accent5" accent6="accent6" hlink="hlink" folHlink="folHlink"/>
  <p:sldLayoutIdLst>
    <p:sldLayoutId id="2147484362" r:id="rId1"/>
    <p:sldLayoutId id="2147484387" r:id="rId2"/>
    <p:sldLayoutId id="2147484359" r:id="rId3"/>
    <p:sldLayoutId id="2147484390" r:id="rId4"/>
    <p:sldLayoutId id="2147484391" r:id="rId5"/>
    <p:sldLayoutId id="2147484385" r:id="rId6"/>
    <p:sldLayoutId id="2147484388" r:id="rId7"/>
    <p:sldLayoutId id="2147484392" r:id="rId8"/>
    <p:sldLayoutId id="2147484352" r:id="rId9"/>
    <p:sldLayoutId id="2147484353" r:id="rId10"/>
    <p:sldLayoutId id="2147484354" r:id="rId11"/>
    <p:sldLayoutId id="2147484339" r:id="rId12"/>
    <p:sldLayoutId id="2147484364" r:id="rId13"/>
    <p:sldLayoutId id="2147484315" r:id="rId14"/>
    <p:sldLayoutId id="2147484361" r:id="rId15"/>
    <p:sldLayoutId id="2147484383" r:id="rId16"/>
    <p:sldLayoutId id="2147484384" r:id="rId17"/>
    <p:sldLayoutId id="2147484376"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3000" b="1" kern="1200" cap="all" baseline="0">
          <a:solidFill>
            <a:schemeClr val="tx1"/>
          </a:solidFill>
          <a:latin typeface="+mj-lt"/>
          <a:ea typeface="+mj-ea"/>
          <a:cs typeface="+mj-cs"/>
        </a:defRPr>
      </a:lvl1pPr>
    </p:titleStyle>
    <p:bodyStyle>
      <a:lvl1pPr marL="342900" indent="-342900" algn="l" defTabSz="1086775" rtl="0" eaLnBrk="1" latinLnBrk="0" hangingPunct="1">
        <a:lnSpc>
          <a:spcPct val="90000"/>
        </a:lnSpc>
        <a:spcBef>
          <a:spcPts val="1200"/>
        </a:spcBef>
        <a:buClr>
          <a:schemeClr val="bg2"/>
        </a:buClr>
        <a:buFontTx/>
        <a:buBlip>
          <a:blip r:embed="rId24"/>
        </a:buBlip>
        <a:defRPr sz="2400" kern="1200">
          <a:solidFill>
            <a:schemeClr val="tx1"/>
          </a:solidFill>
          <a:latin typeface="+mn-lt"/>
          <a:ea typeface="+mn-ea"/>
          <a:cs typeface="+mn-cs"/>
        </a:defRPr>
      </a:lvl1pPr>
      <a:lvl2pPr marL="640080" indent="-274320" algn="l" defTabSz="1086775" rtl="0" eaLnBrk="1" latinLnBrk="0" hangingPunct="1">
        <a:lnSpc>
          <a:spcPct val="90000"/>
        </a:lnSpc>
        <a:spcBef>
          <a:spcPts val="400"/>
        </a:spcBef>
        <a:spcAft>
          <a:spcPts val="0"/>
        </a:spcAft>
        <a:buClr>
          <a:schemeClr val="tx1"/>
        </a:buClr>
        <a:buSzPct val="100000"/>
        <a:buFontTx/>
        <a:buBlip>
          <a:blip r:embed="rId25"/>
        </a:buBlip>
        <a:defRPr sz="2000" kern="1200">
          <a:solidFill>
            <a:schemeClr val="tx1"/>
          </a:solidFill>
          <a:latin typeface="+mn-lt"/>
          <a:ea typeface="+mn-ea"/>
          <a:cs typeface="+mn-cs"/>
        </a:defRPr>
      </a:lvl2pPr>
      <a:lvl3pPr marL="932688" indent="-274320" algn="l" defTabSz="1290546" rtl="0" eaLnBrk="1" latinLnBrk="0" hangingPunct="1">
        <a:lnSpc>
          <a:spcPct val="90000"/>
        </a:lnSpc>
        <a:spcBef>
          <a:spcPts val="200"/>
        </a:spcBef>
        <a:spcAft>
          <a:spcPts val="0"/>
        </a:spcAft>
        <a:buClr>
          <a:schemeClr val="tx1"/>
        </a:buClr>
        <a:buFontTx/>
        <a:buBlip>
          <a:blip r:embed="rId26"/>
        </a:buBlip>
        <a:defRPr sz="1800" kern="1200">
          <a:solidFill>
            <a:schemeClr val="tx1"/>
          </a:solidFill>
          <a:latin typeface="+mn-lt"/>
          <a:ea typeface="+mn-ea"/>
          <a:cs typeface="+mn-cs"/>
        </a:defRPr>
      </a:lvl3pPr>
      <a:lvl4pPr marL="1188720" indent="-228600" algn="l" defTabSz="1086775" rtl="0" eaLnBrk="1" latinLnBrk="0" hangingPunct="1">
        <a:lnSpc>
          <a:spcPct val="90000"/>
        </a:lnSpc>
        <a:spcBef>
          <a:spcPts val="200"/>
        </a:spcBef>
        <a:spcAft>
          <a:spcPts val="0"/>
        </a:spcAft>
        <a:buClr>
          <a:schemeClr val="tx1"/>
        </a:buClr>
        <a:buSzPct val="100000"/>
        <a:buFontTx/>
        <a:buBlip>
          <a:blip r:embed="rId27"/>
        </a:buBlip>
        <a:tabLst/>
        <a:defRPr sz="1600" kern="1200" baseline="0">
          <a:solidFill>
            <a:schemeClr val="tx1"/>
          </a:solidFill>
          <a:latin typeface="+mn-lt"/>
          <a:ea typeface="+mn-ea"/>
          <a:cs typeface="+mn-cs"/>
        </a:defRPr>
      </a:lvl4pPr>
      <a:lvl5pPr marL="1417320" indent="-228600" algn="l" defTabSz="1086775" rtl="0" eaLnBrk="1" latinLnBrk="0" hangingPunct="1">
        <a:lnSpc>
          <a:spcPct val="90000"/>
        </a:lnSpc>
        <a:spcBef>
          <a:spcPts val="200"/>
        </a:spcBef>
        <a:spcAft>
          <a:spcPts val="0"/>
        </a:spcAft>
        <a:buClr>
          <a:schemeClr val="tx1"/>
        </a:buClr>
        <a:buFontTx/>
        <a:buBlip>
          <a:blip r:embed="rId24"/>
        </a:buBlip>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9FCC3B"/>
          </p15:clr>
        </p15:guide>
        <p15:guide id="2" pos="7368" userDrawn="1">
          <p15:clr>
            <a:srgbClr val="9FCC3B"/>
          </p15:clr>
        </p15:guide>
        <p15:guide id="3" orient="horz" pos="528" userDrawn="1">
          <p15:clr>
            <a:srgbClr val="9FCC3B"/>
          </p15:clr>
        </p15:guide>
        <p15:guide id="4" orient="horz" pos="4128" userDrawn="1">
          <p15:clr>
            <a:srgbClr val="9FCC3B"/>
          </p15:clr>
        </p15:guide>
        <p15:guide id="5" orient="horz" pos="1032" userDrawn="1">
          <p15:clr>
            <a:srgbClr val="9FCC3B"/>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8" Type="http://schemas.openxmlformats.org/officeDocument/2006/relationships/image" Target="../media/image79.svg"/><Relationship Id="rId13" Type="http://schemas.openxmlformats.org/officeDocument/2006/relationships/image" Target="../media/image84.png"/><Relationship Id="rId18" Type="http://schemas.openxmlformats.org/officeDocument/2006/relationships/image" Target="../media/image89.svg"/><Relationship Id="rId3" Type="http://schemas.openxmlformats.org/officeDocument/2006/relationships/image" Target="../media/image74.png"/><Relationship Id="rId21" Type="http://schemas.openxmlformats.org/officeDocument/2006/relationships/image" Target="../media/image92.png"/><Relationship Id="rId7" Type="http://schemas.openxmlformats.org/officeDocument/2006/relationships/image" Target="../media/image78.png"/><Relationship Id="rId12" Type="http://schemas.openxmlformats.org/officeDocument/2006/relationships/image" Target="../media/image83.svg"/><Relationship Id="rId17" Type="http://schemas.openxmlformats.org/officeDocument/2006/relationships/image" Target="../media/image88.png"/><Relationship Id="rId2" Type="http://schemas.openxmlformats.org/officeDocument/2006/relationships/notesSlide" Target="../notesSlides/notesSlide2.xml"/><Relationship Id="rId16" Type="http://schemas.openxmlformats.org/officeDocument/2006/relationships/image" Target="../media/image87.svg"/><Relationship Id="rId20" Type="http://schemas.openxmlformats.org/officeDocument/2006/relationships/image" Target="../media/image91.svg"/><Relationship Id="rId1" Type="http://schemas.openxmlformats.org/officeDocument/2006/relationships/slideLayout" Target="../slideLayouts/slideLayout6.xml"/><Relationship Id="rId6" Type="http://schemas.openxmlformats.org/officeDocument/2006/relationships/image" Target="../media/image77.svg"/><Relationship Id="rId11" Type="http://schemas.openxmlformats.org/officeDocument/2006/relationships/image" Target="../media/image82.png"/><Relationship Id="rId24" Type="http://schemas.openxmlformats.org/officeDocument/2006/relationships/image" Target="../media/image95.svg"/><Relationship Id="rId5" Type="http://schemas.openxmlformats.org/officeDocument/2006/relationships/image" Target="../media/image76.png"/><Relationship Id="rId15" Type="http://schemas.openxmlformats.org/officeDocument/2006/relationships/image" Target="../media/image86.png"/><Relationship Id="rId23" Type="http://schemas.openxmlformats.org/officeDocument/2006/relationships/image" Target="../media/image94.png"/><Relationship Id="rId10" Type="http://schemas.openxmlformats.org/officeDocument/2006/relationships/image" Target="../media/image81.svg"/><Relationship Id="rId19" Type="http://schemas.openxmlformats.org/officeDocument/2006/relationships/image" Target="../media/image90.png"/><Relationship Id="rId4" Type="http://schemas.openxmlformats.org/officeDocument/2006/relationships/image" Target="../media/image75.svg"/><Relationship Id="rId9" Type="http://schemas.openxmlformats.org/officeDocument/2006/relationships/image" Target="../media/image80.png"/><Relationship Id="rId14" Type="http://schemas.openxmlformats.org/officeDocument/2006/relationships/image" Target="../media/image85.svg"/><Relationship Id="rId22" Type="http://schemas.openxmlformats.org/officeDocument/2006/relationships/image" Target="../media/image93.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96.png"/><Relationship Id="rId7" Type="http://schemas.openxmlformats.org/officeDocument/2006/relationships/image" Target="../media/image98.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mailto:PPTSteward@ptc.com" TargetMode="External"/><Relationship Id="rId5" Type="http://schemas.openxmlformats.org/officeDocument/2006/relationships/hyperlink" Target="https://stock.adobe.com/" TargetMode="External"/><Relationship Id="rId4" Type="http://schemas.openxmlformats.org/officeDocument/2006/relationships/image" Target="../media/image97.svg"/></Relationships>
</file>

<file path=ppt/slides/_rels/slide1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xml"/><Relationship Id="rId1" Type="http://schemas.openxmlformats.org/officeDocument/2006/relationships/slideLayout" Target="../slideLayouts/slideLayout21.xml"/><Relationship Id="rId4" Type="http://schemas.openxmlformats.org/officeDocument/2006/relationships/image" Target="../media/image100.png"/></Relationships>
</file>

<file path=ppt/slides/_rels/slide18.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jpe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106.jpeg"/><Relationship Id="rId5" Type="http://schemas.openxmlformats.org/officeDocument/2006/relationships/image" Target="../media/image105.jpeg"/><Relationship Id="rId4" Type="http://schemas.openxmlformats.org/officeDocument/2006/relationships/image" Target="../media/image104.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97.svg"/></Relationships>
</file>

<file path=ppt/slides/_rels/slide21.xml.rels><?xml version="1.0" encoding="UTF-8" standalone="yes"?>
<Relationships xmlns="http://schemas.openxmlformats.org/package/2006/relationships"><Relationship Id="rId13" Type="http://schemas.openxmlformats.org/officeDocument/2006/relationships/image" Target="../media/image117.png"/><Relationship Id="rId18" Type="http://schemas.openxmlformats.org/officeDocument/2006/relationships/image" Target="../media/image122.svg"/><Relationship Id="rId26" Type="http://schemas.openxmlformats.org/officeDocument/2006/relationships/image" Target="../media/image130.svg"/><Relationship Id="rId39" Type="http://schemas.openxmlformats.org/officeDocument/2006/relationships/image" Target="../media/image143.png"/><Relationship Id="rId21" Type="http://schemas.openxmlformats.org/officeDocument/2006/relationships/image" Target="../media/image125.png"/><Relationship Id="rId34" Type="http://schemas.openxmlformats.org/officeDocument/2006/relationships/image" Target="../media/image138.svg"/><Relationship Id="rId42" Type="http://schemas.openxmlformats.org/officeDocument/2006/relationships/image" Target="../media/image146.svg"/><Relationship Id="rId47" Type="http://schemas.openxmlformats.org/officeDocument/2006/relationships/image" Target="../media/image151.png"/><Relationship Id="rId7" Type="http://schemas.openxmlformats.org/officeDocument/2006/relationships/image" Target="../media/image111.png"/><Relationship Id="rId2" Type="http://schemas.openxmlformats.org/officeDocument/2006/relationships/notesSlide" Target="../notesSlides/notesSlide8.xml"/><Relationship Id="rId16" Type="http://schemas.openxmlformats.org/officeDocument/2006/relationships/image" Target="../media/image120.svg"/><Relationship Id="rId29" Type="http://schemas.openxmlformats.org/officeDocument/2006/relationships/image" Target="../media/image133.png"/><Relationship Id="rId1" Type="http://schemas.openxmlformats.org/officeDocument/2006/relationships/slideLayout" Target="../slideLayouts/slideLayout7.xml"/><Relationship Id="rId6" Type="http://schemas.openxmlformats.org/officeDocument/2006/relationships/image" Target="../media/image110.svg"/><Relationship Id="rId11" Type="http://schemas.openxmlformats.org/officeDocument/2006/relationships/image" Target="../media/image115.png"/><Relationship Id="rId24" Type="http://schemas.openxmlformats.org/officeDocument/2006/relationships/image" Target="../media/image128.svg"/><Relationship Id="rId32" Type="http://schemas.openxmlformats.org/officeDocument/2006/relationships/image" Target="../media/image136.svg"/><Relationship Id="rId37" Type="http://schemas.openxmlformats.org/officeDocument/2006/relationships/image" Target="../media/image141.png"/><Relationship Id="rId40" Type="http://schemas.openxmlformats.org/officeDocument/2006/relationships/image" Target="../media/image144.svg"/><Relationship Id="rId45" Type="http://schemas.openxmlformats.org/officeDocument/2006/relationships/image" Target="../media/image149.png"/><Relationship Id="rId5" Type="http://schemas.openxmlformats.org/officeDocument/2006/relationships/image" Target="../media/image109.png"/><Relationship Id="rId15" Type="http://schemas.openxmlformats.org/officeDocument/2006/relationships/image" Target="../media/image119.png"/><Relationship Id="rId23" Type="http://schemas.openxmlformats.org/officeDocument/2006/relationships/image" Target="../media/image127.png"/><Relationship Id="rId28" Type="http://schemas.openxmlformats.org/officeDocument/2006/relationships/image" Target="../media/image132.svg"/><Relationship Id="rId36" Type="http://schemas.openxmlformats.org/officeDocument/2006/relationships/image" Target="../media/image140.svg"/><Relationship Id="rId10" Type="http://schemas.openxmlformats.org/officeDocument/2006/relationships/image" Target="../media/image114.svg"/><Relationship Id="rId19" Type="http://schemas.openxmlformats.org/officeDocument/2006/relationships/image" Target="../media/image123.png"/><Relationship Id="rId31" Type="http://schemas.openxmlformats.org/officeDocument/2006/relationships/image" Target="../media/image135.png"/><Relationship Id="rId44" Type="http://schemas.openxmlformats.org/officeDocument/2006/relationships/image" Target="../media/image148.svg"/><Relationship Id="rId4" Type="http://schemas.openxmlformats.org/officeDocument/2006/relationships/image" Target="../media/image108.svg"/><Relationship Id="rId9" Type="http://schemas.openxmlformats.org/officeDocument/2006/relationships/image" Target="../media/image113.png"/><Relationship Id="rId14" Type="http://schemas.openxmlformats.org/officeDocument/2006/relationships/image" Target="../media/image118.svg"/><Relationship Id="rId22" Type="http://schemas.openxmlformats.org/officeDocument/2006/relationships/image" Target="../media/image126.svg"/><Relationship Id="rId27" Type="http://schemas.openxmlformats.org/officeDocument/2006/relationships/image" Target="../media/image131.png"/><Relationship Id="rId30" Type="http://schemas.openxmlformats.org/officeDocument/2006/relationships/image" Target="../media/image134.svg"/><Relationship Id="rId35" Type="http://schemas.openxmlformats.org/officeDocument/2006/relationships/image" Target="../media/image139.png"/><Relationship Id="rId43" Type="http://schemas.openxmlformats.org/officeDocument/2006/relationships/image" Target="../media/image147.png"/><Relationship Id="rId48" Type="http://schemas.openxmlformats.org/officeDocument/2006/relationships/image" Target="../media/image152.svg"/><Relationship Id="rId8" Type="http://schemas.openxmlformats.org/officeDocument/2006/relationships/image" Target="../media/image112.svg"/><Relationship Id="rId3" Type="http://schemas.openxmlformats.org/officeDocument/2006/relationships/image" Target="../media/image107.png"/><Relationship Id="rId12" Type="http://schemas.openxmlformats.org/officeDocument/2006/relationships/image" Target="../media/image116.svg"/><Relationship Id="rId17" Type="http://schemas.openxmlformats.org/officeDocument/2006/relationships/image" Target="../media/image121.png"/><Relationship Id="rId25" Type="http://schemas.openxmlformats.org/officeDocument/2006/relationships/image" Target="../media/image129.png"/><Relationship Id="rId33" Type="http://schemas.openxmlformats.org/officeDocument/2006/relationships/image" Target="../media/image137.png"/><Relationship Id="rId38" Type="http://schemas.openxmlformats.org/officeDocument/2006/relationships/image" Target="../media/image142.svg"/><Relationship Id="rId46" Type="http://schemas.openxmlformats.org/officeDocument/2006/relationships/image" Target="../media/image150.svg"/><Relationship Id="rId20" Type="http://schemas.openxmlformats.org/officeDocument/2006/relationships/image" Target="../media/image124.svg"/><Relationship Id="rId41" Type="http://schemas.openxmlformats.org/officeDocument/2006/relationships/image" Target="../media/image145.png"/></Relationships>
</file>

<file path=ppt/slides/_rels/slide22.xml.rels><?xml version="1.0" encoding="UTF-8" standalone="yes"?>
<Relationships xmlns="http://schemas.openxmlformats.org/package/2006/relationships"><Relationship Id="rId13" Type="http://schemas.openxmlformats.org/officeDocument/2006/relationships/image" Target="../media/image163.png"/><Relationship Id="rId18" Type="http://schemas.openxmlformats.org/officeDocument/2006/relationships/image" Target="../media/image168.svg"/><Relationship Id="rId26" Type="http://schemas.openxmlformats.org/officeDocument/2006/relationships/image" Target="../media/image176.png"/><Relationship Id="rId3" Type="http://schemas.openxmlformats.org/officeDocument/2006/relationships/image" Target="../media/image153.png"/><Relationship Id="rId21" Type="http://schemas.openxmlformats.org/officeDocument/2006/relationships/image" Target="../media/image171.png"/><Relationship Id="rId34" Type="http://schemas.openxmlformats.org/officeDocument/2006/relationships/image" Target="../media/image184.png"/><Relationship Id="rId7" Type="http://schemas.openxmlformats.org/officeDocument/2006/relationships/image" Target="../media/image157.png"/><Relationship Id="rId12" Type="http://schemas.openxmlformats.org/officeDocument/2006/relationships/image" Target="../media/image162.svg"/><Relationship Id="rId17" Type="http://schemas.openxmlformats.org/officeDocument/2006/relationships/image" Target="../media/image167.png"/><Relationship Id="rId25" Type="http://schemas.openxmlformats.org/officeDocument/2006/relationships/image" Target="../media/image175.png"/><Relationship Id="rId33" Type="http://schemas.openxmlformats.org/officeDocument/2006/relationships/image" Target="../media/image183.svg"/><Relationship Id="rId2" Type="http://schemas.openxmlformats.org/officeDocument/2006/relationships/notesSlide" Target="../notesSlides/notesSlide9.xml"/><Relationship Id="rId16" Type="http://schemas.openxmlformats.org/officeDocument/2006/relationships/image" Target="../media/image166.svg"/><Relationship Id="rId20" Type="http://schemas.openxmlformats.org/officeDocument/2006/relationships/image" Target="../media/image170.svg"/><Relationship Id="rId29" Type="http://schemas.openxmlformats.org/officeDocument/2006/relationships/image" Target="../media/image179.png"/><Relationship Id="rId1" Type="http://schemas.openxmlformats.org/officeDocument/2006/relationships/slideLayout" Target="../slideLayouts/slideLayout7.xml"/><Relationship Id="rId6" Type="http://schemas.openxmlformats.org/officeDocument/2006/relationships/image" Target="../media/image156.svg"/><Relationship Id="rId11" Type="http://schemas.openxmlformats.org/officeDocument/2006/relationships/image" Target="../media/image161.png"/><Relationship Id="rId24" Type="http://schemas.openxmlformats.org/officeDocument/2006/relationships/image" Target="../media/image174.svg"/><Relationship Id="rId32" Type="http://schemas.openxmlformats.org/officeDocument/2006/relationships/image" Target="../media/image182.png"/><Relationship Id="rId5" Type="http://schemas.openxmlformats.org/officeDocument/2006/relationships/image" Target="../media/image155.png"/><Relationship Id="rId15" Type="http://schemas.openxmlformats.org/officeDocument/2006/relationships/image" Target="../media/image165.png"/><Relationship Id="rId23" Type="http://schemas.openxmlformats.org/officeDocument/2006/relationships/image" Target="../media/image173.png"/><Relationship Id="rId28" Type="http://schemas.openxmlformats.org/officeDocument/2006/relationships/image" Target="../media/image178.png"/><Relationship Id="rId10" Type="http://schemas.openxmlformats.org/officeDocument/2006/relationships/image" Target="../media/image160.svg"/><Relationship Id="rId19" Type="http://schemas.openxmlformats.org/officeDocument/2006/relationships/image" Target="../media/image169.png"/><Relationship Id="rId31" Type="http://schemas.openxmlformats.org/officeDocument/2006/relationships/image" Target="../media/image181.png"/><Relationship Id="rId4" Type="http://schemas.openxmlformats.org/officeDocument/2006/relationships/image" Target="../media/image154.svg"/><Relationship Id="rId9" Type="http://schemas.openxmlformats.org/officeDocument/2006/relationships/image" Target="../media/image159.png"/><Relationship Id="rId14" Type="http://schemas.openxmlformats.org/officeDocument/2006/relationships/image" Target="../media/image164.svg"/><Relationship Id="rId22" Type="http://schemas.openxmlformats.org/officeDocument/2006/relationships/image" Target="../media/image172.svg"/><Relationship Id="rId27" Type="http://schemas.openxmlformats.org/officeDocument/2006/relationships/image" Target="../media/image177.png"/><Relationship Id="rId30" Type="http://schemas.openxmlformats.org/officeDocument/2006/relationships/image" Target="../media/image180.png"/><Relationship Id="rId35" Type="http://schemas.openxmlformats.org/officeDocument/2006/relationships/image" Target="../media/image185.svg"/><Relationship Id="rId8" Type="http://schemas.openxmlformats.org/officeDocument/2006/relationships/image" Target="../media/image158.svg"/></Relationships>
</file>

<file path=ppt/slides/_rels/slide23.xml.rels><?xml version="1.0" encoding="UTF-8" standalone="yes"?>
<Relationships xmlns="http://schemas.openxmlformats.org/package/2006/relationships"><Relationship Id="rId8" Type="http://schemas.openxmlformats.org/officeDocument/2006/relationships/image" Target="../media/image191.svg"/><Relationship Id="rId13" Type="http://schemas.openxmlformats.org/officeDocument/2006/relationships/image" Target="../media/image196.png"/><Relationship Id="rId18" Type="http://schemas.openxmlformats.org/officeDocument/2006/relationships/image" Target="../media/image201.svg"/><Relationship Id="rId3" Type="http://schemas.openxmlformats.org/officeDocument/2006/relationships/image" Target="../media/image186.png"/><Relationship Id="rId21" Type="http://schemas.openxmlformats.org/officeDocument/2006/relationships/image" Target="../media/image204.png"/><Relationship Id="rId7" Type="http://schemas.openxmlformats.org/officeDocument/2006/relationships/image" Target="../media/image190.png"/><Relationship Id="rId12" Type="http://schemas.openxmlformats.org/officeDocument/2006/relationships/image" Target="../media/image195.svg"/><Relationship Id="rId17" Type="http://schemas.openxmlformats.org/officeDocument/2006/relationships/image" Target="../media/image200.png"/><Relationship Id="rId2" Type="http://schemas.openxmlformats.org/officeDocument/2006/relationships/notesSlide" Target="../notesSlides/notesSlide10.xml"/><Relationship Id="rId16" Type="http://schemas.openxmlformats.org/officeDocument/2006/relationships/image" Target="../media/image199.svg"/><Relationship Id="rId20" Type="http://schemas.openxmlformats.org/officeDocument/2006/relationships/image" Target="../media/image203.svg"/><Relationship Id="rId1" Type="http://schemas.openxmlformats.org/officeDocument/2006/relationships/slideLayout" Target="../slideLayouts/slideLayout7.xml"/><Relationship Id="rId6" Type="http://schemas.openxmlformats.org/officeDocument/2006/relationships/image" Target="../media/image189.svg"/><Relationship Id="rId11" Type="http://schemas.openxmlformats.org/officeDocument/2006/relationships/image" Target="../media/image194.png"/><Relationship Id="rId5" Type="http://schemas.openxmlformats.org/officeDocument/2006/relationships/image" Target="../media/image188.png"/><Relationship Id="rId15" Type="http://schemas.openxmlformats.org/officeDocument/2006/relationships/image" Target="../media/image198.png"/><Relationship Id="rId10" Type="http://schemas.openxmlformats.org/officeDocument/2006/relationships/image" Target="../media/image193.svg"/><Relationship Id="rId19" Type="http://schemas.openxmlformats.org/officeDocument/2006/relationships/image" Target="../media/image202.png"/><Relationship Id="rId4" Type="http://schemas.openxmlformats.org/officeDocument/2006/relationships/image" Target="../media/image187.svg"/><Relationship Id="rId9" Type="http://schemas.openxmlformats.org/officeDocument/2006/relationships/image" Target="../media/image192.png"/><Relationship Id="rId14" Type="http://schemas.openxmlformats.org/officeDocument/2006/relationships/image" Target="../media/image197.svg"/><Relationship Id="rId22" Type="http://schemas.openxmlformats.org/officeDocument/2006/relationships/image" Target="../media/image205.svg"/></Relationships>
</file>

<file path=ppt/slides/_rels/slide24.xml.rels><?xml version="1.0" encoding="UTF-8" standalone="yes"?>
<Relationships xmlns="http://schemas.openxmlformats.org/package/2006/relationships"><Relationship Id="rId13" Type="http://schemas.openxmlformats.org/officeDocument/2006/relationships/image" Target="../media/image216.png"/><Relationship Id="rId18" Type="http://schemas.openxmlformats.org/officeDocument/2006/relationships/image" Target="../media/image221.svg"/><Relationship Id="rId26" Type="http://schemas.openxmlformats.org/officeDocument/2006/relationships/image" Target="../media/image229.svg"/><Relationship Id="rId39" Type="http://schemas.openxmlformats.org/officeDocument/2006/relationships/image" Target="../media/image242.png"/><Relationship Id="rId21" Type="http://schemas.openxmlformats.org/officeDocument/2006/relationships/image" Target="../media/image224.png"/><Relationship Id="rId34" Type="http://schemas.openxmlformats.org/officeDocument/2006/relationships/image" Target="../media/image237.svg"/><Relationship Id="rId42" Type="http://schemas.openxmlformats.org/officeDocument/2006/relationships/image" Target="../media/image245.svg"/><Relationship Id="rId47" Type="http://schemas.openxmlformats.org/officeDocument/2006/relationships/image" Target="../media/image250.png"/><Relationship Id="rId50" Type="http://schemas.openxmlformats.org/officeDocument/2006/relationships/image" Target="../media/image253.svg"/><Relationship Id="rId7" Type="http://schemas.openxmlformats.org/officeDocument/2006/relationships/image" Target="../media/image210.png"/><Relationship Id="rId2" Type="http://schemas.openxmlformats.org/officeDocument/2006/relationships/notesSlide" Target="../notesSlides/notesSlide11.xml"/><Relationship Id="rId16" Type="http://schemas.openxmlformats.org/officeDocument/2006/relationships/image" Target="../media/image219.svg"/><Relationship Id="rId29" Type="http://schemas.openxmlformats.org/officeDocument/2006/relationships/image" Target="../media/image232.png"/><Relationship Id="rId11" Type="http://schemas.openxmlformats.org/officeDocument/2006/relationships/image" Target="../media/image214.png"/><Relationship Id="rId24" Type="http://schemas.openxmlformats.org/officeDocument/2006/relationships/image" Target="../media/image227.svg"/><Relationship Id="rId32" Type="http://schemas.openxmlformats.org/officeDocument/2006/relationships/image" Target="../media/image235.svg"/><Relationship Id="rId37" Type="http://schemas.openxmlformats.org/officeDocument/2006/relationships/image" Target="../media/image240.png"/><Relationship Id="rId40" Type="http://schemas.openxmlformats.org/officeDocument/2006/relationships/image" Target="../media/image243.svg"/><Relationship Id="rId45" Type="http://schemas.openxmlformats.org/officeDocument/2006/relationships/image" Target="../media/image248.png"/><Relationship Id="rId5" Type="http://schemas.openxmlformats.org/officeDocument/2006/relationships/image" Target="../media/image208.png"/><Relationship Id="rId15" Type="http://schemas.openxmlformats.org/officeDocument/2006/relationships/image" Target="../media/image218.png"/><Relationship Id="rId23" Type="http://schemas.openxmlformats.org/officeDocument/2006/relationships/image" Target="../media/image226.png"/><Relationship Id="rId28" Type="http://schemas.openxmlformats.org/officeDocument/2006/relationships/image" Target="../media/image231.svg"/><Relationship Id="rId36" Type="http://schemas.openxmlformats.org/officeDocument/2006/relationships/image" Target="../media/image239.svg"/><Relationship Id="rId49" Type="http://schemas.openxmlformats.org/officeDocument/2006/relationships/image" Target="../media/image252.png"/><Relationship Id="rId10" Type="http://schemas.openxmlformats.org/officeDocument/2006/relationships/image" Target="../media/image213.svg"/><Relationship Id="rId19" Type="http://schemas.openxmlformats.org/officeDocument/2006/relationships/image" Target="../media/image222.png"/><Relationship Id="rId31" Type="http://schemas.openxmlformats.org/officeDocument/2006/relationships/image" Target="../media/image234.png"/><Relationship Id="rId44" Type="http://schemas.openxmlformats.org/officeDocument/2006/relationships/image" Target="../media/image247.svg"/><Relationship Id="rId4" Type="http://schemas.openxmlformats.org/officeDocument/2006/relationships/image" Target="../media/image207.svg"/><Relationship Id="rId9" Type="http://schemas.openxmlformats.org/officeDocument/2006/relationships/image" Target="../media/image212.png"/><Relationship Id="rId14" Type="http://schemas.openxmlformats.org/officeDocument/2006/relationships/image" Target="../media/image217.svg"/><Relationship Id="rId22" Type="http://schemas.openxmlformats.org/officeDocument/2006/relationships/image" Target="../media/image225.svg"/><Relationship Id="rId27" Type="http://schemas.openxmlformats.org/officeDocument/2006/relationships/image" Target="../media/image230.png"/><Relationship Id="rId30" Type="http://schemas.openxmlformats.org/officeDocument/2006/relationships/image" Target="../media/image233.svg"/><Relationship Id="rId35" Type="http://schemas.openxmlformats.org/officeDocument/2006/relationships/image" Target="../media/image238.png"/><Relationship Id="rId43" Type="http://schemas.openxmlformats.org/officeDocument/2006/relationships/image" Target="../media/image246.png"/><Relationship Id="rId48" Type="http://schemas.openxmlformats.org/officeDocument/2006/relationships/image" Target="../media/image251.svg"/><Relationship Id="rId8" Type="http://schemas.openxmlformats.org/officeDocument/2006/relationships/image" Target="../media/image211.svg"/><Relationship Id="rId3" Type="http://schemas.openxmlformats.org/officeDocument/2006/relationships/image" Target="../media/image206.png"/><Relationship Id="rId12" Type="http://schemas.openxmlformats.org/officeDocument/2006/relationships/image" Target="../media/image215.svg"/><Relationship Id="rId17" Type="http://schemas.openxmlformats.org/officeDocument/2006/relationships/image" Target="../media/image220.png"/><Relationship Id="rId25" Type="http://schemas.openxmlformats.org/officeDocument/2006/relationships/image" Target="../media/image228.png"/><Relationship Id="rId33" Type="http://schemas.openxmlformats.org/officeDocument/2006/relationships/image" Target="../media/image236.png"/><Relationship Id="rId38" Type="http://schemas.openxmlformats.org/officeDocument/2006/relationships/image" Target="../media/image241.svg"/><Relationship Id="rId46" Type="http://schemas.openxmlformats.org/officeDocument/2006/relationships/image" Target="../media/image249.svg"/><Relationship Id="rId20" Type="http://schemas.openxmlformats.org/officeDocument/2006/relationships/image" Target="../media/image223.svg"/><Relationship Id="rId41" Type="http://schemas.openxmlformats.org/officeDocument/2006/relationships/image" Target="../media/image244.png"/><Relationship Id="rId1" Type="http://schemas.openxmlformats.org/officeDocument/2006/relationships/slideLayout" Target="../slideLayouts/slideLayout7.xml"/><Relationship Id="rId6" Type="http://schemas.openxmlformats.org/officeDocument/2006/relationships/image" Target="../media/image209.svg"/></Relationships>
</file>

<file path=ppt/slides/_rels/slide25.xml.rels><?xml version="1.0" encoding="UTF-8" standalone="yes"?>
<Relationships xmlns="http://schemas.openxmlformats.org/package/2006/relationships"><Relationship Id="rId26" Type="http://schemas.openxmlformats.org/officeDocument/2006/relationships/image" Target="../media/image277.svg"/><Relationship Id="rId21" Type="http://schemas.openxmlformats.org/officeDocument/2006/relationships/image" Target="../media/image272.png"/><Relationship Id="rId42" Type="http://schemas.openxmlformats.org/officeDocument/2006/relationships/image" Target="../media/image293.svg"/><Relationship Id="rId47" Type="http://schemas.openxmlformats.org/officeDocument/2006/relationships/image" Target="../media/image298.png"/><Relationship Id="rId63" Type="http://schemas.openxmlformats.org/officeDocument/2006/relationships/image" Target="../media/image314.png"/><Relationship Id="rId68" Type="http://schemas.openxmlformats.org/officeDocument/2006/relationships/image" Target="../media/image319.svg"/><Relationship Id="rId2" Type="http://schemas.openxmlformats.org/officeDocument/2006/relationships/notesSlide" Target="../notesSlides/notesSlide12.xml"/><Relationship Id="rId16" Type="http://schemas.openxmlformats.org/officeDocument/2006/relationships/image" Target="../media/image267.svg"/><Relationship Id="rId29" Type="http://schemas.openxmlformats.org/officeDocument/2006/relationships/image" Target="../media/image280.png"/><Relationship Id="rId11" Type="http://schemas.openxmlformats.org/officeDocument/2006/relationships/image" Target="../media/image262.png"/><Relationship Id="rId24" Type="http://schemas.openxmlformats.org/officeDocument/2006/relationships/image" Target="../media/image275.svg"/><Relationship Id="rId32" Type="http://schemas.openxmlformats.org/officeDocument/2006/relationships/image" Target="../media/image283.svg"/><Relationship Id="rId37" Type="http://schemas.openxmlformats.org/officeDocument/2006/relationships/image" Target="../media/image288.png"/><Relationship Id="rId40" Type="http://schemas.openxmlformats.org/officeDocument/2006/relationships/image" Target="../media/image291.svg"/><Relationship Id="rId45" Type="http://schemas.openxmlformats.org/officeDocument/2006/relationships/image" Target="../media/image296.png"/><Relationship Id="rId53" Type="http://schemas.openxmlformats.org/officeDocument/2006/relationships/image" Target="../media/image304.png"/><Relationship Id="rId58" Type="http://schemas.openxmlformats.org/officeDocument/2006/relationships/image" Target="../media/image309.svg"/><Relationship Id="rId66" Type="http://schemas.openxmlformats.org/officeDocument/2006/relationships/image" Target="../media/image317.svg"/><Relationship Id="rId74" Type="http://schemas.openxmlformats.org/officeDocument/2006/relationships/image" Target="../media/image325.svg"/><Relationship Id="rId5" Type="http://schemas.openxmlformats.org/officeDocument/2006/relationships/image" Target="../media/image256.png"/><Relationship Id="rId61" Type="http://schemas.openxmlformats.org/officeDocument/2006/relationships/image" Target="../media/image312.png"/><Relationship Id="rId19" Type="http://schemas.openxmlformats.org/officeDocument/2006/relationships/image" Target="../media/image270.png"/><Relationship Id="rId14" Type="http://schemas.openxmlformats.org/officeDocument/2006/relationships/image" Target="../media/image265.svg"/><Relationship Id="rId22" Type="http://schemas.openxmlformats.org/officeDocument/2006/relationships/image" Target="../media/image273.svg"/><Relationship Id="rId27" Type="http://schemas.openxmlformats.org/officeDocument/2006/relationships/image" Target="../media/image278.png"/><Relationship Id="rId30" Type="http://schemas.openxmlformats.org/officeDocument/2006/relationships/image" Target="../media/image281.svg"/><Relationship Id="rId35" Type="http://schemas.openxmlformats.org/officeDocument/2006/relationships/image" Target="../media/image286.png"/><Relationship Id="rId43" Type="http://schemas.openxmlformats.org/officeDocument/2006/relationships/image" Target="../media/image294.png"/><Relationship Id="rId48" Type="http://schemas.openxmlformats.org/officeDocument/2006/relationships/image" Target="../media/image299.svg"/><Relationship Id="rId56" Type="http://schemas.openxmlformats.org/officeDocument/2006/relationships/image" Target="../media/image307.svg"/><Relationship Id="rId64" Type="http://schemas.openxmlformats.org/officeDocument/2006/relationships/image" Target="../media/image315.svg"/><Relationship Id="rId69" Type="http://schemas.openxmlformats.org/officeDocument/2006/relationships/image" Target="../media/image320.png"/><Relationship Id="rId8" Type="http://schemas.openxmlformats.org/officeDocument/2006/relationships/image" Target="../media/image259.svg"/><Relationship Id="rId51" Type="http://schemas.openxmlformats.org/officeDocument/2006/relationships/image" Target="../media/image302.png"/><Relationship Id="rId72" Type="http://schemas.openxmlformats.org/officeDocument/2006/relationships/image" Target="../media/image323.svg"/><Relationship Id="rId3" Type="http://schemas.openxmlformats.org/officeDocument/2006/relationships/image" Target="../media/image254.png"/><Relationship Id="rId12" Type="http://schemas.openxmlformats.org/officeDocument/2006/relationships/image" Target="../media/image263.svg"/><Relationship Id="rId17" Type="http://schemas.openxmlformats.org/officeDocument/2006/relationships/image" Target="../media/image268.png"/><Relationship Id="rId25" Type="http://schemas.openxmlformats.org/officeDocument/2006/relationships/image" Target="../media/image276.png"/><Relationship Id="rId33" Type="http://schemas.openxmlformats.org/officeDocument/2006/relationships/image" Target="../media/image284.png"/><Relationship Id="rId38" Type="http://schemas.openxmlformats.org/officeDocument/2006/relationships/image" Target="../media/image289.svg"/><Relationship Id="rId46" Type="http://schemas.openxmlformats.org/officeDocument/2006/relationships/image" Target="../media/image297.svg"/><Relationship Id="rId59" Type="http://schemas.openxmlformats.org/officeDocument/2006/relationships/image" Target="../media/image310.png"/><Relationship Id="rId67" Type="http://schemas.openxmlformats.org/officeDocument/2006/relationships/image" Target="../media/image318.png"/><Relationship Id="rId20" Type="http://schemas.openxmlformats.org/officeDocument/2006/relationships/image" Target="../media/image271.svg"/><Relationship Id="rId41" Type="http://schemas.openxmlformats.org/officeDocument/2006/relationships/image" Target="../media/image292.png"/><Relationship Id="rId54" Type="http://schemas.openxmlformats.org/officeDocument/2006/relationships/image" Target="../media/image305.svg"/><Relationship Id="rId62" Type="http://schemas.openxmlformats.org/officeDocument/2006/relationships/image" Target="../media/image313.svg"/><Relationship Id="rId70" Type="http://schemas.openxmlformats.org/officeDocument/2006/relationships/image" Target="../media/image321.svg"/><Relationship Id="rId75" Type="http://schemas.openxmlformats.org/officeDocument/2006/relationships/image" Target="../media/image326.png"/><Relationship Id="rId1" Type="http://schemas.openxmlformats.org/officeDocument/2006/relationships/slideLayout" Target="../slideLayouts/slideLayout7.xml"/><Relationship Id="rId6" Type="http://schemas.openxmlformats.org/officeDocument/2006/relationships/image" Target="../media/image257.svg"/><Relationship Id="rId15" Type="http://schemas.openxmlformats.org/officeDocument/2006/relationships/image" Target="../media/image266.png"/><Relationship Id="rId23" Type="http://schemas.openxmlformats.org/officeDocument/2006/relationships/image" Target="../media/image274.png"/><Relationship Id="rId28" Type="http://schemas.openxmlformats.org/officeDocument/2006/relationships/image" Target="../media/image279.svg"/><Relationship Id="rId36" Type="http://schemas.openxmlformats.org/officeDocument/2006/relationships/image" Target="../media/image287.svg"/><Relationship Id="rId49" Type="http://schemas.openxmlformats.org/officeDocument/2006/relationships/image" Target="../media/image300.png"/><Relationship Id="rId57" Type="http://schemas.openxmlformats.org/officeDocument/2006/relationships/image" Target="../media/image308.png"/><Relationship Id="rId10" Type="http://schemas.openxmlformats.org/officeDocument/2006/relationships/image" Target="../media/image261.svg"/><Relationship Id="rId31" Type="http://schemas.openxmlformats.org/officeDocument/2006/relationships/image" Target="../media/image282.png"/><Relationship Id="rId44" Type="http://schemas.openxmlformats.org/officeDocument/2006/relationships/image" Target="../media/image295.svg"/><Relationship Id="rId52" Type="http://schemas.openxmlformats.org/officeDocument/2006/relationships/image" Target="../media/image303.svg"/><Relationship Id="rId60" Type="http://schemas.openxmlformats.org/officeDocument/2006/relationships/image" Target="../media/image311.svg"/><Relationship Id="rId65" Type="http://schemas.openxmlformats.org/officeDocument/2006/relationships/image" Target="../media/image316.png"/><Relationship Id="rId73" Type="http://schemas.openxmlformats.org/officeDocument/2006/relationships/image" Target="../media/image324.png"/><Relationship Id="rId4" Type="http://schemas.openxmlformats.org/officeDocument/2006/relationships/image" Target="../media/image255.svg"/><Relationship Id="rId9" Type="http://schemas.openxmlformats.org/officeDocument/2006/relationships/image" Target="../media/image260.png"/><Relationship Id="rId13" Type="http://schemas.openxmlformats.org/officeDocument/2006/relationships/image" Target="../media/image264.png"/><Relationship Id="rId18" Type="http://schemas.openxmlformats.org/officeDocument/2006/relationships/image" Target="../media/image269.svg"/><Relationship Id="rId39" Type="http://schemas.openxmlformats.org/officeDocument/2006/relationships/image" Target="../media/image290.png"/><Relationship Id="rId34" Type="http://schemas.openxmlformats.org/officeDocument/2006/relationships/image" Target="../media/image285.svg"/><Relationship Id="rId50" Type="http://schemas.openxmlformats.org/officeDocument/2006/relationships/image" Target="../media/image301.svg"/><Relationship Id="rId55" Type="http://schemas.openxmlformats.org/officeDocument/2006/relationships/image" Target="../media/image306.png"/><Relationship Id="rId76" Type="http://schemas.openxmlformats.org/officeDocument/2006/relationships/image" Target="../media/image327.svg"/><Relationship Id="rId7" Type="http://schemas.openxmlformats.org/officeDocument/2006/relationships/image" Target="../media/image258.png"/><Relationship Id="rId71" Type="http://schemas.openxmlformats.org/officeDocument/2006/relationships/image" Target="../media/image322.png"/></Relationships>
</file>

<file path=ppt/slides/_rels/slide26.xml.rels><?xml version="1.0" encoding="UTF-8" standalone="yes"?>
<Relationships xmlns="http://schemas.openxmlformats.org/package/2006/relationships"><Relationship Id="rId13" Type="http://schemas.openxmlformats.org/officeDocument/2006/relationships/image" Target="../media/image338.png"/><Relationship Id="rId18" Type="http://schemas.openxmlformats.org/officeDocument/2006/relationships/image" Target="../media/image343.svg"/><Relationship Id="rId26" Type="http://schemas.openxmlformats.org/officeDocument/2006/relationships/image" Target="../media/image351.svg"/><Relationship Id="rId39" Type="http://schemas.openxmlformats.org/officeDocument/2006/relationships/image" Target="../media/image362.png"/><Relationship Id="rId21" Type="http://schemas.openxmlformats.org/officeDocument/2006/relationships/image" Target="../media/image346.png"/><Relationship Id="rId34" Type="http://schemas.openxmlformats.org/officeDocument/2006/relationships/image" Target="../media/image309.svg"/><Relationship Id="rId42" Type="http://schemas.openxmlformats.org/officeDocument/2006/relationships/image" Target="../media/image365.svg"/><Relationship Id="rId47" Type="http://schemas.openxmlformats.org/officeDocument/2006/relationships/image" Target="../media/image370.png"/><Relationship Id="rId50" Type="http://schemas.openxmlformats.org/officeDocument/2006/relationships/image" Target="../media/image373.svg"/><Relationship Id="rId7" Type="http://schemas.openxmlformats.org/officeDocument/2006/relationships/image" Target="../media/image332.png"/><Relationship Id="rId2" Type="http://schemas.openxmlformats.org/officeDocument/2006/relationships/notesSlide" Target="../notesSlides/notesSlide13.xml"/><Relationship Id="rId16" Type="http://schemas.openxmlformats.org/officeDocument/2006/relationships/image" Target="../media/image341.svg"/><Relationship Id="rId29" Type="http://schemas.openxmlformats.org/officeDocument/2006/relationships/image" Target="../media/image354.png"/><Relationship Id="rId11" Type="http://schemas.openxmlformats.org/officeDocument/2006/relationships/image" Target="../media/image336.png"/><Relationship Id="rId24" Type="http://schemas.openxmlformats.org/officeDocument/2006/relationships/image" Target="../media/image349.svg"/><Relationship Id="rId32" Type="http://schemas.openxmlformats.org/officeDocument/2006/relationships/image" Target="../media/image357.svg"/><Relationship Id="rId37" Type="http://schemas.openxmlformats.org/officeDocument/2006/relationships/image" Target="../media/image360.png"/><Relationship Id="rId40" Type="http://schemas.openxmlformats.org/officeDocument/2006/relationships/image" Target="../media/image363.svg"/><Relationship Id="rId45" Type="http://schemas.openxmlformats.org/officeDocument/2006/relationships/image" Target="../media/image368.png"/><Relationship Id="rId5" Type="http://schemas.openxmlformats.org/officeDocument/2006/relationships/image" Target="../media/image330.png"/><Relationship Id="rId15" Type="http://schemas.openxmlformats.org/officeDocument/2006/relationships/image" Target="../media/image340.png"/><Relationship Id="rId23" Type="http://schemas.openxmlformats.org/officeDocument/2006/relationships/image" Target="../media/image348.png"/><Relationship Id="rId28" Type="http://schemas.openxmlformats.org/officeDocument/2006/relationships/image" Target="../media/image353.svg"/><Relationship Id="rId36" Type="http://schemas.openxmlformats.org/officeDocument/2006/relationships/image" Target="../media/image359.svg"/><Relationship Id="rId49" Type="http://schemas.openxmlformats.org/officeDocument/2006/relationships/image" Target="../media/image372.png"/><Relationship Id="rId10" Type="http://schemas.openxmlformats.org/officeDocument/2006/relationships/image" Target="../media/image335.svg"/><Relationship Id="rId19" Type="http://schemas.openxmlformats.org/officeDocument/2006/relationships/image" Target="../media/image344.png"/><Relationship Id="rId31" Type="http://schemas.openxmlformats.org/officeDocument/2006/relationships/image" Target="../media/image356.png"/><Relationship Id="rId44" Type="http://schemas.openxmlformats.org/officeDocument/2006/relationships/image" Target="../media/image367.svg"/><Relationship Id="rId52" Type="http://schemas.openxmlformats.org/officeDocument/2006/relationships/image" Target="../media/image375.svg"/><Relationship Id="rId4" Type="http://schemas.openxmlformats.org/officeDocument/2006/relationships/image" Target="../media/image329.svg"/><Relationship Id="rId9" Type="http://schemas.openxmlformats.org/officeDocument/2006/relationships/image" Target="../media/image334.png"/><Relationship Id="rId14" Type="http://schemas.openxmlformats.org/officeDocument/2006/relationships/image" Target="../media/image339.svg"/><Relationship Id="rId22" Type="http://schemas.openxmlformats.org/officeDocument/2006/relationships/image" Target="../media/image347.svg"/><Relationship Id="rId27" Type="http://schemas.openxmlformats.org/officeDocument/2006/relationships/image" Target="../media/image352.png"/><Relationship Id="rId30" Type="http://schemas.openxmlformats.org/officeDocument/2006/relationships/image" Target="../media/image355.svg"/><Relationship Id="rId35" Type="http://schemas.openxmlformats.org/officeDocument/2006/relationships/image" Target="../media/image358.png"/><Relationship Id="rId43" Type="http://schemas.openxmlformats.org/officeDocument/2006/relationships/image" Target="../media/image366.png"/><Relationship Id="rId48" Type="http://schemas.openxmlformats.org/officeDocument/2006/relationships/image" Target="../media/image371.svg"/><Relationship Id="rId8" Type="http://schemas.openxmlformats.org/officeDocument/2006/relationships/image" Target="../media/image333.svg"/><Relationship Id="rId51" Type="http://schemas.openxmlformats.org/officeDocument/2006/relationships/image" Target="../media/image374.png"/><Relationship Id="rId3" Type="http://schemas.openxmlformats.org/officeDocument/2006/relationships/image" Target="../media/image328.png"/><Relationship Id="rId12" Type="http://schemas.openxmlformats.org/officeDocument/2006/relationships/image" Target="../media/image337.svg"/><Relationship Id="rId17" Type="http://schemas.openxmlformats.org/officeDocument/2006/relationships/image" Target="../media/image342.png"/><Relationship Id="rId25" Type="http://schemas.openxmlformats.org/officeDocument/2006/relationships/image" Target="../media/image350.png"/><Relationship Id="rId33" Type="http://schemas.openxmlformats.org/officeDocument/2006/relationships/image" Target="../media/image308.png"/><Relationship Id="rId38" Type="http://schemas.openxmlformats.org/officeDocument/2006/relationships/image" Target="../media/image361.svg"/><Relationship Id="rId46" Type="http://schemas.openxmlformats.org/officeDocument/2006/relationships/image" Target="../media/image369.svg"/><Relationship Id="rId20" Type="http://schemas.openxmlformats.org/officeDocument/2006/relationships/image" Target="../media/image345.svg"/><Relationship Id="rId41" Type="http://schemas.openxmlformats.org/officeDocument/2006/relationships/image" Target="../media/image364.png"/><Relationship Id="rId1" Type="http://schemas.openxmlformats.org/officeDocument/2006/relationships/slideLayout" Target="../slideLayouts/slideLayout7.xml"/><Relationship Id="rId6" Type="http://schemas.openxmlformats.org/officeDocument/2006/relationships/image" Target="../media/image331.svg"/></Relationships>
</file>

<file path=ppt/slides/_rels/slide27.xml.rels><?xml version="1.0" encoding="UTF-8" standalone="yes"?>
<Relationships xmlns="http://schemas.openxmlformats.org/package/2006/relationships"><Relationship Id="rId26" Type="http://schemas.openxmlformats.org/officeDocument/2006/relationships/image" Target="../media/image399.svg"/><Relationship Id="rId21" Type="http://schemas.openxmlformats.org/officeDocument/2006/relationships/image" Target="../media/image394.png"/><Relationship Id="rId42" Type="http://schemas.openxmlformats.org/officeDocument/2006/relationships/image" Target="../media/image415.svg"/><Relationship Id="rId47" Type="http://schemas.openxmlformats.org/officeDocument/2006/relationships/image" Target="../media/image420.png"/><Relationship Id="rId63" Type="http://schemas.openxmlformats.org/officeDocument/2006/relationships/image" Target="../media/image436.png"/><Relationship Id="rId68" Type="http://schemas.openxmlformats.org/officeDocument/2006/relationships/image" Target="../media/image251.svg"/><Relationship Id="rId2" Type="http://schemas.openxmlformats.org/officeDocument/2006/relationships/notesSlide" Target="../notesSlides/notesSlide14.xml"/><Relationship Id="rId16" Type="http://schemas.openxmlformats.org/officeDocument/2006/relationships/image" Target="../media/image389.svg"/><Relationship Id="rId29" Type="http://schemas.openxmlformats.org/officeDocument/2006/relationships/image" Target="../media/image402.png"/><Relationship Id="rId11" Type="http://schemas.openxmlformats.org/officeDocument/2006/relationships/image" Target="../media/image384.png"/><Relationship Id="rId24" Type="http://schemas.openxmlformats.org/officeDocument/2006/relationships/image" Target="../media/image397.svg"/><Relationship Id="rId32" Type="http://schemas.openxmlformats.org/officeDocument/2006/relationships/image" Target="../media/image405.svg"/><Relationship Id="rId37" Type="http://schemas.openxmlformats.org/officeDocument/2006/relationships/image" Target="../media/image410.png"/><Relationship Id="rId40" Type="http://schemas.openxmlformats.org/officeDocument/2006/relationships/image" Target="../media/image413.svg"/><Relationship Id="rId45" Type="http://schemas.openxmlformats.org/officeDocument/2006/relationships/image" Target="../media/image418.png"/><Relationship Id="rId53" Type="http://schemas.openxmlformats.org/officeDocument/2006/relationships/image" Target="../media/image426.png"/><Relationship Id="rId58" Type="http://schemas.openxmlformats.org/officeDocument/2006/relationships/image" Target="../media/image431.svg"/><Relationship Id="rId66" Type="http://schemas.openxmlformats.org/officeDocument/2006/relationships/image" Target="../media/image439.svg"/><Relationship Id="rId74" Type="http://schemas.openxmlformats.org/officeDocument/2006/relationships/image" Target="../media/image444.svg"/><Relationship Id="rId5" Type="http://schemas.openxmlformats.org/officeDocument/2006/relationships/image" Target="../media/image378.png"/><Relationship Id="rId61" Type="http://schemas.openxmlformats.org/officeDocument/2006/relationships/image" Target="../media/image434.png"/><Relationship Id="rId19" Type="http://schemas.openxmlformats.org/officeDocument/2006/relationships/image" Target="../media/image392.png"/><Relationship Id="rId14" Type="http://schemas.openxmlformats.org/officeDocument/2006/relationships/image" Target="../media/image387.svg"/><Relationship Id="rId22" Type="http://schemas.openxmlformats.org/officeDocument/2006/relationships/image" Target="../media/image395.svg"/><Relationship Id="rId27" Type="http://schemas.openxmlformats.org/officeDocument/2006/relationships/image" Target="../media/image400.png"/><Relationship Id="rId30" Type="http://schemas.openxmlformats.org/officeDocument/2006/relationships/image" Target="../media/image403.svg"/><Relationship Id="rId35" Type="http://schemas.openxmlformats.org/officeDocument/2006/relationships/image" Target="../media/image408.png"/><Relationship Id="rId43" Type="http://schemas.openxmlformats.org/officeDocument/2006/relationships/image" Target="../media/image416.png"/><Relationship Id="rId48" Type="http://schemas.openxmlformats.org/officeDocument/2006/relationships/image" Target="../media/image421.svg"/><Relationship Id="rId56" Type="http://schemas.openxmlformats.org/officeDocument/2006/relationships/image" Target="../media/image429.svg"/><Relationship Id="rId64" Type="http://schemas.openxmlformats.org/officeDocument/2006/relationships/image" Target="../media/image437.svg"/><Relationship Id="rId69" Type="http://schemas.openxmlformats.org/officeDocument/2006/relationships/image" Target="../media/image151.png"/><Relationship Id="rId8" Type="http://schemas.openxmlformats.org/officeDocument/2006/relationships/image" Target="../media/image381.svg"/><Relationship Id="rId51" Type="http://schemas.openxmlformats.org/officeDocument/2006/relationships/image" Target="../media/image424.png"/><Relationship Id="rId72" Type="http://schemas.openxmlformats.org/officeDocument/2006/relationships/image" Target="../media/image442.svg"/><Relationship Id="rId3" Type="http://schemas.openxmlformats.org/officeDocument/2006/relationships/image" Target="../media/image376.png"/><Relationship Id="rId12" Type="http://schemas.openxmlformats.org/officeDocument/2006/relationships/image" Target="../media/image385.svg"/><Relationship Id="rId17" Type="http://schemas.openxmlformats.org/officeDocument/2006/relationships/image" Target="../media/image390.png"/><Relationship Id="rId25" Type="http://schemas.openxmlformats.org/officeDocument/2006/relationships/image" Target="../media/image398.png"/><Relationship Id="rId33" Type="http://schemas.openxmlformats.org/officeDocument/2006/relationships/image" Target="../media/image406.png"/><Relationship Id="rId38" Type="http://schemas.openxmlformats.org/officeDocument/2006/relationships/image" Target="../media/image411.svg"/><Relationship Id="rId46" Type="http://schemas.openxmlformats.org/officeDocument/2006/relationships/image" Target="../media/image419.svg"/><Relationship Id="rId59" Type="http://schemas.openxmlformats.org/officeDocument/2006/relationships/image" Target="../media/image432.png"/><Relationship Id="rId67" Type="http://schemas.openxmlformats.org/officeDocument/2006/relationships/image" Target="../media/image250.png"/><Relationship Id="rId20" Type="http://schemas.openxmlformats.org/officeDocument/2006/relationships/image" Target="../media/image393.svg"/><Relationship Id="rId41" Type="http://schemas.openxmlformats.org/officeDocument/2006/relationships/image" Target="../media/image414.png"/><Relationship Id="rId54" Type="http://schemas.openxmlformats.org/officeDocument/2006/relationships/image" Target="../media/image427.svg"/><Relationship Id="rId62" Type="http://schemas.openxmlformats.org/officeDocument/2006/relationships/image" Target="../media/image435.svg"/><Relationship Id="rId70" Type="http://schemas.openxmlformats.org/officeDocument/2006/relationships/image" Target="../media/image440.svg"/><Relationship Id="rId1" Type="http://schemas.openxmlformats.org/officeDocument/2006/relationships/slideLayout" Target="../slideLayouts/slideLayout7.xml"/><Relationship Id="rId6" Type="http://schemas.openxmlformats.org/officeDocument/2006/relationships/image" Target="../media/image379.svg"/><Relationship Id="rId15" Type="http://schemas.openxmlformats.org/officeDocument/2006/relationships/image" Target="../media/image388.png"/><Relationship Id="rId23" Type="http://schemas.openxmlformats.org/officeDocument/2006/relationships/image" Target="../media/image396.png"/><Relationship Id="rId28" Type="http://schemas.openxmlformats.org/officeDocument/2006/relationships/image" Target="../media/image401.svg"/><Relationship Id="rId36" Type="http://schemas.openxmlformats.org/officeDocument/2006/relationships/image" Target="../media/image409.svg"/><Relationship Id="rId49" Type="http://schemas.openxmlformats.org/officeDocument/2006/relationships/image" Target="../media/image422.png"/><Relationship Id="rId57" Type="http://schemas.openxmlformats.org/officeDocument/2006/relationships/image" Target="../media/image430.png"/><Relationship Id="rId10" Type="http://schemas.openxmlformats.org/officeDocument/2006/relationships/image" Target="../media/image383.svg"/><Relationship Id="rId31" Type="http://schemas.openxmlformats.org/officeDocument/2006/relationships/image" Target="../media/image404.png"/><Relationship Id="rId44" Type="http://schemas.openxmlformats.org/officeDocument/2006/relationships/image" Target="../media/image417.svg"/><Relationship Id="rId52" Type="http://schemas.openxmlformats.org/officeDocument/2006/relationships/image" Target="../media/image425.svg"/><Relationship Id="rId60" Type="http://schemas.openxmlformats.org/officeDocument/2006/relationships/image" Target="../media/image433.svg"/><Relationship Id="rId65" Type="http://schemas.openxmlformats.org/officeDocument/2006/relationships/image" Target="../media/image438.png"/><Relationship Id="rId73" Type="http://schemas.openxmlformats.org/officeDocument/2006/relationships/image" Target="../media/image443.png"/><Relationship Id="rId4" Type="http://schemas.openxmlformats.org/officeDocument/2006/relationships/image" Target="../media/image377.svg"/><Relationship Id="rId9" Type="http://schemas.openxmlformats.org/officeDocument/2006/relationships/image" Target="../media/image382.png"/><Relationship Id="rId13" Type="http://schemas.openxmlformats.org/officeDocument/2006/relationships/image" Target="../media/image386.png"/><Relationship Id="rId18" Type="http://schemas.openxmlformats.org/officeDocument/2006/relationships/image" Target="../media/image391.svg"/><Relationship Id="rId39" Type="http://schemas.openxmlformats.org/officeDocument/2006/relationships/image" Target="../media/image412.png"/><Relationship Id="rId34" Type="http://schemas.openxmlformats.org/officeDocument/2006/relationships/image" Target="../media/image407.svg"/><Relationship Id="rId50" Type="http://schemas.openxmlformats.org/officeDocument/2006/relationships/image" Target="../media/image423.svg"/><Relationship Id="rId55" Type="http://schemas.openxmlformats.org/officeDocument/2006/relationships/image" Target="../media/image428.png"/><Relationship Id="rId7" Type="http://schemas.openxmlformats.org/officeDocument/2006/relationships/image" Target="../media/image380.png"/><Relationship Id="rId71" Type="http://schemas.openxmlformats.org/officeDocument/2006/relationships/image" Target="../media/image441.png"/></Relationships>
</file>

<file path=ppt/slides/_rels/slide28.xml.rels><?xml version="1.0" encoding="UTF-8" standalone="yes"?>
<Relationships xmlns="http://schemas.openxmlformats.org/package/2006/relationships"><Relationship Id="rId13" Type="http://schemas.openxmlformats.org/officeDocument/2006/relationships/image" Target="../media/image455.png"/><Relationship Id="rId18" Type="http://schemas.openxmlformats.org/officeDocument/2006/relationships/image" Target="../media/image460.svg"/><Relationship Id="rId26" Type="http://schemas.openxmlformats.org/officeDocument/2006/relationships/image" Target="../media/image468.svg"/><Relationship Id="rId39" Type="http://schemas.openxmlformats.org/officeDocument/2006/relationships/image" Target="../media/image115.png"/><Relationship Id="rId21" Type="http://schemas.openxmlformats.org/officeDocument/2006/relationships/image" Target="../media/image463.png"/><Relationship Id="rId34" Type="http://schemas.openxmlformats.org/officeDocument/2006/relationships/image" Target="../media/image476.svg"/><Relationship Id="rId42" Type="http://schemas.openxmlformats.org/officeDocument/2006/relationships/image" Target="../media/image482.svg"/><Relationship Id="rId47" Type="http://schemas.openxmlformats.org/officeDocument/2006/relationships/image" Target="../media/image487.png"/><Relationship Id="rId50" Type="http://schemas.openxmlformats.org/officeDocument/2006/relationships/image" Target="../media/image490.svg"/><Relationship Id="rId55" Type="http://schemas.openxmlformats.org/officeDocument/2006/relationships/image" Target="../media/image495.png"/><Relationship Id="rId7" Type="http://schemas.openxmlformats.org/officeDocument/2006/relationships/image" Target="../media/image449.png"/><Relationship Id="rId2" Type="http://schemas.openxmlformats.org/officeDocument/2006/relationships/notesSlide" Target="../notesSlides/notesSlide15.xml"/><Relationship Id="rId16" Type="http://schemas.openxmlformats.org/officeDocument/2006/relationships/image" Target="../media/image458.svg"/><Relationship Id="rId29" Type="http://schemas.openxmlformats.org/officeDocument/2006/relationships/image" Target="../media/image471.png"/><Relationship Id="rId11" Type="http://schemas.openxmlformats.org/officeDocument/2006/relationships/image" Target="../media/image453.png"/><Relationship Id="rId24" Type="http://schemas.openxmlformats.org/officeDocument/2006/relationships/image" Target="../media/image466.svg"/><Relationship Id="rId32" Type="http://schemas.openxmlformats.org/officeDocument/2006/relationships/image" Target="../media/image474.svg"/><Relationship Id="rId37" Type="http://schemas.openxmlformats.org/officeDocument/2006/relationships/image" Target="../media/image479.png"/><Relationship Id="rId40" Type="http://schemas.openxmlformats.org/officeDocument/2006/relationships/image" Target="../media/image116.svg"/><Relationship Id="rId45" Type="http://schemas.openxmlformats.org/officeDocument/2006/relationships/image" Target="../media/image485.png"/><Relationship Id="rId53" Type="http://schemas.openxmlformats.org/officeDocument/2006/relationships/image" Target="../media/image493.png"/><Relationship Id="rId5" Type="http://schemas.openxmlformats.org/officeDocument/2006/relationships/image" Target="../media/image447.png"/><Relationship Id="rId10" Type="http://schemas.openxmlformats.org/officeDocument/2006/relationships/image" Target="../media/image452.svg"/><Relationship Id="rId19" Type="http://schemas.openxmlformats.org/officeDocument/2006/relationships/image" Target="../media/image461.png"/><Relationship Id="rId31" Type="http://schemas.openxmlformats.org/officeDocument/2006/relationships/image" Target="../media/image473.png"/><Relationship Id="rId44" Type="http://schemas.openxmlformats.org/officeDocument/2006/relationships/image" Target="../media/image484.svg"/><Relationship Id="rId52" Type="http://schemas.openxmlformats.org/officeDocument/2006/relationships/image" Target="../media/image492.svg"/><Relationship Id="rId4" Type="http://schemas.openxmlformats.org/officeDocument/2006/relationships/image" Target="../media/image446.svg"/><Relationship Id="rId9" Type="http://schemas.openxmlformats.org/officeDocument/2006/relationships/image" Target="../media/image451.png"/><Relationship Id="rId14" Type="http://schemas.openxmlformats.org/officeDocument/2006/relationships/image" Target="../media/image456.svg"/><Relationship Id="rId22" Type="http://schemas.openxmlformats.org/officeDocument/2006/relationships/image" Target="../media/image464.svg"/><Relationship Id="rId27" Type="http://schemas.openxmlformats.org/officeDocument/2006/relationships/image" Target="../media/image469.png"/><Relationship Id="rId30" Type="http://schemas.openxmlformats.org/officeDocument/2006/relationships/image" Target="../media/image472.svg"/><Relationship Id="rId35" Type="http://schemas.openxmlformats.org/officeDocument/2006/relationships/image" Target="../media/image477.png"/><Relationship Id="rId43" Type="http://schemas.openxmlformats.org/officeDocument/2006/relationships/image" Target="../media/image483.png"/><Relationship Id="rId48" Type="http://schemas.openxmlformats.org/officeDocument/2006/relationships/image" Target="../media/image488.svg"/><Relationship Id="rId56" Type="http://schemas.openxmlformats.org/officeDocument/2006/relationships/image" Target="../media/image496.svg"/><Relationship Id="rId8" Type="http://schemas.openxmlformats.org/officeDocument/2006/relationships/image" Target="../media/image450.svg"/><Relationship Id="rId51" Type="http://schemas.openxmlformats.org/officeDocument/2006/relationships/image" Target="../media/image491.png"/><Relationship Id="rId3" Type="http://schemas.openxmlformats.org/officeDocument/2006/relationships/image" Target="../media/image445.png"/><Relationship Id="rId12" Type="http://schemas.openxmlformats.org/officeDocument/2006/relationships/image" Target="../media/image454.svg"/><Relationship Id="rId17" Type="http://schemas.openxmlformats.org/officeDocument/2006/relationships/image" Target="../media/image459.png"/><Relationship Id="rId25" Type="http://schemas.openxmlformats.org/officeDocument/2006/relationships/image" Target="../media/image467.png"/><Relationship Id="rId33" Type="http://schemas.openxmlformats.org/officeDocument/2006/relationships/image" Target="../media/image475.png"/><Relationship Id="rId38" Type="http://schemas.openxmlformats.org/officeDocument/2006/relationships/image" Target="../media/image480.svg"/><Relationship Id="rId46" Type="http://schemas.openxmlformats.org/officeDocument/2006/relationships/image" Target="../media/image486.svg"/><Relationship Id="rId20" Type="http://schemas.openxmlformats.org/officeDocument/2006/relationships/image" Target="../media/image462.svg"/><Relationship Id="rId41" Type="http://schemas.openxmlformats.org/officeDocument/2006/relationships/image" Target="../media/image481.png"/><Relationship Id="rId54" Type="http://schemas.openxmlformats.org/officeDocument/2006/relationships/image" Target="../media/image494.svg"/><Relationship Id="rId1" Type="http://schemas.openxmlformats.org/officeDocument/2006/relationships/slideLayout" Target="../slideLayouts/slideLayout7.xml"/><Relationship Id="rId6" Type="http://schemas.openxmlformats.org/officeDocument/2006/relationships/image" Target="../media/image448.svg"/><Relationship Id="rId15" Type="http://schemas.openxmlformats.org/officeDocument/2006/relationships/image" Target="../media/image457.png"/><Relationship Id="rId23" Type="http://schemas.openxmlformats.org/officeDocument/2006/relationships/image" Target="../media/image465.png"/><Relationship Id="rId28" Type="http://schemas.openxmlformats.org/officeDocument/2006/relationships/image" Target="../media/image470.svg"/><Relationship Id="rId36" Type="http://schemas.openxmlformats.org/officeDocument/2006/relationships/image" Target="../media/image478.svg"/><Relationship Id="rId49" Type="http://schemas.openxmlformats.org/officeDocument/2006/relationships/image" Target="../media/image489.png"/></Relationships>
</file>

<file path=ppt/slides/_rels/slide29.xml.rels><?xml version="1.0" encoding="UTF-8" standalone="yes"?>
<Relationships xmlns="http://schemas.openxmlformats.org/package/2006/relationships"><Relationship Id="rId26" Type="http://schemas.openxmlformats.org/officeDocument/2006/relationships/image" Target="../media/image520.svg"/><Relationship Id="rId21" Type="http://schemas.openxmlformats.org/officeDocument/2006/relationships/image" Target="../media/image515.png"/><Relationship Id="rId42" Type="http://schemas.openxmlformats.org/officeDocument/2006/relationships/image" Target="../media/image536.svg"/><Relationship Id="rId47" Type="http://schemas.openxmlformats.org/officeDocument/2006/relationships/image" Target="../media/image541.png"/><Relationship Id="rId63" Type="http://schemas.openxmlformats.org/officeDocument/2006/relationships/image" Target="../media/image557.png"/><Relationship Id="rId68" Type="http://schemas.openxmlformats.org/officeDocument/2006/relationships/image" Target="../media/image562.svg"/><Relationship Id="rId16" Type="http://schemas.openxmlformats.org/officeDocument/2006/relationships/image" Target="../media/image510.svg"/><Relationship Id="rId11" Type="http://schemas.openxmlformats.org/officeDocument/2006/relationships/image" Target="../media/image505.png"/><Relationship Id="rId24" Type="http://schemas.openxmlformats.org/officeDocument/2006/relationships/image" Target="../media/image518.svg"/><Relationship Id="rId32" Type="http://schemas.openxmlformats.org/officeDocument/2006/relationships/image" Target="../media/image526.svg"/><Relationship Id="rId37" Type="http://schemas.openxmlformats.org/officeDocument/2006/relationships/image" Target="../media/image531.png"/><Relationship Id="rId40" Type="http://schemas.openxmlformats.org/officeDocument/2006/relationships/image" Target="../media/image534.svg"/><Relationship Id="rId45" Type="http://schemas.openxmlformats.org/officeDocument/2006/relationships/image" Target="../media/image539.png"/><Relationship Id="rId53" Type="http://schemas.openxmlformats.org/officeDocument/2006/relationships/image" Target="../media/image547.png"/><Relationship Id="rId58" Type="http://schemas.openxmlformats.org/officeDocument/2006/relationships/image" Target="../media/image552.svg"/><Relationship Id="rId66" Type="http://schemas.openxmlformats.org/officeDocument/2006/relationships/image" Target="../media/image560.svg"/><Relationship Id="rId74" Type="http://schemas.openxmlformats.org/officeDocument/2006/relationships/image" Target="../media/image568.svg"/><Relationship Id="rId5" Type="http://schemas.openxmlformats.org/officeDocument/2006/relationships/image" Target="../media/image499.png"/><Relationship Id="rId61" Type="http://schemas.openxmlformats.org/officeDocument/2006/relationships/image" Target="../media/image555.png"/><Relationship Id="rId19" Type="http://schemas.openxmlformats.org/officeDocument/2006/relationships/image" Target="../media/image513.png"/><Relationship Id="rId14" Type="http://schemas.openxmlformats.org/officeDocument/2006/relationships/image" Target="../media/image508.svg"/><Relationship Id="rId22" Type="http://schemas.openxmlformats.org/officeDocument/2006/relationships/image" Target="../media/image516.svg"/><Relationship Id="rId27" Type="http://schemas.openxmlformats.org/officeDocument/2006/relationships/image" Target="../media/image521.png"/><Relationship Id="rId30" Type="http://schemas.openxmlformats.org/officeDocument/2006/relationships/image" Target="../media/image524.svg"/><Relationship Id="rId35" Type="http://schemas.openxmlformats.org/officeDocument/2006/relationships/image" Target="../media/image529.png"/><Relationship Id="rId43" Type="http://schemas.openxmlformats.org/officeDocument/2006/relationships/image" Target="../media/image537.png"/><Relationship Id="rId48" Type="http://schemas.openxmlformats.org/officeDocument/2006/relationships/image" Target="../media/image542.svg"/><Relationship Id="rId56" Type="http://schemas.openxmlformats.org/officeDocument/2006/relationships/image" Target="../media/image550.svg"/><Relationship Id="rId64" Type="http://schemas.openxmlformats.org/officeDocument/2006/relationships/image" Target="../media/image558.svg"/><Relationship Id="rId69" Type="http://schemas.openxmlformats.org/officeDocument/2006/relationships/image" Target="../media/image563.png"/><Relationship Id="rId77" Type="http://schemas.openxmlformats.org/officeDocument/2006/relationships/image" Target="../media/image571.png"/><Relationship Id="rId8" Type="http://schemas.openxmlformats.org/officeDocument/2006/relationships/image" Target="../media/image502.svg"/><Relationship Id="rId51" Type="http://schemas.openxmlformats.org/officeDocument/2006/relationships/image" Target="../media/image545.png"/><Relationship Id="rId72" Type="http://schemas.openxmlformats.org/officeDocument/2006/relationships/image" Target="../media/image566.svg"/><Relationship Id="rId3" Type="http://schemas.openxmlformats.org/officeDocument/2006/relationships/image" Target="../media/image497.png"/><Relationship Id="rId12" Type="http://schemas.openxmlformats.org/officeDocument/2006/relationships/image" Target="../media/image506.svg"/><Relationship Id="rId17" Type="http://schemas.openxmlformats.org/officeDocument/2006/relationships/image" Target="../media/image511.png"/><Relationship Id="rId25" Type="http://schemas.openxmlformats.org/officeDocument/2006/relationships/image" Target="../media/image519.png"/><Relationship Id="rId33" Type="http://schemas.openxmlformats.org/officeDocument/2006/relationships/image" Target="../media/image527.png"/><Relationship Id="rId38" Type="http://schemas.openxmlformats.org/officeDocument/2006/relationships/image" Target="../media/image532.svg"/><Relationship Id="rId46" Type="http://schemas.openxmlformats.org/officeDocument/2006/relationships/image" Target="../media/image540.svg"/><Relationship Id="rId59" Type="http://schemas.openxmlformats.org/officeDocument/2006/relationships/image" Target="../media/image553.png"/><Relationship Id="rId67" Type="http://schemas.openxmlformats.org/officeDocument/2006/relationships/image" Target="../media/image561.png"/><Relationship Id="rId20" Type="http://schemas.openxmlformats.org/officeDocument/2006/relationships/image" Target="../media/image514.svg"/><Relationship Id="rId41" Type="http://schemas.openxmlformats.org/officeDocument/2006/relationships/image" Target="../media/image535.png"/><Relationship Id="rId54" Type="http://schemas.openxmlformats.org/officeDocument/2006/relationships/image" Target="../media/image548.svg"/><Relationship Id="rId62" Type="http://schemas.openxmlformats.org/officeDocument/2006/relationships/image" Target="../media/image556.svg"/><Relationship Id="rId70" Type="http://schemas.openxmlformats.org/officeDocument/2006/relationships/image" Target="../media/image564.svg"/><Relationship Id="rId75" Type="http://schemas.openxmlformats.org/officeDocument/2006/relationships/image" Target="../media/image569.png"/><Relationship Id="rId1" Type="http://schemas.openxmlformats.org/officeDocument/2006/relationships/slideLayout" Target="../slideLayouts/slideLayout7.xml"/><Relationship Id="rId6" Type="http://schemas.openxmlformats.org/officeDocument/2006/relationships/image" Target="../media/image500.svg"/><Relationship Id="rId15" Type="http://schemas.openxmlformats.org/officeDocument/2006/relationships/image" Target="../media/image509.png"/><Relationship Id="rId23" Type="http://schemas.openxmlformats.org/officeDocument/2006/relationships/image" Target="../media/image517.png"/><Relationship Id="rId28" Type="http://schemas.openxmlformats.org/officeDocument/2006/relationships/image" Target="../media/image522.svg"/><Relationship Id="rId36" Type="http://schemas.openxmlformats.org/officeDocument/2006/relationships/image" Target="../media/image530.svg"/><Relationship Id="rId49" Type="http://schemas.openxmlformats.org/officeDocument/2006/relationships/image" Target="../media/image543.png"/><Relationship Id="rId57" Type="http://schemas.openxmlformats.org/officeDocument/2006/relationships/image" Target="../media/image551.png"/><Relationship Id="rId10" Type="http://schemas.openxmlformats.org/officeDocument/2006/relationships/image" Target="../media/image504.svg"/><Relationship Id="rId31" Type="http://schemas.openxmlformats.org/officeDocument/2006/relationships/image" Target="../media/image525.png"/><Relationship Id="rId44" Type="http://schemas.openxmlformats.org/officeDocument/2006/relationships/image" Target="../media/image538.svg"/><Relationship Id="rId52" Type="http://schemas.openxmlformats.org/officeDocument/2006/relationships/image" Target="../media/image546.svg"/><Relationship Id="rId60" Type="http://schemas.openxmlformats.org/officeDocument/2006/relationships/image" Target="../media/image554.svg"/><Relationship Id="rId65" Type="http://schemas.openxmlformats.org/officeDocument/2006/relationships/image" Target="../media/image559.png"/><Relationship Id="rId73" Type="http://schemas.openxmlformats.org/officeDocument/2006/relationships/image" Target="../media/image567.png"/><Relationship Id="rId78" Type="http://schemas.openxmlformats.org/officeDocument/2006/relationships/image" Target="../media/image572.svg"/><Relationship Id="rId4" Type="http://schemas.openxmlformats.org/officeDocument/2006/relationships/image" Target="../media/image498.svg"/><Relationship Id="rId9" Type="http://schemas.openxmlformats.org/officeDocument/2006/relationships/image" Target="../media/image503.png"/><Relationship Id="rId13" Type="http://schemas.openxmlformats.org/officeDocument/2006/relationships/image" Target="../media/image507.png"/><Relationship Id="rId18" Type="http://schemas.openxmlformats.org/officeDocument/2006/relationships/image" Target="../media/image512.svg"/><Relationship Id="rId39" Type="http://schemas.openxmlformats.org/officeDocument/2006/relationships/image" Target="../media/image533.png"/><Relationship Id="rId34" Type="http://schemas.openxmlformats.org/officeDocument/2006/relationships/image" Target="../media/image528.svg"/><Relationship Id="rId50" Type="http://schemas.openxmlformats.org/officeDocument/2006/relationships/image" Target="../media/image544.svg"/><Relationship Id="rId55" Type="http://schemas.openxmlformats.org/officeDocument/2006/relationships/image" Target="../media/image549.png"/><Relationship Id="rId76" Type="http://schemas.openxmlformats.org/officeDocument/2006/relationships/image" Target="../media/image570.svg"/><Relationship Id="rId7" Type="http://schemas.openxmlformats.org/officeDocument/2006/relationships/image" Target="../media/image501.png"/><Relationship Id="rId71" Type="http://schemas.openxmlformats.org/officeDocument/2006/relationships/image" Target="../media/image565.png"/><Relationship Id="rId2" Type="http://schemas.openxmlformats.org/officeDocument/2006/relationships/notesSlide" Target="../notesSlides/notesSlide16.xml"/><Relationship Id="rId29" Type="http://schemas.openxmlformats.org/officeDocument/2006/relationships/image" Target="../media/image52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6" Type="http://schemas.openxmlformats.org/officeDocument/2006/relationships/image" Target="../media/image596.svg"/><Relationship Id="rId21" Type="http://schemas.openxmlformats.org/officeDocument/2006/relationships/image" Target="../media/image591.png"/><Relationship Id="rId42" Type="http://schemas.openxmlformats.org/officeDocument/2006/relationships/image" Target="../media/image612.svg"/><Relationship Id="rId47" Type="http://schemas.openxmlformats.org/officeDocument/2006/relationships/image" Target="../media/image617.png"/><Relationship Id="rId63" Type="http://schemas.openxmlformats.org/officeDocument/2006/relationships/image" Target="../media/image632.png"/><Relationship Id="rId68" Type="http://schemas.openxmlformats.org/officeDocument/2006/relationships/image" Target="../media/image637.svg"/><Relationship Id="rId84" Type="http://schemas.openxmlformats.org/officeDocument/2006/relationships/image" Target="../media/image653.svg"/><Relationship Id="rId89" Type="http://schemas.openxmlformats.org/officeDocument/2006/relationships/image" Target="../media/image658.png"/><Relationship Id="rId16" Type="http://schemas.openxmlformats.org/officeDocument/2006/relationships/image" Target="../media/image586.svg"/><Relationship Id="rId11" Type="http://schemas.openxmlformats.org/officeDocument/2006/relationships/image" Target="../media/image581.png"/><Relationship Id="rId32" Type="http://schemas.openxmlformats.org/officeDocument/2006/relationships/image" Target="../media/image602.svg"/><Relationship Id="rId37" Type="http://schemas.openxmlformats.org/officeDocument/2006/relationships/image" Target="../media/image607.png"/><Relationship Id="rId53" Type="http://schemas.openxmlformats.org/officeDocument/2006/relationships/image" Target="../media/image622.png"/><Relationship Id="rId58" Type="http://schemas.openxmlformats.org/officeDocument/2006/relationships/image" Target="../media/image627.svg"/><Relationship Id="rId74" Type="http://schemas.openxmlformats.org/officeDocument/2006/relationships/image" Target="../media/image643.svg"/><Relationship Id="rId79" Type="http://schemas.openxmlformats.org/officeDocument/2006/relationships/image" Target="../media/image648.png"/><Relationship Id="rId5" Type="http://schemas.openxmlformats.org/officeDocument/2006/relationships/image" Target="../media/image575.png"/><Relationship Id="rId90" Type="http://schemas.openxmlformats.org/officeDocument/2006/relationships/image" Target="../media/image659.svg"/><Relationship Id="rId95" Type="http://schemas.openxmlformats.org/officeDocument/2006/relationships/image" Target="../media/image664.png"/><Relationship Id="rId22" Type="http://schemas.openxmlformats.org/officeDocument/2006/relationships/image" Target="../media/image592.svg"/><Relationship Id="rId27" Type="http://schemas.openxmlformats.org/officeDocument/2006/relationships/image" Target="../media/image597.png"/><Relationship Id="rId43" Type="http://schemas.openxmlformats.org/officeDocument/2006/relationships/image" Target="../media/image613.png"/><Relationship Id="rId48" Type="http://schemas.openxmlformats.org/officeDocument/2006/relationships/image" Target="../media/image618.svg"/><Relationship Id="rId64" Type="http://schemas.openxmlformats.org/officeDocument/2006/relationships/image" Target="../media/image633.svg"/><Relationship Id="rId69" Type="http://schemas.openxmlformats.org/officeDocument/2006/relationships/image" Target="../media/image638.png"/><Relationship Id="rId80" Type="http://schemas.openxmlformats.org/officeDocument/2006/relationships/image" Target="../media/image649.svg"/><Relationship Id="rId85" Type="http://schemas.openxmlformats.org/officeDocument/2006/relationships/image" Target="../media/image654.png"/><Relationship Id="rId3" Type="http://schemas.openxmlformats.org/officeDocument/2006/relationships/image" Target="../media/image573.png"/><Relationship Id="rId12" Type="http://schemas.openxmlformats.org/officeDocument/2006/relationships/image" Target="../media/image582.svg"/><Relationship Id="rId17" Type="http://schemas.openxmlformats.org/officeDocument/2006/relationships/image" Target="../media/image587.png"/><Relationship Id="rId25" Type="http://schemas.openxmlformats.org/officeDocument/2006/relationships/image" Target="../media/image595.png"/><Relationship Id="rId33" Type="http://schemas.openxmlformats.org/officeDocument/2006/relationships/image" Target="../media/image603.png"/><Relationship Id="rId38" Type="http://schemas.openxmlformats.org/officeDocument/2006/relationships/image" Target="../media/image608.svg"/><Relationship Id="rId46" Type="http://schemas.openxmlformats.org/officeDocument/2006/relationships/image" Target="../media/image616.svg"/><Relationship Id="rId59" Type="http://schemas.openxmlformats.org/officeDocument/2006/relationships/image" Target="../media/image628.png"/><Relationship Id="rId67" Type="http://schemas.openxmlformats.org/officeDocument/2006/relationships/image" Target="../media/image636.png"/><Relationship Id="rId20" Type="http://schemas.openxmlformats.org/officeDocument/2006/relationships/image" Target="../media/image590.svg"/><Relationship Id="rId41" Type="http://schemas.openxmlformats.org/officeDocument/2006/relationships/image" Target="../media/image611.png"/><Relationship Id="rId54" Type="http://schemas.openxmlformats.org/officeDocument/2006/relationships/image" Target="../media/image623.svg"/><Relationship Id="rId62" Type="http://schemas.openxmlformats.org/officeDocument/2006/relationships/image" Target="../media/image631.svg"/><Relationship Id="rId70" Type="http://schemas.openxmlformats.org/officeDocument/2006/relationships/image" Target="../media/image639.svg"/><Relationship Id="rId75" Type="http://schemas.openxmlformats.org/officeDocument/2006/relationships/image" Target="../media/image644.png"/><Relationship Id="rId83" Type="http://schemas.openxmlformats.org/officeDocument/2006/relationships/image" Target="../media/image652.png"/><Relationship Id="rId88" Type="http://schemas.openxmlformats.org/officeDocument/2006/relationships/image" Target="../media/image657.svg"/><Relationship Id="rId91" Type="http://schemas.openxmlformats.org/officeDocument/2006/relationships/image" Target="../media/image660.png"/><Relationship Id="rId96" Type="http://schemas.openxmlformats.org/officeDocument/2006/relationships/image" Target="../media/image665.svg"/><Relationship Id="rId1" Type="http://schemas.openxmlformats.org/officeDocument/2006/relationships/slideLayout" Target="../slideLayouts/slideLayout7.xml"/><Relationship Id="rId6" Type="http://schemas.openxmlformats.org/officeDocument/2006/relationships/image" Target="../media/image576.svg"/><Relationship Id="rId15" Type="http://schemas.openxmlformats.org/officeDocument/2006/relationships/image" Target="../media/image585.png"/><Relationship Id="rId23" Type="http://schemas.openxmlformats.org/officeDocument/2006/relationships/image" Target="../media/image593.png"/><Relationship Id="rId28" Type="http://schemas.openxmlformats.org/officeDocument/2006/relationships/image" Target="../media/image598.svg"/><Relationship Id="rId36" Type="http://schemas.openxmlformats.org/officeDocument/2006/relationships/image" Target="../media/image606.svg"/><Relationship Id="rId49" Type="http://schemas.openxmlformats.org/officeDocument/2006/relationships/image" Target="../media/image619.png"/><Relationship Id="rId57" Type="http://schemas.openxmlformats.org/officeDocument/2006/relationships/image" Target="../media/image626.png"/><Relationship Id="rId10" Type="http://schemas.openxmlformats.org/officeDocument/2006/relationships/image" Target="../media/image580.svg"/><Relationship Id="rId31" Type="http://schemas.openxmlformats.org/officeDocument/2006/relationships/image" Target="../media/image601.png"/><Relationship Id="rId44" Type="http://schemas.openxmlformats.org/officeDocument/2006/relationships/image" Target="../media/image614.svg"/><Relationship Id="rId52" Type="http://schemas.openxmlformats.org/officeDocument/2006/relationships/image" Target="../media/image621.svg"/><Relationship Id="rId60" Type="http://schemas.openxmlformats.org/officeDocument/2006/relationships/image" Target="../media/image629.svg"/><Relationship Id="rId65" Type="http://schemas.openxmlformats.org/officeDocument/2006/relationships/image" Target="../media/image634.png"/><Relationship Id="rId73" Type="http://schemas.openxmlformats.org/officeDocument/2006/relationships/image" Target="../media/image642.png"/><Relationship Id="rId78" Type="http://schemas.openxmlformats.org/officeDocument/2006/relationships/image" Target="../media/image647.svg"/><Relationship Id="rId81" Type="http://schemas.openxmlformats.org/officeDocument/2006/relationships/image" Target="../media/image650.png"/><Relationship Id="rId86" Type="http://schemas.openxmlformats.org/officeDocument/2006/relationships/image" Target="../media/image655.svg"/><Relationship Id="rId94" Type="http://schemas.openxmlformats.org/officeDocument/2006/relationships/image" Target="../media/image663.svg"/><Relationship Id="rId4" Type="http://schemas.openxmlformats.org/officeDocument/2006/relationships/image" Target="../media/image574.svg"/><Relationship Id="rId9" Type="http://schemas.openxmlformats.org/officeDocument/2006/relationships/image" Target="../media/image579.png"/><Relationship Id="rId13" Type="http://schemas.openxmlformats.org/officeDocument/2006/relationships/image" Target="../media/image583.png"/><Relationship Id="rId18" Type="http://schemas.openxmlformats.org/officeDocument/2006/relationships/image" Target="../media/image588.svg"/><Relationship Id="rId39" Type="http://schemas.openxmlformats.org/officeDocument/2006/relationships/image" Target="../media/image609.png"/><Relationship Id="rId34" Type="http://schemas.openxmlformats.org/officeDocument/2006/relationships/image" Target="../media/image604.svg"/><Relationship Id="rId50" Type="http://schemas.openxmlformats.org/officeDocument/2006/relationships/image" Target="../media/image620.svg"/><Relationship Id="rId55" Type="http://schemas.openxmlformats.org/officeDocument/2006/relationships/image" Target="../media/image624.png"/><Relationship Id="rId76" Type="http://schemas.openxmlformats.org/officeDocument/2006/relationships/image" Target="../media/image645.svg"/><Relationship Id="rId97" Type="http://schemas.openxmlformats.org/officeDocument/2006/relationships/image" Target="../media/image666.png"/><Relationship Id="rId7" Type="http://schemas.openxmlformats.org/officeDocument/2006/relationships/image" Target="../media/image577.png"/><Relationship Id="rId71" Type="http://schemas.openxmlformats.org/officeDocument/2006/relationships/image" Target="../media/image640.png"/><Relationship Id="rId92" Type="http://schemas.openxmlformats.org/officeDocument/2006/relationships/image" Target="../media/image661.svg"/><Relationship Id="rId2" Type="http://schemas.openxmlformats.org/officeDocument/2006/relationships/notesSlide" Target="../notesSlides/notesSlide17.xml"/><Relationship Id="rId29" Type="http://schemas.openxmlformats.org/officeDocument/2006/relationships/image" Target="../media/image599.png"/><Relationship Id="rId24" Type="http://schemas.openxmlformats.org/officeDocument/2006/relationships/image" Target="../media/image594.svg"/><Relationship Id="rId40" Type="http://schemas.openxmlformats.org/officeDocument/2006/relationships/image" Target="../media/image610.svg"/><Relationship Id="rId45" Type="http://schemas.openxmlformats.org/officeDocument/2006/relationships/image" Target="../media/image615.png"/><Relationship Id="rId66" Type="http://schemas.openxmlformats.org/officeDocument/2006/relationships/image" Target="../media/image635.svg"/><Relationship Id="rId87" Type="http://schemas.openxmlformats.org/officeDocument/2006/relationships/image" Target="../media/image656.png"/><Relationship Id="rId61" Type="http://schemas.openxmlformats.org/officeDocument/2006/relationships/image" Target="../media/image630.png"/><Relationship Id="rId82" Type="http://schemas.openxmlformats.org/officeDocument/2006/relationships/image" Target="../media/image651.svg"/><Relationship Id="rId19" Type="http://schemas.openxmlformats.org/officeDocument/2006/relationships/image" Target="../media/image589.png"/><Relationship Id="rId14" Type="http://schemas.openxmlformats.org/officeDocument/2006/relationships/image" Target="../media/image584.svg"/><Relationship Id="rId30" Type="http://schemas.openxmlformats.org/officeDocument/2006/relationships/image" Target="../media/image600.svg"/><Relationship Id="rId35" Type="http://schemas.openxmlformats.org/officeDocument/2006/relationships/image" Target="../media/image605.png"/><Relationship Id="rId56" Type="http://schemas.openxmlformats.org/officeDocument/2006/relationships/image" Target="../media/image625.svg"/><Relationship Id="rId77" Type="http://schemas.openxmlformats.org/officeDocument/2006/relationships/image" Target="../media/image646.png"/><Relationship Id="rId8" Type="http://schemas.openxmlformats.org/officeDocument/2006/relationships/image" Target="../media/image578.svg"/><Relationship Id="rId51" Type="http://schemas.openxmlformats.org/officeDocument/2006/relationships/image" Target="../media/image434.png"/><Relationship Id="rId72" Type="http://schemas.openxmlformats.org/officeDocument/2006/relationships/image" Target="../media/image641.svg"/><Relationship Id="rId93" Type="http://schemas.openxmlformats.org/officeDocument/2006/relationships/image" Target="../media/image662.png"/><Relationship Id="rId98" Type="http://schemas.openxmlformats.org/officeDocument/2006/relationships/image" Target="../media/image667.svg"/></Relationships>
</file>

<file path=ppt/slides/_rels/slide31.xml.rels><?xml version="1.0" encoding="UTF-8" standalone="yes"?>
<Relationships xmlns="http://schemas.openxmlformats.org/package/2006/relationships"><Relationship Id="rId13" Type="http://schemas.openxmlformats.org/officeDocument/2006/relationships/image" Target="../media/image678.png"/><Relationship Id="rId18" Type="http://schemas.openxmlformats.org/officeDocument/2006/relationships/image" Target="../media/image683.svg"/><Relationship Id="rId26" Type="http://schemas.openxmlformats.org/officeDocument/2006/relationships/image" Target="../media/image691.svg"/><Relationship Id="rId39" Type="http://schemas.openxmlformats.org/officeDocument/2006/relationships/image" Target="../media/image704.png"/><Relationship Id="rId21" Type="http://schemas.openxmlformats.org/officeDocument/2006/relationships/image" Target="../media/image686.png"/><Relationship Id="rId34" Type="http://schemas.openxmlformats.org/officeDocument/2006/relationships/image" Target="../media/image699.svg"/><Relationship Id="rId42" Type="http://schemas.openxmlformats.org/officeDocument/2006/relationships/image" Target="../media/image707.svg"/><Relationship Id="rId47" Type="http://schemas.openxmlformats.org/officeDocument/2006/relationships/image" Target="../media/image712.png"/><Relationship Id="rId50" Type="http://schemas.openxmlformats.org/officeDocument/2006/relationships/image" Target="../media/image715.svg"/><Relationship Id="rId55" Type="http://schemas.openxmlformats.org/officeDocument/2006/relationships/image" Target="../media/image410.png"/><Relationship Id="rId7" Type="http://schemas.openxmlformats.org/officeDocument/2006/relationships/image" Target="../media/image672.png"/><Relationship Id="rId2" Type="http://schemas.openxmlformats.org/officeDocument/2006/relationships/notesSlide" Target="../notesSlides/notesSlide18.xml"/><Relationship Id="rId16" Type="http://schemas.openxmlformats.org/officeDocument/2006/relationships/image" Target="../media/image681.svg"/><Relationship Id="rId29" Type="http://schemas.openxmlformats.org/officeDocument/2006/relationships/image" Target="../media/image694.png"/><Relationship Id="rId11" Type="http://schemas.openxmlformats.org/officeDocument/2006/relationships/image" Target="../media/image676.png"/><Relationship Id="rId24" Type="http://schemas.openxmlformats.org/officeDocument/2006/relationships/image" Target="../media/image689.svg"/><Relationship Id="rId32" Type="http://schemas.openxmlformats.org/officeDocument/2006/relationships/image" Target="../media/image697.svg"/><Relationship Id="rId37" Type="http://schemas.openxmlformats.org/officeDocument/2006/relationships/image" Target="../media/image702.png"/><Relationship Id="rId40" Type="http://schemas.openxmlformats.org/officeDocument/2006/relationships/image" Target="../media/image705.svg"/><Relationship Id="rId45" Type="http://schemas.openxmlformats.org/officeDocument/2006/relationships/image" Target="../media/image710.png"/><Relationship Id="rId53" Type="http://schemas.openxmlformats.org/officeDocument/2006/relationships/image" Target="../media/image718.png"/><Relationship Id="rId58" Type="http://schemas.openxmlformats.org/officeDocument/2006/relationships/image" Target="../media/image251.svg"/><Relationship Id="rId5" Type="http://schemas.openxmlformats.org/officeDocument/2006/relationships/image" Target="../media/image670.png"/><Relationship Id="rId19" Type="http://schemas.openxmlformats.org/officeDocument/2006/relationships/image" Target="../media/image684.png"/><Relationship Id="rId4" Type="http://schemas.openxmlformats.org/officeDocument/2006/relationships/image" Target="../media/image669.svg"/><Relationship Id="rId9" Type="http://schemas.openxmlformats.org/officeDocument/2006/relationships/image" Target="../media/image674.png"/><Relationship Id="rId14" Type="http://schemas.openxmlformats.org/officeDocument/2006/relationships/image" Target="../media/image679.svg"/><Relationship Id="rId22" Type="http://schemas.openxmlformats.org/officeDocument/2006/relationships/image" Target="../media/image687.svg"/><Relationship Id="rId27" Type="http://schemas.openxmlformats.org/officeDocument/2006/relationships/image" Target="../media/image692.png"/><Relationship Id="rId30" Type="http://schemas.openxmlformats.org/officeDocument/2006/relationships/image" Target="../media/image695.svg"/><Relationship Id="rId35" Type="http://schemas.openxmlformats.org/officeDocument/2006/relationships/image" Target="../media/image700.png"/><Relationship Id="rId43" Type="http://schemas.openxmlformats.org/officeDocument/2006/relationships/image" Target="../media/image708.png"/><Relationship Id="rId48" Type="http://schemas.openxmlformats.org/officeDocument/2006/relationships/image" Target="../media/image713.svg"/><Relationship Id="rId56" Type="http://schemas.openxmlformats.org/officeDocument/2006/relationships/image" Target="../media/image411.svg"/><Relationship Id="rId8" Type="http://schemas.openxmlformats.org/officeDocument/2006/relationships/image" Target="../media/image673.svg"/><Relationship Id="rId51" Type="http://schemas.openxmlformats.org/officeDocument/2006/relationships/image" Target="../media/image716.png"/><Relationship Id="rId3" Type="http://schemas.openxmlformats.org/officeDocument/2006/relationships/image" Target="../media/image668.png"/><Relationship Id="rId12" Type="http://schemas.openxmlformats.org/officeDocument/2006/relationships/image" Target="../media/image677.svg"/><Relationship Id="rId17" Type="http://schemas.openxmlformats.org/officeDocument/2006/relationships/image" Target="../media/image682.png"/><Relationship Id="rId25" Type="http://schemas.openxmlformats.org/officeDocument/2006/relationships/image" Target="../media/image690.png"/><Relationship Id="rId33" Type="http://schemas.openxmlformats.org/officeDocument/2006/relationships/image" Target="../media/image698.png"/><Relationship Id="rId38" Type="http://schemas.openxmlformats.org/officeDocument/2006/relationships/image" Target="../media/image703.svg"/><Relationship Id="rId46" Type="http://schemas.openxmlformats.org/officeDocument/2006/relationships/image" Target="../media/image711.svg"/><Relationship Id="rId59" Type="http://schemas.openxmlformats.org/officeDocument/2006/relationships/image" Target="../media/image151.png"/><Relationship Id="rId20" Type="http://schemas.openxmlformats.org/officeDocument/2006/relationships/image" Target="../media/image685.svg"/><Relationship Id="rId41" Type="http://schemas.openxmlformats.org/officeDocument/2006/relationships/image" Target="../media/image706.png"/><Relationship Id="rId54" Type="http://schemas.openxmlformats.org/officeDocument/2006/relationships/image" Target="../media/image719.svg"/><Relationship Id="rId1" Type="http://schemas.openxmlformats.org/officeDocument/2006/relationships/slideLayout" Target="../slideLayouts/slideLayout7.xml"/><Relationship Id="rId6" Type="http://schemas.openxmlformats.org/officeDocument/2006/relationships/image" Target="../media/image671.svg"/><Relationship Id="rId15" Type="http://schemas.openxmlformats.org/officeDocument/2006/relationships/image" Target="../media/image680.png"/><Relationship Id="rId23" Type="http://schemas.openxmlformats.org/officeDocument/2006/relationships/image" Target="../media/image688.png"/><Relationship Id="rId28" Type="http://schemas.openxmlformats.org/officeDocument/2006/relationships/image" Target="../media/image693.svg"/><Relationship Id="rId36" Type="http://schemas.openxmlformats.org/officeDocument/2006/relationships/image" Target="../media/image701.svg"/><Relationship Id="rId49" Type="http://schemas.openxmlformats.org/officeDocument/2006/relationships/image" Target="../media/image714.png"/><Relationship Id="rId57" Type="http://schemas.openxmlformats.org/officeDocument/2006/relationships/image" Target="../media/image250.png"/><Relationship Id="rId10" Type="http://schemas.openxmlformats.org/officeDocument/2006/relationships/image" Target="../media/image675.svg"/><Relationship Id="rId31" Type="http://schemas.openxmlformats.org/officeDocument/2006/relationships/image" Target="../media/image696.png"/><Relationship Id="rId44" Type="http://schemas.openxmlformats.org/officeDocument/2006/relationships/image" Target="../media/image709.svg"/><Relationship Id="rId52" Type="http://schemas.openxmlformats.org/officeDocument/2006/relationships/image" Target="../media/image717.svg"/><Relationship Id="rId60" Type="http://schemas.openxmlformats.org/officeDocument/2006/relationships/image" Target="../media/image440.svg"/></Relationships>
</file>

<file path=ppt/slides/_rels/slide32.xml.rels><?xml version="1.0" encoding="UTF-8" standalone="yes"?>
<Relationships xmlns="http://schemas.openxmlformats.org/package/2006/relationships"><Relationship Id="rId13" Type="http://schemas.openxmlformats.org/officeDocument/2006/relationships/image" Target="../media/image730.png"/><Relationship Id="rId18" Type="http://schemas.openxmlformats.org/officeDocument/2006/relationships/image" Target="../media/image735.svg"/><Relationship Id="rId26" Type="http://schemas.openxmlformats.org/officeDocument/2006/relationships/image" Target="../media/image743.svg"/><Relationship Id="rId39" Type="http://schemas.openxmlformats.org/officeDocument/2006/relationships/image" Target="../media/image756.png"/><Relationship Id="rId21" Type="http://schemas.openxmlformats.org/officeDocument/2006/relationships/image" Target="../media/image738.png"/><Relationship Id="rId34" Type="http://schemas.openxmlformats.org/officeDocument/2006/relationships/image" Target="../media/image751.svg"/><Relationship Id="rId7" Type="http://schemas.openxmlformats.org/officeDocument/2006/relationships/image" Target="../media/image724.png"/><Relationship Id="rId12" Type="http://schemas.openxmlformats.org/officeDocument/2006/relationships/image" Target="../media/image729.svg"/><Relationship Id="rId17" Type="http://schemas.openxmlformats.org/officeDocument/2006/relationships/image" Target="../media/image734.png"/><Relationship Id="rId25" Type="http://schemas.openxmlformats.org/officeDocument/2006/relationships/image" Target="../media/image742.png"/><Relationship Id="rId33" Type="http://schemas.openxmlformats.org/officeDocument/2006/relationships/image" Target="../media/image750.png"/><Relationship Id="rId38" Type="http://schemas.openxmlformats.org/officeDocument/2006/relationships/image" Target="../media/image755.svg"/><Relationship Id="rId2" Type="http://schemas.openxmlformats.org/officeDocument/2006/relationships/notesSlide" Target="../notesSlides/notesSlide19.xml"/><Relationship Id="rId16" Type="http://schemas.openxmlformats.org/officeDocument/2006/relationships/image" Target="../media/image733.svg"/><Relationship Id="rId20" Type="http://schemas.openxmlformats.org/officeDocument/2006/relationships/image" Target="../media/image737.svg"/><Relationship Id="rId29" Type="http://schemas.openxmlformats.org/officeDocument/2006/relationships/image" Target="../media/image746.png"/><Relationship Id="rId1" Type="http://schemas.openxmlformats.org/officeDocument/2006/relationships/slideLayout" Target="../slideLayouts/slideLayout7.xml"/><Relationship Id="rId6" Type="http://schemas.openxmlformats.org/officeDocument/2006/relationships/image" Target="../media/image723.svg"/><Relationship Id="rId11" Type="http://schemas.openxmlformats.org/officeDocument/2006/relationships/image" Target="../media/image728.png"/><Relationship Id="rId24" Type="http://schemas.openxmlformats.org/officeDocument/2006/relationships/image" Target="../media/image741.svg"/><Relationship Id="rId32" Type="http://schemas.openxmlformats.org/officeDocument/2006/relationships/image" Target="../media/image749.svg"/><Relationship Id="rId37" Type="http://schemas.openxmlformats.org/officeDocument/2006/relationships/image" Target="../media/image754.png"/><Relationship Id="rId40" Type="http://schemas.openxmlformats.org/officeDocument/2006/relationships/image" Target="../media/image757.svg"/><Relationship Id="rId5" Type="http://schemas.openxmlformats.org/officeDocument/2006/relationships/image" Target="../media/image722.png"/><Relationship Id="rId15" Type="http://schemas.openxmlformats.org/officeDocument/2006/relationships/image" Target="../media/image732.png"/><Relationship Id="rId23" Type="http://schemas.openxmlformats.org/officeDocument/2006/relationships/image" Target="../media/image740.png"/><Relationship Id="rId28" Type="http://schemas.openxmlformats.org/officeDocument/2006/relationships/image" Target="../media/image745.svg"/><Relationship Id="rId36" Type="http://schemas.openxmlformats.org/officeDocument/2006/relationships/image" Target="../media/image753.svg"/><Relationship Id="rId10" Type="http://schemas.openxmlformats.org/officeDocument/2006/relationships/image" Target="../media/image727.svg"/><Relationship Id="rId19" Type="http://schemas.openxmlformats.org/officeDocument/2006/relationships/image" Target="../media/image736.png"/><Relationship Id="rId31" Type="http://schemas.openxmlformats.org/officeDocument/2006/relationships/image" Target="../media/image748.png"/><Relationship Id="rId4" Type="http://schemas.openxmlformats.org/officeDocument/2006/relationships/image" Target="../media/image721.svg"/><Relationship Id="rId9" Type="http://schemas.openxmlformats.org/officeDocument/2006/relationships/image" Target="../media/image726.png"/><Relationship Id="rId14" Type="http://schemas.openxmlformats.org/officeDocument/2006/relationships/image" Target="../media/image731.svg"/><Relationship Id="rId22" Type="http://schemas.openxmlformats.org/officeDocument/2006/relationships/image" Target="../media/image739.svg"/><Relationship Id="rId27" Type="http://schemas.openxmlformats.org/officeDocument/2006/relationships/image" Target="../media/image744.png"/><Relationship Id="rId30" Type="http://schemas.openxmlformats.org/officeDocument/2006/relationships/image" Target="../media/image747.svg"/><Relationship Id="rId35" Type="http://schemas.openxmlformats.org/officeDocument/2006/relationships/image" Target="../media/image752.png"/><Relationship Id="rId8" Type="http://schemas.openxmlformats.org/officeDocument/2006/relationships/image" Target="../media/image725.svg"/><Relationship Id="rId3" Type="http://schemas.openxmlformats.org/officeDocument/2006/relationships/image" Target="../media/image72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C9B7F8-F06F-4E9B-95B5-B05974962BF0}"/>
              </a:ext>
            </a:extLst>
          </p:cNvPr>
          <p:cNvSpPr>
            <a:spLocks noGrp="1"/>
          </p:cNvSpPr>
          <p:nvPr>
            <p:ph type="body" sz="quarter" idx="12"/>
          </p:nvPr>
        </p:nvSpPr>
        <p:spPr/>
        <p:txBody>
          <a:bodyPr/>
          <a:lstStyle/>
          <a:p>
            <a:endParaRPr lang="en-US" dirty="0"/>
          </a:p>
        </p:txBody>
      </p:sp>
      <p:sp>
        <p:nvSpPr>
          <p:cNvPr id="4" name="Title 3">
            <a:extLst>
              <a:ext uri="{FF2B5EF4-FFF2-40B4-BE49-F238E27FC236}">
                <a16:creationId xmlns:a16="http://schemas.microsoft.com/office/drawing/2014/main" id="{1662E55D-4D82-4AC6-B19F-54FFC4102C35}"/>
              </a:ext>
            </a:extLst>
          </p:cNvPr>
          <p:cNvSpPr>
            <a:spLocks noGrp="1"/>
          </p:cNvSpPr>
          <p:nvPr>
            <p:ph type="ctrTitle"/>
          </p:nvPr>
        </p:nvSpPr>
        <p:spPr>
          <a:xfrm>
            <a:off x="473422" y="2978433"/>
            <a:ext cx="4409826" cy="526683"/>
          </a:xfrm>
        </p:spPr>
        <p:txBody>
          <a:bodyPr/>
          <a:lstStyle/>
          <a:p>
            <a:r>
              <a:rPr lang="en-US" dirty="0"/>
              <a:t>Plm domain</a:t>
            </a:r>
          </a:p>
        </p:txBody>
      </p:sp>
      <p:sp>
        <p:nvSpPr>
          <p:cNvPr id="6" name="Subtitle 5">
            <a:extLst>
              <a:ext uri="{FF2B5EF4-FFF2-40B4-BE49-F238E27FC236}">
                <a16:creationId xmlns:a16="http://schemas.microsoft.com/office/drawing/2014/main" id="{CE314915-6DA6-49E4-AC3D-A0BC07D76337}"/>
              </a:ext>
            </a:extLst>
          </p:cNvPr>
          <p:cNvSpPr>
            <a:spLocks noGrp="1"/>
          </p:cNvSpPr>
          <p:nvPr>
            <p:ph type="subTitle" idx="1"/>
          </p:nvPr>
        </p:nvSpPr>
        <p:spPr/>
        <p:txBody>
          <a:bodyPr/>
          <a:lstStyle/>
          <a:p>
            <a:endParaRPr lang="en-US" dirty="0"/>
          </a:p>
        </p:txBody>
      </p:sp>
      <p:sp>
        <p:nvSpPr>
          <p:cNvPr id="8" name="Text Placeholder 7">
            <a:extLst>
              <a:ext uri="{FF2B5EF4-FFF2-40B4-BE49-F238E27FC236}">
                <a16:creationId xmlns:a16="http://schemas.microsoft.com/office/drawing/2014/main" id="{6E25A3CA-BBCA-4111-8F80-F90EEDC44B3E}"/>
              </a:ext>
            </a:extLst>
          </p:cNvPr>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79205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7155B-749B-1A63-36F9-1E496DDBB16E}"/>
              </a:ext>
            </a:extLst>
          </p:cNvPr>
          <p:cNvSpPr>
            <a:spLocks noGrp="1"/>
          </p:cNvSpPr>
          <p:nvPr>
            <p:ph type="title"/>
          </p:nvPr>
        </p:nvSpPr>
        <p:spPr>
          <a:xfrm>
            <a:off x="2665327" y="3044280"/>
            <a:ext cx="8869680" cy="769441"/>
          </a:xfrm>
        </p:spPr>
        <p:txBody>
          <a:bodyPr/>
          <a:lstStyle/>
          <a:p>
            <a:r>
              <a:rPr lang="en-US" dirty="0"/>
              <a:t>PLM as a resources</a:t>
            </a:r>
          </a:p>
        </p:txBody>
      </p:sp>
    </p:spTree>
    <p:extLst>
      <p:ext uri="{BB962C8B-B14F-4D97-AF65-F5344CB8AC3E}">
        <p14:creationId xmlns:p14="http://schemas.microsoft.com/office/powerpoint/2010/main" val="3026787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1606AD-AC4C-90E4-F3BF-DC26277667F2}"/>
              </a:ext>
            </a:extLst>
          </p:cNvPr>
          <p:cNvSpPr>
            <a:spLocks noGrp="1"/>
          </p:cNvSpPr>
          <p:nvPr>
            <p:ph idx="1"/>
          </p:nvPr>
        </p:nvSpPr>
        <p:spPr/>
        <p:txBody>
          <a:bodyPr/>
          <a:lstStyle/>
          <a:p>
            <a:r>
              <a:rPr lang="en-US" dirty="0"/>
              <a:t>Ability to link a requirement/model Items to a Component Part</a:t>
            </a:r>
          </a:p>
          <a:p>
            <a:pPr lvl="1"/>
            <a:r>
              <a:rPr lang="en-US" dirty="0"/>
              <a:t>Component Part represents the Part Master within Windchill. The URI will point to the latest version reference for each view but will always return the latest revision details. </a:t>
            </a:r>
          </a:p>
          <a:p>
            <a:pPr lvl="1"/>
            <a:r>
              <a:rPr lang="en-IN" dirty="0"/>
              <a:t>The latest design (Part version) satisfies the original requirement.</a:t>
            </a:r>
            <a:endParaRPr lang="en-IN" dirty="0">
              <a:highlight>
                <a:srgbClr val="FFFF00"/>
              </a:highlight>
            </a:endParaRPr>
          </a:p>
          <a:p>
            <a:r>
              <a:rPr lang="en-US" dirty="0"/>
              <a:t>Ability to link a requirement to a Versioned Part</a:t>
            </a:r>
          </a:p>
          <a:p>
            <a:pPr lvl="1"/>
            <a:r>
              <a:rPr lang="en-US" dirty="0"/>
              <a:t>Versioned Parts will represent the latest revisions of a component Part</a:t>
            </a:r>
          </a:p>
          <a:p>
            <a:pPr lvl="1"/>
            <a:r>
              <a:rPr lang="en-IN" dirty="0"/>
              <a:t>A specific released version of a part allocated to a certified requirement</a:t>
            </a:r>
            <a:endParaRPr lang="en-US" dirty="0"/>
          </a:p>
        </p:txBody>
      </p:sp>
      <p:sp>
        <p:nvSpPr>
          <p:cNvPr id="3" name="Title 2">
            <a:extLst>
              <a:ext uri="{FF2B5EF4-FFF2-40B4-BE49-F238E27FC236}">
                <a16:creationId xmlns:a16="http://schemas.microsoft.com/office/drawing/2014/main" id="{6B6FB446-865A-8245-8D50-70B9D4F8E94C}"/>
              </a:ext>
            </a:extLst>
          </p:cNvPr>
          <p:cNvSpPr>
            <a:spLocks noGrp="1"/>
          </p:cNvSpPr>
          <p:nvPr>
            <p:ph type="title"/>
          </p:nvPr>
        </p:nvSpPr>
        <p:spPr/>
        <p:txBody>
          <a:bodyPr/>
          <a:lstStyle/>
          <a:p>
            <a:r>
              <a:rPr lang="en-US" dirty="0"/>
              <a:t>parts</a:t>
            </a:r>
          </a:p>
        </p:txBody>
      </p:sp>
    </p:spTree>
    <p:extLst>
      <p:ext uri="{BB962C8B-B14F-4D97-AF65-F5344CB8AC3E}">
        <p14:creationId xmlns:p14="http://schemas.microsoft.com/office/powerpoint/2010/main" val="2304501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127FCAA-BA4B-2ABF-280F-1E157A6ED66A}"/>
              </a:ext>
            </a:extLst>
          </p:cNvPr>
          <p:cNvSpPr>
            <a:spLocks noGrp="1"/>
          </p:cNvSpPr>
          <p:nvPr>
            <p:ph idx="1"/>
          </p:nvPr>
        </p:nvSpPr>
        <p:spPr/>
        <p:txBody>
          <a:bodyPr/>
          <a:lstStyle/>
          <a:p>
            <a:r>
              <a:rPr lang="en-US" dirty="0"/>
              <a:t>Version = Revision . Iteration</a:t>
            </a:r>
          </a:p>
          <a:p>
            <a:pPr marL="365760" lvl="1" indent="0">
              <a:buNone/>
            </a:pPr>
            <a:r>
              <a:rPr lang="en-US" dirty="0"/>
              <a:t>Version = A.1</a:t>
            </a:r>
          </a:p>
          <a:p>
            <a:pPr marL="365760" lvl="1" indent="0">
              <a:buNone/>
            </a:pPr>
            <a:r>
              <a:rPr lang="en-US" dirty="0"/>
              <a:t>A = Revision</a:t>
            </a:r>
          </a:p>
          <a:p>
            <a:pPr marL="365760" lvl="1" indent="0">
              <a:buNone/>
            </a:pPr>
            <a:r>
              <a:rPr lang="en-US" dirty="0"/>
              <a:t>1 = Iteration</a:t>
            </a:r>
          </a:p>
        </p:txBody>
      </p:sp>
      <p:sp>
        <p:nvSpPr>
          <p:cNvPr id="3" name="Title 2">
            <a:extLst>
              <a:ext uri="{FF2B5EF4-FFF2-40B4-BE49-F238E27FC236}">
                <a16:creationId xmlns:a16="http://schemas.microsoft.com/office/drawing/2014/main" id="{F12A09C3-981D-FA3C-6268-5A78F3E17D37}"/>
              </a:ext>
            </a:extLst>
          </p:cNvPr>
          <p:cNvSpPr>
            <a:spLocks noGrp="1"/>
          </p:cNvSpPr>
          <p:nvPr>
            <p:ph type="title"/>
          </p:nvPr>
        </p:nvSpPr>
        <p:spPr/>
        <p:txBody>
          <a:bodyPr/>
          <a:lstStyle/>
          <a:p>
            <a:r>
              <a:rPr lang="en-US"/>
              <a:t>terminologies</a:t>
            </a:r>
            <a:endParaRPr lang="en-US" dirty="0"/>
          </a:p>
        </p:txBody>
      </p:sp>
    </p:spTree>
    <p:extLst>
      <p:ext uri="{BB962C8B-B14F-4D97-AF65-F5344CB8AC3E}">
        <p14:creationId xmlns:p14="http://schemas.microsoft.com/office/powerpoint/2010/main" val="3183142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971FA28B-03CF-7820-C168-97F281FA9CD6}"/>
              </a:ext>
            </a:extLst>
          </p:cNvPr>
          <p:cNvPicPr>
            <a:picLocks noGrp="1" noChangeAspect="1"/>
          </p:cNvPicPr>
          <p:nvPr>
            <p:ph idx="1"/>
          </p:nvPr>
        </p:nvPicPr>
        <p:blipFill>
          <a:blip r:embed="rId2"/>
          <a:stretch>
            <a:fillRect/>
          </a:stretch>
        </p:blipFill>
        <p:spPr>
          <a:xfrm>
            <a:off x="490760" y="1378858"/>
            <a:ext cx="5918204" cy="4238172"/>
          </a:xfrm>
          <a:ln w="25400">
            <a:solidFill>
              <a:schemeClr val="accent1"/>
            </a:solidFill>
          </a:ln>
        </p:spPr>
      </p:pic>
      <p:sp>
        <p:nvSpPr>
          <p:cNvPr id="3" name="Title 2">
            <a:extLst>
              <a:ext uri="{FF2B5EF4-FFF2-40B4-BE49-F238E27FC236}">
                <a16:creationId xmlns:a16="http://schemas.microsoft.com/office/drawing/2014/main" id="{8C3B3697-CF1F-28FC-2C69-803A16C1A79D}"/>
              </a:ext>
            </a:extLst>
          </p:cNvPr>
          <p:cNvSpPr>
            <a:spLocks noGrp="1"/>
          </p:cNvSpPr>
          <p:nvPr>
            <p:ph type="title"/>
          </p:nvPr>
        </p:nvSpPr>
        <p:spPr/>
        <p:txBody>
          <a:bodyPr/>
          <a:lstStyle/>
          <a:p>
            <a:endParaRPr lang="en-US" dirty="0"/>
          </a:p>
        </p:txBody>
      </p:sp>
      <p:sp>
        <p:nvSpPr>
          <p:cNvPr id="6" name="Content Placeholder 1">
            <a:extLst>
              <a:ext uri="{FF2B5EF4-FFF2-40B4-BE49-F238E27FC236}">
                <a16:creationId xmlns:a16="http://schemas.microsoft.com/office/drawing/2014/main" id="{FE6E485F-F022-2591-BC56-01DDB386B2E2}"/>
              </a:ext>
            </a:extLst>
          </p:cNvPr>
          <p:cNvSpPr txBox="1">
            <a:spLocks/>
          </p:cNvSpPr>
          <p:nvPr/>
        </p:nvSpPr>
        <p:spPr>
          <a:xfrm>
            <a:off x="6760029" y="1378858"/>
            <a:ext cx="4520651" cy="5070928"/>
          </a:xfrm>
          <a:prstGeom prst="rect">
            <a:avLst/>
          </a:prstGeom>
        </p:spPr>
        <p:txBody>
          <a:bodyPr vert="horz" lIns="0" tIns="0" rIns="0" bIns="0" rtlCol="0">
            <a:noAutofit/>
          </a:bodyPr>
          <a:lstStyle>
            <a:lvl1pPr marL="342900" indent="-342900" algn="l" defTabSz="1086775" rtl="0" eaLnBrk="1" latinLnBrk="0" hangingPunct="1">
              <a:lnSpc>
                <a:spcPct val="90000"/>
              </a:lnSpc>
              <a:spcBef>
                <a:spcPts val="1200"/>
              </a:spcBef>
              <a:buClr>
                <a:schemeClr val="bg2"/>
              </a:buClr>
              <a:buFontTx/>
              <a:buBlip>
                <a:blip r:embed="rId3"/>
              </a:buBlip>
              <a:defRPr lang="en-US" sz="2400" kern="1200" noProof="0" dirty="0" smtClean="0">
                <a:solidFill>
                  <a:schemeClr val="tx1"/>
                </a:solidFill>
                <a:latin typeface="+mn-lt"/>
                <a:ea typeface="+mn-ea"/>
                <a:cs typeface="+mn-cs"/>
              </a:defRPr>
            </a:lvl1pPr>
            <a:lvl2pPr marL="640080" indent="-274320" algn="l" defTabSz="1086775" rtl="0" eaLnBrk="1" latinLnBrk="0" hangingPunct="1">
              <a:lnSpc>
                <a:spcPct val="90000"/>
              </a:lnSpc>
              <a:spcBef>
                <a:spcPts val="400"/>
              </a:spcBef>
              <a:spcAft>
                <a:spcPts val="0"/>
              </a:spcAft>
              <a:buClr>
                <a:schemeClr val="tx1"/>
              </a:buClr>
              <a:buSzPct val="100000"/>
              <a:buFontTx/>
              <a:buBlip>
                <a:blip r:embed="rId4"/>
              </a:buBlip>
              <a:defRPr lang="en-US" sz="2000" kern="1200" noProof="0" dirty="0" smtClean="0">
                <a:solidFill>
                  <a:schemeClr val="tx1"/>
                </a:solidFill>
                <a:latin typeface="+mn-lt"/>
                <a:ea typeface="+mn-ea"/>
                <a:cs typeface="+mn-cs"/>
              </a:defRPr>
            </a:lvl2pPr>
            <a:lvl3pPr marL="932688" indent="-274320" algn="l" defTabSz="1290546" rtl="0" eaLnBrk="1" latinLnBrk="0" hangingPunct="1">
              <a:lnSpc>
                <a:spcPct val="90000"/>
              </a:lnSpc>
              <a:spcBef>
                <a:spcPts val="200"/>
              </a:spcBef>
              <a:spcAft>
                <a:spcPts val="0"/>
              </a:spcAft>
              <a:buClr>
                <a:schemeClr val="tx1"/>
              </a:buClr>
              <a:buFontTx/>
              <a:buBlip>
                <a:blip r:embed="rId5"/>
              </a:buBlip>
              <a:defRPr lang="en-US" sz="1800" kern="1200" noProof="0" dirty="0" smtClean="0">
                <a:solidFill>
                  <a:schemeClr val="tx1"/>
                </a:solidFill>
                <a:latin typeface="+mn-lt"/>
                <a:ea typeface="+mn-ea"/>
                <a:cs typeface="+mn-cs"/>
              </a:defRPr>
            </a:lvl3pPr>
            <a:lvl4pPr marL="1188720" indent="-228600" algn="l" defTabSz="1086775" rtl="0" eaLnBrk="1" latinLnBrk="0" hangingPunct="1">
              <a:lnSpc>
                <a:spcPct val="90000"/>
              </a:lnSpc>
              <a:spcBef>
                <a:spcPts val="200"/>
              </a:spcBef>
              <a:spcAft>
                <a:spcPts val="0"/>
              </a:spcAft>
              <a:buClr>
                <a:schemeClr val="tx1"/>
              </a:buClr>
              <a:buSzPct val="100000"/>
              <a:buFontTx/>
              <a:buBlip>
                <a:blip r:embed="rId6"/>
              </a:buBlip>
              <a:tabLst/>
              <a:defRPr lang="en-US" sz="1600" kern="1200" baseline="0" noProof="0" dirty="0" smtClean="0">
                <a:solidFill>
                  <a:schemeClr val="tx1"/>
                </a:solidFill>
                <a:latin typeface="+mn-lt"/>
                <a:ea typeface="+mn-ea"/>
                <a:cs typeface="+mn-cs"/>
              </a:defRPr>
            </a:lvl4pPr>
            <a:lvl5pPr marL="1417320" indent="-228600" algn="l" defTabSz="1086775" rtl="0" eaLnBrk="1" latinLnBrk="0" hangingPunct="1">
              <a:lnSpc>
                <a:spcPct val="90000"/>
              </a:lnSpc>
              <a:spcBef>
                <a:spcPts val="200"/>
              </a:spcBef>
              <a:spcAft>
                <a:spcPts val="0"/>
              </a:spcAft>
              <a:buClr>
                <a:schemeClr val="tx1"/>
              </a:buClr>
              <a:buFontTx/>
              <a:buBlip>
                <a:blip r:embed="rId3"/>
              </a:buBlip>
              <a:defRPr lang="en-US" sz="1400" kern="1200" baseline="0" noProof="0" dirty="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IN" dirty="0"/>
              <a:t>Ability to link a requirement to a Part Usage</a:t>
            </a:r>
          </a:p>
          <a:p>
            <a:pPr lvl="1"/>
            <a:r>
              <a:rPr lang="en-IN" b="1" dirty="0"/>
              <a:t>Requirement:</a:t>
            </a:r>
            <a:r>
              <a:rPr lang="en-IN" dirty="0"/>
              <a:t> "Bracket must support 50 kg static load.“</a:t>
            </a:r>
          </a:p>
          <a:p>
            <a:pPr lvl="1"/>
            <a:r>
              <a:rPr lang="en-IN" b="1" dirty="0"/>
              <a:t>Part Usage:</a:t>
            </a:r>
            <a:r>
              <a:rPr lang="en-IN" dirty="0"/>
              <a:t> Bracket used </a:t>
            </a:r>
            <a:r>
              <a:rPr lang="en-IN" b="1" dirty="0"/>
              <a:t>in the heavy-duty configuration</a:t>
            </a:r>
            <a:r>
              <a:rPr lang="en-IN" dirty="0"/>
              <a:t>.</a:t>
            </a:r>
          </a:p>
          <a:p>
            <a:r>
              <a:rPr lang="en-IN" dirty="0"/>
              <a:t>Ability to link a requirement to a Part Occurrence</a:t>
            </a:r>
          </a:p>
          <a:p>
            <a:pPr lvl="1"/>
            <a:r>
              <a:rPr lang="en-IN" b="1" dirty="0"/>
              <a:t>Requirement: </a:t>
            </a:r>
            <a:r>
              <a:rPr lang="en-IN" i="1" dirty="0"/>
              <a:t>"Tyre must maintain a pressure of 35 PSI when used on front-left axle under 800 kg load.“</a:t>
            </a:r>
          </a:p>
          <a:p>
            <a:pPr lvl="1"/>
            <a:r>
              <a:rPr lang="en-IN" b="1" dirty="0"/>
              <a:t>Part</a:t>
            </a:r>
            <a:r>
              <a:rPr lang="en-IN" dirty="0"/>
              <a:t>: </a:t>
            </a:r>
            <a:r>
              <a:rPr lang="en-US" dirty="0"/>
              <a:t>Radial Tire – Model T1000</a:t>
            </a:r>
          </a:p>
          <a:p>
            <a:pPr lvl="1"/>
            <a:r>
              <a:rPr lang="en-US" b="1" dirty="0"/>
              <a:t>Part Occurrence</a:t>
            </a:r>
            <a:r>
              <a:rPr lang="en-US" dirty="0"/>
              <a:t>:</a:t>
            </a:r>
            <a:r>
              <a:rPr lang="en-IN" dirty="0"/>
              <a:t> The pressure requirement applies specifically to the front-left axle</a:t>
            </a:r>
          </a:p>
        </p:txBody>
      </p:sp>
    </p:spTree>
    <p:extLst>
      <p:ext uri="{BB962C8B-B14F-4D97-AF65-F5344CB8AC3E}">
        <p14:creationId xmlns:p14="http://schemas.microsoft.com/office/powerpoint/2010/main" val="970863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BA92181-B79C-B98F-8829-E99EE9B1B1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652588" y="1030843"/>
            <a:ext cx="2134541" cy="621792"/>
          </a:xfrm>
          <a:prstGeom prst="rect">
            <a:avLst/>
          </a:prstGeom>
        </p:spPr>
      </p:pic>
      <p:pic>
        <p:nvPicPr>
          <p:cNvPr id="2" name="Graphic 1">
            <a:extLst>
              <a:ext uri="{FF2B5EF4-FFF2-40B4-BE49-F238E27FC236}">
                <a16:creationId xmlns:a16="http://schemas.microsoft.com/office/drawing/2014/main" id="{866E06A2-9F2A-4C4E-794A-C2C1501BE39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7677117" y="1030843"/>
            <a:ext cx="3795823" cy="640080"/>
          </a:xfrm>
          <a:prstGeom prst="rect">
            <a:avLst/>
          </a:prstGeom>
        </p:spPr>
      </p:pic>
      <p:pic>
        <p:nvPicPr>
          <p:cNvPr id="5" name="Graphic 4">
            <a:extLst>
              <a:ext uri="{FF2B5EF4-FFF2-40B4-BE49-F238E27FC236}">
                <a16:creationId xmlns:a16="http://schemas.microsoft.com/office/drawing/2014/main" id="{63B017A7-F811-03B8-C396-C9C59277C94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31268" y="2272842"/>
            <a:ext cx="1844650" cy="621792"/>
          </a:xfrm>
          <a:prstGeom prst="rect">
            <a:avLst/>
          </a:prstGeom>
        </p:spPr>
      </p:pic>
      <p:pic>
        <p:nvPicPr>
          <p:cNvPr id="8" name="Graphic 7">
            <a:extLst>
              <a:ext uri="{FF2B5EF4-FFF2-40B4-BE49-F238E27FC236}">
                <a16:creationId xmlns:a16="http://schemas.microsoft.com/office/drawing/2014/main" id="{F9517662-70BC-F975-1A23-D4F76EBC91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21394" y="2272842"/>
            <a:ext cx="2692339" cy="621792"/>
          </a:xfrm>
          <a:prstGeom prst="rect">
            <a:avLst/>
          </a:prstGeom>
        </p:spPr>
      </p:pic>
      <p:pic>
        <p:nvPicPr>
          <p:cNvPr id="9" name="Graphic 8">
            <a:extLst>
              <a:ext uri="{FF2B5EF4-FFF2-40B4-BE49-F238E27FC236}">
                <a16:creationId xmlns:a16="http://schemas.microsoft.com/office/drawing/2014/main" id="{4BD6118C-DA08-41A3-CC89-5B438E4A8112}"/>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8359210" y="2272842"/>
            <a:ext cx="2732362" cy="617051"/>
          </a:xfrm>
          <a:prstGeom prst="rect">
            <a:avLst/>
          </a:prstGeom>
        </p:spPr>
      </p:pic>
      <p:pic>
        <p:nvPicPr>
          <p:cNvPr id="10" name="Graphic 9">
            <a:extLst>
              <a:ext uri="{FF2B5EF4-FFF2-40B4-BE49-F238E27FC236}">
                <a16:creationId xmlns:a16="http://schemas.microsoft.com/office/drawing/2014/main" id="{2FC69423-AD0E-8F26-2BCD-43AABC33422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63365" y="4871575"/>
            <a:ext cx="2980456" cy="621792"/>
          </a:xfrm>
          <a:prstGeom prst="rect">
            <a:avLst/>
          </a:prstGeom>
        </p:spPr>
      </p:pic>
      <p:pic>
        <p:nvPicPr>
          <p:cNvPr id="11" name="Graphic 10">
            <a:extLst>
              <a:ext uri="{FF2B5EF4-FFF2-40B4-BE49-F238E27FC236}">
                <a16:creationId xmlns:a16="http://schemas.microsoft.com/office/drawing/2014/main" id="{7A0DBEE5-46B0-AC32-B4F2-2AD0B892A34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910965" y="4871575"/>
            <a:ext cx="2295847" cy="621792"/>
          </a:xfrm>
          <a:prstGeom prst="rect">
            <a:avLst/>
          </a:prstGeom>
        </p:spPr>
      </p:pic>
      <p:pic>
        <p:nvPicPr>
          <p:cNvPr id="13" name="Graphic 12">
            <a:extLst>
              <a:ext uri="{FF2B5EF4-FFF2-40B4-BE49-F238E27FC236}">
                <a16:creationId xmlns:a16="http://schemas.microsoft.com/office/drawing/2014/main" id="{BE6B8638-E3A8-26E1-2322-50CDE017A46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373956" y="4871575"/>
            <a:ext cx="2694433" cy="621792"/>
          </a:xfrm>
          <a:prstGeom prst="rect">
            <a:avLst/>
          </a:prstGeom>
        </p:spPr>
      </p:pic>
      <p:pic>
        <p:nvPicPr>
          <p:cNvPr id="3" name="Graphic 2">
            <a:extLst>
              <a:ext uri="{FF2B5EF4-FFF2-40B4-BE49-F238E27FC236}">
                <a16:creationId xmlns:a16="http://schemas.microsoft.com/office/drawing/2014/main" id="{A222A05B-5FD8-E2E4-ACDC-B67E5FC4E2D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176511" y="3527868"/>
            <a:ext cx="3397108" cy="621792"/>
          </a:xfrm>
          <a:prstGeom prst="rect">
            <a:avLst/>
          </a:prstGeom>
        </p:spPr>
      </p:pic>
      <p:pic>
        <p:nvPicPr>
          <p:cNvPr id="12" name="Graphic 11">
            <a:extLst>
              <a:ext uri="{FF2B5EF4-FFF2-40B4-BE49-F238E27FC236}">
                <a16:creationId xmlns:a16="http://schemas.microsoft.com/office/drawing/2014/main" id="{84FC83B3-B1BE-36AB-E8A1-6DE41E9AE169}"/>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b="88993"/>
          <a:stretch/>
        </p:blipFill>
        <p:spPr>
          <a:xfrm>
            <a:off x="6854778" y="3527868"/>
            <a:ext cx="3160712" cy="621792"/>
          </a:xfrm>
          <a:prstGeom prst="rect">
            <a:avLst/>
          </a:prstGeom>
        </p:spPr>
      </p:pic>
      <p:pic>
        <p:nvPicPr>
          <p:cNvPr id="14" name="Graphic 13">
            <a:extLst>
              <a:ext uri="{FF2B5EF4-FFF2-40B4-BE49-F238E27FC236}">
                <a16:creationId xmlns:a16="http://schemas.microsoft.com/office/drawing/2014/main" id="{4EA3FDA3-164C-0E4F-98FD-E36C5CB163E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62346" y="1030843"/>
            <a:ext cx="2881475" cy="621792"/>
          </a:xfrm>
          <a:prstGeom prst="rect">
            <a:avLst/>
          </a:prstGeom>
        </p:spPr>
      </p:pic>
    </p:spTree>
    <p:extLst>
      <p:ext uri="{BB962C8B-B14F-4D97-AF65-F5344CB8AC3E}">
        <p14:creationId xmlns:p14="http://schemas.microsoft.com/office/powerpoint/2010/main" val="2103766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18C526-1739-4010-8A13-A49B212012D0}"/>
              </a:ext>
            </a:extLst>
          </p:cNvPr>
          <p:cNvSpPr>
            <a:spLocks noGrp="1"/>
          </p:cNvSpPr>
          <p:nvPr>
            <p:ph type="title"/>
          </p:nvPr>
        </p:nvSpPr>
        <p:spPr/>
        <p:txBody>
          <a:bodyPr/>
          <a:lstStyle/>
          <a:p>
            <a:r>
              <a:rPr lang="en-US" dirty="0"/>
              <a:t>quote </a:t>
            </a:r>
            <a:r>
              <a:rPr lang="en-US" dirty="0" err="1"/>
              <a:t>styleS</a:t>
            </a:r>
            <a:endParaRPr lang="en-US" dirty="0"/>
          </a:p>
        </p:txBody>
      </p:sp>
      <p:sp>
        <p:nvSpPr>
          <p:cNvPr id="18" name="Content Placeholder 4">
            <a:extLst>
              <a:ext uri="{FF2B5EF4-FFF2-40B4-BE49-F238E27FC236}">
                <a16:creationId xmlns:a16="http://schemas.microsoft.com/office/drawing/2014/main" id="{FDB674E2-63B8-4D51-A7CF-19CCA82AAE05}"/>
              </a:ext>
            </a:extLst>
          </p:cNvPr>
          <p:cNvSpPr txBox="1">
            <a:spLocks/>
          </p:cNvSpPr>
          <p:nvPr/>
        </p:nvSpPr>
        <p:spPr>
          <a:xfrm>
            <a:off x="433477" y="2463244"/>
            <a:ext cx="5081952" cy="221599"/>
          </a:xfrm>
          <a:prstGeom prst="rect">
            <a:avLst/>
          </a:prstGeom>
        </p:spPr>
        <p:txBody>
          <a:bodyPr vert="horz" wrap="square" lIns="0" tIns="0" rIns="0" bIns="0" rtlCol="0">
            <a:spAutoFit/>
          </a:bodyPr>
          <a:lstStyle>
            <a:defPPr>
              <a:defRPr lang="en-US"/>
            </a:defPPr>
            <a:lvl1pPr indent="0">
              <a:lnSpc>
                <a:spcPct val="100000"/>
              </a:lnSpc>
              <a:spcBef>
                <a:spcPts val="1800"/>
              </a:spcBef>
              <a:buClr>
                <a:schemeClr val="tx1"/>
              </a:buClr>
              <a:buFont typeface="Arial" pitchFamily="34" charset="0"/>
              <a:buNone/>
              <a:defRPr sz="1900"/>
            </a:lvl1pPr>
            <a:lvl2pPr marL="386674" lvl="1" indent="0" algn="r">
              <a:lnSpc>
                <a:spcPct val="100000"/>
              </a:lnSpc>
              <a:spcBef>
                <a:spcPts val="400"/>
              </a:spcBef>
              <a:spcAft>
                <a:spcPts val="0"/>
              </a:spcAft>
              <a:buFont typeface="Arial" pitchFamily="34" charset="0"/>
              <a:buNone/>
              <a:defRPr sz="15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algn="ctr">
              <a:lnSpc>
                <a:spcPct val="90000"/>
              </a:lnSpc>
            </a:pPr>
            <a:r>
              <a:rPr lang="en-US" sz="1600" dirty="0"/>
              <a:t>Quote</a:t>
            </a:r>
          </a:p>
        </p:txBody>
      </p:sp>
      <p:sp>
        <p:nvSpPr>
          <p:cNvPr id="27" name="Rectangle 26">
            <a:extLst>
              <a:ext uri="{FF2B5EF4-FFF2-40B4-BE49-F238E27FC236}">
                <a16:creationId xmlns:a16="http://schemas.microsoft.com/office/drawing/2014/main" id="{5A51EB20-BC43-4617-9B9D-A7B8F3DEEF28}"/>
              </a:ext>
            </a:extLst>
          </p:cNvPr>
          <p:cNvSpPr/>
          <p:nvPr/>
        </p:nvSpPr>
        <p:spPr>
          <a:xfrm>
            <a:off x="433476" y="4620163"/>
            <a:ext cx="5081954" cy="438582"/>
          </a:xfrm>
          <a:prstGeom prst="rect">
            <a:avLst/>
          </a:prstGeom>
        </p:spPr>
        <p:txBody>
          <a:bodyPr wrap="square" lIns="0" tIns="0" rIns="0" bIns="0">
            <a:spAutoFit/>
          </a:bodyPr>
          <a:lstStyle/>
          <a:p>
            <a:pPr algn="ctr">
              <a:lnSpc>
                <a:spcPct val="95000"/>
              </a:lnSpc>
            </a:pPr>
            <a:r>
              <a:rPr lang="en-US" sz="1600" b="1" dirty="0"/>
              <a:t>Name</a:t>
            </a:r>
            <a:r>
              <a:rPr lang="en-US" sz="1400" b="1" dirty="0"/>
              <a:t> </a:t>
            </a:r>
            <a:br>
              <a:rPr lang="en-US" sz="1400" b="1" dirty="0"/>
            </a:br>
            <a:r>
              <a:rPr lang="en-US" sz="1400" b="1" dirty="0"/>
              <a:t>Title, Company</a:t>
            </a:r>
          </a:p>
        </p:txBody>
      </p:sp>
      <p:grpSp>
        <p:nvGrpSpPr>
          <p:cNvPr id="33" name="Group 32">
            <a:extLst>
              <a:ext uri="{FF2B5EF4-FFF2-40B4-BE49-F238E27FC236}">
                <a16:creationId xmlns:a16="http://schemas.microsoft.com/office/drawing/2014/main" id="{BF43D6E2-615A-455B-B4BF-17A56DB1DBB5}"/>
              </a:ext>
            </a:extLst>
          </p:cNvPr>
          <p:cNvGrpSpPr/>
          <p:nvPr/>
        </p:nvGrpSpPr>
        <p:grpSpPr>
          <a:xfrm>
            <a:off x="1402556" y="1575623"/>
            <a:ext cx="3143794" cy="1477328"/>
            <a:chOff x="1569720" y="1408894"/>
            <a:chExt cx="3143794" cy="1477328"/>
          </a:xfrm>
        </p:grpSpPr>
        <p:cxnSp>
          <p:nvCxnSpPr>
            <p:cNvPr id="34" name="Straight Connector 33">
              <a:extLst>
                <a:ext uri="{FF2B5EF4-FFF2-40B4-BE49-F238E27FC236}">
                  <a16:creationId xmlns:a16="http://schemas.microsoft.com/office/drawing/2014/main" id="{DCD780C4-6FEC-40EC-9C0D-7F896E73A97C}"/>
                </a:ext>
              </a:extLst>
            </p:cNvPr>
            <p:cNvCxnSpPr>
              <a:cxnSpLocks/>
            </p:cNvCxnSpPr>
            <p:nvPr/>
          </p:nvCxnSpPr>
          <p:spPr>
            <a:xfrm>
              <a:off x="1569720" y="1960701"/>
              <a:ext cx="3143794"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Content Placeholder 4">
              <a:extLst>
                <a:ext uri="{FF2B5EF4-FFF2-40B4-BE49-F238E27FC236}">
                  <a16:creationId xmlns:a16="http://schemas.microsoft.com/office/drawing/2014/main" id="{6FFBBD1C-CBFC-4716-AB16-B27EF8375174}"/>
                </a:ext>
              </a:extLst>
            </p:cNvPr>
            <p:cNvSpPr txBox="1">
              <a:spLocks/>
            </p:cNvSpPr>
            <p:nvPr/>
          </p:nvSpPr>
          <p:spPr>
            <a:xfrm>
              <a:off x="2859309" y="1408894"/>
              <a:ext cx="564616" cy="1477328"/>
            </a:xfrm>
            <a:prstGeom prst="rect">
              <a:avLst/>
            </a:prstGeom>
          </p:spPr>
          <p:txBody>
            <a:bodyPr vert="horz" wrap="square" lIns="0" tIns="0" rIns="0" bIns="0" rtlCol="0">
              <a:spAutoFit/>
            </a:bodyPr>
            <a:lstStyle>
              <a:defPPr>
                <a:defRPr lang="en-US"/>
              </a:defPPr>
              <a:lvl1pPr indent="0">
                <a:lnSpc>
                  <a:spcPct val="100000"/>
                </a:lnSpc>
                <a:spcBef>
                  <a:spcPts val="1800"/>
                </a:spcBef>
                <a:buClr>
                  <a:schemeClr val="tx1"/>
                </a:buClr>
                <a:buFont typeface="Arial" pitchFamily="34" charset="0"/>
                <a:buNone/>
                <a:defRPr sz="1900"/>
              </a:lvl1pPr>
              <a:lvl2pPr marL="386674" lvl="1" indent="0" algn="r">
                <a:lnSpc>
                  <a:spcPct val="100000"/>
                </a:lnSpc>
                <a:spcBef>
                  <a:spcPts val="400"/>
                </a:spcBef>
                <a:spcAft>
                  <a:spcPts val="0"/>
                </a:spcAft>
                <a:buFont typeface="Arial" pitchFamily="34" charset="0"/>
                <a:buNone/>
                <a:defRPr sz="15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algn="ctr">
                <a:spcBef>
                  <a:spcPts val="0"/>
                </a:spcBef>
              </a:pPr>
              <a:r>
                <a:rPr lang="en-US" sz="9600" dirty="0">
                  <a:solidFill>
                    <a:schemeClr val="bg2"/>
                  </a:solidFill>
                </a:rPr>
                <a:t>“</a:t>
              </a:r>
            </a:p>
          </p:txBody>
        </p:sp>
      </p:grpSp>
      <p:sp>
        <p:nvSpPr>
          <p:cNvPr id="2" name="Rectangle 1">
            <a:extLst>
              <a:ext uri="{FF2B5EF4-FFF2-40B4-BE49-F238E27FC236}">
                <a16:creationId xmlns:a16="http://schemas.microsoft.com/office/drawing/2014/main" id="{42AB635E-0B82-C172-AA23-E1758466FA5F}"/>
              </a:ext>
            </a:extLst>
          </p:cNvPr>
          <p:cNvSpPr/>
          <p:nvPr/>
        </p:nvSpPr>
        <p:spPr>
          <a:xfrm>
            <a:off x="2196621" y="5095619"/>
            <a:ext cx="1555664" cy="40934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r>
              <a:rPr lang="en-US" dirty="0">
                <a:solidFill>
                  <a:schemeClr val="bg1"/>
                </a:solidFill>
              </a:rPr>
              <a:t>logo</a:t>
            </a:r>
          </a:p>
        </p:txBody>
      </p:sp>
      <p:grpSp>
        <p:nvGrpSpPr>
          <p:cNvPr id="5" name="Group 4">
            <a:extLst>
              <a:ext uri="{FF2B5EF4-FFF2-40B4-BE49-F238E27FC236}">
                <a16:creationId xmlns:a16="http://schemas.microsoft.com/office/drawing/2014/main" id="{83325C6F-C2E7-77A7-EB61-CA3BB7E17C37}"/>
              </a:ext>
            </a:extLst>
          </p:cNvPr>
          <p:cNvGrpSpPr/>
          <p:nvPr/>
        </p:nvGrpSpPr>
        <p:grpSpPr>
          <a:xfrm>
            <a:off x="7403139" y="1565791"/>
            <a:ext cx="4548446" cy="3931089"/>
            <a:chOff x="1243230" y="1565791"/>
            <a:chExt cx="4548446" cy="3931089"/>
          </a:xfrm>
        </p:grpSpPr>
        <p:sp>
          <p:nvSpPr>
            <p:cNvPr id="6" name="Content Placeholder 4">
              <a:extLst>
                <a:ext uri="{FF2B5EF4-FFF2-40B4-BE49-F238E27FC236}">
                  <a16:creationId xmlns:a16="http://schemas.microsoft.com/office/drawing/2014/main" id="{5B19AB06-93E6-C26A-4CC7-730E1C4F2D3C}"/>
                </a:ext>
              </a:extLst>
            </p:cNvPr>
            <p:cNvSpPr txBox="1">
              <a:spLocks/>
            </p:cNvSpPr>
            <p:nvPr/>
          </p:nvSpPr>
          <p:spPr>
            <a:xfrm>
              <a:off x="1402556" y="2424117"/>
              <a:ext cx="3566160" cy="221599"/>
            </a:xfrm>
            <a:prstGeom prst="rect">
              <a:avLst/>
            </a:prstGeom>
          </p:spPr>
          <p:txBody>
            <a:bodyPr vert="horz" wrap="square" lIns="0" tIns="0" rIns="0" bIns="0" rtlCol="0">
              <a:spAutoFit/>
            </a:bodyPr>
            <a:lstStyle>
              <a:defPPr>
                <a:defRPr lang="en-US"/>
              </a:defPPr>
              <a:lvl1pPr indent="0">
                <a:lnSpc>
                  <a:spcPct val="100000"/>
                </a:lnSpc>
                <a:spcBef>
                  <a:spcPts val="1800"/>
                </a:spcBef>
                <a:buClr>
                  <a:schemeClr val="tx1"/>
                </a:buClr>
                <a:buFont typeface="Arial" pitchFamily="34" charset="0"/>
                <a:buNone/>
                <a:defRPr sz="1900"/>
              </a:lvl1pPr>
              <a:lvl2pPr marL="386674" lvl="1" indent="0" algn="r">
                <a:lnSpc>
                  <a:spcPct val="100000"/>
                </a:lnSpc>
                <a:spcBef>
                  <a:spcPts val="400"/>
                </a:spcBef>
                <a:spcAft>
                  <a:spcPts val="0"/>
                </a:spcAft>
                <a:buFont typeface="Arial" pitchFamily="34" charset="0"/>
                <a:buNone/>
                <a:defRPr sz="15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a:lnSpc>
                  <a:spcPct val="90000"/>
                </a:lnSpc>
              </a:pPr>
              <a:r>
                <a:rPr lang="en-US" sz="1600" b="1" dirty="0"/>
                <a:t>Quote</a:t>
              </a:r>
            </a:p>
          </p:txBody>
        </p:sp>
        <p:sp>
          <p:nvSpPr>
            <p:cNvPr id="7" name="Rectangle 6">
              <a:extLst>
                <a:ext uri="{FF2B5EF4-FFF2-40B4-BE49-F238E27FC236}">
                  <a16:creationId xmlns:a16="http://schemas.microsoft.com/office/drawing/2014/main" id="{E61A76C5-6F75-14AE-CE96-F9C1678B5085}"/>
                </a:ext>
              </a:extLst>
            </p:cNvPr>
            <p:cNvSpPr/>
            <p:nvPr/>
          </p:nvSpPr>
          <p:spPr>
            <a:xfrm>
              <a:off x="1402556" y="4318076"/>
              <a:ext cx="4389120" cy="438582"/>
            </a:xfrm>
            <a:prstGeom prst="rect">
              <a:avLst/>
            </a:prstGeom>
          </p:spPr>
          <p:txBody>
            <a:bodyPr wrap="square" lIns="0" tIns="0" rIns="0" bIns="0">
              <a:spAutoFit/>
            </a:bodyPr>
            <a:lstStyle/>
            <a:p>
              <a:pPr>
                <a:lnSpc>
                  <a:spcPct val="95000"/>
                </a:lnSpc>
              </a:pPr>
              <a:r>
                <a:rPr lang="en-US" sz="1600" dirty="0"/>
                <a:t>Name</a:t>
              </a:r>
              <a:r>
                <a:rPr lang="en-US" sz="1400" dirty="0"/>
                <a:t> </a:t>
              </a:r>
              <a:br>
                <a:rPr lang="en-US" sz="1400" dirty="0"/>
              </a:br>
              <a:r>
                <a:rPr lang="en-US" sz="1400" dirty="0"/>
                <a:t>Title, Company</a:t>
              </a:r>
            </a:p>
          </p:txBody>
        </p:sp>
        <p:grpSp>
          <p:nvGrpSpPr>
            <p:cNvPr id="8" name="Group 7">
              <a:extLst>
                <a:ext uri="{FF2B5EF4-FFF2-40B4-BE49-F238E27FC236}">
                  <a16:creationId xmlns:a16="http://schemas.microsoft.com/office/drawing/2014/main" id="{28B926BA-0F68-8FCC-79E7-A46F7E55AB57}"/>
                </a:ext>
              </a:extLst>
            </p:cNvPr>
            <p:cNvGrpSpPr/>
            <p:nvPr/>
          </p:nvGrpSpPr>
          <p:grpSpPr>
            <a:xfrm>
              <a:off x="1243230" y="1565791"/>
              <a:ext cx="3303120" cy="1477328"/>
              <a:chOff x="1410394" y="1399062"/>
              <a:chExt cx="3303120" cy="1477328"/>
            </a:xfrm>
          </p:grpSpPr>
          <p:cxnSp>
            <p:nvCxnSpPr>
              <p:cNvPr id="10" name="Straight Connector 9">
                <a:extLst>
                  <a:ext uri="{FF2B5EF4-FFF2-40B4-BE49-F238E27FC236}">
                    <a16:creationId xmlns:a16="http://schemas.microsoft.com/office/drawing/2014/main" id="{8A5E4576-77DD-17AB-275D-2EBB237271CE}"/>
                  </a:ext>
                </a:extLst>
              </p:cNvPr>
              <p:cNvCxnSpPr>
                <a:cxnSpLocks/>
              </p:cNvCxnSpPr>
              <p:nvPr/>
            </p:nvCxnSpPr>
            <p:spPr>
              <a:xfrm>
                <a:off x="1569720" y="1960701"/>
                <a:ext cx="3143794"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386C02FD-49CC-FC7E-BC54-0377E07E7239}"/>
                  </a:ext>
                </a:extLst>
              </p:cNvPr>
              <p:cNvSpPr txBox="1">
                <a:spLocks/>
              </p:cNvSpPr>
              <p:nvPr/>
            </p:nvSpPr>
            <p:spPr>
              <a:xfrm>
                <a:off x="1410394" y="1399062"/>
                <a:ext cx="564616" cy="1477328"/>
              </a:xfrm>
              <a:prstGeom prst="rect">
                <a:avLst/>
              </a:prstGeom>
            </p:spPr>
            <p:txBody>
              <a:bodyPr vert="horz" wrap="square" lIns="0" tIns="0" rIns="0" bIns="0" rtlCol="0">
                <a:spAutoFit/>
              </a:bodyPr>
              <a:lstStyle>
                <a:defPPr>
                  <a:defRPr lang="en-US"/>
                </a:defPPr>
                <a:lvl1pPr indent="0">
                  <a:lnSpc>
                    <a:spcPct val="100000"/>
                  </a:lnSpc>
                  <a:spcBef>
                    <a:spcPts val="1800"/>
                  </a:spcBef>
                  <a:buClr>
                    <a:schemeClr val="tx1"/>
                  </a:buClr>
                  <a:buFont typeface="Arial" pitchFamily="34" charset="0"/>
                  <a:buNone/>
                  <a:defRPr sz="1900"/>
                </a:lvl1pPr>
                <a:lvl2pPr marL="386674" lvl="1" indent="0" algn="r">
                  <a:lnSpc>
                    <a:spcPct val="100000"/>
                  </a:lnSpc>
                  <a:spcBef>
                    <a:spcPts val="400"/>
                  </a:spcBef>
                  <a:spcAft>
                    <a:spcPts val="0"/>
                  </a:spcAft>
                  <a:buFont typeface="Arial" pitchFamily="34" charset="0"/>
                  <a:buNone/>
                  <a:defRPr sz="15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pPr algn="ctr">
                  <a:spcBef>
                    <a:spcPts val="0"/>
                  </a:spcBef>
                </a:pPr>
                <a:r>
                  <a:rPr lang="en-US" sz="9600" dirty="0">
                    <a:solidFill>
                      <a:schemeClr val="bg2"/>
                    </a:solidFill>
                  </a:rPr>
                  <a:t>“</a:t>
                </a:r>
              </a:p>
            </p:txBody>
          </p:sp>
        </p:grpSp>
        <p:sp>
          <p:nvSpPr>
            <p:cNvPr id="9" name="Rectangle 8">
              <a:extLst>
                <a:ext uri="{FF2B5EF4-FFF2-40B4-BE49-F238E27FC236}">
                  <a16:creationId xmlns:a16="http://schemas.microsoft.com/office/drawing/2014/main" id="{6A0631A1-6E51-6755-FCCD-3AC1EA7B7C94}"/>
                </a:ext>
              </a:extLst>
            </p:cNvPr>
            <p:cNvSpPr/>
            <p:nvPr/>
          </p:nvSpPr>
          <p:spPr>
            <a:xfrm>
              <a:off x="1402556" y="5087537"/>
              <a:ext cx="1555664" cy="40934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r>
                <a:rPr lang="en-US" dirty="0">
                  <a:solidFill>
                    <a:schemeClr val="bg1"/>
                  </a:solidFill>
                </a:rPr>
                <a:t>logo</a:t>
              </a:r>
            </a:p>
          </p:txBody>
        </p:sp>
      </p:grpSp>
    </p:spTree>
    <p:extLst>
      <p:ext uri="{BB962C8B-B14F-4D97-AF65-F5344CB8AC3E}">
        <p14:creationId xmlns:p14="http://schemas.microsoft.com/office/powerpoint/2010/main" val="2339693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516286-45D2-5509-5F57-39BD1575AE6E}"/>
              </a:ext>
            </a:extLst>
          </p:cNvPr>
          <p:cNvSpPr>
            <a:spLocks noGrp="1"/>
          </p:cNvSpPr>
          <p:nvPr>
            <p:ph type="title"/>
          </p:nvPr>
        </p:nvSpPr>
        <p:spPr>
          <a:xfrm>
            <a:off x="495300" y="865195"/>
            <a:ext cx="11244262" cy="461665"/>
          </a:xfrm>
          <a:solidFill>
            <a:schemeClr val="tx1"/>
          </a:solidFill>
        </p:spPr>
        <p:txBody>
          <a:bodyPr tIns="91440" anchor="ctr" anchorCtr="0"/>
          <a:lstStyle/>
          <a:p>
            <a:pPr algn="ctr"/>
            <a:r>
              <a:rPr lang="en-US" dirty="0">
                <a:solidFill>
                  <a:schemeClr val="bg1"/>
                </a:solidFill>
              </a:rPr>
              <a:t>Ptc imagery</a:t>
            </a:r>
          </a:p>
        </p:txBody>
      </p:sp>
      <p:pic>
        <p:nvPicPr>
          <p:cNvPr id="6" name="Graphic 5">
            <a:extLst>
              <a:ext uri="{FF2B5EF4-FFF2-40B4-BE49-F238E27FC236}">
                <a16:creationId xmlns:a16="http://schemas.microsoft.com/office/drawing/2014/main" id="{5D12F42C-F752-90E4-5670-99671C2C67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9676" y="116171"/>
            <a:ext cx="612648" cy="612648"/>
          </a:xfrm>
          <a:prstGeom prst="rect">
            <a:avLst/>
          </a:prstGeom>
        </p:spPr>
      </p:pic>
      <p:sp>
        <p:nvSpPr>
          <p:cNvPr id="8" name="TextBox 7">
            <a:extLst>
              <a:ext uri="{FF2B5EF4-FFF2-40B4-BE49-F238E27FC236}">
                <a16:creationId xmlns:a16="http://schemas.microsoft.com/office/drawing/2014/main" id="{22C82155-BA07-0EB2-1043-84BED565754D}"/>
              </a:ext>
            </a:extLst>
          </p:cNvPr>
          <p:cNvSpPr txBox="1"/>
          <p:nvPr/>
        </p:nvSpPr>
        <p:spPr>
          <a:xfrm>
            <a:off x="463154" y="1486552"/>
            <a:ext cx="10831764" cy="1077218"/>
          </a:xfrm>
          <a:prstGeom prst="rect">
            <a:avLst/>
          </a:prstGeom>
          <a:noFill/>
          <a:ln w="9525">
            <a:noFill/>
          </a:ln>
        </p:spPr>
        <p:txBody>
          <a:bodyPr wrap="square">
            <a:spAutoFit/>
          </a:bodyPr>
          <a:lstStyle/>
          <a:p>
            <a:pPr marL="0" indent="0">
              <a:spcBef>
                <a:spcPts val="1200"/>
              </a:spcBef>
              <a:buNone/>
            </a:pPr>
            <a:r>
              <a:rPr lang="en-US" sz="1600" b="1" dirty="0">
                <a:solidFill>
                  <a:schemeClr val="accent5"/>
                </a:solidFill>
              </a:rPr>
              <a:t>Avoid using too much text and/or too many icons throughout your presentation. Although sometimes </a:t>
            </a:r>
            <a:br>
              <a:rPr lang="en-US" sz="1600" b="1" dirty="0">
                <a:solidFill>
                  <a:schemeClr val="accent5"/>
                </a:solidFill>
              </a:rPr>
            </a:br>
            <a:r>
              <a:rPr lang="en-US" sz="1600" b="1" dirty="0">
                <a:solidFill>
                  <a:schemeClr val="accent5"/>
                </a:solidFill>
              </a:rPr>
              <a:t>icons get the message across, they can be cumbersome and slightly impersonal. An element of PTC’s new campaign initiative is to “humanize the brand.” Whenever possible use imagery. The right image can show PTC products in the real world and people relating to them.</a:t>
            </a:r>
            <a:endParaRPr lang="en-US" sz="1600" i="1" dirty="0">
              <a:solidFill>
                <a:schemeClr val="accent5"/>
              </a:solidFill>
            </a:endParaRPr>
          </a:p>
        </p:txBody>
      </p:sp>
      <p:sp>
        <p:nvSpPr>
          <p:cNvPr id="7" name="Content Placeholder 2">
            <a:extLst>
              <a:ext uri="{FF2B5EF4-FFF2-40B4-BE49-F238E27FC236}">
                <a16:creationId xmlns:a16="http://schemas.microsoft.com/office/drawing/2014/main" id="{1AC5D3F3-5293-5661-88A4-CF8D2DC4BB1D}"/>
              </a:ext>
            </a:extLst>
          </p:cNvPr>
          <p:cNvSpPr>
            <a:spLocks noGrp="1"/>
          </p:cNvSpPr>
          <p:nvPr>
            <p:ph sz="half" idx="1"/>
          </p:nvPr>
        </p:nvSpPr>
        <p:spPr>
          <a:xfrm>
            <a:off x="506055" y="2762776"/>
            <a:ext cx="5822009" cy="3108960"/>
          </a:xfrm>
        </p:spPr>
        <p:txBody>
          <a:bodyPr/>
          <a:lstStyle/>
          <a:p>
            <a:pPr marL="31750" lvl="1" indent="0">
              <a:spcBef>
                <a:spcPts val="1000"/>
              </a:spcBef>
              <a:buNone/>
            </a:pPr>
            <a:r>
              <a:rPr lang="en-US" sz="1600" b="1" dirty="0"/>
              <a:t>Steps for licensing an image</a:t>
            </a:r>
          </a:p>
          <a:p>
            <a:pPr marL="290513" lvl="1" indent="-258763">
              <a:spcBef>
                <a:spcPts val="1200"/>
              </a:spcBef>
              <a:buFont typeface="+mj-lt"/>
              <a:buAutoNum type="arabicPeriod"/>
            </a:pPr>
            <a:r>
              <a:rPr lang="en-US" sz="1600" dirty="0"/>
              <a:t>Search for an image on </a:t>
            </a:r>
            <a:r>
              <a:rPr lang="en-US" sz="1600" b="1" dirty="0">
                <a:hlinkClick r:id="rId5"/>
              </a:rPr>
              <a:t>https://stock.adobe.com</a:t>
            </a:r>
            <a:r>
              <a:rPr lang="en-US" sz="1600" b="1" dirty="0"/>
              <a:t> </a:t>
            </a:r>
            <a:br>
              <a:rPr lang="en-US" sz="1600" b="1" dirty="0"/>
            </a:br>
            <a:r>
              <a:rPr lang="en-US" sz="1600" dirty="0"/>
              <a:t>Click on the image to get the image number (underneath in the left corner)</a:t>
            </a:r>
          </a:p>
          <a:p>
            <a:pPr marL="290513" lvl="1" indent="-258763">
              <a:spcBef>
                <a:spcPts val="1200"/>
              </a:spcBef>
              <a:buFont typeface="+mj-lt"/>
              <a:buAutoNum type="arabicPeriod"/>
            </a:pPr>
            <a:r>
              <a:rPr lang="en-US" sz="1600" dirty="0"/>
              <a:t>Email the image number to </a:t>
            </a:r>
            <a:r>
              <a:rPr lang="en-US" sz="1600" b="1" dirty="0">
                <a:hlinkClick r:id="rId6"/>
              </a:rPr>
              <a:t>PPTSteward@ptc.com</a:t>
            </a:r>
            <a:r>
              <a:rPr lang="en-US" sz="1600" b="1" dirty="0"/>
              <a:t>  </a:t>
            </a:r>
          </a:p>
          <a:p>
            <a:pPr marL="290513" lvl="1" indent="-258763">
              <a:spcBef>
                <a:spcPts val="1200"/>
              </a:spcBef>
              <a:buFont typeface="+mj-lt"/>
              <a:buAutoNum type="arabicPeriod"/>
            </a:pPr>
            <a:r>
              <a:rPr lang="en-US" sz="1600" dirty="0"/>
              <a:t>Image will be retrieved from the subscription, </a:t>
            </a:r>
            <a:br>
              <a:rPr lang="en-US" sz="1600" dirty="0"/>
            </a:br>
            <a:r>
              <a:rPr lang="en-US" sz="1600" dirty="0"/>
              <a:t>and emailed back to you </a:t>
            </a:r>
            <a:r>
              <a:rPr lang="en-US" sz="1600" i="1" dirty="0"/>
              <a:t>(at no cost to you)</a:t>
            </a:r>
          </a:p>
          <a:p>
            <a:pPr marL="290513" lvl="1" indent="-258763">
              <a:spcBef>
                <a:spcPts val="1200"/>
              </a:spcBef>
              <a:buFont typeface="+mj-lt"/>
              <a:buAutoNum type="arabicPeriod"/>
            </a:pPr>
            <a:r>
              <a:rPr lang="en-US" sz="1600" dirty="0"/>
              <a:t>Turn around time is 24-48 hours depending on </a:t>
            </a:r>
            <a:br>
              <a:rPr lang="en-US" sz="1600" dirty="0"/>
            </a:br>
            <a:r>
              <a:rPr lang="en-US" sz="1600" dirty="0"/>
              <a:t>time of year </a:t>
            </a:r>
            <a:r>
              <a:rPr lang="en-US" sz="1400" i="1" dirty="0"/>
              <a:t>(preferred amount is aprox. 5 images per day)</a:t>
            </a:r>
          </a:p>
          <a:p>
            <a:pPr marL="290513" lvl="1" indent="-258763">
              <a:spcBef>
                <a:spcPts val="1200"/>
              </a:spcBef>
              <a:buFont typeface="+mj-lt"/>
              <a:buAutoNum type="arabicPeriod"/>
            </a:pPr>
            <a:r>
              <a:rPr lang="en-US" sz="1600" dirty="0"/>
              <a:t>If you own an adobe account you may be able to access the images</a:t>
            </a:r>
          </a:p>
        </p:txBody>
      </p:sp>
      <p:pic>
        <p:nvPicPr>
          <p:cNvPr id="9" name="Picture 8">
            <a:extLst>
              <a:ext uri="{FF2B5EF4-FFF2-40B4-BE49-F238E27FC236}">
                <a16:creationId xmlns:a16="http://schemas.microsoft.com/office/drawing/2014/main" id="{C0FCA749-7FE7-9A5A-E069-FE65B3C46871}"/>
              </a:ext>
            </a:extLst>
          </p:cNvPr>
          <p:cNvPicPr>
            <a:picLocks noChangeAspect="1"/>
          </p:cNvPicPr>
          <p:nvPr/>
        </p:nvPicPr>
        <p:blipFill>
          <a:blip r:embed="rId7"/>
          <a:stretch>
            <a:fillRect/>
          </a:stretch>
        </p:blipFill>
        <p:spPr>
          <a:xfrm>
            <a:off x="7741519" y="2749297"/>
            <a:ext cx="4105275" cy="3419475"/>
          </a:xfrm>
          <a:prstGeom prst="rect">
            <a:avLst/>
          </a:prstGeom>
        </p:spPr>
      </p:pic>
      <p:sp>
        <p:nvSpPr>
          <p:cNvPr id="10" name="Rectangle 9">
            <a:extLst>
              <a:ext uri="{FF2B5EF4-FFF2-40B4-BE49-F238E27FC236}">
                <a16:creationId xmlns:a16="http://schemas.microsoft.com/office/drawing/2014/main" id="{EABD6C9B-419E-D560-43D1-72CA761FF013}"/>
              </a:ext>
            </a:extLst>
          </p:cNvPr>
          <p:cNvSpPr/>
          <p:nvPr/>
        </p:nvSpPr>
        <p:spPr>
          <a:xfrm>
            <a:off x="7656257" y="5586982"/>
            <a:ext cx="2651760" cy="55084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11" name="Group 10">
            <a:extLst>
              <a:ext uri="{FF2B5EF4-FFF2-40B4-BE49-F238E27FC236}">
                <a16:creationId xmlns:a16="http://schemas.microsoft.com/office/drawing/2014/main" id="{7A7D658D-5119-EEBE-53F9-76B135B3C5BD}"/>
              </a:ext>
            </a:extLst>
          </p:cNvPr>
          <p:cNvGrpSpPr/>
          <p:nvPr/>
        </p:nvGrpSpPr>
        <p:grpSpPr>
          <a:xfrm>
            <a:off x="2597728" y="3692836"/>
            <a:ext cx="5285116" cy="1828800"/>
            <a:chOff x="1488231" y="2672319"/>
            <a:chExt cx="9795417" cy="1737360"/>
          </a:xfrm>
        </p:grpSpPr>
        <p:cxnSp>
          <p:nvCxnSpPr>
            <p:cNvPr id="12" name="Straight Arrow Connector 11">
              <a:extLst>
                <a:ext uri="{FF2B5EF4-FFF2-40B4-BE49-F238E27FC236}">
                  <a16:creationId xmlns:a16="http://schemas.microsoft.com/office/drawing/2014/main" id="{356D7AFA-F54A-E089-FC55-70DB12F20E35}"/>
                </a:ext>
              </a:extLst>
            </p:cNvPr>
            <p:cNvCxnSpPr>
              <a:cxnSpLocks/>
            </p:cNvCxnSpPr>
            <p:nvPr/>
          </p:nvCxnSpPr>
          <p:spPr>
            <a:xfrm>
              <a:off x="11282874" y="2672319"/>
              <a:ext cx="0" cy="1737360"/>
            </a:xfrm>
            <a:prstGeom prst="straightConnector1">
              <a:avLst/>
            </a:prstGeom>
            <a:ln w="9525">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CB8E30C-7EF3-C337-EA1D-B4DFE97C5A5B}"/>
                </a:ext>
              </a:extLst>
            </p:cNvPr>
            <p:cNvCxnSpPr>
              <a:cxnSpLocks/>
            </p:cNvCxnSpPr>
            <p:nvPr/>
          </p:nvCxnSpPr>
          <p:spPr>
            <a:xfrm>
              <a:off x="1488231" y="2681267"/>
              <a:ext cx="9795417" cy="0"/>
            </a:xfrm>
            <a:prstGeom prst="line">
              <a:avLst/>
            </a:prstGeom>
            <a:ln w="9525">
              <a:solidFill>
                <a:schemeClr val="bg2"/>
              </a:solidFill>
              <a:tailEnd type="none" w="lg" len="lg"/>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9A82E13B-70CF-10BF-9CE4-5B8ED0968F5C}"/>
              </a:ext>
            </a:extLst>
          </p:cNvPr>
          <p:cNvSpPr txBox="1"/>
          <p:nvPr/>
        </p:nvSpPr>
        <p:spPr>
          <a:xfrm>
            <a:off x="446160" y="6434052"/>
            <a:ext cx="6094070" cy="307777"/>
          </a:xfrm>
          <a:prstGeom prst="rect">
            <a:avLst/>
          </a:prstGeom>
          <a:noFill/>
          <a:ln w="9525">
            <a:noFill/>
          </a:ln>
        </p:spPr>
        <p:txBody>
          <a:bodyPr wrap="square">
            <a:spAutoFit/>
          </a:bodyPr>
          <a:lstStyle/>
          <a:p>
            <a:r>
              <a:rPr lang="en-US" sz="1400" b="1" dirty="0"/>
              <a:t>NOTE: Adobe images are for PPT presentations only</a:t>
            </a:r>
            <a:endParaRPr lang="en-US" sz="1400" dirty="0"/>
          </a:p>
        </p:txBody>
      </p:sp>
    </p:spTree>
    <p:extLst>
      <p:ext uri="{BB962C8B-B14F-4D97-AF65-F5344CB8AC3E}">
        <p14:creationId xmlns:p14="http://schemas.microsoft.com/office/powerpoint/2010/main" val="3737259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8BF00C3-2F3C-70AC-9C97-67982E29E63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27834" y="2437635"/>
            <a:ext cx="4517528" cy="2975106"/>
          </a:xfrm>
          <a:prstGeom prst="rect">
            <a:avLst/>
          </a:prstGeom>
        </p:spPr>
      </p:pic>
      <p:sp>
        <p:nvSpPr>
          <p:cNvPr id="21" name="Content Placeholder 20">
            <a:extLst>
              <a:ext uri="{FF2B5EF4-FFF2-40B4-BE49-F238E27FC236}">
                <a16:creationId xmlns:a16="http://schemas.microsoft.com/office/drawing/2014/main" id="{FAB206F1-3A1F-4CC5-870F-1CF8548FA3CB}"/>
              </a:ext>
            </a:extLst>
          </p:cNvPr>
          <p:cNvSpPr>
            <a:spLocks noGrp="1"/>
          </p:cNvSpPr>
          <p:nvPr>
            <p:ph sz="half" idx="1"/>
          </p:nvPr>
        </p:nvSpPr>
        <p:spPr>
          <a:xfrm>
            <a:off x="490760" y="1471755"/>
            <a:ext cx="5430358" cy="4297680"/>
          </a:xfrm>
        </p:spPr>
        <p:txBody>
          <a:bodyPr/>
          <a:lstStyle/>
          <a:p>
            <a:pPr marL="0" indent="0">
              <a:spcBef>
                <a:spcPts val="800"/>
              </a:spcBef>
              <a:buNone/>
            </a:pPr>
            <a:r>
              <a:rPr lang="en-US" b="1">
                <a:solidFill>
                  <a:schemeClr val="accent1"/>
                </a:solidFill>
              </a:rPr>
              <a:t>Correct</a:t>
            </a:r>
            <a:endParaRPr lang="en-US" sz="1800" b="1">
              <a:solidFill>
                <a:schemeClr val="accent1"/>
              </a:solidFill>
            </a:endParaRPr>
          </a:p>
          <a:p>
            <a:pPr marL="0" indent="0">
              <a:spcBef>
                <a:spcPts val="800"/>
              </a:spcBef>
              <a:buNone/>
            </a:pPr>
            <a:r>
              <a:rPr lang="en-US" sz="1400"/>
              <a:t>Imagery can be a powerful creative tool that helps us to protect PTC as a modern tech brand. It can reveal the excitement and energy of discovery and transformation. </a:t>
            </a:r>
          </a:p>
          <a:p>
            <a:pPr marL="0" indent="0">
              <a:spcBef>
                <a:spcPts val="800"/>
              </a:spcBef>
              <a:buNone/>
            </a:pPr>
            <a:r>
              <a:rPr lang="en-US" sz="1400"/>
              <a:t>When possible let photography communicate the benefit of technology to the audience. </a:t>
            </a:r>
          </a:p>
          <a:p>
            <a:pPr>
              <a:spcBef>
                <a:spcPts val="800"/>
              </a:spcBef>
            </a:pPr>
            <a:endParaRPr lang="en-US" sz="1800" dirty="0"/>
          </a:p>
        </p:txBody>
      </p:sp>
      <p:sp>
        <p:nvSpPr>
          <p:cNvPr id="2" name="Title 1">
            <a:extLst>
              <a:ext uri="{FF2B5EF4-FFF2-40B4-BE49-F238E27FC236}">
                <a16:creationId xmlns:a16="http://schemas.microsoft.com/office/drawing/2014/main" id="{251BBB1C-3B9B-4529-9712-AC2A134AED13}"/>
              </a:ext>
            </a:extLst>
          </p:cNvPr>
          <p:cNvSpPr>
            <a:spLocks noGrp="1"/>
          </p:cNvSpPr>
          <p:nvPr>
            <p:ph type="title"/>
          </p:nvPr>
        </p:nvSpPr>
        <p:spPr>
          <a:xfrm>
            <a:off x="490760" y="546196"/>
            <a:ext cx="10789920" cy="369332"/>
          </a:xfrm>
        </p:spPr>
        <p:txBody>
          <a:bodyPr/>
          <a:lstStyle/>
          <a:p>
            <a:r>
              <a:rPr lang="en-US" dirty="0"/>
              <a:t>Image style</a:t>
            </a:r>
          </a:p>
        </p:txBody>
      </p:sp>
      <p:sp>
        <p:nvSpPr>
          <p:cNvPr id="13" name="Rectangle 12">
            <a:extLst>
              <a:ext uri="{FF2B5EF4-FFF2-40B4-BE49-F238E27FC236}">
                <a16:creationId xmlns:a16="http://schemas.microsoft.com/office/drawing/2014/main" id="{0CB33CA9-66F9-42C6-8E79-3A8A4DBBFA81}"/>
              </a:ext>
            </a:extLst>
          </p:cNvPr>
          <p:cNvSpPr/>
          <p:nvPr/>
        </p:nvSpPr>
        <p:spPr>
          <a:xfrm>
            <a:off x="388766" y="4481861"/>
            <a:ext cx="2684097" cy="461665"/>
          </a:xfrm>
          <a:prstGeom prst="rect">
            <a:avLst/>
          </a:prstGeom>
        </p:spPr>
        <p:txBody>
          <a:bodyPr wrap="square">
            <a:spAutoFit/>
          </a:bodyPr>
          <a:lstStyle/>
          <a:p>
            <a:pPr algn="ctr"/>
            <a:r>
              <a:rPr lang="en-US" sz="1200" b="1" dirty="0"/>
              <a:t>Images that convey real-world </a:t>
            </a:r>
            <a:br>
              <a:rPr lang="en-US" sz="1200" b="1" dirty="0"/>
            </a:br>
            <a:r>
              <a:rPr lang="en-US" sz="1200" b="1" dirty="0"/>
              <a:t>to digital transformation </a:t>
            </a:r>
          </a:p>
        </p:txBody>
      </p:sp>
      <p:sp>
        <p:nvSpPr>
          <p:cNvPr id="14" name="Rectangle 13">
            <a:extLst>
              <a:ext uri="{FF2B5EF4-FFF2-40B4-BE49-F238E27FC236}">
                <a16:creationId xmlns:a16="http://schemas.microsoft.com/office/drawing/2014/main" id="{B18E7076-E677-4F25-82F0-79C403CF342F}"/>
              </a:ext>
            </a:extLst>
          </p:cNvPr>
          <p:cNvSpPr/>
          <p:nvPr/>
        </p:nvSpPr>
        <p:spPr>
          <a:xfrm>
            <a:off x="1516984" y="5498867"/>
            <a:ext cx="3377910" cy="276999"/>
          </a:xfrm>
          <a:prstGeom prst="rect">
            <a:avLst/>
          </a:prstGeom>
        </p:spPr>
        <p:txBody>
          <a:bodyPr wrap="square">
            <a:spAutoFit/>
          </a:bodyPr>
          <a:lstStyle/>
          <a:p>
            <a:r>
              <a:rPr lang="en-US" sz="1200" b="1" dirty="0"/>
              <a:t>People engaging with relevant technology </a:t>
            </a:r>
          </a:p>
        </p:txBody>
      </p:sp>
      <p:sp>
        <p:nvSpPr>
          <p:cNvPr id="15" name="Rectangle 14">
            <a:extLst>
              <a:ext uri="{FF2B5EF4-FFF2-40B4-BE49-F238E27FC236}">
                <a16:creationId xmlns:a16="http://schemas.microsoft.com/office/drawing/2014/main" id="{D62C236D-4A40-4FD8-845C-03DB035EE01C}"/>
              </a:ext>
            </a:extLst>
          </p:cNvPr>
          <p:cNvSpPr/>
          <p:nvPr/>
        </p:nvSpPr>
        <p:spPr>
          <a:xfrm>
            <a:off x="3469640" y="4481861"/>
            <a:ext cx="2044251" cy="276999"/>
          </a:xfrm>
          <a:prstGeom prst="rect">
            <a:avLst/>
          </a:prstGeom>
        </p:spPr>
        <p:txBody>
          <a:bodyPr wrap="square">
            <a:spAutoFit/>
          </a:bodyPr>
          <a:lstStyle/>
          <a:p>
            <a:pPr algn="ctr"/>
            <a:r>
              <a:rPr lang="en-US" sz="1200" b="1" dirty="0"/>
              <a:t>Industry relevant images </a:t>
            </a:r>
          </a:p>
        </p:txBody>
      </p:sp>
      <p:sp>
        <p:nvSpPr>
          <p:cNvPr id="27" name="Rectangle 26">
            <a:extLst>
              <a:ext uri="{FF2B5EF4-FFF2-40B4-BE49-F238E27FC236}">
                <a16:creationId xmlns:a16="http://schemas.microsoft.com/office/drawing/2014/main" id="{EFCAEB67-6826-48CE-AC81-EBAA28735D7E}"/>
              </a:ext>
            </a:extLst>
          </p:cNvPr>
          <p:cNvSpPr/>
          <p:nvPr/>
        </p:nvSpPr>
        <p:spPr>
          <a:xfrm>
            <a:off x="6323015" y="5498867"/>
            <a:ext cx="4695961" cy="461665"/>
          </a:xfrm>
          <a:prstGeom prst="rect">
            <a:avLst/>
          </a:prstGeom>
        </p:spPr>
        <p:txBody>
          <a:bodyPr wrap="square">
            <a:spAutoFit/>
          </a:bodyPr>
          <a:lstStyle/>
          <a:p>
            <a:pPr marL="0" indent="0">
              <a:spcBef>
                <a:spcPts val="800"/>
              </a:spcBef>
              <a:buNone/>
            </a:pPr>
            <a:r>
              <a:rPr lang="en-US" sz="1200" dirty="0"/>
              <a:t>Choosing stock imagery is subjective but improper use of stock can quickly date, cheapen, or poorly communicate the brand. </a:t>
            </a:r>
          </a:p>
        </p:txBody>
      </p:sp>
      <p:cxnSp>
        <p:nvCxnSpPr>
          <p:cNvPr id="29" name="Straight Connector 28">
            <a:extLst>
              <a:ext uri="{FF2B5EF4-FFF2-40B4-BE49-F238E27FC236}">
                <a16:creationId xmlns:a16="http://schemas.microsoft.com/office/drawing/2014/main" id="{10AE59BB-886C-47A8-A4BA-4677949E9601}"/>
              </a:ext>
            </a:extLst>
          </p:cNvPr>
          <p:cNvCxnSpPr/>
          <p:nvPr/>
        </p:nvCxnSpPr>
        <p:spPr>
          <a:xfrm>
            <a:off x="6023112" y="1462644"/>
            <a:ext cx="0" cy="4663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Content Placeholder 21">
            <a:extLst>
              <a:ext uri="{FF2B5EF4-FFF2-40B4-BE49-F238E27FC236}">
                <a16:creationId xmlns:a16="http://schemas.microsoft.com/office/drawing/2014/main" id="{CA38B990-2C0F-484C-B0EB-317B2D114FD3}"/>
              </a:ext>
            </a:extLst>
          </p:cNvPr>
          <p:cNvSpPr>
            <a:spLocks noGrp="1"/>
          </p:cNvSpPr>
          <p:nvPr>
            <p:ph sz="half" idx="2"/>
          </p:nvPr>
        </p:nvSpPr>
        <p:spPr>
          <a:xfrm>
            <a:off x="6366142" y="1471755"/>
            <a:ext cx="5222884" cy="1057360"/>
          </a:xfrm>
          <a:noFill/>
        </p:spPr>
        <p:txBody>
          <a:bodyPr/>
          <a:lstStyle/>
          <a:p>
            <a:pPr marL="0" indent="0">
              <a:spcBef>
                <a:spcPts val="800"/>
              </a:spcBef>
              <a:buNone/>
            </a:pPr>
            <a:r>
              <a:rPr lang="en-US" b="1">
                <a:solidFill>
                  <a:schemeClr val="accent1"/>
                </a:solidFill>
              </a:rPr>
              <a:t>Incorrect</a:t>
            </a:r>
          </a:p>
          <a:p>
            <a:pPr marL="0" indent="0">
              <a:spcBef>
                <a:spcPts val="800"/>
              </a:spcBef>
              <a:buNone/>
            </a:pPr>
            <a:r>
              <a:rPr lang="en-US" sz="1400" b="1"/>
              <a:t>Avoid</a:t>
            </a:r>
            <a:r>
              <a:rPr lang="en-US" sz="1400"/>
              <a:t> dated “tech typography” poorly executed stock concepts, trite metaphors, posed model photos, and images with non PTC icons. </a:t>
            </a:r>
            <a:endParaRPr lang="en-US" sz="1600" dirty="0"/>
          </a:p>
        </p:txBody>
      </p:sp>
      <p:pic>
        <p:nvPicPr>
          <p:cNvPr id="4" name="Picture 3">
            <a:extLst>
              <a:ext uri="{FF2B5EF4-FFF2-40B4-BE49-F238E27FC236}">
                <a16:creationId xmlns:a16="http://schemas.microsoft.com/office/drawing/2014/main" id="{39BBC0F1-4695-C7A3-AB27-BA70A225CDC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3140" y="3154228"/>
            <a:ext cx="4718713" cy="1280271"/>
          </a:xfrm>
          <a:prstGeom prst="rect">
            <a:avLst/>
          </a:prstGeom>
        </p:spPr>
      </p:pic>
    </p:spTree>
    <p:extLst>
      <p:ext uri="{BB962C8B-B14F-4D97-AF65-F5344CB8AC3E}">
        <p14:creationId xmlns:p14="http://schemas.microsoft.com/office/powerpoint/2010/main" val="3238967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93F3DDD-0782-E0AB-1B18-EA68615D09D3}"/>
              </a:ext>
            </a:extLst>
          </p:cNvPr>
          <p:cNvSpPr>
            <a:spLocks noGrp="1"/>
          </p:cNvSpPr>
          <p:nvPr>
            <p:ph type="body" sz="quarter" idx="15"/>
          </p:nvPr>
        </p:nvSpPr>
        <p:spPr/>
        <p:txBody>
          <a:bodyPr/>
          <a:lstStyle/>
          <a:p>
            <a:endParaRPr lang="en-US" dirty="0"/>
          </a:p>
        </p:txBody>
      </p:sp>
      <p:sp>
        <p:nvSpPr>
          <p:cNvPr id="7" name="Text Placeholder 6">
            <a:extLst>
              <a:ext uri="{FF2B5EF4-FFF2-40B4-BE49-F238E27FC236}">
                <a16:creationId xmlns:a16="http://schemas.microsoft.com/office/drawing/2014/main" id="{10FC61C1-1466-4D7E-6641-A87086D307C5}"/>
              </a:ext>
            </a:extLst>
          </p:cNvPr>
          <p:cNvSpPr>
            <a:spLocks noGrp="1"/>
          </p:cNvSpPr>
          <p:nvPr>
            <p:ph type="body" sz="quarter" idx="25"/>
          </p:nvPr>
        </p:nvSpPr>
        <p:spPr/>
        <p:txBody>
          <a:bodyPr/>
          <a:lstStyle/>
          <a:p>
            <a:endParaRPr lang="en-US" dirty="0"/>
          </a:p>
        </p:txBody>
      </p:sp>
      <p:sp>
        <p:nvSpPr>
          <p:cNvPr id="8" name="Title 7">
            <a:extLst>
              <a:ext uri="{FF2B5EF4-FFF2-40B4-BE49-F238E27FC236}">
                <a16:creationId xmlns:a16="http://schemas.microsoft.com/office/drawing/2014/main" id="{0DAA3D5B-54B6-8755-E08D-849065691059}"/>
              </a:ext>
            </a:extLst>
          </p:cNvPr>
          <p:cNvSpPr>
            <a:spLocks noGrp="1"/>
          </p:cNvSpPr>
          <p:nvPr>
            <p:ph type="title"/>
          </p:nvPr>
        </p:nvSpPr>
        <p:spPr/>
        <p:txBody>
          <a:bodyPr/>
          <a:lstStyle/>
          <a:p>
            <a:r>
              <a:rPr lang="en-US" dirty="0"/>
              <a:t>Images ARE CONENT AND CAN HELP TELL A STORY</a:t>
            </a:r>
          </a:p>
        </p:txBody>
      </p:sp>
      <p:pic>
        <p:nvPicPr>
          <p:cNvPr id="16" name="Picture Placeholder 15" descr="A person and person in safety vests and helmets looking at windmills&#10;&#10;Description automatically generated">
            <a:extLst>
              <a:ext uri="{FF2B5EF4-FFF2-40B4-BE49-F238E27FC236}">
                <a16:creationId xmlns:a16="http://schemas.microsoft.com/office/drawing/2014/main" id="{47642A5C-4E40-B308-C480-9382C3F3011B}"/>
              </a:ext>
            </a:extLst>
          </p:cNvPr>
          <p:cNvPicPr>
            <a:picLocks noGrp="1" noChangeAspect="1"/>
          </p:cNvPicPr>
          <p:nvPr>
            <p:ph type="pic" sz="quarter" idx="20"/>
          </p:nvPr>
        </p:nvPicPr>
        <p:blipFill>
          <a:blip r:embed="rId2" cstate="email">
            <a:extLst>
              <a:ext uri="{28A0092B-C50C-407E-A947-70E740481C1C}">
                <a14:useLocalDpi xmlns:a14="http://schemas.microsoft.com/office/drawing/2010/main"/>
              </a:ext>
            </a:extLst>
          </a:blip>
          <a:srcRect/>
          <a:stretch>
            <a:fillRect/>
          </a:stretch>
        </p:blipFill>
        <p:spPr/>
      </p:pic>
      <p:pic>
        <p:nvPicPr>
          <p:cNvPr id="21" name="Picture Placeholder 20" descr="A blueprint of a plane&#10;&#10;Description automatically generated">
            <a:extLst>
              <a:ext uri="{FF2B5EF4-FFF2-40B4-BE49-F238E27FC236}">
                <a16:creationId xmlns:a16="http://schemas.microsoft.com/office/drawing/2014/main" id="{1CB02F31-EB51-91DB-EE10-1B5EE6E58DF9}"/>
              </a:ext>
            </a:extLst>
          </p:cNvPr>
          <p:cNvPicPr>
            <a:picLocks noGrp="1" noChangeAspect="1"/>
          </p:cNvPicPr>
          <p:nvPr>
            <p:ph type="pic" idx="14"/>
          </p:nvPr>
        </p:nvPicPr>
        <p:blipFill>
          <a:blip r:embed="rId3">
            <a:extLst>
              <a:ext uri="{28A0092B-C50C-407E-A947-70E740481C1C}">
                <a14:useLocalDpi xmlns:a14="http://schemas.microsoft.com/office/drawing/2010/main" val="0"/>
              </a:ext>
            </a:extLst>
          </a:blip>
          <a:srcRect t="1513" b="1513"/>
          <a:stretch>
            <a:fillRect/>
          </a:stretch>
        </p:blipFill>
        <p:spPr/>
      </p:pic>
      <p:sp>
        <p:nvSpPr>
          <p:cNvPr id="5" name="Text Placeholder 4">
            <a:extLst>
              <a:ext uri="{FF2B5EF4-FFF2-40B4-BE49-F238E27FC236}">
                <a16:creationId xmlns:a16="http://schemas.microsoft.com/office/drawing/2014/main" id="{BBE17DBF-9E3D-5CCA-470D-9E4DF7596221}"/>
              </a:ext>
            </a:extLst>
          </p:cNvPr>
          <p:cNvSpPr>
            <a:spLocks noGrp="1"/>
          </p:cNvSpPr>
          <p:nvPr>
            <p:ph type="body" sz="quarter" idx="43"/>
          </p:nvPr>
        </p:nvSpPr>
        <p:spPr/>
        <p:txBody>
          <a:bodyPr/>
          <a:lstStyle/>
          <a:p>
            <a:endParaRPr lang="en-US"/>
          </a:p>
        </p:txBody>
      </p:sp>
      <p:sp>
        <p:nvSpPr>
          <p:cNvPr id="10" name="Text Placeholder 9">
            <a:extLst>
              <a:ext uri="{FF2B5EF4-FFF2-40B4-BE49-F238E27FC236}">
                <a16:creationId xmlns:a16="http://schemas.microsoft.com/office/drawing/2014/main" id="{907BACEE-DB15-7349-4154-B23840A42FA6}"/>
              </a:ext>
            </a:extLst>
          </p:cNvPr>
          <p:cNvSpPr>
            <a:spLocks noGrp="1"/>
          </p:cNvSpPr>
          <p:nvPr>
            <p:ph type="body" sz="quarter" idx="44"/>
          </p:nvPr>
        </p:nvSpPr>
        <p:spPr/>
        <p:txBody>
          <a:bodyPr/>
          <a:lstStyle/>
          <a:p>
            <a:endParaRPr lang="en-US"/>
          </a:p>
        </p:txBody>
      </p:sp>
    </p:spTree>
    <p:extLst>
      <p:ext uri="{BB962C8B-B14F-4D97-AF65-F5344CB8AC3E}">
        <p14:creationId xmlns:p14="http://schemas.microsoft.com/office/powerpoint/2010/main" val="4231729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70618DB-B1AD-689B-1129-18F717CE0720}"/>
              </a:ext>
            </a:extLst>
          </p:cNvPr>
          <p:cNvSpPr>
            <a:spLocks noGrp="1"/>
          </p:cNvSpPr>
          <p:nvPr>
            <p:ph type="title"/>
          </p:nvPr>
        </p:nvSpPr>
        <p:spPr>
          <a:xfrm>
            <a:off x="490760" y="546199"/>
            <a:ext cx="10789920" cy="369332"/>
          </a:xfrm>
        </p:spPr>
        <p:txBody>
          <a:bodyPr/>
          <a:lstStyle/>
          <a:p>
            <a:r>
              <a:rPr lang="en-US" dirty="0"/>
              <a:t>Images ARE CONENT AND CAN HELP TELL A STORY</a:t>
            </a:r>
          </a:p>
        </p:txBody>
      </p:sp>
      <p:pic>
        <p:nvPicPr>
          <p:cNvPr id="23" name="Picture Placeholder 22" descr="A picture containing fabric&#10;&#10;Description automatically generated">
            <a:extLst>
              <a:ext uri="{FF2B5EF4-FFF2-40B4-BE49-F238E27FC236}">
                <a16:creationId xmlns:a16="http://schemas.microsoft.com/office/drawing/2014/main" id="{D27DFD52-0EE8-4B62-B3F8-A754E238B28C}"/>
              </a:ext>
            </a:extLst>
          </p:cNvPr>
          <p:cNvPicPr>
            <a:picLocks noGrp="1" noChangeAspect="1"/>
          </p:cNvPicPr>
          <p:nvPr>
            <p:ph type="pic" idx="14"/>
          </p:nvPr>
        </p:nvPicPr>
        <p:blipFill rotWithShape="1">
          <a:blip r:embed="rId3" cstate="email">
            <a:extLst>
              <a:ext uri="{28A0092B-C50C-407E-A947-70E740481C1C}">
                <a14:useLocalDpi xmlns:a14="http://schemas.microsoft.com/office/drawing/2010/main"/>
              </a:ext>
            </a:extLst>
          </a:blip>
          <a:srcRect/>
          <a:stretch/>
        </p:blipFill>
        <p:spPr>
          <a:xfrm>
            <a:off x="868363" y="2135188"/>
            <a:ext cx="2389187" cy="2817812"/>
          </a:xfrm>
        </p:spPr>
      </p:pic>
      <p:sp>
        <p:nvSpPr>
          <p:cNvPr id="8" name="Text Placeholder 7">
            <a:extLst>
              <a:ext uri="{FF2B5EF4-FFF2-40B4-BE49-F238E27FC236}">
                <a16:creationId xmlns:a16="http://schemas.microsoft.com/office/drawing/2014/main" id="{7774E429-F205-63E6-BE8F-DF83A53A92B1}"/>
              </a:ext>
            </a:extLst>
          </p:cNvPr>
          <p:cNvSpPr>
            <a:spLocks noGrp="1"/>
          </p:cNvSpPr>
          <p:nvPr>
            <p:ph type="body" sz="quarter" idx="15"/>
          </p:nvPr>
        </p:nvSpPr>
        <p:spPr>
          <a:xfrm>
            <a:off x="880110" y="5127789"/>
            <a:ext cx="2377440" cy="276999"/>
          </a:xfrm>
        </p:spPr>
        <p:txBody>
          <a:bodyPr/>
          <a:lstStyle/>
          <a:p>
            <a:endParaRPr lang="en-US" dirty="0"/>
          </a:p>
        </p:txBody>
      </p:sp>
      <p:sp>
        <p:nvSpPr>
          <p:cNvPr id="9" name="Text Placeholder 8">
            <a:extLst>
              <a:ext uri="{FF2B5EF4-FFF2-40B4-BE49-F238E27FC236}">
                <a16:creationId xmlns:a16="http://schemas.microsoft.com/office/drawing/2014/main" id="{BF7EF0AD-0D5D-1422-A4AE-C1AFAA23B117}"/>
              </a:ext>
            </a:extLst>
          </p:cNvPr>
          <p:cNvSpPr>
            <a:spLocks noGrp="1"/>
          </p:cNvSpPr>
          <p:nvPr>
            <p:ph type="body" sz="quarter" idx="16"/>
          </p:nvPr>
        </p:nvSpPr>
        <p:spPr>
          <a:xfrm>
            <a:off x="880298" y="1644376"/>
            <a:ext cx="2377252" cy="347472"/>
          </a:xfrm>
        </p:spPr>
        <p:txBody>
          <a:bodyPr/>
          <a:lstStyle/>
          <a:p>
            <a:endParaRPr lang="en-US" dirty="0"/>
          </a:p>
        </p:txBody>
      </p:sp>
      <p:pic>
        <p:nvPicPr>
          <p:cNvPr id="31" name="Picture Placeholder 30" descr="A picture containing floor, board, wooden, wood&#10;&#10;Description automatically generated">
            <a:extLst>
              <a:ext uri="{FF2B5EF4-FFF2-40B4-BE49-F238E27FC236}">
                <a16:creationId xmlns:a16="http://schemas.microsoft.com/office/drawing/2014/main" id="{877D2851-34C8-4FA8-9745-26B88F6DB3DC}"/>
              </a:ext>
            </a:extLst>
          </p:cNvPr>
          <p:cNvPicPr>
            <a:picLocks noGrp="1" noChangeAspect="1"/>
          </p:cNvPicPr>
          <p:nvPr>
            <p:ph type="pic" idx="17"/>
          </p:nvPr>
        </p:nvPicPr>
        <p:blipFill rotWithShape="1">
          <a:blip r:embed="rId4" cstate="email">
            <a:extLst>
              <a:ext uri="{28A0092B-C50C-407E-A947-70E740481C1C}">
                <a14:useLocalDpi xmlns:a14="http://schemas.microsoft.com/office/drawing/2010/main"/>
              </a:ext>
            </a:extLst>
          </a:blip>
          <a:srcRect/>
          <a:stretch/>
        </p:blipFill>
        <p:spPr>
          <a:xfrm>
            <a:off x="6420784" y="2134478"/>
            <a:ext cx="2377440" cy="2817812"/>
          </a:xfrm>
        </p:spPr>
      </p:pic>
      <p:sp>
        <p:nvSpPr>
          <p:cNvPr id="12" name="Text Placeholder 11">
            <a:extLst>
              <a:ext uri="{FF2B5EF4-FFF2-40B4-BE49-F238E27FC236}">
                <a16:creationId xmlns:a16="http://schemas.microsoft.com/office/drawing/2014/main" id="{D531A60C-A459-2C1F-0AE5-30D9C3F70059}"/>
              </a:ext>
            </a:extLst>
          </p:cNvPr>
          <p:cNvSpPr>
            <a:spLocks noGrp="1"/>
          </p:cNvSpPr>
          <p:nvPr>
            <p:ph type="body" sz="quarter" idx="18"/>
          </p:nvPr>
        </p:nvSpPr>
        <p:spPr>
          <a:xfrm>
            <a:off x="3650447" y="5127790"/>
            <a:ext cx="2377440" cy="276999"/>
          </a:xfrm>
        </p:spPr>
        <p:txBody>
          <a:bodyPr/>
          <a:lstStyle/>
          <a:p>
            <a:endParaRPr lang="en-US" dirty="0"/>
          </a:p>
        </p:txBody>
      </p:sp>
      <p:sp>
        <p:nvSpPr>
          <p:cNvPr id="13" name="Text Placeholder 12">
            <a:extLst>
              <a:ext uri="{FF2B5EF4-FFF2-40B4-BE49-F238E27FC236}">
                <a16:creationId xmlns:a16="http://schemas.microsoft.com/office/drawing/2014/main" id="{4A3F8C65-B788-C563-CCFF-01B1599E21E4}"/>
              </a:ext>
            </a:extLst>
          </p:cNvPr>
          <p:cNvSpPr>
            <a:spLocks noGrp="1"/>
          </p:cNvSpPr>
          <p:nvPr>
            <p:ph type="body" sz="quarter" idx="19"/>
          </p:nvPr>
        </p:nvSpPr>
        <p:spPr>
          <a:xfrm>
            <a:off x="3650447" y="1644377"/>
            <a:ext cx="2377440" cy="347472"/>
          </a:xfrm>
        </p:spPr>
        <p:txBody>
          <a:bodyPr/>
          <a:lstStyle/>
          <a:p>
            <a:endParaRPr lang="en-US" dirty="0"/>
          </a:p>
        </p:txBody>
      </p:sp>
      <p:sp>
        <p:nvSpPr>
          <p:cNvPr id="15" name="Text Placeholder 14">
            <a:extLst>
              <a:ext uri="{FF2B5EF4-FFF2-40B4-BE49-F238E27FC236}">
                <a16:creationId xmlns:a16="http://schemas.microsoft.com/office/drawing/2014/main" id="{61276369-EFA8-287B-844F-46D256AA39E4}"/>
              </a:ext>
            </a:extLst>
          </p:cNvPr>
          <p:cNvSpPr>
            <a:spLocks noGrp="1"/>
          </p:cNvSpPr>
          <p:nvPr>
            <p:ph type="body" sz="quarter" idx="21"/>
          </p:nvPr>
        </p:nvSpPr>
        <p:spPr>
          <a:xfrm>
            <a:off x="6420784" y="5127790"/>
            <a:ext cx="2377440" cy="276999"/>
          </a:xfrm>
        </p:spPr>
        <p:txBody>
          <a:bodyPr/>
          <a:lstStyle/>
          <a:p>
            <a:endParaRPr lang="en-US" dirty="0"/>
          </a:p>
        </p:txBody>
      </p:sp>
      <p:sp>
        <p:nvSpPr>
          <p:cNvPr id="17" name="Text Placeholder 16">
            <a:extLst>
              <a:ext uri="{FF2B5EF4-FFF2-40B4-BE49-F238E27FC236}">
                <a16:creationId xmlns:a16="http://schemas.microsoft.com/office/drawing/2014/main" id="{F06C7D8A-A6CF-F180-E392-5E707AABDD6B}"/>
              </a:ext>
            </a:extLst>
          </p:cNvPr>
          <p:cNvSpPr>
            <a:spLocks noGrp="1"/>
          </p:cNvSpPr>
          <p:nvPr>
            <p:ph type="body" sz="quarter" idx="22"/>
          </p:nvPr>
        </p:nvSpPr>
        <p:spPr>
          <a:xfrm>
            <a:off x="6420784" y="1644377"/>
            <a:ext cx="2377440" cy="347472"/>
          </a:xfrm>
        </p:spPr>
        <p:txBody>
          <a:bodyPr/>
          <a:lstStyle/>
          <a:p>
            <a:endParaRPr lang="en-US" dirty="0"/>
          </a:p>
        </p:txBody>
      </p:sp>
      <p:pic>
        <p:nvPicPr>
          <p:cNvPr id="19" name="Picture Placeholder 18" descr="Text, letter&#10;&#10;Description automatically generated">
            <a:extLst>
              <a:ext uri="{FF2B5EF4-FFF2-40B4-BE49-F238E27FC236}">
                <a16:creationId xmlns:a16="http://schemas.microsoft.com/office/drawing/2014/main" id="{121C5298-3506-44D4-80E2-10C627A075A4}"/>
              </a:ext>
            </a:extLst>
          </p:cNvPr>
          <p:cNvPicPr>
            <a:picLocks noGrp="1" noChangeAspect="1"/>
          </p:cNvPicPr>
          <p:nvPr>
            <p:ph type="pic" idx="23"/>
          </p:nvPr>
        </p:nvPicPr>
        <p:blipFill rotWithShape="1">
          <a:blip r:embed="rId5" cstate="email">
            <a:extLst>
              <a:ext uri="{28A0092B-C50C-407E-A947-70E740481C1C}">
                <a14:useLocalDpi xmlns:a14="http://schemas.microsoft.com/office/drawing/2010/main"/>
              </a:ext>
            </a:extLst>
          </a:blip>
          <a:srcRect/>
          <a:stretch/>
        </p:blipFill>
        <p:spPr>
          <a:xfrm>
            <a:off x="9191122" y="2135188"/>
            <a:ext cx="2387600" cy="2817812"/>
          </a:xfrm>
        </p:spPr>
      </p:pic>
      <p:sp>
        <p:nvSpPr>
          <p:cNvPr id="18" name="Text Placeholder 17">
            <a:extLst>
              <a:ext uri="{FF2B5EF4-FFF2-40B4-BE49-F238E27FC236}">
                <a16:creationId xmlns:a16="http://schemas.microsoft.com/office/drawing/2014/main" id="{A9A5CA18-F6A6-DAEA-F01F-013C460BB0BF}"/>
              </a:ext>
            </a:extLst>
          </p:cNvPr>
          <p:cNvSpPr>
            <a:spLocks noGrp="1"/>
          </p:cNvSpPr>
          <p:nvPr>
            <p:ph type="body" sz="quarter" idx="24"/>
          </p:nvPr>
        </p:nvSpPr>
        <p:spPr>
          <a:xfrm>
            <a:off x="9201282" y="5127789"/>
            <a:ext cx="2377440" cy="276999"/>
          </a:xfrm>
        </p:spPr>
        <p:txBody>
          <a:bodyPr/>
          <a:lstStyle/>
          <a:p>
            <a:endParaRPr lang="en-US" dirty="0"/>
          </a:p>
        </p:txBody>
      </p:sp>
      <p:sp>
        <p:nvSpPr>
          <p:cNvPr id="20" name="Text Placeholder 19">
            <a:extLst>
              <a:ext uri="{FF2B5EF4-FFF2-40B4-BE49-F238E27FC236}">
                <a16:creationId xmlns:a16="http://schemas.microsoft.com/office/drawing/2014/main" id="{562DB610-7C81-99EB-38BB-D70120296E5D}"/>
              </a:ext>
            </a:extLst>
          </p:cNvPr>
          <p:cNvSpPr>
            <a:spLocks noGrp="1"/>
          </p:cNvSpPr>
          <p:nvPr>
            <p:ph type="body" sz="quarter" idx="25"/>
          </p:nvPr>
        </p:nvSpPr>
        <p:spPr>
          <a:xfrm>
            <a:off x="9201282" y="1644376"/>
            <a:ext cx="2377440" cy="347472"/>
          </a:xfrm>
        </p:spPr>
        <p:txBody>
          <a:bodyPr/>
          <a:lstStyle/>
          <a:p>
            <a:endParaRPr lang="en-US" dirty="0"/>
          </a:p>
        </p:txBody>
      </p:sp>
      <p:pic>
        <p:nvPicPr>
          <p:cNvPr id="2" name="Picture Placeholder 26" descr="A picture containing person&#10;&#10;Description automatically generated">
            <a:extLst>
              <a:ext uri="{FF2B5EF4-FFF2-40B4-BE49-F238E27FC236}">
                <a16:creationId xmlns:a16="http://schemas.microsoft.com/office/drawing/2014/main" id="{793B0ACD-FA6D-EFBD-4AB5-A53915DAE51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650447" y="2135188"/>
            <a:ext cx="2377440"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pic>
    </p:spTree>
    <p:extLst>
      <p:ext uri="{BB962C8B-B14F-4D97-AF65-F5344CB8AC3E}">
        <p14:creationId xmlns:p14="http://schemas.microsoft.com/office/powerpoint/2010/main" val="2369284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500"/>
                                        <p:tgtEl>
                                          <p:spTgt spid="3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9957C06-B313-FA37-81E7-928FAA828457}"/>
              </a:ext>
            </a:extLst>
          </p:cNvPr>
          <p:cNvSpPr>
            <a:spLocks noGrp="1"/>
          </p:cNvSpPr>
          <p:nvPr>
            <p:ph idx="1"/>
          </p:nvPr>
        </p:nvSpPr>
        <p:spPr/>
        <p:txBody>
          <a:bodyPr/>
          <a:lstStyle/>
          <a:p>
            <a:r>
              <a:rPr lang="en-IN" dirty="0"/>
              <a:t>PLM Domain specification supports key RESTful web service interfaces for Product Lifecycle Management systems</a:t>
            </a:r>
          </a:p>
          <a:p>
            <a:r>
              <a:rPr lang="en-IN" dirty="0"/>
              <a:t>Client</a:t>
            </a:r>
          </a:p>
          <a:p>
            <a:pPr lvl="1"/>
            <a:r>
              <a:rPr lang="en-IN" sz="2400" dirty="0"/>
              <a:t>PLM Domain consumes services exposed via Requirement, Architecture, Change and Quality/test, PLM domain</a:t>
            </a:r>
          </a:p>
          <a:p>
            <a:pPr marL="658368" lvl="2" indent="0">
              <a:buNone/>
            </a:pPr>
            <a:r>
              <a:rPr lang="en-IN" sz="2200" dirty="0"/>
              <a:t>Note: PLM – PDM or PLM-PLM to create links and persist data on the other side</a:t>
            </a:r>
          </a:p>
          <a:p>
            <a:pPr lvl="2">
              <a:buFontTx/>
              <a:buChar char="-"/>
            </a:pPr>
            <a:r>
              <a:rPr lang="en-IN" sz="2200" dirty="0"/>
              <a:t>Truck PLM system owns a Part used by Construction business PLM system</a:t>
            </a:r>
          </a:p>
          <a:p>
            <a:pPr lvl="2">
              <a:buFontTx/>
              <a:buChar char="-"/>
            </a:pPr>
            <a:r>
              <a:rPr lang="en-IN" sz="2200" dirty="0"/>
              <a:t>A CAD Model in PLM 1 can create a Part in PLM 2</a:t>
            </a:r>
          </a:p>
          <a:p>
            <a:pPr lvl="2">
              <a:buFontTx/>
              <a:buChar char="-"/>
            </a:pPr>
            <a:r>
              <a:rPr lang="en-IN" sz="2200" dirty="0"/>
              <a:t>One PLM system to manage Parts and PLM 2 for managing Manufacturing objects or CAD Data</a:t>
            </a:r>
          </a:p>
          <a:p>
            <a:r>
              <a:rPr lang="en-IN" dirty="0"/>
              <a:t>Server</a:t>
            </a:r>
            <a:endParaRPr lang="en-US" dirty="0"/>
          </a:p>
        </p:txBody>
      </p:sp>
      <p:sp>
        <p:nvSpPr>
          <p:cNvPr id="3" name="Title 2">
            <a:extLst>
              <a:ext uri="{FF2B5EF4-FFF2-40B4-BE49-F238E27FC236}">
                <a16:creationId xmlns:a16="http://schemas.microsoft.com/office/drawing/2014/main" id="{22692AB0-5E23-66C9-657C-F59587BF8D9B}"/>
              </a:ext>
            </a:extLst>
          </p:cNvPr>
          <p:cNvSpPr>
            <a:spLocks noGrp="1"/>
          </p:cNvSpPr>
          <p:nvPr>
            <p:ph type="title"/>
          </p:nvPr>
        </p:nvSpPr>
        <p:spPr/>
        <p:txBody>
          <a:bodyPr/>
          <a:lstStyle/>
          <a:p>
            <a:r>
              <a:rPr lang="en-US" dirty="0"/>
              <a:t>introduction</a:t>
            </a:r>
          </a:p>
        </p:txBody>
      </p:sp>
    </p:spTree>
    <p:extLst>
      <p:ext uri="{BB962C8B-B14F-4D97-AF65-F5344CB8AC3E}">
        <p14:creationId xmlns:p14="http://schemas.microsoft.com/office/powerpoint/2010/main" val="2875806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120960E-B2D8-D51B-3B0E-C1820C6355EA}"/>
              </a:ext>
            </a:extLst>
          </p:cNvPr>
          <p:cNvSpPr>
            <a:spLocks noGrp="1"/>
          </p:cNvSpPr>
          <p:nvPr>
            <p:ph idx="1"/>
          </p:nvPr>
        </p:nvSpPr>
        <p:spPr>
          <a:xfrm>
            <a:off x="473869" y="2540003"/>
            <a:ext cx="11244262" cy="2099734"/>
          </a:xfrm>
          <a:solidFill>
            <a:schemeClr val="tx1"/>
          </a:solidFill>
        </p:spPr>
        <p:txBody>
          <a:bodyPr bIns="137160" anchor="ctr" anchorCtr="0"/>
          <a:lstStyle/>
          <a:p>
            <a:pPr marL="0" indent="0" algn="ctr">
              <a:lnSpc>
                <a:spcPct val="130000"/>
              </a:lnSpc>
              <a:spcBef>
                <a:spcPts val="600"/>
              </a:spcBef>
              <a:buNone/>
            </a:pPr>
            <a:r>
              <a:rPr lang="en-US" sz="3000" b="1" dirty="0">
                <a:solidFill>
                  <a:schemeClr val="bg1"/>
                </a:solidFill>
              </a:rPr>
              <a:t>This library contains OFFICIAL PTC ICONS to be used </a:t>
            </a:r>
            <a:br>
              <a:rPr lang="en-US" sz="3000" b="1" dirty="0">
                <a:solidFill>
                  <a:schemeClr val="bg1"/>
                </a:solidFill>
              </a:rPr>
            </a:br>
            <a:r>
              <a:rPr lang="en-US" sz="3000" b="1" dirty="0">
                <a:solidFill>
                  <a:schemeClr val="bg1"/>
                </a:solidFill>
              </a:rPr>
              <a:t>across ALL PRESENTATIONS for brand consistency.</a:t>
            </a:r>
            <a:endParaRPr lang="en-US" sz="2000" b="1" i="1" dirty="0">
              <a:solidFill>
                <a:schemeClr val="bg1"/>
              </a:solidFill>
            </a:endParaRPr>
          </a:p>
        </p:txBody>
      </p:sp>
      <p:sp>
        <p:nvSpPr>
          <p:cNvPr id="5" name="Title 4">
            <a:extLst>
              <a:ext uri="{FF2B5EF4-FFF2-40B4-BE49-F238E27FC236}">
                <a16:creationId xmlns:a16="http://schemas.microsoft.com/office/drawing/2014/main" id="{20516286-45D2-5509-5F57-39BD1575AE6E}"/>
              </a:ext>
            </a:extLst>
          </p:cNvPr>
          <p:cNvSpPr>
            <a:spLocks noGrp="1"/>
          </p:cNvSpPr>
          <p:nvPr>
            <p:ph type="title"/>
          </p:nvPr>
        </p:nvSpPr>
        <p:spPr>
          <a:xfrm>
            <a:off x="495300" y="1883768"/>
            <a:ext cx="11244262" cy="461665"/>
          </a:xfrm>
          <a:solidFill>
            <a:schemeClr val="tx1"/>
          </a:solidFill>
        </p:spPr>
        <p:txBody>
          <a:bodyPr tIns="91440" anchor="ctr" anchorCtr="0"/>
          <a:lstStyle/>
          <a:p>
            <a:pPr algn="ctr"/>
            <a:r>
              <a:rPr lang="en-US" dirty="0">
                <a:solidFill>
                  <a:schemeClr val="bg1"/>
                </a:solidFill>
              </a:rPr>
              <a:t>Ptc icon library</a:t>
            </a:r>
          </a:p>
        </p:txBody>
      </p:sp>
      <p:pic>
        <p:nvPicPr>
          <p:cNvPr id="6" name="Graphic 5">
            <a:extLst>
              <a:ext uri="{FF2B5EF4-FFF2-40B4-BE49-F238E27FC236}">
                <a16:creationId xmlns:a16="http://schemas.microsoft.com/office/drawing/2014/main" id="{5D12F42C-F752-90E4-5670-99671C2C67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9676" y="1007423"/>
            <a:ext cx="612648" cy="612648"/>
          </a:xfrm>
          <a:prstGeom prst="rect">
            <a:avLst/>
          </a:prstGeom>
        </p:spPr>
      </p:pic>
      <p:sp>
        <p:nvSpPr>
          <p:cNvPr id="8" name="TextBox 7">
            <a:extLst>
              <a:ext uri="{FF2B5EF4-FFF2-40B4-BE49-F238E27FC236}">
                <a16:creationId xmlns:a16="http://schemas.microsoft.com/office/drawing/2014/main" id="{22C82155-BA07-0EB2-1043-84BED565754D}"/>
              </a:ext>
            </a:extLst>
          </p:cNvPr>
          <p:cNvSpPr txBox="1"/>
          <p:nvPr/>
        </p:nvSpPr>
        <p:spPr>
          <a:xfrm>
            <a:off x="473870" y="4828661"/>
            <a:ext cx="11265692" cy="1077218"/>
          </a:xfrm>
          <a:prstGeom prst="rect">
            <a:avLst/>
          </a:prstGeom>
          <a:noFill/>
          <a:ln w="9525">
            <a:noFill/>
          </a:ln>
        </p:spPr>
        <p:txBody>
          <a:bodyPr wrap="square">
            <a:spAutoFit/>
          </a:bodyPr>
          <a:lstStyle/>
          <a:p>
            <a:pPr marL="0" indent="0" algn="ctr">
              <a:spcBef>
                <a:spcPts val="1200"/>
              </a:spcBef>
              <a:buNone/>
            </a:pPr>
            <a:r>
              <a:rPr lang="en-US" sz="1800" b="1" dirty="0">
                <a:solidFill>
                  <a:schemeClr val="accent5"/>
                </a:solidFill>
              </a:rPr>
              <a:t>Avoid using icons you find elsewhere as they are likely not on brand and without legal usage rights.</a:t>
            </a:r>
            <a:endParaRPr lang="en-US" sz="2800" b="1" dirty="0">
              <a:solidFill>
                <a:schemeClr val="accent5"/>
              </a:solidFill>
            </a:endParaRPr>
          </a:p>
          <a:p>
            <a:pPr marL="0" indent="0" algn="ctr">
              <a:spcBef>
                <a:spcPts val="1200"/>
              </a:spcBef>
              <a:buNone/>
            </a:pPr>
            <a:r>
              <a:rPr lang="en-US" sz="1800" i="1" dirty="0">
                <a:solidFill>
                  <a:schemeClr val="accent5"/>
                </a:solidFill>
              </a:rPr>
              <a:t>Use this library while creating slides then delete the pages. These icons are always at your fingertips while working on a presentation by choosing “file / new / default theme ” in PPT.</a:t>
            </a:r>
          </a:p>
        </p:txBody>
      </p:sp>
    </p:spTree>
    <p:extLst>
      <p:ext uri="{BB962C8B-B14F-4D97-AF65-F5344CB8AC3E}">
        <p14:creationId xmlns:p14="http://schemas.microsoft.com/office/powerpoint/2010/main" val="1786105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165268-CDB1-9021-5D8B-214286167D66}"/>
            </a:ext>
          </a:extLst>
        </p:cNvPr>
        <p:cNvGrpSpPr/>
        <p:nvPr/>
      </p:nvGrpSpPr>
      <p:grpSpPr>
        <a:xfrm>
          <a:off x="0" y="0"/>
          <a:ext cx="0" cy="0"/>
          <a:chOff x="0" y="0"/>
          <a:chExt cx="0" cy="0"/>
        </a:xfrm>
      </p:grpSpPr>
      <p:sp>
        <p:nvSpPr>
          <p:cNvPr id="48" name="object 23">
            <a:extLst>
              <a:ext uri="{FF2B5EF4-FFF2-40B4-BE49-F238E27FC236}">
                <a16:creationId xmlns:a16="http://schemas.microsoft.com/office/drawing/2014/main" id="{F6EFD6AF-CEC2-E331-B76B-3532CC267EBB}"/>
              </a:ext>
            </a:extLst>
          </p:cNvPr>
          <p:cNvSpPr txBox="1"/>
          <p:nvPr/>
        </p:nvSpPr>
        <p:spPr>
          <a:xfrm>
            <a:off x="5837685" y="5775359"/>
            <a:ext cx="158369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gile</a:t>
            </a:r>
            <a:r>
              <a:rPr lang="en-US" dirty="0"/>
              <a:t> / Velocity </a:t>
            </a:r>
            <a:br>
              <a:rPr lang="en-US" dirty="0"/>
            </a:br>
            <a:r>
              <a:rPr lang="en-US" dirty="0"/>
              <a:t>(ALM)</a:t>
            </a:r>
            <a:endParaRPr dirty="0"/>
          </a:p>
        </p:txBody>
      </p:sp>
      <p:pic>
        <p:nvPicPr>
          <p:cNvPr id="49" name="Graphic 48">
            <a:extLst>
              <a:ext uri="{FF2B5EF4-FFF2-40B4-BE49-F238E27FC236}">
                <a16:creationId xmlns:a16="http://schemas.microsoft.com/office/drawing/2014/main" id="{474373EA-BFF9-C671-F261-C103915E1F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25004" y="6108408"/>
            <a:ext cx="697230" cy="548640"/>
          </a:xfrm>
          <a:prstGeom prst="rect">
            <a:avLst/>
          </a:prstGeom>
        </p:spPr>
      </p:pic>
      <p:sp>
        <p:nvSpPr>
          <p:cNvPr id="351" name="Text Placeholder 81">
            <a:extLst>
              <a:ext uri="{FF2B5EF4-FFF2-40B4-BE49-F238E27FC236}">
                <a16:creationId xmlns:a16="http://schemas.microsoft.com/office/drawing/2014/main" id="{CE4B18D1-4224-B867-E016-BD1610B08E4E}"/>
              </a:ext>
            </a:extLst>
          </p:cNvPr>
          <p:cNvSpPr txBox="1">
            <a:spLocks/>
          </p:cNvSpPr>
          <p:nvPr/>
        </p:nvSpPr>
        <p:spPr>
          <a:xfrm>
            <a:off x="9757663" y="1487942"/>
            <a:ext cx="1828800" cy="152172"/>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a:t>
            </a:r>
          </a:p>
        </p:txBody>
      </p:sp>
      <p:sp>
        <p:nvSpPr>
          <p:cNvPr id="352" name="Text Placeholder 81">
            <a:extLst>
              <a:ext uri="{FF2B5EF4-FFF2-40B4-BE49-F238E27FC236}">
                <a16:creationId xmlns:a16="http://schemas.microsoft.com/office/drawing/2014/main" id="{812F5675-23F8-F740-6450-0D9D044D22CB}"/>
              </a:ext>
            </a:extLst>
          </p:cNvPr>
          <p:cNvSpPr txBox="1">
            <a:spLocks/>
          </p:cNvSpPr>
          <p:nvPr/>
        </p:nvSpPr>
        <p:spPr>
          <a:xfrm>
            <a:off x="7890244" y="1487942"/>
            <a:ext cx="1371600" cy="152172"/>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LM</a:t>
            </a:r>
          </a:p>
        </p:txBody>
      </p:sp>
      <p:sp>
        <p:nvSpPr>
          <p:cNvPr id="353" name="Text Placeholder 81">
            <a:extLst>
              <a:ext uri="{FF2B5EF4-FFF2-40B4-BE49-F238E27FC236}">
                <a16:creationId xmlns:a16="http://schemas.microsoft.com/office/drawing/2014/main" id="{9D8840B6-C768-3986-AC65-BF9CC23C8CA0}"/>
              </a:ext>
            </a:extLst>
          </p:cNvPr>
          <p:cNvSpPr txBox="1">
            <a:spLocks/>
          </p:cNvSpPr>
          <p:nvPr/>
        </p:nvSpPr>
        <p:spPr>
          <a:xfrm>
            <a:off x="6065617" y="1487942"/>
            <a:ext cx="1371600" cy="152172"/>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OT, IIOT</a:t>
            </a:r>
          </a:p>
        </p:txBody>
      </p:sp>
      <p:sp>
        <p:nvSpPr>
          <p:cNvPr id="354" name="Text Placeholder 81">
            <a:extLst>
              <a:ext uri="{FF2B5EF4-FFF2-40B4-BE49-F238E27FC236}">
                <a16:creationId xmlns:a16="http://schemas.microsoft.com/office/drawing/2014/main" id="{0C3BEEBA-F3B9-18FC-8D4F-60F59F07F57A}"/>
              </a:ext>
            </a:extLst>
          </p:cNvPr>
          <p:cNvSpPr txBox="1">
            <a:spLocks/>
          </p:cNvSpPr>
          <p:nvPr/>
        </p:nvSpPr>
        <p:spPr>
          <a:xfrm>
            <a:off x="4227223" y="1487942"/>
            <a:ext cx="1371600" cy="152172"/>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LM</a:t>
            </a:r>
          </a:p>
        </p:txBody>
      </p:sp>
      <p:sp>
        <p:nvSpPr>
          <p:cNvPr id="355" name="Text Placeholder 81">
            <a:extLst>
              <a:ext uri="{FF2B5EF4-FFF2-40B4-BE49-F238E27FC236}">
                <a16:creationId xmlns:a16="http://schemas.microsoft.com/office/drawing/2014/main" id="{C25151D8-FACA-6150-3BE0-5ABFD4ADB714}"/>
              </a:ext>
            </a:extLst>
          </p:cNvPr>
          <p:cNvSpPr txBox="1">
            <a:spLocks/>
          </p:cNvSpPr>
          <p:nvPr/>
        </p:nvSpPr>
        <p:spPr>
          <a:xfrm>
            <a:off x="2407240" y="1487942"/>
            <a:ext cx="1371600" cy="152172"/>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LM</a:t>
            </a:r>
          </a:p>
        </p:txBody>
      </p:sp>
      <p:sp>
        <p:nvSpPr>
          <p:cNvPr id="356" name="Text Placeholder 81">
            <a:extLst>
              <a:ext uri="{FF2B5EF4-FFF2-40B4-BE49-F238E27FC236}">
                <a16:creationId xmlns:a16="http://schemas.microsoft.com/office/drawing/2014/main" id="{0D06F23A-969E-EBC1-F8D5-D36F557120CF}"/>
              </a:ext>
            </a:extLst>
          </p:cNvPr>
          <p:cNvSpPr txBox="1">
            <a:spLocks/>
          </p:cNvSpPr>
          <p:nvPr/>
        </p:nvSpPr>
        <p:spPr>
          <a:xfrm>
            <a:off x="546666" y="1487942"/>
            <a:ext cx="1371600" cy="152172"/>
          </a:xfrm>
          <a:prstGeom prst="rect">
            <a:avLst/>
          </a:prstGeom>
          <a:solidFill>
            <a:schemeClr val="accent2">
              <a:lumMod val="20000"/>
              <a:lumOff val="80000"/>
            </a:schemeClr>
          </a:solidFill>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100" dirty="0">
                <a:ea typeface="+mn-lt"/>
                <a:cs typeface="+mn-lt"/>
              </a:rPr>
              <a:t>CAD</a:t>
            </a:r>
          </a:p>
        </p:txBody>
      </p:sp>
      <p:sp>
        <p:nvSpPr>
          <p:cNvPr id="8" name="Text Placeholder 81">
            <a:extLst>
              <a:ext uri="{FF2B5EF4-FFF2-40B4-BE49-F238E27FC236}">
                <a16:creationId xmlns:a16="http://schemas.microsoft.com/office/drawing/2014/main" id="{4DF04646-8779-557D-4540-BBE1BB55EC59}"/>
              </a:ext>
            </a:extLst>
          </p:cNvPr>
          <p:cNvSpPr txBox="1">
            <a:spLocks/>
          </p:cNvSpPr>
          <p:nvPr/>
        </p:nvSpPr>
        <p:spPr>
          <a:xfrm>
            <a:off x="2431483" y="1706565"/>
            <a:ext cx="1323114" cy="307777"/>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pplication Lifecycle Management </a:t>
            </a:r>
          </a:p>
        </p:txBody>
      </p:sp>
      <p:sp>
        <p:nvSpPr>
          <p:cNvPr id="11" name="Text Placeholder 81">
            <a:extLst>
              <a:ext uri="{FF2B5EF4-FFF2-40B4-BE49-F238E27FC236}">
                <a16:creationId xmlns:a16="http://schemas.microsoft.com/office/drawing/2014/main" id="{C7A51DB9-5CB6-4CA2-E8AA-1E0431B11BAA}"/>
              </a:ext>
            </a:extLst>
          </p:cNvPr>
          <p:cNvSpPr txBox="1">
            <a:spLocks/>
          </p:cNvSpPr>
          <p:nvPr/>
        </p:nvSpPr>
        <p:spPr>
          <a:xfrm>
            <a:off x="10107984" y="1783509"/>
            <a:ext cx="1311038" cy="153888"/>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ugmented Reality </a:t>
            </a:r>
          </a:p>
        </p:txBody>
      </p:sp>
      <p:grpSp>
        <p:nvGrpSpPr>
          <p:cNvPr id="314" name="Group 313">
            <a:extLst>
              <a:ext uri="{FF2B5EF4-FFF2-40B4-BE49-F238E27FC236}">
                <a16:creationId xmlns:a16="http://schemas.microsoft.com/office/drawing/2014/main" id="{0C200B52-0655-0204-3ACC-344E36F5FB85}"/>
              </a:ext>
            </a:extLst>
          </p:cNvPr>
          <p:cNvGrpSpPr>
            <a:grpSpLocks noChangeAspect="1"/>
          </p:cNvGrpSpPr>
          <p:nvPr/>
        </p:nvGrpSpPr>
        <p:grpSpPr>
          <a:xfrm>
            <a:off x="9780043" y="2164590"/>
            <a:ext cx="706756" cy="339070"/>
            <a:chOff x="3378287" y="2381115"/>
            <a:chExt cx="607534" cy="291467"/>
          </a:xfrm>
        </p:grpSpPr>
        <p:grpSp>
          <p:nvGrpSpPr>
            <p:cNvPr id="302" name="Graphic 335">
              <a:extLst>
                <a:ext uri="{FF2B5EF4-FFF2-40B4-BE49-F238E27FC236}">
                  <a16:creationId xmlns:a16="http://schemas.microsoft.com/office/drawing/2014/main" id="{2DDF5853-BCDE-D617-40F9-FB6B9FB750A7}"/>
                </a:ext>
              </a:extLst>
            </p:cNvPr>
            <p:cNvGrpSpPr/>
            <p:nvPr/>
          </p:nvGrpSpPr>
          <p:grpSpPr>
            <a:xfrm>
              <a:off x="3378287" y="2431798"/>
              <a:ext cx="607534" cy="133151"/>
              <a:chOff x="3429844" y="2637635"/>
              <a:chExt cx="607534" cy="133151"/>
            </a:xfrm>
            <a:solidFill>
              <a:srgbClr val="40AA1D"/>
            </a:solidFill>
          </p:grpSpPr>
          <p:sp>
            <p:nvSpPr>
              <p:cNvPr id="303" name="Freeform: Shape 302">
                <a:extLst>
                  <a:ext uri="{FF2B5EF4-FFF2-40B4-BE49-F238E27FC236}">
                    <a16:creationId xmlns:a16="http://schemas.microsoft.com/office/drawing/2014/main" id="{C1EE72D3-D2A6-4885-ECDF-4B38E9A83252}"/>
                  </a:ext>
                </a:extLst>
              </p:cNvPr>
              <p:cNvSpPr/>
              <p:nvPr/>
            </p:nvSpPr>
            <p:spPr>
              <a:xfrm>
                <a:off x="3429844" y="2637635"/>
                <a:ext cx="41220" cy="133151"/>
              </a:xfrm>
              <a:custGeom>
                <a:avLst/>
                <a:gdLst>
                  <a:gd name="connsiteX0" fmla="*/ 41221 w 41220"/>
                  <a:gd name="connsiteY0" fmla="*/ 753 h 133151"/>
                  <a:gd name="connsiteX1" fmla="*/ 25028 w 41220"/>
                  <a:gd name="connsiteY1" fmla="*/ 133151 h 133151"/>
                  <a:gd name="connsiteX2" fmla="*/ 3121 w 41220"/>
                  <a:gd name="connsiteY2" fmla="*/ 115053 h 133151"/>
                  <a:gd name="connsiteX3" fmla="*/ 10741 w 41220"/>
                  <a:gd name="connsiteY3" fmla="*/ 6468 h 133151"/>
                  <a:gd name="connsiteX4" fmla="*/ 41221 w 41220"/>
                  <a:gd name="connsiteY4" fmla="*/ 753 h 133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20" h="133151">
                    <a:moveTo>
                      <a:pt x="41221" y="753"/>
                    </a:moveTo>
                    <a:lnTo>
                      <a:pt x="25028" y="133151"/>
                    </a:lnTo>
                    <a:cubicBezTo>
                      <a:pt x="17408" y="133151"/>
                      <a:pt x="7883" y="129341"/>
                      <a:pt x="3121" y="115053"/>
                    </a:cubicBezTo>
                    <a:cubicBezTo>
                      <a:pt x="-2594" y="101718"/>
                      <a:pt x="-689" y="16945"/>
                      <a:pt x="10741" y="6468"/>
                    </a:cubicBezTo>
                    <a:cubicBezTo>
                      <a:pt x="22171" y="-3057"/>
                      <a:pt x="41221" y="753"/>
                      <a:pt x="41221" y="753"/>
                    </a:cubicBezTo>
                    <a:close/>
                  </a:path>
                </a:pathLst>
              </a:custGeom>
              <a:solidFill>
                <a:schemeClr val="bg2"/>
              </a:solidFill>
              <a:ln w="9525" cap="flat">
                <a:noFill/>
                <a:prstDash val="solid"/>
                <a:miter/>
              </a:ln>
            </p:spPr>
            <p:txBody>
              <a:bodyPr rtlCol="0" anchor="ctr"/>
              <a:lstStyle/>
              <a:p>
                <a:endParaRPr lang="en-US" dirty="0"/>
              </a:p>
            </p:txBody>
          </p:sp>
          <p:sp>
            <p:nvSpPr>
              <p:cNvPr id="304" name="Freeform: Shape 303">
                <a:extLst>
                  <a:ext uri="{FF2B5EF4-FFF2-40B4-BE49-F238E27FC236}">
                    <a16:creationId xmlns:a16="http://schemas.microsoft.com/office/drawing/2014/main" id="{29F57CCE-7C75-2457-A08F-FD39DC48DACE}"/>
                  </a:ext>
                </a:extLst>
              </p:cNvPr>
              <p:cNvSpPr/>
              <p:nvPr/>
            </p:nvSpPr>
            <p:spPr>
              <a:xfrm>
                <a:off x="3996844" y="2637635"/>
                <a:ext cx="40534" cy="133151"/>
              </a:xfrm>
              <a:custGeom>
                <a:avLst/>
                <a:gdLst>
                  <a:gd name="connsiteX0" fmla="*/ 0 w 40534"/>
                  <a:gd name="connsiteY0" fmla="*/ 753 h 133151"/>
                  <a:gd name="connsiteX1" fmla="*/ 16193 w 40534"/>
                  <a:gd name="connsiteY1" fmla="*/ 133151 h 133151"/>
                  <a:gd name="connsiteX2" fmla="*/ 38100 w 40534"/>
                  <a:gd name="connsiteY2" fmla="*/ 115053 h 133151"/>
                  <a:gd name="connsiteX3" fmla="*/ 29528 w 40534"/>
                  <a:gd name="connsiteY3" fmla="*/ 6468 h 133151"/>
                  <a:gd name="connsiteX4" fmla="*/ 0 w 40534"/>
                  <a:gd name="connsiteY4" fmla="*/ 753 h 133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34" h="133151">
                    <a:moveTo>
                      <a:pt x="0" y="753"/>
                    </a:moveTo>
                    <a:lnTo>
                      <a:pt x="16193" y="133151"/>
                    </a:lnTo>
                    <a:cubicBezTo>
                      <a:pt x="23813" y="133151"/>
                      <a:pt x="33338" y="129341"/>
                      <a:pt x="38100" y="115053"/>
                    </a:cubicBezTo>
                    <a:cubicBezTo>
                      <a:pt x="42863" y="100766"/>
                      <a:pt x="40958" y="16945"/>
                      <a:pt x="29528" y="6468"/>
                    </a:cubicBezTo>
                    <a:cubicBezTo>
                      <a:pt x="19050" y="-3057"/>
                      <a:pt x="0" y="753"/>
                      <a:pt x="0" y="753"/>
                    </a:cubicBezTo>
                    <a:close/>
                  </a:path>
                </a:pathLst>
              </a:custGeom>
              <a:solidFill>
                <a:schemeClr val="bg2"/>
              </a:solidFill>
              <a:ln w="9525" cap="flat">
                <a:noFill/>
                <a:prstDash val="solid"/>
                <a:miter/>
              </a:ln>
            </p:spPr>
            <p:txBody>
              <a:bodyPr rtlCol="0" anchor="ctr"/>
              <a:lstStyle/>
              <a:p>
                <a:endParaRPr lang="en-US" dirty="0"/>
              </a:p>
            </p:txBody>
          </p:sp>
        </p:grpSp>
        <p:sp>
          <p:nvSpPr>
            <p:cNvPr id="305" name="Freeform: Shape 304">
              <a:extLst>
                <a:ext uri="{FF2B5EF4-FFF2-40B4-BE49-F238E27FC236}">
                  <a16:creationId xmlns:a16="http://schemas.microsoft.com/office/drawing/2014/main" id="{BC28FF6A-B2F0-A501-5253-E198618CE56C}"/>
                </a:ext>
              </a:extLst>
            </p:cNvPr>
            <p:cNvSpPr/>
            <p:nvPr/>
          </p:nvSpPr>
          <p:spPr>
            <a:xfrm>
              <a:off x="3422654" y="2381115"/>
              <a:ext cx="519486" cy="291467"/>
            </a:xfrm>
            <a:custGeom>
              <a:avLst/>
              <a:gdLst>
                <a:gd name="connsiteX0" fmla="*/ 259743 w 519486"/>
                <a:gd name="connsiteY0" fmla="*/ 28575 h 291467"/>
                <a:gd name="connsiteX1" fmla="*/ 376901 w 519486"/>
                <a:gd name="connsiteY1" fmla="*/ 32385 h 291467"/>
                <a:gd name="connsiteX2" fmla="*/ 461673 w 519486"/>
                <a:gd name="connsiteY2" fmla="*/ 50483 h 291467"/>
                <a:gd name="connsiteX3" fmla="*/ 489296 w 519486"/>
                <a:gd name="connsiteY3" fmla="*/ 213361 h 291467"/>
                <a:gd name="connsiteX4" fmla="*/ 395951 w 519486"/>
                <a:gd name="connsiteY4" fmla="*/ 262892 h 291467"/>
                <a:gd name="connsiteX5" fmla="*/ 387379 w 519486"/>
                <a:gd name="connsiteY5" fmla="*/ 261939 h 291467"/>
                <a:gd name="connsiteX6" fmla="*/ 326418 w 519486"/>
                <a:gd name="connsiteY6" fmla="*/ 241937 h 291467"/>
                <a:gd name="connsiteX7" fmla="*/ 259743 w 519486"/>
                <a:gd name="connsiteY7" fmla="*/ 222887 h 291467"/>
                <a:gd name="connsiteX8" fmla="*/ 193068 w 519486"/>
                <a:gd name="connsiteY8" fmla="*/ 241937 h 291467"/>
                <a:gd name="connsiteX9" fmla="*/ 132108 w 519486"/>
                <a:gd name="connsiteY9" fmla="*/ 261939 h 291467"/>
                <a:gd name="connsiteX10" fmla="*/ 123536 w 519486"/>
                <a:gd name="connsiteY10" fmla="*/ 262892 h 291467"/>
                <a:gd name="connsiteX11" fmla="*/ 30191 w 519486"/>
                <a:gd name="connsiteY11" fmla="*/ 213361 h 291467"/>
                <a:gd name="connsiteX12" fmla="*/ 56861 w 519486"/>
                <a:gd name="connsiteY12" fmla="*/ 50483 h 291467"/>
                <a:gd name="connsiteX13" fmla="*/ 141633 w 519486"/>
                <a:gd name="connsiteY13" fmla="*/ 32385 h 291467"/>
                <a:gd name="connsiteX14" fmla="*/ 259743 w 519486"/>
                <a:gd name="connsiteY14" fmla="*/ 28575 h 291467"/>
                <a:gd name="connsiteX15" fmla="*/ 259743 w 519486"/>
                <a:gd name="connsiteY15" fmla="*/ 0 h 291467"/>
                <a:gd name="connsiteX16" fmla="*/ 37811 w 519486"/>
                <a:gd name="connsiteY16" fmla="*/ 29528 h 291467"/>
                <a:gd name="connsiteX17" fmla="*/ 3521 w 519486"/>
                <a:gd name="connsiteY17" fmla="*/ 223839 h 291467"/>
                <a:gd name="connsiteX18" fmla="*/ 123536 w 519486"/>
                <a:gd name="connsiteY18" fmla="*/ 291467 h 291467"/>
                <a:gd name="connsiteX19" fmla="*/ 134966 w 519486"/>
                <a:gd name="connsiteY19" fmla="*/ 290515 h 291467"/>
                <a:gd name="connsiteX20" fmla="*/ 259743 w 519486"/>
                <a:gd name="connsiteY20" fmla="*/ 250509 h 291467"/>
                <a:gd name="connsiteX21" fmla="*/ 384521 w 519486"/>
                <a:gd name="connsiteY21" fmla="*/ 290515 h 291467"/>
                <a:gd name="connsiteX22" fmla="*/ 395951 w 519486"/>
                <a:gd name="connsiteY22" fmla="*/ 291467 h 291467"/>
                <a:gd name="connsiteX23" fmla="*/ 515966 w 519486"/>
                <a:gd name="connsiteY23" fmla="*/ 223839 h 291467"/>
                <a:gd name="connsiteX24" fmla="*/ 481676 w 519486"/>
                <a:gd name="connsiteY24" fmla="*/ 29528 h 291467"/>
                <a:gd name="connsiteX25" fmla="*/ 259743 w 519486"/>
                <a:gd name="connsiteY25" fmla="*/ 0 h 291467"/>
                <a:gd name="connsiteX26" fmla="*/ 259743 w 519486"/>
                <a:gd name="connsiteY26" fmla="*/ 0 h 29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9486" h="291467">
                  <a:moveTo>
                    <a:pt x="259743" y="28575"/>
                  </a:moveTo>
                  <a:cubicBezTo>
                    <a:pt x="287366" y="28575"/>
                    <a:pt x="334038" y="28575"/>
                    <a:pt x="376901" y="32385"/>
                  </a:cubicBezTo>
                  <a:cubicBezTo>
                    <a:pt x="446433" y="38100"/>
                    <a:pt x="460721" y="49530"/>
                    <a:pt x="461673" y="50483"/>
                  </a:cubicBezTo>
                  <a:cubicBezTo>
                    <a:pt x="481676" y="68580"/>
                    <a:pt x="496916" y="188596"/>
                    <a:pt x="489296" y="213361"/>
                  </a:cubicBezTo>
                  <a:cubicBezTo>
                    <a:pt x="484533" y="225744"/>
                    <a:pt x="438813" y="262892"/>
                    <a:pt x="395951" y="262892"/>
                  </a:cubicBezTo>
                  <a:cubicBezTo>
                    <a:pt x="393093" y="262892"/>
                    <a:pt x="390236" y="262892"/>
                    <a:pt x="387379" y="261939"/>
                  </a:cubicBezTo>
                  <a:cubicBezTo>
                    <a:pt x="363566" y="259082"/>
                    <a:pt x="345468" y="250509"/>
                    <a:pt x="326418" y="241937"/>
                  </a:cubicBezTo>
                  <a:cubicBezTo>
                    <a:pt x="305463" y="232412"/>
                    <a:pt x="284508" y="222887"/>
                    <a:pt x="259743" y="222887"/>
                  </a:cubicBezTo>
                  <a:cubicBezTo>
                    <a:pt x="234978" y="222887"/>
                    <a:pt x="213071" y="232412"/>
                    <a:pt x="193068" y="241937"/>
                  </a:cubicBezTo>
                  <a:cubicBezTo>
                    <a:pt x="174971" y="250509"/>
                    <a:pt x="155921" y="259082"/>
                    <a:pt x="132108" y="261939"/>
                  </a:cubicBezTo>
                  <a:cubicBezTo>
                    <a:pt x="129251" y="261939"/>
                    <a:pt x="126393" y="262892"/>
                    <a:pt x="123536" y="262892"/>
                  </a:cubicBezTo>
                  <a:cubicBezTo>
                    <a:pt x="80673" y="262892"/>
                    <a:pt x="34953" y="224792"/>
                    <a:pt x="30191" y="213361"/>
                  </a:cubicBezTo>
                  <a:cubicBezTo>
                    <a:pt x="22571" y="188596"/>
                    <a:pt x="37811" y="68580"/>
                    <a:pt x="56861" y="50483"/>
                  </a:cubicBezTo>
                  <a:cubicBezTo>
                    <a:pt x="57813" y="49530"/>
                    <a:pt x="72101" y="38100"/>
                    <a:pt x="141633" y="32385"/>
                  </a:cubicBezTo>
                  <a:cubicBezTo>
                    <a:pt x="185448" y="28575"/>
                    <a:pt x="232121" y="28575"/>
                    <a:pt x="259743" y="28575"/>
                  </a:cubicBezTo>
                  <a:moveTo>
                    <a:pt x="259743" y="0"/>
                  </a:moveTo>
                  <a:cubicBezTo>
                    <a:pt x="204498" y="0"/>
                    <a:pt x="69243" y="0"/>
                    <a:pt x="37811" y="29528"/>
                  </a:cubicBezTo>
                  <a:cubicBezTo>
                    <a:pt x="6378" y="59055"/>
                    <a:pt x="-6957" y="197169"/>
                    <a:pt x="3521" y="223839"/>
                  </a:cubicBezTo>
                  <a:cubicBezTo>
                    <a:pt x="13046" y="248604"/>
                    <a:pt x="70196" y="291467"/>
                    <a:pt x="123536" y="291467"/>
                  </a:cubicBezTo>
                  <a:cubicBezTo>
                    <a:pt x="127346" y="291467"/>
                    <a:pt x="131156" y="291467"/>
                    <a:pt x="134966" y="290515"/>
                  </a:cubicBezTo>
                  <a:cubicBezTo>
                    <a:pt x="191163" y="282895"/>
                    <a:pt x="221643" y="250509"/>
                    <a:pt x="259743" y="250509"/>
                  </a:cubicBezTo>
                  <a:cubicBezTo>
                    <a:pt x="297843" y="250509"/>
                    <a:pt x="328323" y="282895"/>
                    <a:pt x="384521" y="290515"/>
                  </a:cubicBezTo>
                  <a:cubicBezTo>
                    <a:pt x="388331" y="291467"/>
                    <a:pt x="392141" y="291467"/>
                    <a:pt x="395951" y="291467"/>
                  </a:cubicBezTo>
                  <a:cubicBezTo>
                    <a:pt x="449291" y="291467"/>
                    <a:pt x="506441" y="248604"/>
                    <a:pt x="515966" y="223839"/>
                  </a:cubicBezTo>
                  <a:cubicBezTo>
                    <a:pt x="526444" y="197169"/>
                    <a:pt x="513108" y="59055"/>
                    <a:pt x="481676" y="29528"/>
                  </a:cubicBezTo>
                  <a:cubicBezTo>
                    <a:pt x="450243" y="0"/>
                    <a:pt x="314988" y="0"/>
                    <a:pt x="259743" y="0"/>
                  </a:cubicBezTo>
                  <a:lnTo>
                    <a:pt x="259743" y="0"/>
                  </a:lnTo>
                  <a:close/>
                </a:path>
              </a:pathLst>
            </a:custGeom>
            <a:solidFill>
              <a:srgbClr val="3D4647"/>
            </a:solidFill>
            <a:ln w="9525" cap="flat">
              <a:noFill/>
              <a:prstDash val="solid"/>
              <a:miter/>
            </a:ln>
          </p:spPr>
          <p:txBody>
            <a:bodyPr rtlCol="0" anchor="ctr"/>
            <a:lstStyle/>
            <a:p>
              <a:endParaRPr lang="en-US" dirty="0"/>
            </a:p>
          </p:txBody>
        </p:sp>
        <p:sp>
          <p:nvSpPr>
            <p:cNvPr id="306" name="Freeform: Shape 305">
              <a:extLst>
                <a:ext uri="{FF2B5EF4-FFF2-40B4-BE49-F238E27FC236}">
                  <a16:creationId xmlns:a16="http://schemas.microsoft.com/office/drawing/2014/main" id="{BC339938-2EDA-FF02-4A1A-CCE183C45C50}"/>
                </a:ext>
              </a:extLst>
            </p:cNvPr>
            <p:cNvSpPr/>
            <p:nvPr/>
          </p:nvSpPr>
          <p:spPr>
            <a:xfrm>
              <a:off x="3557620" y="2461126"/>
              <a:ext cx="278129" cy="17145"/>
            </a:xfrm>
            <a:custGeom>
              <a:avLst/>
              <a:gdLst>
                <a:gd name="connsiteX0" fmla="*/ 0 w 278129"/>
                <a:gd name="connsiteY0" fmla="*/ 8573 h 17145"/>
                <a:gd name="connsiteX1" fmla="*/ 8572 w 278129"/>
                <a:gd name="connsiteY1" fmla="*/ 0 h 17145"/>
                <a:gd name="connsiteX2" fmla="*/ 269558 w 278129"/>
                <a:gd name="connsiteY2" fmla="*/ 0 h 17145"/>
                <a:gd name="connsiteX3" fmla="*/ 278130 w 278129"/>
                <a:gd name="connsiteY3" fmla="*/ 8573 h 17145"/>
                <a:gd name="connsiteX4" fmla="*/ 278130 w 278129"/>
                <a:gd name="connsiteY4" fmla="*/ 8573 h 17145"/>
                <a:gd name="connsiteX5" fmla="*/ 269558 w 278129"/>
                <a:gd name="connsiteY5" fmla="*/ 17145 h 17145"/>
                <a:gd name="connsiteX6" fmla="*/ 7620 w 278129"/>
                <a:gd name="connsiteY6" fmla="*/ 17145 h 17145"/>
                <a:gd name="connsiteX7" fmla="*/ 0 w 278129"/>
                <a:gd name="connsiteY7" fmla="*/ 8573 h 17145"/>
                <a:gd name="connsiteX8" fmla="*/ 0 w 278129"/>
                <a:gd name="connsiteY8" fmla="*/ 8573 h 1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129" h="17145">
                  <a:moveTo>
                    <a:pt x="0" y="8573"/>
                  </a:moveTo>
                  <a:cubicBezTo>
                    <a:pt x="0" y="3810"/>
                    <a:pt x="3810" y="0"/>
                    <a:pt x="8572" y="0"/>
                  </a:cubicBezTo>
                  <a:lnTo>
                    <a:pt x="269558" y="0"/>
                  </a:lnTo>
                  <a:cubicBezTo>
                    <a:pt x="274320" y="0"/>
                    <a:pt x="278130" y="3810"/>
                    <a:pt x="278130" y="8573"/>
                  </a:cubicBezTo>
                  <a:lnTo>
                    <a:pt x="278130" y="8573"/>
                  </a:lnTo>
                  <a:cubicBezTo>
                    <a:pt x="278130" y="13335"/>
                    <a:pt x="274320" y="17145"/>
                    <a:pt x="269558" y="17145"/>
                  </a:cubicBezTo>
                  <a:lnTo>
                    <a:pt x="7620" y="17145"/>
                  </a:lnTo>
                  <a:cubicBezTo>
                    <a:pt x="3810" y="17145"/>
                    <a:pt x="0" y="13335"/>
                    <a:pt x="0" y="8573"/>
                  </a:cubicBezTo>
                  <a:lnTo>
                    <a:pt x="0" y="8573"/>
                  </a:lnTo>
                  <a:close/>
                </a:path>
              </a:pathLst>
            </a:custGeom>
            <a:solidFill>
              <a:schemeClr val="bg2"/>
            </a:solidFill>
            <a:ln w="9525" cap="flat">
              <a:noFill/>
              <a:prstDash val="solid"/>
              <a:miter/>
            </a:ln>
          </p:spPr>
          <p:txBody>
            <a:bodyPr rtlCol="0" anchor="ctr"/>
            <a:lstStyle/>
            <a:p>
              <a:endParaRPr lang="en-US" dirty="0"/>
            </a:p>
          </p:txBody>
        </p:sp>
        <p:sp>
          <p:nvSpPr>
            <p:cNvPr id="307" name="Freeform: Shape 306">
              <a:extLst>
                <a:ext uri="{FF2B5EF4-FFF2-40B4-BE49-F238E27FC236}">
                  <a16:creationId xmlns:a16="http://schemas.microsoft.com/office/drawing/2014/main" id="{81F0FD01-A663-9798-E234-09B541E5921B}"/>
                </a:ext>
              </a:extLst>
            </p:cNvPr>
            <p:cNvSpPr/>
            <p:nvPr/>
          </p:nvSpPr>
          <p:spPr>
            <a:xfrm>
              <a:off x="3846228" y="2463031"/>
              <a:ext cx="15239" cy="15240"/>
            </a:xfrm>
            <a:custGeom>
              <a:avLst/>
              <a:gdLst>
                <a:gd name="connsiteX0" fmla="*/ 7620 w 15239"/>
                <a:gd name="connsiteY0" fmla="*/ 15240 h 15240"/>
                <a:gd name="connsiteX1" fmla="*/ 0 w 15239"/>
                <a:gd name="connsiteY1" fmla="*/ 7620 h 15240"/>
                <a:gd name="connsiteX2" fmla="*/ 7620 w 15239"/>
                <a:gd name="connsiteY2" fmla="*/ 0 h 15240"/>
                <a:gd name="connsiteX3" fmla="*/ 15240 w 15239"/>
                <a:gd name="connsiteY3" fmla="*/ 7620 h 15240"/>
                <a:gd name="connsiteX4" fmla="*/ 7620 w 15239"/>
                <a:gd name="connsiteY4" fmla="*/ 15240 h 15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39" h="15240">
                  <a:moveTo>
                    <a:pt x="7620" y="15240"/>
                  </a:moveTo>
                  <a:cubicBezTo>
                    <a:pt x="2857" y="15240"/>
                    <a:pt x="0" y="11430"/>
                    <a:pt x="0" y="7620"/>
                  </a:cubicBezTo>
                  <a:cubicBezTo>
                    <a:pt x="0" y="2858"/>
                    <a:pt x="3810" y="0"/>
                    <a:pt x="7620" y="0"/>
                  </a:cubicBezTo>
                  <a:cubicBezTo>
                    <a:pt x="12382" y="0"/>
                    <a:pt x="15240" y="3810"/>
                    <a:pt x="15240" y="7620"/>
                  </a:cubicBezTo>
                  <a:cubicBezTo>
                    <a:pt x="15240" y="11430"/>
                    <a:pt x="11430" y="15240"/>
                    <a:pt x="7620" y="15240"/>
                  </a:cubicBezTo>
                  <a:close/>
                </a:path>
              </a:pathLst>
            </a:custGeom>
            <a:solidFill>
              <a:schemeClr val="bg2"/>
            </a:solidFill>
            <a:ln w="9525" cap="flat">
              <a:noFill/>
              <a:prstDash val="solid"/>
              <a:miter/>
            </a:ln>
          </p:spPr>
          <p:txBody>
            <a:bodyPr rtlCol="0" anchor="ctr"/>
            <a:lstStyle/>
            <a:p>
              <a:endParaRPr lang="en-US" dirty="0"/>
            </a:p>
          </p:txBody>
        </p:sp>
      </p:grpSp>
      <p:sp>
        <p:nvSpPr>
          <p:cNvPr id="9" name="Text Placeholder 81">
            <a:extLst>
              <a:ext uri="{FF2B5EF4-FFF2-40B4-BE49-F238E27FC236}">
                <a16:creationId xmlns:a16="http://schemas.microsoft.com/office/drawing/2014/main" id="{4CECA547-E76A-714C-A322-76EB7646C6C6}"/>
              </a:ext>
            </a:extLst>
          </p:cNvPr>
          <p:cNvSpPr txBox="1">
            <a:spLocks/>
          </p:cNvSpPr>
          <p:nvPr/>
        </p:nvSpPr>
        <p:spPr>
          <a:xfrm>
            <a:off x="486757" y="1783509"/>
            <a:ext cx="1491419" cy="153888"/>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mputer Aided Design </a:t>
            </a:r>
          </a:p>
        </p:txBody>
      </p:sp>
      <p:sp>
        <p:nvSpPr>
          <p:cNvPr id="10" name="Text Placeholder 81">
            <a:extLst>
              <a:ext uri="{FF2B5EF4-FFF2-40B4-BE49-F238E27FC236}">
                <a16:creationId xmlns:a16="http://schemas.microsoft.com/office/drawing/2014/main" id="{ECA79A52-846D-984B-4EA4-9BF5E318C0DA}"/>
              </a:ext>
            </a:extLst>
          </p:cNvPr>
          <p:cNvSpPr txBox="1">
            <a:spLocks/>
          </p:cNvSpPr>
          <p:nvPr/>
        </p:nvSpPr>
        <p:spPr>
          <a:xfrm>
            <a:off x="5794563" y="1721954"/>
            <a:ext cx="191370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nternet of Things </a:t>
            </a:r>
            <a:br>
              <a:rPr lang="en-US" dirty="0"/>
            </a:br>
            <a:r>
              <a:rPr lang="en-US" dirty="0"/>
              <a:t>Industrial Internet of Things</a:t>
            </a:r>
          </a:p>
        </p:txBody>
      </p:sp>
      <p:grpSp>
        <p:nvGrpSpPr>
          <p:cNvPr id="316" name="Graphic 349">
            <a:extLst>
              <a:ext uri="{FF2B5EF4-FFF2-40B4-BE49-F238E27FC236}">
                <a16:creationId xmlns:a16="http://schemas.microsoft.com/office/drawing/2014/main" id="{B52CBCDA-C518-EF71-5D07-14974313FB91}"/>
              </a:ext>
            </a:extLst>
          </p:cNvPr>
          <p:cNvGrpSpPr/>
          <p:nvPr/>
        </p:nvGrpSpPr>
        <p:grpSpPr>
          <a:xfrm>
            <a:off x="6446617" y="2028849"/>
            <a:ext cx="609600" cy="610552"/>
            <a:chOff x="6775747" y="2276972"/>
            <a:chExt cx="609600" cy="610552"/>
          </a:xfrm>
        </p:grpSpPr>
        <p:sp>
          <p:nvSpPr>
            <p:cNvPr id="318" name="Freeform: Shape 317">
              <a:extLst>
                <a:ext uri="{FF2B5EF4-FFF2-40B4-BE49-F238E27FC236}">
                  <a16:creationId xmlns:a16="http://schemas.microsoft.com/office/drawing/2014/main" id="{2DFC6679-2D0A-0A0D-A552-E35C0C9037CF}"/>
                </a:ext>
              </a:extLst>
            </p:cNvPr>
            <p:cNvSpPr/>
            <p:nvPr/>
          </p:nvSpPr>
          <p:spPr>
            <a:xfrm>
              <a:off x="6775747" y="2276972"/>
              <a:ext cx="609600" cy="371475"/>
            </a:xfrm>
            <a:custGeom>
              <a:avLst/>
              <a:gdLst>
                <a:gd name="connsiteX0" fmla="*/ 528638 w 609600"/>
                <a:gd name="connsiteY0" fmla="*/ 186690 h 371475"/>
                <a:gd name="connsiteX1" fmla="*/ 529590 w 609600"/>
                <a:gd name="connsiteY1" fmla="*/ 171450 h 371475"/>
                <a:gd name="connsiteX2" fmla="*/ 427673 w 609600"/>
                <a:gd name="connsiteY2" fmla="*/ 69533 h 371475"/>
                <a:gd name="connsiteX3" fmla="*/ 390525 w 609600"/>
                <a:gd name="connsiteY3" fmla="*/ 77153 h 371475"/>
                <a:gd name="connsiteX4" fmla="*/ 260985 w 609600"/>
                <a:gd name="connsiteY4" fmla="*/ 0 h 371475"/>
                <a:gd name="connsiteX5" fmla="*/ 119063 w 609600"/>
                <a:gd name="connsiteY5" fmla="*/ 109538 h 371475"/>
                <a:gd name="connsiteX6" fmla="*/ 0 w 609600"/>
                <a:gd name="connsiteY6" fmla="*/ 240030 h 371475"/>
                <a:gd name="connsiteX7" fmla="*/ 130493 w 609600"/>
                <a:gd name="connsiteY7" fmla="*/ 371475 h 371475"/>
                <a:gd name="connsiteX8" fmla="*/ 181928 w 609600"/>
                <a:gd name="connsiteY8" fmla="*/ 371475 h 371475"/>
                <a:gd name="connsiteX9" fmla="*/ 181928 w 609600"/>
                <a:gd name="connsiteY9" fmla="*/ 243840 h 371475"/>
                <a:gd name="connsiteX10" fmla="*/ 303848 w 609600"/>
                <a:gd name="connsiteY10" fmla="*/ 173355 h 371475"/>
                <a:gd name="connsiteX11" fmla="*/ 425768 w 609600"/>
                <a:gd name="connsiteY11" fmla="*/ 243840 h 371475"/>
                <a:gd name="connsiteX12" fmla="*/ 425768 w 609600"/>
                <a:gd name="connsiteY12" fmla="*/ 371475 h 371475"/>
                <a:gd name="connsiteX13" fmla="*/ 517208 w 609600"/>
                <a:gd name="connsiteY13" fmla="*/ 370523 h 371475"/>
                <a:gd name="connsiteX14" fmla="*/ 609600 w 609600"/>
                <a:gd name="connsiteY14" fmla="*/ 278130 h 371475"/>
                <a:gd name="connsiteX15" fmla="*/ 528638 w 609600"/>
                <a:gd name="connsiteY15" fmla="*/ 186690 h 371475"/>
                <a:gd name="connsiteX16" fmla="*/ 517208 w 609600"/>
                <a:gd name="connsiteY16" fmla="*/ 341948 h 371475"/>
                <a:gd name="connsiteX17" fmla="*/ 454343 w 609600"/>
                <a:gd name="connsiteY17" fmla="*/ 341948 h 371475"/>
                <a:gd name="connsiteX18" fmla="*/ 454343 w 609600"/>
                <a:gd name="connsiteY18" fmla="*/ 227648 h 371475"/>
                <a:gd name="connsiteX19" fmla="*/ 303848 w 609600"/>
                <a:gd name="connsiteY19" fmla="*/ 140970 h 371475"/>
                <a:gd name="connsiteX20" fmla="*/ 153353 w 609600"/>
                <a:gd name="connsiteY20" fmla="*/ 227648 h 371475"/>
                <a:gd name="connsiteX21" fmla="*/ 153353 w 609600"/>
                <a:gd name="connsiteY21" fmla="*/ 342900 h 371475"/>
                <a:gd name="connsiteX22" fmla="*/ 130493 w 609600"/>
                <a:gd name="connsiteY22" fmla="*/ 342900 h 371475"/>
                <a:gd name="connsiteX23" fmla="*/ 28575 w 609600"/>
                <a:gd name="connsiteY23" fmla="*/ 240030 h 371475"/>
                <a:gd name="connsiteX24" fmla="*/ 121920 w 609600"/>
                <a:gd name="connsiteY24" fmla="*/ 138113 h 371475"/>
                <a:gd name="connsiteX25" fmla="*/ 141923 w 609600"/>
                <a:gd name="connsiteY25" fmla="*/ 136208 h 371475"/>
                <a:gd name="connsiteX26" fmla="*/ 146685 w 609600"/>
                <a:gd name="connsiteY26" fmla="*/ 117158 h 371475"/>
                <a:gd name="connsiteX27" fmla="*/ 260985 w 609600"/>
                <a:gd name="connsiteY27" fmla="*/ 28575 h 371475"/>
                <a:gd name="connsiteX28" fmla="*/ 364808 w 609600"/>
                <a:gd name="connsiteY28" fmla="*/ 90488 h 371475"/>
                <a:gd name="connsiteX29" fmla="*/ 377190 w 609600"/>
                <a:gd name="connsiteY29" fmla="*/ 112395 h 371475"/>
                <a:gd name="connsiteX30" fmla="*/ 401003 w 609600"/>
                <a:gd name="connsiteY30" fmla="*/ 102870 h 371475"/>
                <a:gd name="connsiteX31" fmla="*/ 427673 w 609600"/>
                <a:gd name="connsiteY31" fmla="*/ 98108 h 371475"/>
                <a:gd name="connsiteX32" fmla="*/ 501015 w 609600"/>
                <a:gd name="connsiteY32" fmla="*/ 171450 h 371475"/>
                <a:gd name="connsiteX33" fmla="*/ 500063 w 609600"/>
                <a:gd name="connsiteY33" fmla="*/ 182880 h 371475"/>
                <a:gd name="connsiteX34" fmla="*/ 495300 w 609600"/>
                <a:gd name="connsiteY34" fmla="*/ 211455 h 371475"/>
                <a:gd name="connsiteX35" fmla="*/ 524828 w 609600"/>
                <a:gd name="connsiteY35" fmla="*/ 215265 h 371475"/>
                <a:gd name="connsiteX36" fmla="*/ 581025 w 609600"/>
                <a:gd name="connsiteY36" fmla="*/ 278130 h 371475"/>
                <a:gd name="connsiteX37" fmla="*/ 517208 w 609600"/>
                <a:gd name="connsiteY37" fmla="*/ 341948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09600" h="371475">
                  <a:moveTo>
                    <a:pt x="528638" y="186690"/>
                  </a:moveTo>
                  <a:cubicBezTo>
                    <a:pt x="529590" y="181928"/>
                    <a:pt x="529590" y="176213"/>
                    <a:pt x="529590" y="171450"/>
                  </a:cubicBezTo>
                  <a:cubicBezTo>
                    <a:pt x="529590" y="115253"/>
                    <a:pt x="483870" y="69533"/>
                    <a:pt x="427673" y="69533"/>
                  </a:cubicBezTo>
                  <a:cubicBezTo>
                    <a:pt x="414338" y="69533"/>
                    <a:pt x="401955" y="72390"/>
                    <a:pt x="390525" y="77153"/>
                  </a:cubicBezTo>
                  <a:cubicBezTo>
                    <a:pt x="365760" y="30480"/>
                    <a:pt x="317183" y="0"/>
                    <a:pt x="260985" y="0"/>
                  </a:cubicBezTo>
                  <a:cubicBezTo>
                    <a:pt x="192405" y="0"/>
                    <a:pt x="135255" y="46673"/>
                    <a:pt x="119063" y="109538"/>
                  </a:cubicBezTo>
                  <a:cubicBezTo>
                    <a:pt x="52388" y="115253"/>
                    <a:pt x="0" y="171450"/>
                    <a:pt x="0" y="240030"/>
                  </a:cubicBezTo>
                  <a:cubicBezTo>
                    <a:pt x="0" y="312420"/>
                    <a:pt x="58103" y="371475"/>
                    <a:pt x="130493" y="371475"/>
                  </a:cubicBezTo>
                  <a:cubicBezTo>
                    <a:pt x="130493" y="371475"/>
                    <a:pt x="181928" y="371475"/>
                    <a:pt x="181928" y="371475"/>
                  </a:cubicBezTo>
                  <a:lnTo>
                    <a:pt x="181928" y="243840"/>
                  </a:lnTo>
                  <a:lnTo>
                    <a:pt x="303848" y="173355"/>
                  </a:lnTo>
                  <a:lnTo>
                    <a:pt x="425768" y="243840"/>
                  </a:lnTo>
                  <a:lnTo>
                    <a:pt x="425768" y="371475"/>
                  </a:lnTo>
                  <a:lnTo>
                    <a:pt x="517208" y="370523"/>
                  </a:lnTo>
                  <a:cubicBezTo>
                    <a:pt x="568643" y="370523"/>
                    <a:pt x="609600" y="329565"/>
                    <a:pt x="609600" y="278130"/>
                  </a:cubicBezTo>
                  <a:cubicBezTo>
                    <a:pt x="609600" y="230505"/>
                    <a:pt x="574358" y="191453"/>
                    <a:pt x="528638" y="186690"/>
                  </a:cubicBezTo>
                  <a:close/>
                  <a:moveTo>
                    <a:pt x="517208" y="341948"/>
                  </a:moveTo>
                  <a:cubicBezTo>
                    <a:pt x="517208" y="341948"/>
                    <a:pt x="492443" y="341948"/>
                    <a:pt x="454343" y="341948"/>
                  </a:cubicBezTo>
                  <a:lnTo>
                    <a:pt x="454343" y="227648"/>
                  </a:lnTo>
                  <a:lnTo>
                    <a:pt x="303848" y="140970"/>
                  </a:lnTo>
                  <a:lnTo>
                    <a:pt x="153353" y="227648"/>
                  </a:lnTo>
                  <a:lnTo>
                    <a:pt x="153353" y="342900"/>
                  </a:lnTo>
                  <a:cubicBezTo>
                    <a:pt x="139065" y="342900"/>
                    <a:pt x="130493" y="342900"/>
                    <a:pt x="130493" y="342900"/>
                  </a:cubicBezTo>
                  <a:cubicBezTo>
                    <a:pt x="74295" y="342900"/>
                    <a:pt x="28575" y="296228"/>
                    <a:pt x="28575" y="240030"/>
                  </a:cubicBezTo>
                  <a:cubicBezTo>
                    <a:pt x="28575" y="187643"/>
                    <a:pt x="69533" y="142875"/>
                    <a:pt x="121920" y="138113"/>
                  </a:cubicBezTo>
                  <a:lnTo>
                    <a:pt x="141923" y="136208"/>
                  </a:lnTo>
                  <a:lnTo>
                    <a:pt x="146685" y="117158"/>
                  </a:lnTo>
                  <a:cubicBezTo>
                    <a:pt x="160020" y="64770"/>
                    <a:pt x="207645" y="28575"/>
                    <a:pt x="260985" y="28575"/>
                  </a:cubicBezTo>
                  <a:cubicBezTo>
                    <a:pt x="304800" y="28575"/>
                    <a:pt x="344805" y="52388"/>
                    <a:pt x="364808" y="90488"/>
                  </a:cubicBezTo>
                  <a:lnTo>
                    <a:pt x="377190" y="112395"/>
                  </a:lnTo>
                  <a:lnTo>
                    <a:pt x="401003" y="102870"/>
                  </a:lnTo>
                  <a:cubicBezTo>
                    <a:pt x="409575" y="99060"/>
                    <a:pt x="419100" y="98108"/>
                    <a:pt x="427673" y="98108"/>
                  </a:cubicBezTo>
                  <a:cubicBezTo>
                    <a:pt x="467678" y="98108"/>
                    <a:pt x="501015" y="130493"/>
                    <a:pt x="501015" y="171450"/>
                  </a:cubicBezTo>
                  <a:cubicBezTo>
                    <a:pt x="501015" y="175260"/>
                    <a:pt x="501015" y="179070"/>
                    <a:pt x="500063" y="182880"/>
                  </a:cubicBezTo>
                  <a:lnTo>
                    <a:pt x="495300" y="211455"/>
                  </a:lnTo>
                  <a:lnTo>
                    <a:pt x="524828" y="215265"/>
                  </a:lnTo>
                  <a:cubicBezTo>
                    <a:pt x="557213" y="219075"/>
                    <a:pt x="581025" y="245745"/>
                    <a:pt x="581025" y="278130"/>
                  </a:cubicBezTo>
                  <a:cubicBezTo>
                    <a:pt x="581025" y="313373"/>
                    <a:pt x="552450" y="341948"/>
                    <a:pt x="517208" y="341948"/>
                  </a:cubicBezTo>
                  <a:close/>
                </a:path>
              </a:pathLst>
            </a:custGeom>
            <a:solidFill>
              <a:srgbClr val="3D4647"/>
            </a:solidFill>
            <a:ln w="9525" cap="flat">
              <a:noFill/>
              <a:prstDash val="solid"/>
              <a:miter/>
            </a:ln>
          </p:spPr>
          <p:txBody>
            <a:bodyPr rtlCol="0" anchor="ctr"/>
            <a:lstStyle/>
            <a:p>
              <a:endParaRPr lang="en-US" dirty="0"/>
            </a:p>
          </p:txBody>
        </p:sp>
        <p:sp>
          <p:nvSpPr>
            <p:cNvPr id="319" name="Freeform: Shape 318">
              <a:extLst>
                <a:ext uri="{FF2B5EF4-FFF2-40B4-BE49-F238E27FC236}">
                  <a16:creationId xmlns:a16="http://schemas.microsoft.com/office/drawing/2014/main" id="{FF565965-04E7-30F7-1DDB-90CC3CC99DA4}"/>
                </a:ext>
              </a:extLst>
            </p:cNvPr>
            <p:cNvSpPr/>
            <p:nvPr/>
          </p:nvSpPr>
          <p:spPr>
            <a:xfrm>
              <a:off x="6941481" y="2324043"/>
              <a:ext cx="115252" cy="91040"/>
            </a:xfrm>
            <a:custGeom>
              <a:avLst/>
              <a:gdLst>
                <a:gd name="connsiteX0" fmla="*/ 36195 w 115252"/>
                <a:gd name="connsiteY0" fmla="*/ 19603 h 91040"/>
                <a:gd name="connsiteX1" fmla="*/ 0 w 115252"/>
                <a:gd name="connsiteY1" fmla="*/ 90088 h 91040"/>
                <a:gd name="connsiteX2" fmla="*/ 19050 w 115252"/>
                <a:gd name="connsiteY2" fmla="*/ 91041 h 91040"/>
                <a:gd name="connsiteX3" fmla="*/ 47625 w 115252"/>
                <a:gd name="connsiteY3" fmla="*/ 34843 h 91040"/>
                <a:gd name="connsiteX4" fmla="*/ 111443 w 115252"/>
                <a:gd name="connsiteY4" fmla="*/ 20556 h 91040"/>
                <a:gd name="connsiteX5" fmla="*/ 115253 w 115252"/>
                <a:gd name="connsiteY5" fmla="*/ 1506 h 91040"/>
                <a:gd name="connsiteX6" fmla="*/ 36195 w 115252"/>
                <a:gd name="connsiteY6" fmla="*/ 19603 h 9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252" h="91040">
                  <a:moveTo>
                    <a:pt x="36195" y="19603"/>
                  </a:moveTo>
                  <a:cubicBezTo>
                    <a:pt x="15240" y="35796"/>
                    <a:pt x="1905" y="60561"/>
                    <a:pt x="0" y="90088"/>
                  </a:cubicBezTo>
                  <a:lnTo>
                    <a:pt x="19050" y="91041"/>
                  </a:lnTo>
                  <a:cubicBezTo>
                    <a:pt x="20955" y="68181"/>
                    <a:pt x="31433" y="48178"/>
                    <a:pt x="47625" y="34843"/>
                  </a:cubicBezTo>
                  <a:cubicBezTo>
                    <a:pt x="64770" y="21508"/>
                    <a:pt x="87630" y="16746"/>
                    <a:pt x="111443" y="20556"/>
                  </a:cubicBezTo>
                  <a:lnTo>
                    <a:pt x="115253" y="1506"/>
                  </a:lnTo>
                  <a:cubicBezTo>
                    <a:pt x="85725" y="-3257"/>
                    <a:pt x="58103" y="3411"/>
                    <a:pt x="36195" y="19603"/>
                  </a:cubicBezTo>
                  <a:close/>
                </a:path>
              </a:pathLst>
            </a:custGeom>
            <a:solidFill>
              <a:schemeClr val="bg2"/>
            </a:solidFill>
            <a:ln w="9525" cap="flat">
              <a:noFill/>
              <a:prstDash val="solid"/>
              <a:miter/>
            </a:ln>
          </p:spPr>
          <p:txBody>
            <a:bodyPr rtlCol="0" anchor="ctr"/>
            <a:lstStyle/>
            <a:p>
              <a:endParaRPr lang="en-US" dirty="0"/>
            </a:p>
          </p:txBody>
        </p:sp>
        <p:sp>
          <p:nvSpPr>
            <p:cNvPr id="320" name="Freeform: Shape 319">
              <a:extLst>
                <a:ext uri="{FF2B5EF4-FFF2-40B4-BE49-F238E27FC236}">
                  <a16:creationId xmlns:a16="http://schemas.microsoft.com/office/drawing/2014/main" id="{CFFCE45E-2F77-F116-680E-A8B2CFB732A3}"/>
                </a:ext>
              </a:extLst>
            </p:cNvPr>
            <p:cNvSpPr/>
            <p:nvPr/>
          </p:nvSpPr>
          <p:spPr>
            <a:xfrm>
              <a:off x="6857662" y="2488427"/>
              <a:ext cx="443865" cy="399097"/>
            </a:xfrm>
            <a:custGeom>
              <a:avLst/>
              <a:gdLst>
                <a:gd name="connsiteX0" fmla="*/ 359093 w 443865"/>
                <a:gd name="connsiteY0" fmla="*/ 241935 h 399097"/>
                <a:gd name="connsiteX1" fmla="*/ 288608 w 443865"/>
                <a:gd name="connsiteY1" fmla="*/ 166688 h 399097"/>
                <a:gd name="connsiteX2" fmla="*/ 310515 w 443865"/>
                <a:gd name="connsiteY2" fmla="*/ 154305 h 399097"/>
                <a:gd name="connsiteX3" fmla="*/ 310515 w 443865"/>
                <a:gd name="connsiteY3" fmla="*/ 51435 h 399097"/>
                <a:gd name="connsiteX4" fmla="*/ 220980 w 443865"/>
                <a:gd name="connsiteY4" fmla="*/ 0 h 399097"/>
                <a:gd name="connsiteX5" fmla="*/ 131445 w 443865"/>
                <a:gd name="connsiteY5" fmla="*/ 51435 h 399097"/>
                <a:gd name="connsiteX6" fmla="*/ 131445 w 443865"/>
                <a:gd name="connsiteY6" fmla="*/ 154305 h 399097"/>
                <a:gd name="connsiteX7" fmla="*/ 156210 w 443865"/>
                <a:gd name="connsiteY7" fmla="*/ 168593 h 399097"/>
                <a:gd name="connsiteX8" fmla="*/ 85725 w 443865"/>
                <a:gd name="connsiteY8" fmla="*/ 242888 h 399097"/>
                <a:gd name="connsiteX9" fmla="*/ 53340 w 443865"/>
                <a:gd name="connsiteY9" fmla="*/ 224790 h 399097"/>
                <a:gd name="connsiteX10" fmla="*/ 0 w 443865"/>
                <a:gd name="connsiteY10" fmla="*/ 255270 h 399097"/>
                <a:gd name="connsiteX11" fmla="*/ 0 w 443865"/>
                <a:gd name="connsiteY11" fmla="*/ 316230 h 399097"/>
                <a:gd name="connsiteX12" fmla="*/ 53340 w 443865"/>
                <a:gd name="connsiteY12" fmla="*/ 346710 h 399097"/>
                <a:gd name="connsiteX13" fmla="*/ 106680 w 443865"/>
                <a:gd name="connsiteY13" fmla="*/ 316230 h 399097"/>
                <a:gd name="connsiteX14" fmla="*/ 106680 w 443865"/>
                <a:gd name="connsiteY14" fmla="*/ 261938 h 399097"/>
                <a:gd name="connsiteX15" fmla="*/ 181928 w 443865"/>
                <a:gd name="connsiteY15" fmla="*/ 183833 h 399097"/>
                <a:gd name="connsiteX16" fmla="*/ 206692 w 443865"/>
                <a:gd name="connsiteY16" fmla="*/ 198120 h 399097"/>
                <a:gd name="connsiteX17" fmla="*/ 207645 w 443865"/>
                <a:gd name="connsiteY17" fmla="*/ 199072 h 399097"/>
                <a:gd name="connsiteX18" fmla="*/ 207645 w 443865"/>
                <a:gd name="connsiteY18" fmla="*/ 284797 h 399097"/>
                <a:gd name="connsiteX19" fmla="*/ 207645 w 443865"/>
                <a:gd name="connsiteY19" fmla="*/ 284797 h 399097"/>
                <a:gd name="connsiteX20" fmla="*/ 168592 w 443865"/>
                <a:gd name="connsiteY20" fmla="*/ 307658 h 399097"/>
                <a:gd name="connsiteX21" fmla="*/ 168592 w 443865"/>
                <a:gd name="connsiteY21" fmla="*/ 368618 h 399097"/>
                <a:gd name="connsiteX22" fmla="*/ 221933 w 443865"/>
                <a:gd name="connsiteY22" fmla="*/ 399097 h 399097"/>
                <a:gd name="connsiteX23" fmla="*/ 275273 w 443865"/>
                <a:gd name="connsiteY23" fmla="*/ 368618 h 399097"/>
                <a:gd name="connsiteX24" fmla="*/ 275273 w 443865"/>
                <a:gd name="connsiteY24" fmla="*/ 307658 h 399097"/>
                <a:gd name="connsiteX25" fmla="*/ 236220 w 443865"/>
                <a:gd name="connsiteY25" fmla="*/ 283845 h 399097"/>
                <a:gd name="connsiteX26" fmla="*/ 236220 w 443865"/>
                <a:gd name="connsiteY26" fmla="*/ 197168 h 399097"/>
                <a:gd name="connsiteX27" fmla="*/ 262890 w 443865"/>
                <a:gd name="connsiteY27" fmla="*/ 181927 h 399097"/>
                <a:gd name="connsiteX28" fmla="*/ 337185 w 443865"/>
                <a:gd name="connsiteY28" fmla="*/ 261938 h 399097"/>
                <a:gd name="connsiteX29" fmla="*/ 337185 w 443865"/>
                <a:gd name="connsiteY29" fmla="*/ 316230 h 399097"/>
                <a:gd name="connsiteX30" fmla="*/ 390525 w 443865"/>
                <a:gd name="connsiteY30" fmla="*/ 346710 h 399097"/>
                <a:gd name="connsiteX31" fmla="*/ 443865 w 443865"/>
                <a:gd name="connsiteY31" fmla="*/ 316230 h 399097"/>
                <a:gd name="connsiteX32" fmla="*/ 443865 w 443865"/>
                <a:gd name="connsiteY32" fmla="*/ 255270 h 399097"/>
                <a:gd name="connsiteX33" fmla="*/ 390525 w 443865"/>
                <a:gd name="connsiteY33" fmla="*/ 224790 h 399097"/>
                <a:gd name="connsiteX34" fmla="*/ 359093 w 443865"/>
                <a:gd name="connsiteY34" fmla="*/ 241935 h 399097"/>
                <a:gd name="connsiteX35" fmla="*/ 78105 w 443865"/>
                <a:gd name="connsiteY35" fmla="*/ 299085 h 399097"/>
                <a:gd name="connsiteX36" fmla="*/ 53340 w 443865"/>
                <a:gd name="connsiteY36" fmla="*/ 313372 h 399097"/>
                <a:gd name="connsiteX37" fmla="*/ 28575 w 443865"/>
                <a:gd name="connsiteY37" fmla="*/ 299085 h 399097"/>
                <a:gd name="connsiteX38" fmla="*/ 28575 w 443865"/>
                <a:gd name="connsiteY38" fmla="*/ 270510 h 399097"/>
                <a:gd name="connsiteX39" fmla="*/ 53340 w 443865"/>
                <a:gd name="connsiteY39" fmla="*/ 256222 h 399097"/>
                <a:gd name="connsiteX40" fmla="*/ 78105 w 443865"/>
                <a:gd name="connsiteY40" fmla="*/ 270510 h 399097"/>
                <a:gd name="connsiteX41" fmla="*/ 78105 w 443865"/>
                <a:gd name="connsiteY41" fmla="*/ 270510 h 399097"/>
                <a:gd name="connsiteX42" fmla="*/ 78105 w 443865"/>
                <a:gd name="connsiteY42" fmla="*/ 299085 h 399097"/>
                <a:gd name="connsiteX43" fmla="*/ 246698 w 443865"/>
                <a:gd name="connsiteY43" fmla="*/ 322897 h 399097"/>
                <a:gd name="connsiteX44" fmla="*/ 246698 w 443865"/>
                <a:gd name="connsiteY44" fmla="*/ 351472 h 399097"/>
                <a:gd name="connsiteX45" fmla="*/ 221933 w 443865"/>
                <a:gd name="connsiteY45" fmla="*/ 365760 h 399097"/>
                <a:gd name="connsiteX46" fmla="*/ 197167 w 443865"/>
                <a:gd name="connsiteY46" fmla="*/ 351472 h 399097"/>
                <a:gd name="connsiteX47" fmla="*/ 197167 w 443865"/>
                <a:gd name="connsiteY47" fmla="*/ 322897 h 399097"/>
                <a:gd name="connsiteX48" fmla="*/ 221933 w 443865"/>
                <a:gd name="connsiteY48" fmla="*/ 308610 h 399097"/>
                <a:gd name="connsiteX49" fmla="*/ 246698 w 443865"/>
                <a:gd name="connsiteY49" fmla="*/ 322897 h 399097"/>
                <a:gd name="connsiteX50" fmla="*/ 281940 w 443865"/>
                <a:gd name="connsiteY50" fmla="*/ 138113 h 399097"/>
                <a:gd name="connsiteX51" fmla="*/ 220980 w 443865"/>
                <a:gd name="connsiteY51" fmla="*/ 173355 h 399097"/>
                <a:gd name="connsiteX52" fmla="*/ 160020 w 443865"/>
                <a:gd name="connsiteY52" fmla="*/ 138113 h 399097"/>
                <a:gd name="connsiteX53" fmla="*/ 160020 w 443865"/>
                <a:gd name="connsiteY53" fmla="*/ 67627 h 399097"/>
                <a:gd name="connsiteX54" fmla="*/ 220980 w 443865"/>
                <a:gd name="connsiteY54" fmla="*/ 32385 h 399097"/>
                <a:gd name="connsiteX55" fmla="*/ 281940 w 443865"/>
                <a:gd name="connsiteY55" fmla="*/ 67627 h 399097"/>
                <a:gd name="connsiteX56" fmla="*/ 281940 w 443865"/>
                <a:gd name="connsiteY56" fmla="*/ 138113 h 399097"/>
                <a:gd name="connsiteX57" fmla="*/ 415290 w 443865"/>
                <a:gd name="connsiteY57" fmla="*/ 299085 h 399097"/>
                <a:gd name="connsiteX58" fmla="*/ 390525 w 443865"/>
                <a:gd name="connsiteY58" fmla="*/ 313372 h 399097"/>
                <a:gd name="connsiteX59" fmla="*/ 365760 w 443865"/>
                <a:gd name="connsiteY59" fmla="*/ 299085 h 399097"/>
                <a:gd name="connsiteX60" fmla="*/ 365760 w 443865"/>
                <a:gd name="connsiteY60" fmla="*/ 270510 h 399097"/>
                <a:gd name="connsiteX61" fmla="*/ 390525 w 443865"/>
                <a:gd name="connsiteY61" fmla="*/ 256222 h 399097"/>
                <a:gd name="connsiteX62" fmla="*/ 415290 w 443865"/>
                <a:gd name="connsiteY62" fmla="*/ 270510 h 399097"/>
                <a:gd name="connsiteX63" fmla="*/ 415290 w 443865"/>
                <a:gd name="connsiteY63" fmla="*/ 299085 h 39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43865" h="399097">
                  <a:moveTo>
                    <a:pt x="359093" y="241935"/>
                  </a:moveTo>
                  <a:lnTo>
                    <a:pt x="288608" y="166688"/>
                  </a:lnTo>
                  <a:lnTo>
                    <a:pt x="310515" y="154305"/>
                  </a:lnTo>
                  <a:lnTo>
                    <a:pt x="310515" y="51435"/>
                  </a:lnTo>
                  <a:lnTo>
                    <a:pt x="220980" y="0"/>
                  </a:lnTo>
                  <a:lnTo>
                    <a:pt x="131445" y="51435"/>
                  </a:lnTo>
                  <a:lnTo>
                    <a:pt x="131445" y="154305"/>
                  </a:lnTo>
                  <a:lnTo>
                    <a:pt x="156210" y="168593"/>
                  </a:lnTo>
                  <a:lnTo>
                    <a:pt x="85725" y="242888"/>
                  </a:lnTo>
                  <a:lnTo>
                    <a:pt x="53340" y="224790"/>
                  </a:lnTo>
                  <a:lnTo>
                    <a:pt x="0" y="255270"/>
                  </a:lnTo>
                  <a:lnTo>
                    <a:pt x="0" y="316230"/>
                  </a:lnTo>
                  <a:lnTo>
                    <a:pt x="53340" y="346710"/>
                  </a:lnTo>
                  <a:lnTo>
                    <a:pt x="106680" y="316230"/>
                  </a:lnTo>
                  <a:lnTo>
                    <a:pt x="106680" y="261938"/>
                  </a:lnTo>
                  <a:lnTo>
                    <a:pt x="181928" y="183833"/>
                  </a:lnTo>
                  <a:lnTo>
                    <a:pt x="206692" y="198120"/>
                  </a:lnTo>
                  <a:lnTo>
                    <a:pt x="207645" y="199072"/>
                  </a:lnTo>
                  <a:lnTo>
                    <a:pt x="207645" y="284797"/>
                  </a:lnTo>
                  <a:lnTo>
                    <a:pt x="207645" y="284797"/>
                  </a:lnTo>
                  <a:lnTo>
                    <a:pt x="168592" y="307658"/>
                  </a:lnTo>
                  <a:lnTo>
                    <a:pt x="168592" y="368618"/>
                  </a:lnTo>
                  <a:lnTo>
                    <a:pt x="221933" y="399097"/>
                  </a:lnTo>
                  <a:lnTo>
                    <a:pt x="275273" y="368618"/>
                  </a:lnTo>
                  <a:lnTo>
                    <a:pt x="275273" y="307658"/>
                  </a:lnTo>
                  <a:lnTo>
                    <a:pt x="236220" y="283845"/>
                  </a:lnTo>
                  <a:lnTo>
                    <a:pt x="236220" y="197168"/>
                  </a:lnTo>
                  <a:lnTo>
                    <a:pt x="262890" y="181927"/>
                  </a:lnTo>
                  <a:lnTo>
                    <a:pt x="337185" y="261938"/>
                  </a:lnTo>
                  <a:lnTo>
                    <a:pt x="337185" y="316230"/>
                  </a:lnTo>
                  <a:lnTo>
                    <a:pt x="390525" y="346710"/>
                  </a:lnTo>
                  <a:lnTo>
                    <a:pt x="443865" y="316230"/>
                  </a:lnTo>
                  <a:lnTo>
                    <a:pt x="443865" y="255270"/>
                  </a:lnTo>
                  <a:lnTo>
                    <a:pt x="390525" y="224790"/>
                  </a:lnTo>
                  <a:lnTo>
                    <a:pt x="359093" y="241935"/>
                  </a:lnTo>
                  <a:close/>
                  <a:moveTo>
                    <a:pt x="78105" y="299085"/>
                  </a:moveTo>
                  <a:lnTo>
                    <a:pt x="53340" y="313372"/>
                  </a:lnTo>
                  <a:lnTo>
                    <a:pt x="28575" y="299085"/>
                  </a:lnTo>
                  <a:lnTo>
                    <a:pt x="28575" y="270510"/>
                  </a:lnTo>
                  <a:lnTo>
                    <a:pt x="53340" y="256222"/>
                  </a:lnTo>
                  <a:lnTo>
                    <a:pt x="78105" y="270510"/>
                  </a:lnTo>
                  <a:lnTo>
                    <a:pt x="78105" y="270510"/>
                  </a:lnTo>
                  <a:lnTo>
                    <a:pt x="78105" y="299085"/>
                  </a:lnTo>
                  <a:close/>
                  <a:moveTo>
                    <a:pt x="246698" y="322897"/>
                  </a:moveTo>
                  <a:lnTo>
                    <a:pt x="246698" y="351472"/>
                  </a:lnTo>
                  <a:lnTo>
                    <a:pt x="221933" y="365760"/>
                  </a:lnTo>
                  <a:lnTo>
                    <a:pt x="197167" y="351472"/>
                  </a:lnTo>
                  <a:lnTo>
                    <a:pt x="197167" y="322897"/>
                  </a:lnTo>
                  <a:lnTo>
                    <a:pt x="221933" y="308610"/>
                  </a:lnTo>
                  <a:lnTo>
                    <a:pt x="246698" y="322897"/>
                  </a:lnTo>
                  <a:close/>
                  <a:moveTo>
                    <a:pt x="281940" y="138113"/>
                  </a:moveTo>
                  <a:lnTo>
                    <a:pt x="220980" y="173355"/>
                  </a:lnTo>
                  <a:lnTo>
                    <a:pt x="160020" y="138113"/>
                  </a:lnTo>
                  <a:lnTo>
                    <a:pt x="160020" y="67627"/>
                  </a:lnTo>
                  <a:lnTo>
                    <a:pt x="220980" y="32385"/>
                  </a:lnTo>
                  <a:lnTo>
                    <a:pt x="281940" y="67627"/>
                  </a:lnTo>
                  <a:lnTo>
                    <a:pt x="281940" y="138113"/>
                  </a:lnTo>
                  <a:close/>
                  <a:moveTo>
                    <a:pt x="415290" y="299085"/>
                  </a:moveTo>
                  <a:lnTo>
                    <a:pt x="390525" y="313372"/>
                  </a:lnTo>
                  <a:lnTo>
                    <a:pt x="365760" y="299085"/>
                  </a:lnTo>
                  <a:lnTo>
                    <a:pt x="365760" y="270510"/>
                  </a:lnTo>
                  <a:lnTo>
                    <a:pt x="390525" y="256222"/>
                  </a:lnTo>
                  <a:lnTo>
                    <a:pt x="415290" y="270510"/>
                  </a:lnTo>
                  <a:lnTo>
                    <a:pt x="415290" y="299085"/>
                  </a:lnTo>
                  <a:close/>
                </a:path>
              </a:pathLst>
            </a:custGeom>
            <a:solidFill>
              <a:schemeClr val="bg2"/>
            </a:solidFill>
            <a:ln w="9525" cap="flat">
              <a:noFill/>
              <a:prstDash val="solid"/>
              <a:miter/>
            </a:ln>
          </p:spPr>
          <p:txBody>
            <a:bodyPr rtlCol="0" anchor="ctr"/>
            <a:lstStyle/>
            <a:p>
              <a:endParaRPr lang="en-US" dirty="0"/>
            </a:p>
          </p:txBody>
        </p:sp>
      </p:grpSp>
      <p:sp>
        <p:nvSpPr>
          <p:cNvPr id="13" name="Text Placeholder 81">
            <a:extLst>
              <a:ext uri="{FF2B5EF4-FFF2-40B4-BE49-F238E27FC236}">
                <a16:creationId xmlns:a16="http://schemas.microsoft.com/office/drawing/2014/main" id="{2B746CD1-61FC-173A-2741-25BA74549EF1}"/>
              </a:ext>
            </a:extLst>
          </p:cNvPr>
          <p:cNvSpPr txBox="1">
            <a:spLocks/>
          </p:cNvSpPr>
          <p:nvPr/>
        </p:nvSpPr>
        <p:spPr>
          <a:xfrm>
            <a:off x="4273875" y="1706565"/>
            <a:ext cx="1278297" cy="307777"/>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roduct Lifecycle Management </a:t>
            </a:r>
          </a:p>
        </p:txBody>
      </p:sp>
      <p:sp>
        <p:nvSpPr>
          <p:cNvPr id="327" name="Text Placeholder 81">
            <a:extLst>
              <a:ext uri="{FF2B5EF4-FFF2-40B4-BE49-F238E27FC236}">
                <a16:creationId xmlns:a16="http://schemas.microsoft.com/office/drawing/2014/main" id="{290F2BF8-CE6C-66A2-F0E5-A90DC70BE83C}"/>
              </a:ext>
            </a:extLst>
          </p:cNvPr>
          <p:cNvSpPr txBox="1">
            <a:spLocks/>
          </p:cNvSpPr>
          <p:nvPr/>
        </p:nvSpPr>
        <p:spPr>
          <a:xfrm>
            <a:off x="8071996" y="1783509"/>
            <a:ext cx="1008097" cy="153888"/>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ervice</a:t>
            </a:r>
          </a:p>
        </p:txBody>
      </p:sp>
      <p:grpSp>
        <p:nvGrpSpPr>
          <p:cNvPr id="329" name="Graphic 367">
            <a:extLst>
              <a:ext uri="{FF2B5EF4-FFF2-40B4-BE49-F238E27FC236}">
                <a16:creationId xmlns:a16="http://schemas.microsoft.com/office/drawing/2014/main" id="{5AAA4CAC-6D15-A1C7-B68C-E7A27A4DB2CC}"/>
              </a:ext>
            </a:extLst>
          </p:cNvPr>
          <p:cNvGrpSpPr/>
          <p:nvPr/>
        </p:nvGrpSpPr>
        <p:grpSpPr>
          <a:xfrm>
            <a:off x="8295057" y="2029325"/>
            <a:ext cx="561975" cy="609600"/>
            <a:chOff x="9950711" y="2276972"/>
            <a:chExt cx="561975" cy="609600"/>
          </a:xfrm>
        </p:grpSpPr>
        <p:sp>
          <p:nvSpPr>
            <p:cNvPr id="331" name="Freeform: Shape 330">
              <a:extLst>
                <a:ext uri="{FF2B5EF4-FFF2-40B4-BE49-F238E27FC236}">
                  <a16:creationId xmlns:a16="http://schemas.microsoft.com/office/drawing/2014/main" id="{E92E554C-AC19-76B5-74B2-7EC94A6A991B}"/>
                </a:ext>
              </a:extLst>
            </p:cNvPr>
            <p:cNvSpPr/>
            <p:nvPr/>
          </p:nvSpPr>
          <p:spPr>
            <a:xfrm>
              <a:off x="9950711" y="2276972"/>
              <a:ext cx="561975" cy="609600"/>
            </a:xfrm>
            <a:custGeom>
              <a:avLst/>
              <a:gdLst>
                <a:gd name="connsiteX0" fmla="*/ 518160 w 561975"/>
                <a:gd name="connsiteY0" fmla="*/ 360045 h 609600"/>
                <a:gd name="connsiteX1" fmla="*/ 518160 w 561975"/>
                <a:gd name="connsiteY1" fmla="*/ 249555 h 609600"/>
                <a:gd name="connsiteX2" fmla="*/ 561975 w 561975"/>
                <a:gd name="connsiteY2" fmla="*/ 182880 h 609600"/>
                <a:gd name="connsiteX3" fmla="*/ 526733 w 561975"/>
                <a:gd name="connsiteY3" fmla="*/ 120968 h 609600"/>
                <a:gd name="connsiteX4" fmla="*/ 447675 w 561975"/>
                <a:gd name="connsiteY4" fmla="*/ 125730 h 609600"/>
                <a:gd name="connsiteX5" fmla="*/ 402908 w 561975"/>
                <a:gd name="connsiteY5" fmla="*/ 92393 h 609600"/>
                <a:gd name="connsiteX6" fmla="*/ 351473 w 561975"/>
                <a:gd name="connsiteY6" fmla="*/ 70485 h 609600"/>
                <a:gd name="connsiteX7" fmla="*/ 316230 w 561975"/>
                <a:gd name="connsiteY7" fmla="*/ 0 h 609600"/>
                <a:gd name="connsiteX8" fmla="*/ 244793 w 561975"/>
                <a:gd name="connsiteY8" fmla="*/ 0 h 609600"/>
                <a:gd name="connsiteX9" fmla="*/ 209550 w 561975"/>
                <a:gd name="connsiteY9" fmla="*/ 71438 h 609600"/>
                <a:gd name="connsiteX10" fmla="*/ 114300 w 561975"/>
                <a:gd name="connsiteY10" fmla="*/ 126683 h 609600"/>
                <a:gd name="connsiteX11" fmla="*/ 35243 w 561975"/>
                <a:gd name="connsiteY11" fmla="*/ 121920 h 609600"/>
                <a:gd name="connsiteX12" fmla="*/ 0 w 561975"/>
                <a:gd name="connsiteY12" fmla="*/ 183833 h 609600"/>
                <a:gd name="connsiteX13" fmla="*/ 43815 w 561975"/>
                <a:gd name="connsiteY13" fmla="*/ 250508 h 609600"/>
                <a:gd name="connsiteX14" fmla="*/ 43815 w 561975"/>
                <a:gd name="connsiteY14" fmla="*/ 360045 h 609600"/>
                <a:gd name="connsiteX15" fmla="*/ 0 w 561975"/>
                <a:gd name="connsiteY15" fmla="*/ 426720 h 609600"/>
                <a:gd name="connsiteX16" fmla="*/ 35243 w 561975"/>
                <a:gd name="connsiteY16" fmla="*/ 488633 h 609600"/>
                <a:gd name="connsiteX17" fmla="*/ 94298 w 561975"/>
                <a:gd name="connsiteY17" fmla="*/ 484823 h 609600"/>
                <a:gd name="connsiteX18" fmla="*/ 114300 w 561975"/>
                <a:gd name="connsiteY18" fmla="*/ 455295 h 609600"/>
                <a:gd name="connsiteX19" fmla="*/ 112395 w 561975"/>
                <a:gd name="connsiteY19" fmla="*/ 455295 h 609600"/>
                <a:gd name="connsiteX20" fmla="*/ 50483 w 561975"/>
                <a:gd name="connsiteY20" fmla="*/ 459105 h 609600"/>
                <a:gd name="connsiteX21" fmla="*/ 32385 w 561975"/>
                <a:gd name="connsiteY21" fmla="*/ 428625 h 609600"/>
                <a:gd name="connsiteX22" fmla="*/ 73343 w 561975"/>
                <a:gd name="connsiteY22" fmla="*/ 366713 h 609600"/>
                <a:gd name="connsiteX23" fmla="*/ 71438 w 561975"/>
                <a:gd name="connsiteY23" fmla="*/ 353378 h 609600"/>
                <a:gd name="connsiteX24" fmla="*/ 71438 w 561975"/>
                <a:gd name="connsiteY24" fmla="*/ 256223 h 609600"/>
                <a:gd name="connsiteX25" fmla="*/ 74295 w 561975"/>
                <a:gd name="connsiteY25" fmla="*/ 243840 h 609600"/>
                <a:gd name="connsiteX26" fmla="*/ 67628 w 561975"/>
                <a:gd name="connsiteY26" fmla="*/ 233363 h 609600"/>
                <a:gd name="connsiteX27" fmla="*/ 33338 w 561975"/>
                <a:gd name="connsiteY27" fmla="*/ 181928 h 609600"/>
                <a:gd name="connsiteX28" fmla="*/ 51435 w 561975"/>
                <a:gd name="connsiteY28" fmla="*/ 151448 h 609600"/>
                <a:gd name="connsiteX29" fmla="*/ 113348 w 561975"/>
                <a:gd name="connsiteY29" fmla="*/ 155258 h 609600"/>
                <a:gd name="connsiteX30" fmla="*/ 125730 w 561975"/>
                <a:gd name="connsiteY30" fmla="*/ 156210 h 609600"/>
                <a:gd name="connsiteX31" fmla="*/ 134303 w 561975"/>
                <a:gd name="connsiteY31" fmla="*/ 147638 h 609600"/>
                <a:gd name="connsiteX32" fmla="*/ 219075 w 561975"/>
                <a:gd name="connsiteY32" fmla="*/ 99060 h 609600"/>
                <a:gd name="connsiteX33" fmla="*/ 230505 w 561975"/>
                <a:gd name="connsiteY33" fmla="*/ 95250 h 609600"/>
                <a:gd name="connsiteX34" fmla="*/ 236220 w 561975"/>
                <a:gd name="connsiteY34" fmla="*/ 83820 h 609600"/>
                <a:gd name="connsiteX35" fmla="*/ 262890 w 561975"/>
                <a:gd name="connsiteY35" fmla="*/ 28575 h 609600"/>
                <a:gd name="connsiteX36" fmla="*/ 298133 w 561975"/>
                <a:gd name="connsiteY36" fmla="*/ 28575 h 609600"/>
                <a:gd name="connsiteX37" fmla="*/ 325755 w 561975"/>
                <a:gd name="connsiteY37" fmla="*/ 83820 h 609600"/>
                <a:gd name="connsiteX38" fmla="*/ 331470 w 561975"/>
                <a:gd name="connsiteY38" fmla="*/ 95250 h 609600"/>
                <a:gd name="connsiteX39" fmla="*/ 342900 w 561975"/>
                <a:gd name="connsiteY39" fmla="*/ 99060 h 609600"/>
                <a:gd name="connsiteX40" fmla="*/ 387668 w 561975"/>
                <a:gd name="connsiteY40" fmla="*/ 119063 h 609600"/>
                <a:gd name="connsiteX41" fmla="*/ 426720 w 561975"/>
                <a:gd name="connsiteY41" fmla="*/ 148590 h 609600"/>
                <a:gd name="connsiteX42" fmla="*/ 435293 w 561975"/>
                <a:gd name="connsiteY42" fmla="*/ 157163 h 609600"/>
                <a:gd name="connsiteX43" fmla="*/ 447675 w 561975"/>
                <a:gd name="connsiteY43" fmla="*/ 156210 h 609600"/>
                <a:gd name="connsiteX44" fmla="*/ 509588 w 561975"/>
                <a:gd name="connsiteY44" fmla="*/ 152400 h 609600"/>
                <a:gd name="connsiteX45" fmla="*/ 527685 w 561975"/>
                <a:gd name="connsiteY45" fmla="*/ 182880 h 609600"/>
                <a:gd name="connsiteX46" fmla="*/ 493395 w 561975"/>
                <a:gd name="connsiteY46" fmla="*/ 234315 h 609600"/>
                <a:gd name="connsiteX47" fmla="*/ 486728 w 561975"/>
                <a:gd name="connsiteY47" fmla="*/ 244793 h 609600"/>
                <a:gd name="connsiteX48" fmla="*/ 489585 w 561975"/>
                <a:gd name="connsiteY48" fmla="*/ 257175 h 609600"/>
                <a:gd name="connsiteX49" fmla="*/ 489585 w 561975"/>
                <a:gd name="connsiteY49" fmla="*/ 354330 h 609600"/>
                <a:gd name="connsiteX50" fmla="*/ 486728 w 561975"/>
                <a:gd name="connsiteY50" fmla="*/ 366713 h 609600"/>
                <a:gd name="connsiteX51" fmla="*/ 493395 w 561975"/>
                <a:gd name="connsiteY51" fmla="*/ 377190 h 609600"/>
                <a:gd name="connsiteX52" fmla="*/ 527685 w 561975"/>
                <a:gd name="connsiteY52" fmla="*/ 428625 h 609600"/>
                <a:gd name="connsiteX53" fmla="*/ 509588 w 561975"/>
                <a:gd name="connsiteY53" fmla="*/ 459105 h 609600"/>
                <a:gd name="connsiteX54" fmla="*/ 447675 w 561975"/>
                <a:gd name="connsiteY54" fmla="*/ 455295 h 609600"/>
                <a:gd name="connsiteX55" fmla="*/ 435293 w 561975"/>
                <a:gd name="connsiteY55" fmla="*/ 454343 h 609600"/>
                <a:gd name="connsiteX56" fmla="*/ 426720 w 561975"/>
                <a:gd name="connsiteY56" fmla="*/ 462915 h 609600"/>
                <a:gd name="connsiteX57" fmla="*/ 341948 w 561975"/>
                <a:gd name="connsiteY57" fmla="*/ 511493 h 609600"/>
                <a:gd name="connsiteX58" fmla="*/ 331470 w 561975"/>
                <a:gd name="connsiteY58" fmla="*/ 514350 h 609600"/>
                <a:gd name="connsiteX59" fmla="*/ 298133 w 561975"/>
                <a:gd name="connsiteY59" fmla="*/ 581025 h 609600"/>
                <a:gd name="connsiteX60" fmla="*/ 262890 w 561975"/>
                <a:gd name="connsiteY60" fmla="*/ 581025 h 609600"/>
                <a:gd name="connsiteX61" fmla="*/ 226695 w 561975"/>
                <a:gd name="connsiteY61" fmla="*/ 513398 h 609600"/>
                <a:gd name="connsiteX62" fmla="*/ 209550 w 561975"/>
                <a:gd name="connsiteY62" fmla="*/ 539115 h 609600"/>
                <a:gd name="connsiteX63" fmla="*/ 244793 w 561975"/>
                <a:gd name="connsiteY63" fmla="*/ 609600 h 609600"/>
                <a:gd name="connsiteX64" fmla="*/ 316230 w 561975"/>
                <a:gd name="connsiteY64" fmla="*/ 609600 h 609600"/>
                <a:gd name="connsiteX65" fmla="*/ 351473 w 561975"/>
                <a:gd name="connsiteY65" fmla="*/ 538163 h 609600"/>
                <a:gd name="connsiteX66" fmla="*/ 446723 w 561975"/>
                <a:gd name="connsiteY66" fmla="*/ 482918 h 609600"/>
                <a:gd name="connsiteX67" fmla="*/ 525780 w 561975"/>
                <a:gd name="connsiteY67" fmla="*/ 487680 h 609600"/>
                <a:gd name="connsiteX68" fmla="*/ 561023 w 561975"/>
                <a:gd name="connsiteY68" fmla="*/ 425768 h 609600"/>
                <a:gd name="connsiteX69" fmla="*/ 518160 w 561975"/>
                <a:gd name="connsiteY69" fmla="*/ 360045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61975" h="609600">
                  <a:moveTo>
                    <a:pt x="518160" y="360045"/>
                  </a:moveTo>
                  <a:cubicBezTo>
                    <a:pt x="526733" y="323850"/>
                    <a:pt x="526733" y="285750"/>
                    <a:pt x="518160" y="249555"/>
                  </a:cubicBezTo>
                  <a:lnTo>
                    <a:pt x="561975" y="182880"/>
                  </a:lnTo>
                  <a:lnTo>
                    <a:pt x="526733" y="120968"/>
                  </a:lnTo>
                  <a:lnTo>
                    <a:pt x="447675" y="125730"/>
                  </a:lnTo>
                  <a:cubicBezTo>
                    <a:pt x="434340" y="113348"/>
                    <a:pt x="419100" y="101918"/>
                    <a:pt x="402908" y="92393"/>
                  </a:cubicBezTo>
                  <a:cubicBezTo>
                    <a:pt x="386715" y="82868"/>
                    <a:pt x="369570" y="75248"/>
                    <a:pt x="351473" y="70485"/>
                  </a:cubicBezTo>
                  <a:lnTo>
                    <a:pt x="316230" y="0"/>
                  </a:lnTo>
                  <a:lnTo>
                    <a:pt x="244793" y="0"/>
                  </a:lnTo>
                  <a:lnTo>
                    <a:pt x="209550" y="71438"/>
                  </a:lnTo>
                  <a:cubicBezTo>
                    <a:pt x="173355" y="81915"/>
                    <a:pt x="140970" y="100965"/>
                    <a:pt x="114300" y="126683"/>
                  </a:cubicBezTo>
                  <a:lnTo>
                    <a:pt x="35243" y="121920"/>
                  </a:lnTo>
                  <a:lnTo>
                    <a:pt x="0" y="183833"/>
                  </a:lnTo>
                  <a:lnTo>
                    <a:pt x="43815" y="250508"/>
                  </a:lnTo>
                  <a:cubicBezTo>
                    <a:pt x="35243" y="285750"/>
                    <a:pt x="35243" y="323850"/>
                    <a:pt x="43815" y="360045"/>
                  </a:cubicBezTo>
                  <a:lnTo>
                    <a:pt x="0" y="426720"/>
                  </a:lnTo>
                  <a:lnTo>
                    <a:pt x="35243" y="488633"/>
                  </a:lnTo>
                  <a:lnTo>
                    <a:pt x="94298" y="484823"/>
                  </a:lnTo>
                  <a:lnTo>
                    <a:pt x="114300" y="455295"/>
                  </a:lnTo>
                  <a:lnTo>
                    <a:pt x="112395" y="455295"/>
                  </a:lnTo>
                  <a:lnTo>
                    <a:pt x="50483" y="459105"/>
                  </a:lnTo>
                  <a:lnTo>
                    <a:pt x="32385" y="428625"/>
                  </a:lnTo>
                  <a:lnTo>
                    <a:pt x="73343" y="366713"/>
                  </a:lnTo>
                  <a:lnTo>
                    <a:pt x="71438" y="353378"/>
                  </a:lnTo>
                  <a:cubicBezTo>
                    <a:pt x="63818" y="320993"/>
                    <a:pt x="63818" y="287655"/>
                    <a:pt x="71438" y="256223"/>
                  </a:cubicBezTo>
                  <a:lnTo>
                    <a:pt x="74295" y="243840"/>
                  </a:lnTo>
                  <a:lnTo>
                    <a:pt x="67628" y="233363"/>
                  </a:lnTo>
                  <a:lnTo>
                    <a:pt x="33338" y="181928"/>
                  </a:lnTo>
                  <a:lnTo>
                    <a:pt x="51435" y="151448"/>
                  </a:lnTo>
                  <a:lnTo>
                    <a:pt x="113348" y="155258"/>
                  </a:lnTo>
                  <a:lnTo>
                    <a:pt x="125730" y="156210"/>
                  </a:lnTo>
                  <a:lnTo>
                    <a:pt x="134303" y="147638"/>
                  </a:lnTo>
                  <a:cubicBezTo>
                    <a:pt x="158115" y="125730"/>
                    <a:pt x="187643" y="108585"/>
                    <a:pt x="219075" y="99060"/>
                  </a:cubicBezTo>
                  <a:lnTo>
                    <a:pt x="230505" y="95250"/>
                  </a:lnTo>
                  <a:lnTo>
                    <a:pt x="236220" y="83820"/>
                  </a:lnTo>
                  <a:lnTo>
                    <a:pt x="262890" y="28575"/>
                  </a:lnTo>
                  <a:lnTo>
                    <a:pt x="298133" y="28575"/>
                  </a:lnTo>
                  <a:lnTo>
                    <a:pt x="325755" y="83820"/>
                  </a:lnTo>
                  <a:lnTo>
                    <a:pt x="331470" y="95250"/>
                  </a:lnTo>
                  <a:lnTo>
                    <a:pt x="342900" y="99060"/>
                  </a:lnTo>
                  <a:cubicBezTo>
                    <a:pt x="358140" y="103823"/>
                    <a:pt x="373380" y="110490"/>
                    <a:pt x="387668" y="119063"/>
                  </a:cubicBezTo>
                  <a:cubicBezTo>
                    <a:pt x="401955" y="127635"/>
                    <a:pt x="415290" y="137160"/>
                    <a:pt x="426720" y="148590"/>
                  </a:cubicBezTo>
                  <a:lnTo>
                    <a:pt x="435293" y="157163"/>
                  </a:lnTo>
                  <a:lnTo>
                    <a:pt x="447675" y="156210"/>
                  </a:lnTo>
                  <a:lnTo>
                    <a:pt x="509588" y="152400"/>
                  </a:lnTo>
                  <a:lnTo>
                    <a:pt x="527685" y="182880"/>
                  </a:lnTo>
                  <a:lnTo>
                    <a:pt x="493395" y="234315"/>
                  </a:lnTo>
                  <a:lnTo>
                    <a:pt x="486728" y="244793"/>
                  </a:lnTo>
                  <a:lnTo>
                    <a:pt x="489585" y="257175"/>
                  </a:lnTo>
                  <a:cubicBezTo>
                    <a:pt x="497205" y="289560"/>
                    <a:pt x="497205" y="322898"/>
                    <a:pt x="489585" y="354330"/>
                  </a:cubicBezTo>
                  <a:lnTo>
                    <a:pt x="486728" y="366713"/>
                  </a:lnTo>
                  <a:lnTo>
                    <a:pt x="493395" y="377190"/>
                  </a:lnTo>
                  <a:lnTo>
                    <a:pt x="527685" y="428625"/>
                  </a:lnTo>
                  <a:lnTo>
                    <a:pt x="509588" y="459105"/>
                  </a:lnTo>
                  <a:lnTo>
                    <a:pt x="447675" y="455295"/>
                  </a:lnTo>
                  <a:lnTo>
                    <a:pt x="435293" y="454343"/>
                  </a:lnTo>
                  <a:lnTo>
                    <a:pt x="426720" y="462915"/>
                  </a:lnTo>
                  <a:cubicBezTo>
                    <a:pt x="402908" y="484823"/>
                    <a:pt x="373380" y="501968"/>
                    <a:pt x="341948" y="511493"/>
                  </a:cubicBezTo>
                  <a:lnTo>
                    <a:pt x="331470" y="514350"/>
                  </a:lnTo>
                  <a:lnTo>
                    <a:pt x="298133" y="581025"/>
                  </a:lnTo>
                  <a:lnTo>
                    <a:pt x="262890" y="581025"/>
                  </a:lnTo>
                  <a:lnTo>
                    <a:pt x="226695" y="513398"/>
                  </a:lnTo>
                  <a:lnTo>
                    <a:pt x="209550" y="539115"/>
                  </a:lnTo>
                  <a:lnTo>
                    <a:pt x="244793" y="609600"/>
                  </a:lnTo>
                  <a:lnTo>
                    <a:pt x="316230" y="609600"/>
                  </a:lnTo>
                  <a:lnTo>
                    <a:pt x="351473" y="538163"/>
                  </a:lnTo>
                  <a:cubicBezTo>
                    <a:pt x="387668" y="527685"/>
                    <a:pt x="420053" y="508635"/>
                    <a:pt x="446723" y="482918"/>
                  </a:cubicBezTo>
                  <a:lnTo>
                    <a:pt x="525780" y="487680"/>
                  </a:lnTo>
                  <a:lnTo>
                    <a:pt x="561023" y="425768"/>
                  </a:lnTo>
                  <a:lnTo>
                    <a:pt x="518160" y="360045"/>
                  </a:lnTo>
                  <a:close/>
                </a:path>
              </a:pathLst>
            </a:custGeom>
            <a:solidFill>
              <a:srgbClr val="3D4647"/>
            </a:solidFill>
            <a:ln w="9525" cap="flat">
              <a:noFill/>
              <a:prstDash val="solid"/>
              <a:miter/>
            </a:ln>
          </p:spPr>
          <p:txBody>
            <a:bodyPr rtlCol="0" anchor="ctr"/>
            <a:lstStyle/>
            <a:p>
              <a:endParaRPr lang="en-US" dirty="0"/>
            </a:p>
          </p:txBody>
        </p:sp>
        <p:sp>
          <p:nvSpPr>
            <p:cNvPr id="333" name="Freeform: Shape 332">
              <a:extLst>
                <a:ext uri="{FF2B5EF4-FFF2-40B4-BE49-F238E27FC236}">
                  <a16:creationId xmlns:a16="http://schemas.microsoft.com/office/drawing/2014/main" id="{BA5F7365-A36E-1970-08F5-57E400E2ABE5}"/>
                </a:ext>
              </a:extLst>
            </p:cNvPr>
            <p:cNvSpPr/>
            <p:nvPr/>
          </p:nvSpPr>
          <p:spPr>
            <a:xfrm>
              <a:off x="10064552" y="2414131"/>
              <a:ext cx="334224" cy="335279"/>
            </a:xfrm>
            <a:custGeom>
              <a:avLst/>
              <a:gdLst>
                <a:gd name="connsiteX0" fmla="*/ 167147 w 334224"/>
                <a:gd name="connsiteY0" fmla="*/ 306705 h 335279"/>
                <a:gd name="connsiteX1" fmla="*/ 160479 w 334224"/>
                <a:gd name="connsiteY1" fmla="*/ 306705 h 335279"/>
                <a:gd name="connsiteX2" fmla="*/ 142382 w 334224"/>
                <a:gd name="connsiteY2" fmla="*/ 333375 h 335279"/>
                <a:gd name="connsiteX3" fmla="*/ 167147 w 334224"/>
                <a:gd name="connsiteY3" fmla="*/ 335280 h 335279"/>
                <a:gd name="connsiteX4" fmla="*/ 311927 w 334224"/>
                <a:gd name="connsiteY4" fmla="*/ 251460 h 335279"/>
                <a:gd name="connsiteX5" fmla="*/ 250967 w 334224"/>
                <a:gd name="connsiteY5" fmla="*/ 22860 h 335279"/>
                <a:gd name="connsiteX6" fmla="*/ 167147 w 334224"/>
                <a:gd name="connsiteY6" fmla="*/ 0 h 335279"/>
                <a:gd name="connsiteX7" fmla="*/ 22367 w 334224"/>
                <a:gd name="connsiteY7" fmla="*/ 83820 h 335279"/>
                <a:gd name="connsiteX8" fmla="*/ 6174 w 334224"/>
                <a:gd name="connsiteY8" fmla="*/ 210503 h 335279"/>
                <a:gd name="connsiteX9" fmla="*/ 33797 w 334224"/>
                <a:gd name="connsiteY9" fmla="*/ 267653 h 335279"/>
                <a:gd name="connsiteX10" fmla="*/ 50942 w 334224"/>
                <a:gd name="connsiteY10" fmla="*/ 241935 h 335279"/>
                <a:gd name="connsiteX11" fmla="*/ 48084 w 334224"/>
                <a:gd name="connsiteY11" fmla="*/ 98108 h 335279"/>
                <a:gd name="connsiteX12" fmla="*/ 167147 w 334224"/>
                <a:gd name="connsiteY12" fmla="*/ 28575 h 335279"/>
                <a:gd name="connsiteX13" fmla="*/ 236679 w 334224"/>
                <a:gd name="connsiteY13" fmla="*/ 47625 h 335279"/>
                <a:gd name="connsiteX14" fmla="*/ 287162 w 334224"/>
                <a:gd name="connsiteY14" fmla="*/ 237173 h 335279"/>
                <a:gd name="connsiteX15" fmla="*/ 167147 w 334224"/>
                <a:gd name="connsiteY15" fmla="*/ 306705 h 335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4224" h="335279">
                  <a:moveTo>
                    <a:pt x="167147" y="306705"/>
                  </a:moveTo>
                  <a:cubicBezTo>
                    <a:pt x="165242" y="306705"/>
                    <a:pt x="162384" y="306705"/>
                    <a:pt x="160479" y="306705"/>
                  </a:cubicBezTo>
                  <a:lnTo>
                    <a:pt x="142382" y="333375"/>
                  </a:lnTo>
                  <a:cubicBezTo>
                    <a:pt x="150954" y="334328"/>
                    <a:pt x="158574" y="335280"/>
                    <a:pt x="167147" y="335280"/>
                  </a:cubicBezTo>
                  <a:cubicBezTo>
                    <a:pt x="227154" y="335280"/>
                    <a:pt x="282399" y="302895"/>
                    <a:pt x="311927" y="251460"/>
                  </a:cubicBezTo>
                  <a:cubicBezTo>
                    <a:pt x="357647" y="171450"/>
                    <a:pt x="330977" y="68580"/>
                    <a:pt x="250967" y="22860"/>
                  </a:cubicBezTo>
                  <a:cubicBezTo>
                    <a:pt x="225249" y="8573"/>
                    <a:pt x="196674" y="0"/>
                    <a:pt x="167147" y="0"/>
                  </a:cubicBezTo>
                  <a:cubicBezTo>
                    <a:pt x="107139" y="0"/>
                    <a:pt x="51894" y="32385"/>
                    <a:pt x="22367" y="83820"/>
                  </a:cubicBezTo>
                  <a:cubicBezTo>
                    <a:pt x="459" y="122873"/>
                    <a:pt x="-6208" y="167640"/>
                    <a:pt x="6174" y="210503"/>
                  </a:cubicBezTo>
                  <a:cubicBezTo>
                    <a:pt x="11889" y="231458"/>
                    <a:pt x="21414" y="250508"/>
                    <a:pt x="33797" y="267653"/>
                  </a:cubicBezTo>
                  <a:lnTo>
                    <a:pt x="50942" y="241935"/>
                  </a:lnTo>
                  <a:cubicBezTo>
                    <a:pt x="24272" y="200025"/>
                    <a:pt x="21414" y="143828"/>
                    <a:pt x="48084" y="98108"/>
                  </a:cubicBezTo>
                  <a:cubicBezTo>
                    <a:pt x="72849" y="53340"/>
                    <a:pt x="119522" y="28575"/>
                    <a:pt x="167147" y="28575"/>
                  </a:cubicBezTo>
                  <a:cubicBezTo>
                    <a:pt x="190959" y="28575"/>
                    <a:pt x="214772" y="34290"/>
                    <a:pt x="236679" y="47625"/>
                  </a:cubicBezTo>
                  <a:cubicBezTo>
                    <a:pt x="303354" y="85725"/>
                    <a:pt x="326214" y="171450"/>
                    <a:pt x="287162" y="237173"/>
                  </a:cubicBezTo>
                  <a:cubicBezTo>
                    <a:pt x="261444" y="281940"/>
                    <a:pt x="214772" y="306705"/>
                    <a:pt x="167147" y="306705"/>
                  </a:cubicBezTo>
                  <a:close/>
                </a:path>
              </a:pathLst>
            </a:custGeom>
            <a:solidFill>
              <a:srgbClr val="3D4647"/>
            </a:solidFill>
            <a:ln w="9525" cap="flat">
              <a:noFill/>
              <a:prstDash val="solid"/>
              <a:miter/>
            </a:ln>
          </p:spPr>
          <p:txBody>
            <a:bodyPr rtlCol="0" anchor="ctr"/>
            <a:lstStyle/>
            <a:p>
              <a:endParaRPr lang="en-US" dirty="0"/>
            </a:p>
          </p:txBody>
        </p:sp>
        <p:sp>
          <p:nvSpPr>
            <p:cNvPr id="334" name="Freeform: Shape 333">
              <a:extLst>
                <a:ext uri="{FF2B5EF4-FFF2-40B4-BE49-F238E27FC236}">
                  <a16:creationId xmlns:a16="http://schemas.microsoft.com/office/drawing/2014/main" id="{34D62C03-C87C-C890-B2F8-51B4BC65E273}"/>
                </a:ext>
              </a:extLst>
            </p:cNvPr>
            <p:cNvSpPr/>
            <p:nvPr/>
          </p:nvSpPr>
          <p:spPr>
            <a:xfrm>
              <a:off x="10056293" y="2507477"/>
              <a:ext cx="262384" cy="336232"/>
            </a:xfrm>
            <a:custGeom>
              <a:avLst/>
              <a:gdLst>
                <a:gd name="connsiteX0" fmla="*/ 155403 w 262384"/>
                <a:gd name="connsiteY0" fmla="*/ 180975 h 336232"/>
                <a:gd name="connsiteX1" fmla="*/ 183978 w 262384"/>
                <a:gd name="connsiteY1" fmla="*/ 160972 h 336232"/>
                <a:gd name="connsiteX2" fmla="*/ 248748 w 262384"/>
                <a:gd name="connsiteY2" fmla="*/ 124777 h 336232"/>
                <a:gd name="connsiteX3" fmla="*/ 258273 w 262384"/>
                <a:gd name="connsiteY3" fmla="*/ 54292 h 336232"/>
                <a:gd name="connsiteX4" fmla="*/ 226840 w 262384"/>
                <a:gd name="connsiteY4" fmla="*/ 101918 h 336232"/>
                <a:gd name="connsiteX5" fmla="*/ 169690 w 262384"/>
                <a:gd name="connsiteY5" fmla="*/ 98107 h 336232"/>
                <a:gd name="connsiteX6" fmla="*/ 143973 w 262384"/>
                <a:gd name="connsiteY6" fmla="*/ 46672 h 336232"/>
                <a:gd name="connsiteX7" fmla="*/ 175405 w 262384"/>
                <a:gd name="connsiteY7" fmla="*/ 0 h 336232"/>
                <a:gd name="connsiteX8" fmla="*/ 114445 w 262384"/>
                <a:gd name="connsiteY8" fmla="*/ 35242 h 336232"/>
                <a:gd name="connsiteX9" fmla="*/ 104920 w 262384"/>
                <a:gd name="connsiteY9" fmla="*/ 105727 h 336232"/>
                <a:gd name="connsiteX10" fmla="*/ 98253 w 262384"/>
                <a:gd name="connsiteY10" fmla="*/ 142875 h 336232"/>
                <a:gd name="connsiteX11" fmla="*/ 5860 w 262384"/>
                <a:gd name="connsiteY11" fmla="*/ 281940 h 336232"/>
                <a:gd name="connsiteX12" fmla="*/ 15385 w 262384"/>
                <a:gd name="connsiteY12" fmla="*/ 330518 h 336232"/>
                <a:gd name="connsiteX13" fmla="*/ 34435 w 262384"/>
                <a:gd name="connsiteY13" fmla="*/ 336233 h 336232"/>
                <a:gd name="connsiteX14" fmla="*/ 63963 w 262384"/>
                <a:gd name="connsiteY14" fmla="*/ 320993 h 336232"/>
                <a:gd name="connsiteX15" fmla="*/ 155403 w 262384"/>
                <a:gd name="connsiteY15" fmla="*/ 180975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2384" h="336232">
                  <a:moveTo>
                    <a:pt x="155403" y="180975"/>
                  </a:moveTo>
                  <a:cubicBezTo>
                    <a:pt x="163975" y="166688"/>
                    <a:pt x="179215" y="160972"/>
                    <a:pt x="183978" y="160972"/>
                  </a:cubicBezTo>
                  <a:cubicBezTo>
                    <a:pt x="208743" y="160020"/>
                    <a:pt x="233508" y="147638"/>
                    <a:pt x="248748" y="124777"/>
                  </a:cubicBezTo>
                  <a:cubicBezTo>
                    <a:pt x="263035" y="102870"/>
                    <a:pt x="265893" y="77152"/>
                    <a:pt x="258273" y="54292"/>
                  </a:cubicBezTo>
                  <a:lnTo>
                    <a:pt x="226840" y="101918"/>
                  </a:lnTo>
                  <a:lnTo>
                    <a:pt x="169690" y="98107"/>
                  </a:lnTo>
                  <a:lnTo>
                    <a:pt x="143973" y="46672"/>
                  </a:lnTo>
                  <a:lnTo>
                    <a:pt x="175405" y="0"/>
                  </a:lnTo>
                  <a:cubicBezTo>
                    <a:pt x="151593" y="1905"/>
                    <a:pt x="128733" y="14288"/>
                    <a:pt x="114445" y="35242"/>
                  </a:cubicBezTo>
                  <a:cubicBezTo>
                    <a:pt x="100158" y="57150"/>
                    <a:pt x="97300" y="82868"/>
                    <a:pt x="104920" y="105727"/>
                  </a:cubicBezTo>
                  <a:cubicBezTo>
                    <a:pt x="106825" y="111443"/>
                    <a:pt x="110635" y="123825"/>
                    <a:pt x="98253" y="142875"/>
                  </a:cubicBezTo>
                  <a:cubicBezTo>
                    <a:pt x="98253" y="142875"/>
                    <a:pt x="5860" y="280988"/>
                    <a:pt x="5860" y="281940"/>
                  </a:cubicBezTo>
                  <a:cubicBezTo>
                    <a:pt x="-4617" y="298133"/>
                    <a:pt x="-807" y="320040"/>
                    <a:pt x="15385" y="330518"/>
                  </a:cubicBezTo>
                  <a:cubicBezTo>
                    <a:pt x="21100" y="334328"/>
                    <a:pt x="27768" y="336233"/>
                    <a:pt x="34435" y="336233"/>
                  </a:cubicBezTo>
                  <a:cubicBezTo>
                    <a:pt x="45865" y="336233"/>
                    <a:pt x="57295" y="330518"/>
                    <a:pt x="63963" y="320993"/>
                  </a:cubicBezTo>
                  <a:cubicBezTo>
                    <a:pt x="63010" y="319088"/>
                    <a:pt x="155403" y="180975"/>
                    <a:pt x="155403" y="180975"/>
                  </a:cubicBezTo>
                  <a:close/>
                </a:path>
              </a:pathLst>
            </a:custGeom>
            <a:solidFill>
              <a:schemeClr val="bg2"/>
            </a:solidFill>
            <a:ln w="952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AF82E61-F0FE-FAC8-DA88-74551CE6DCC4}"/>
              </a:ext>
            </a:extLst>
          </p:cNvPr>
          <p:cNvSpPr>
            <a:spLocks noGrp="1"/>
          </p:cNvSpPr>
          <p:nvPr>
            <p:ph type="title"/>
          </p:nvPr>
        </p:nvSpPr>
        <p:spPr>
          <a:xfrm>
            <a:off x="490760" y="547539"/>
            <a:ext cx="10789920" cy="369332"/>
          </a:xfrm>
        </p:spPr>
        <p:txBody>
          <a:bodyPr/>
          <a:lstStyle/>
          <a:p>
            <a:r>
              <a:rPr lang="en-US" dirty="0"/>
              <a:t>PTC ICONS</a:t>
            </a:r>
          </a:p>
        </p:txBody>
      </p:sp>
      <p:sp>
        <p:nvSpPr>
          <p:cNvPr id="6" name="Rectangle 5">
            <a:extLst>
              <a:ext uri="{FF2B5EF4-FFF2-40B4-BE49-F238E27FC236}">
                <a16:creationId xmlns:a16="http://schemas.microsoft.com/office/drawing/2014/main" id="{61352D9B-1C72-E8FA-9892-C476E62861EC}"/>
              </a:ext>
            </a:extLst>
          </p:cNvPr>
          <p:cNvSpPr/>
          <p:nvPr/>
        </p:nvSpPr>
        <p:spPr>
          <a:xfrm>
            <a:off x="502478" y="1189579"/>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Core Segments</a:t>
            </a:r>
          </a:p>
        </p:txBody>
      </p:sp>
      <p:sp>
        <p:nvSpPr>
          <p:cNvPr id="7" name="Rectangle 6">
            <a:extLst>
              <a:ext uri="{FF2B5EF4-FFF2-40B4-BE49-F238E27FC236}">
                <a16:creationId xmlns:a16="http://schemas.microsoft.com/office/drawing/2014/main" id="{B07F7D14-D291-E8E1-EAD8-EED6B183E1E3}"/>
              </a:ext>
            </a:extLst>
          </p:cNvPr>
          <p:cNvSpPr/>
          <p:nvPr/>
        </p:nvSpPr>
        <p:spPr>
          <a:xfrm>
            <a:off x="500699" y="2703900"/>
            <a:ext cx="11247120" cy="2220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solidFill>
                  <a:schemeClr val="bg1"/>
                </a:solidFill>
              </a:rPr>
              <a:t>Industry Verticals</a:t>
            </a:r>
          </a:p>
        </p:txBody>
      </p:sp>
      <p:sp>
        <p:nvSpPr>
          <p:cNvPr id="28" name="Text Placeholder 81">
            <a:extLst>
              <a:ext uri="{FF2B5EF4-FFF2-40B4-BE49-F238E27FC236}">
                <a16:creationId xmlns:a16="http://schemas.microsoft.com/office/drawing/2014/main" id="{28C8DB1D-E02B-C35B-FF48-92AEA7E246C9}"/>
              </a:ext>
            </a:extLst>
          </p:cNvPr>
          <p:cNvSpPr txBox="1">
            <a:spLocks/>
          </p:cNvSpPr>
          <p:nvPr/>
        </p:nvSpPr>
        <p:spPr>
          <a:xfrm>
            <a:off x="9661407" y="3033946"/>
            <a:ext cx="210312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ed Dev</a:t>
            </a:r>
          </a:p>
        </p:txBody>
      </p:sp>
      <p:sp>
        <p:nvSpPr>
          <p:cNvPr id="29" name="Text Placeholder 81">
            <a:extLst>
              <a:ext uri="{FF2B5EF4-FFF2-40B4-BE49-F238E27FC236}">
                <a16:creationId xmlns:a16="http://schemas.microsoft.com/office/drawing/2014/main" id="{54126AB2-A634-4CB3-EE54-D240A5E62D9F}"/>
              </a:ext>
            </a:extLst>
          </p:cNvPr>
          <p:cNvSpPr txBox="1">
            <a:spLocks/>
          </p:cNvSpPr>
          <p:nvPr/>
        </p:nvSpPr>
        <p:spPr>
          <a:xfrm>
            <a:off x="7622810" y="3024695"/>
            <a:ext cx="1737360" cy="15234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nergy</a:t>
            </a:r>
          </a:p>
        </p:txBody>
      </p:sp>
      <p:sp>
        <p:nvSpPr>
          <p:cNvPr id="30" name="Text Placeholder 81">
            <a:extLst>
              <a:ext uri="{FF2B5EF4-FFF2-40B4-BE49-F238E27FC236}">
                <a16:creationId xmlns:a16="http://schemas.microsoft.com/office/drawing/2014/main" id="{DF184EC2-8A9C-F40C-B7CB-A032D6CB1711}"/>
              </a:ext>
            </a:extLst>
          </p:cNvPr>
          <p:cNvSpPr txBox="1">
            <a:spLocks/>
          </p:cNvSpPr>
          <p:nvPr/>
        </p:nvSpPr>
        <p:spPr>
          <a:xfrm>
            <a:off x="5080146" y="3033946"/>
            <a:ext cx="228600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A&amp;D</a:t>
            </a:r>
          </a:p>
        </p:txBody>
      </p:sp>
      <p:sp>
        <p:nvSpPr>
          <p:cNvPr id="31" name="Text Placeholder 81">
            <a:extLst>
              <a:ext uri="{FF2B5EF4-FFF2-40B4-BE49-F238E27FC236}">
                <a16:creationId xmlns:a16="http://schemas.microsoft.com/office/drawing/2014/main" id="{38AFAD20-46CB-70A3-5586-DC82F4E90AA9}"/>
              </a:ext>
            </a:extLst>
          </p:cNvPr>
          <p:cNvSpPr txBox="1">
            <a:spLocks/>
          </p:cNvSpPr>
          <p:nvPr/>
        </p:nvSpPr>
        <p:spPr>
          <a:xfrm>
            <a:off x="3629946" y="3033946"/>
            <a:ext cx="109728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utomotive</a:t>
            </a:r>
          </a:p>
        </p:txBody>
      </p:sp>
      <p:sp>
        <p:nvSpPr>
          <p:cNvPr id="32" name="Text Placeholder 81">
            <a:extLst>
              <a:ext uri="{FF2B5EF4-FFF2-40B4-BE49-F238E27FC236}">
                <a16:creationId xmlns:a16="http://schemas.microsoft.com/office/drawing/2014/main" id="{BA724BBE-56BE-C136-2C21-18F3BAA5A453}"/>
              </a:ext>
            </a:extLst>
          </p:cNvPr>
          <p:cNvSpPr txBox="1">
            <a:spLocks/>
          </p:cNvSpPr>
          <p:nvPr/>
        </p:nvSpPr>
        <p:spPr>
          <a:xfrm>
            <a:off x="2271186" y="3033946"/>
            <a:ext cx="100584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igh Tech</a:t>
            </a:r>
          </a:p>
        </p:txBody>
      </p:sp>
      <p:sp>
        <p:nvSpPr>
          <p:cNvPr id="33" name="Text Placeholder 81">
            <a:extLst>
              <a:ext uri="{FF2B5EF4-FFF2-40B4-BE49-F238E27FC236}">
                <a16:creationId xmlns:a16="http://schemas.microsoft.com/office/drawing/2014/main" id="{61285D3B-68DF-8E12-4CB6-BBBCB06B9E13}"/>
              </a:ext>
            </a:extLst>
          </p:cNvPr>
          <p:cNvSpPr txBox="1">
            <a:spLocks/>
          </p:cNvSpPr>
          <p:nvPr/>
        </p:nvSpPr>
        <p:spPr>
          <a:xfrm>
            <a:off x="546666" y="3024695"/>
            <a:ext cx="137160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ndustrial</a:t>
            </a:r>
          </a:p>
        </p:txBody>
      </p:sp>
      <p:grpSp>
        <p:nvGrpSpPr>
          <p:cNvPr id="38" name="Group 37">
            <a:extLst>
              <a:ext uri="{FF2B5EF4-FFF2-40B4-BE49-F238E27FC236}">
                <a16:creationId xmlns:a16="http://schemas.microsoft.com/office/drawing/2014/main" id="{BDD92643-DAE3-D511-0BE9-E1399C880F7C}"/>
              </a:ext>
            </a:extLst>
          </p:cNvPr>
          <p:cNvGrpSpPr/>
          <p:nvPr/>
        </p:nvGrpSpPr>
        <p:grpSpPr>
          <a:xfrm>
            <a:off x="2550158" y="3327485"/>
            <a:ext cx="541972" cy="609600"/>
            <a:chOff x="7424292" y="3859685"/>
            <a:chExt cx="541972" cy="609600"/>
          </a:xfrm>
        </p:grpSpPr>
        <p:sp>
          <p:nvSpPr>
            <p:cNvPr id="39" name="Freeform: Shape 38">
              <a:extLst>
                <a:ext uri="{FF2B5EF4-FFF2-40B4-BE49-F238E27FC236}">
                  <a16:creationId xmlns:a16="http://schemas.microsoft.com/office/drawing/2014/main" id="{9D26F0A5-3BA7-1F0A-943F-EC5002296F1E}"/>
                </a:ext>
              </a:extLst>
            </p:cNvPr>
            <p:cNvSpPr/>
            <p:nvPr/>
          </p:nvSpPr>
          <p:spPr>
            <a:xfrm>
              <a:off x="7424292" y="3859685"/>
              <a:ext cx="353377" cy="609600"/>
            </a:xfrm>
            <a:custGeom>
              <a:avLst/>
              <a:gdLst>
                <a:gd name="connsiteX0" fmla="*/ 325755 w 353377"/>
                <a:gd name="connsiteY0" fmla="*/ 548640 h 609600"/>
                <a:gd name="connsiteX1" fmla="*/ 26670 w 353377"/>
                <a:gd name="connsiteY1" fmla="*/ 548640 h 609600"/>
                <a:gd name="connsiteX2" fmla="*/ 26670 w 353377"/>
                <a:gd name="connsiteY2" fmla="*/ 81915 h 609600"/>
                <a:gd name="connsiteX3" fmla="*/ 324803 w 353377"/>
                <a:gd name="connsiteY3" fmla="*/ 81915 h 609600"/>
                <a:gd name="connsiteX4" fmla="*/ 324803 w 353377"/>
                <a:gd name="connsiteY4" fmla="*/ 149543 h 609600"/>
                <a:gd name="connsiteX5" fmla="*/ 353378 w 353377"/>
                <a:gd name="connsiteY5" fmla="*/ 149543 h 609600"/>
                <a:gd name="connsiteX6" fmla="*/ 353378 w 353377"/>
                <a:gd name="connsiteY6" fmla="*/ 38100 h 609600"/>
                <a:gd name="connsiteX7" fmla="*/ 340043 w 353377"/>
                <a:gd name="connsiteY7" fmla="*/ 8573 h 609600"/>
                <a:gd name="connsiteX8" fmla="*/ 317183 w 353377"/>
                <a:gd name="connsiteY8" fmla="*/ 0 h 609600"/>
                <a:gd name="connsiteX9" fmla="*/ 38100 w 353377"/>
                <a:gd name="connsiteY9" fmla="*/ 0 h 609600"/>
                <a:gd name="connsiteX10" fmla="*/ 0 w 353377"/>
                <a:gd name="connsiteY10" fmla="*/ 38100 h 609600"/>
                <a:gd name="connsiteX11" fmla="*/ 0 w 353377"/>
                <a:gd name="connsiteY11" fmla="*/ 571500 h 609600"/>
                <a:gd name="connsiteX12" fmla="*/ 38100 w 353377"/>
                <a:gd name="connsiteY12" fmla="*/ 609600 h 609600"/>
                <a:gd name="connsiteX13" fmla="*/ 315278 w 353377"/>
                <a:gd name="connsiteY13" fmla="*/ 609600 h 609600"/>
                <a:gd name="connsiteX14" fmla="*/ 353378 w 353377"/>
                <a:gd name="connsiteY14" fmla="*/ 571500 h 609600"/>
                <a:gd name="connsiteX15" fmla="*/ 353378 w 353377"/>
                <a:gd name="connsiteY15" fmla="*/ 481013 h 609600"/>
                <a:gd name="connsiteX16" fmla="*/ 324803 w 353377"/>
                <a:gd name="connsiteY16" fmla="*/ 481013 h 609600"/>
                <a:gd name="connsiteX17" fmla="*/ 324803 w 353377"/>
                <a:gd name="connsiteY17" fmla="*/ 548640 h 609600"/>
                <a:gd name="connsiteX18" fmla="*/ 143828 w 353377"/>
                <a:gd name="connsiteY18" fmla="*/ 35243 h 609600"/>
                <a:gd name="connsiteX19" fmla="*/ 143828 w 353377"/>
                <a:gd name="connsiteY19" fmla="*/ 35243 h 609600"/>
                <a:gd name="connsiteX20" fmla="*/ 209550 w 353377"/>
                <a:gd name="connsiteY20" fmla="*/ 35243 h 609600"/>
                <a:gd name="connsiteX21" fmla="*/ 209550 w 353377"/>
                <a:gd name="connsiteY21" fmla="*/ 35243 h 609600"/>
                <a:gd name="connsiteX22" fmla="*/ 209550 w 353377"/>
                <a:gd name="connsiteY22" fmla="*/ 54293 h 609600"/>
                <a:gd name="connsiteX23" fmla="*/ 209550 w 353377"/>
                <a:gd name="connsiteY23" fmla="*/ 54293 h 609600"/>
                <a:gd name="connsiteX24" fmla="*/ 143828 w 353377"/>
                <a:gd name="connsiteY24" fmla="*/ 54293 h 609600"/>
                <a:gd name="connsiteX25" fmla="*/ 143828 w 353377"/>
                <a:gd name="connsiteY25" fmla="*/ 54293 h 609600"/>
                <a:gd name="connsiteX26" fmla="*/ 143828 w 353377"/>
                <a:gd name="connsiteY26" fmla="*/ 35243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3377" h="609600">
                  <a:moveTo>
                    <a:pt x="325755" y="548640"/>
                  </a:moveTo>
                  <a:lnTo>
                    <a:pt x="26670" y="548640"/>
                  </a:lnTo>
                  <a:lnTo>
                    <a:pt x="26670" y="81915"/>
                  </a:lnTo>
                  <a:lnTo>
                    <a:pt x="324803" y="81915"/>
                  </a:lnTo>
                  <a:lnTo>
                    <a:pt x="324803" y="149543"/>
                  </a:lnTo>
                  <a:lnTo>
                    <a:pt x="353378" y="149543"/>
                  </a:lnTo>
                  <a:lnTo>
                    <a:pt x="353378" y="38100"/>
                  </a:lnTo>
                  <a:cubicBezTo>
                    <a:pt x="353378" y="26670"/>
                    <a:pt x="348615" y="15240"/>
                    <a:pt x="340043" y="8573"/>
                  </a:cubicBezTo>
                  <a:cubicBezTo>
                    <a:pt x="334328" y="2858"/>
                    <a:pt x="325755" y="0"/>
                    <a:pt x="317183" y="0"/>
                  </a:cubicBezTo>
                  <a:lnTo>
                    <a:pt x="38100" y="0"/>
                  </a:lnTo>
                  <a:cubicBezTo>
                    <a:pt x="17145" y="0"/>
                    <a:pt x="0" y="17145"/>
                    <a:pt x="0" y="38100"/>
                  </a:cubicBezTo>
                  <a:lnTo>
                    <a:pt x="0" y="571500"/>
                  </a:lnTo>
                  <a:cubicBezTo>
                    <a:pt x="0" y="592455"/>
                    <a:pt x="17145" y="609600"/>
                    <a:pt x="38100" y="609600"/>
                  </a:cubicBezTo>
                  <a:lnTo>
                    <a:pt x="315278" y="609600"/>
                  </a:lnTo>
                  <a:cubicBezTo>
                    <a:pt x="336233" y="609600"/>
                    <a:pt x="353378" y="592455"/>
                    <a:pt x="353378" y="571500"/>
                  </a:cubicBezTo>
                  <a:lnTo>
                    <a:pt x="353378" y="481013"/>
                  </a:lnTo>
                  <a:lnTo>
                    <a:pt x="324803" y="481013"/>
                  </a:lnTo>
                  <a:lnTo>
                    <a:pt x="324803" y="548640"/>
                  </a:lnTo>
                  <a:close/>
                  <a:moveTo>
                    <a:pt x="143828" y="35243"/>
                  </a:moveTo>
                  <a:lnTo>
                    <a:pt x="143828" y="35243"/>
                  </a:lnTo>
                  <a:lnTo>
                    <a:pt x="209550" y="35243"/>
                  </a:lnTo>
                  <a:lnTo>
                    <a:pt x="209550" y="35243"/>
                  </a:lnTo>
                  <a:lnTo>
                    <a:pt x="209550" y="54293"/>
                  </a:lnTo>
                  <a:lnTo>
                    <a:pt x="209550" y="54293"/>
                  </a:lnTo>
                  <a:lnTo>
                    <a:pt x="143828" y="54293"/>
                  </a:lnTo>
                  <a:lnTo>
                    <a:pt x="143828" y="54293"/>
                  </a:lnTo>
                  <a:lnTo>
                    <a:pt x="143828" y="35243"/>
                  </a:lnTo>
                  <a:close/>
                </a:path>
              </a:pathLst>
            </a:custGeom>
            <a:solidFill>
              <a:srgbClr val="3D4647"/>
            </a:solidFill>
            <a:ln w="9525" cap="flat">
              <a:noFill/>
              <a:prstDash val="solid"/>
              <a:miter/>
            </a:ln>
          </p:spPr>
          <p:txBody>
            <a:bodyPr rtlCol="0" anchor="ctr"/>
            <a:lstStyle/>
            <a:p>
              <a:endParaRPr lang="en-US" dirty="0"/>
            </a:p>
          </p:txBody>
        </p:sp>
        <p:grpSp>
          <p:nvGrpSpPr>
            <p:cNvPr id="40" name="Group 39">
              <a:extLst>
                <a:ext uri="{FF2B5EF4-FFF2-40B4-BE49-F238E27FC236}">
                  <a16:creationId xmlns:a16="http://schemas.microsoft.com/office/drawing/2014/main" id="{1CB1B87E-407A-77BC-B718-117D79770543}"/>
                </a:ext>
              </a:extLst>
            </p:cNvPr>
            <p:cNvGrpSpPr/>
            <p:nvPr/>
          </p:nvGrpSpPr>
          <p:grpSpPr>
            <a:xfrm>
              <a:off x="7565262" y="3974937"/>
              <a:ext cx="401002" cy="400050"/>
              <a:chOff x="7565262" y="3974937"/>
              <a:chExt cx="401002" cy="400050"/>
            </a:xfrm>
          </p:grpSpPr>
          <p:sp>
            <p:nvSpPr>
              <p:cNvPr id="55" name="Freeform: Shape 54">
                <a:extLst>
                  <a:ext uri="{FF2B5EF4-FFF2-40B4-BE49-F238E27FC236}">
                    <a16:creationId xmlns:a16="http://schemas.microsoft.com/office/drawing/2014/main" id="{F63B432F-D18E-9BEB-59D1-2B00B0623AEE}"/>
                  </a:ext>
                </a:extLst>
              </p:cNvPr>
              <p:cNvSpPr/>
              <p:nvPr/>
            </p:nvSpPr>
            <p:spPr>
              <a:xfrm>
                <a:off x="7628127" y="4037802"/>
                <a:ext cx="275272" cy="274319"/>
              </a:xfrm>
              <a:custGeom>
                <a:avLst/>
                <a:gdLst>
                  <a:gd name="connsiteX0" fmla="*/ 0 w 275272"/>
                  <a:gd name="connsiteY0" fmla="*/ 274320 h 274319"/>
                  <a:gd name="connsiteX1" fmla="*/ 275273 w 275272"/>
                  <a:gd name="connsiteY1" fmla="*/ 274320 h 274319"/>
                  <a:gd name="connsiteX2" fmla="*/ 275273 w 275272"/>
                  <a:gd name="connsiteY2" fmla="*/ 0 h 274319"/>
                  <a:gd name="connsiteX3" fmla="*/ 0 w 275272"/>
                  <a:gd name="connsiteY3" fmla="*/ 0 h 274319"/>
                  <a:gd name="connsiteX4" fmla="*/ 0 w 275272"/>
                  <a:gd name="connsiteY4" fmla="*/ 274320 h 274319"/>
                  <a:gd name="connsiteX5" fmla="*/ 47625 w 275272"/>
                  <a:gd name="connsiteY5" fmla="*/ 46672 h 274319"/>
                  <a:gd name="connsiteX6" fmla="*/ 228600 w 275272"/>
                  <a:gd name="connsiteY6" fmla="*/ 46672 h 274319"/>
                  <a:gd name="connsiteX7" fmla="*/ 228600 w 275272"/>
                  <a:gd name="connsiteY7" fmla="*/ 227647 h 274319"/>
                  <a:gd name="connsiteX8" fmla="*/ 47625 w 275272"/>
                  <a:gd name="connsiteY8" fmla="*/ 227647 h 274319"/>
                  <a:gd name="connsiteX9" fmla="*/ 47625 w 275272"/>
                  <a:gd name="connsiteY9" fmla="*/ 46672 h 2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5272" h="274319">
                    <a:moveTo>
                      <a:pt x="0" y="274320"/>
                    </a:moveTo>
                    <a:lnTo>
                      <a:pt x="275273" y="274320"/>
                    </a:lnTo>
                    <a:lnTo>
                      <a:pt x="275273" y="0"/>
                    </a:lnTo>
                    <a:lnTo>
                      <a:pt x="0" y="0"/>
                    </a:lnTo>
                    <a:lnTo>
                      <a:pt x="0" y="274320"/>
                    </a:lnTo>
                    <a:close/>
                    <a:moveTo>
                      <a:pt x="47625" y="46672"/>
                    </a:moveTo>
                    <a:lnTo>
                      <a:pt x="228600" y="46672"/>
                    </a:lnTo>
                    <a:lnTo>
                      <a:pt x="228600" y="227647"/>
                    </a:lnTo>
                    <a:lnTo>
                      <a:pt x="47625" y="227647"/>
                    </a:lnTo>
                    <a:lnTo>
                      <a:pt x="47625" y="46672"/>
                    </a:lnTo>
                    <a:close/>
                  </a:path>
                </a:pathLst>
              </a:custGeom>
              <a:solidFill>
                <a:schemeClr val="bg2"/>
              </a:solidFill>
              <a:ln w="9525"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128693C8-EEFA-0C89-4673-47D3BF7386EC}"/>
                  </a:ext>
                </a:extLst>
              </p:cNvPr>
              <p:cNvSpPr/>
              <p:nvPr/>
            </p:nvSpPr>
            <p:spPr>
              <a:xfrm>
                <a:off x="7809102" y="3974937"/>
                <a:ext cx="28575" cy="33337"/>
              </a:xfrm>
              <a:custGeom>
                <a:avLst/>
                <a:gdLst>
                  <a:gd name="connsiteX0" fmla="*/ 0 w 28575"/>
                  <a:gd name="connsiteY0" fmla="*/ 0 h 33337"/>
                  <a:gd name="connsiteX1" fmla="*/ 28575 w 28575"/>
                  <a:gd name="connsiteY1" fmla="*/ 0 h 33337"/>
                  <a:gd name="connsiteX2" fmla="*/ 28575 w 28575"/>
                  <a:gd name="connsiteY2" fmla="*/ 33338 h 33337"/>
                  <a:gd name="connsiteX3" fmla="*/ 0 w 28575"/>
                  <a:gd name="connsiteY3" fmla="*/ 33338 h 33337"/>
                </a:gdLst>
                <a:ahLst/>
                <a:cxnLst>
                  <a:cxn ang="0">
                    <a:pos x="connsiteX0" y="connsiteY0"/>
                  </a:cxn>
                  <a:cxn ang="0">
                    <a:pos x="connsiteX1" y="connsiteY1"/>
                  </a:cxn>
                  <a:cxn ang="0">
                    <a:pos x="connsiteX2" y="connsiteY2"/>
                  </a:cxn>
                  <a:cxn ang="0">
                    <a:pos x="connsiteX3" y="connsiteY3"/>
                  </a:cxn>
                </a:cxnLst>
                <a:rect l="l" t="t" r="r" b="b"/>
                <a:pathLst>
                  <a:path w="28575" h="33337">
                    <a:moveTo>
                      <a:pt x="0" y="0"/>
                    </a:moveTo>
                    <a:lnTo>
                      <a:pt x="28575" y="0"/>
                    </a:lnTo>
                    <a:lnTo>
                      <a:pt x="28575" y="33338"/>
                    </a:lnTo>
                    <a:lnTo>
                      <a:pt x="0" y="33338"/>
                    </a:lnTo>
                    <a:close/>
                  </a:path>
                </a:pathLst>
              </a:custGeom>
              <a:solidFill>
                <a:schemeClr val="bg2"/>
              </a:solidFill>
              <a:ln w="9525"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F65DA4EA-37CD-4AFA-9861-B21C12AD267F}"/>
                  </a:ext>
                </a:extLst>
              </p:cNvPr>
              <p:cNvSpPr/>
              <p:nvPr/>
            </p:nvSpPr>
            <p:spPr>
              <a:xfrm>
                <a:off x="7693850" y="3974937"/>
                <a:ext cx="28575" cy="33337"/>
              </a:xfrm>
              <a:custGeom>
                <a:avLst/>
                <a:gdLst>
                  <a:gd name="connsiteX0" fmla="*/ 0 w 28575"/>
                  <a:gd name="connsiteY0" fmla="*/ 0 h 33337"/>
                  <a:gd name="connsiteX1" fmla="*/ 28575 w 28575"/>
                  <a:gd name="connsiteY1" fmla="*/ 0 h 33337"/>
                  <a:gd name="connsiteX2" fmla="*/ 28575 w 28575"/>
                  <a:gd name="connsiteY2" fmla="*/ 33338 h 33337"/>
                  <a:gd name="connsiteX3" fmla="*/ 0 w 28575"/>
                  <a:gd name="connsiteY3" fmla="*/ 33338 h 33337"/>
                </a:gdLst>
                <a:ahLst/>
                <a:cxnLst>
                  <a:cxn ang="0">
                    <a:pos x="connsiteX0" y="connsiteY0"/>
                  </a:cxn>
                  <a:cxn ang="0">
                    <a:pos x="connsiteX1" y="connsiteY1"/>
                  </a:cxn>
                  <a:cxn ang="0">
                    <a:pos x="connsiteX2" y="connsiteY2"/>
                  </a:cxn>
                  <a:cxn ang="0">
                    <a:pos x="connsiteX3" y="connsiteY3"/>
                  </a:cxn>
                </a:cxnLst>
                <a:rect l="l" t="t" r="r" b="b"/>
                <a:pathLst>
                  <a:path w="28575" h="33337">
                    <a:moveTo>
                      <a:pt x="0" y="0"/>
                    </a:moveTo>
                    <a:lnTo>
                      <a:pt x="28575" y="0"/>
                    </a:lnTo>
                    <a:lnTo>
                      <a:pt x="28575" y="33338"/>
                    </a:lnTo>
                    <a:lnTo>
                      <a:pt x="0" y="33338"/>
                    </a:lnTo>
                    <a:close/>
                  </a:path>
                </a:pathLst>
              </a:custGeom>
              <a:solidFill>
                <a:schemeClr val="bg2"/>
              </a:solidFill>
              <a:ln w="9525"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EDB06C3A-BC9C-EC90-B768-8A96A3458700}"/>
                  </a:ext>
                </a:extLst>
              </p:cNvPr>
              <p:cNvSpPr/>
              <p:nvPr/>
            </p:nvSpPr>
            <p:spPr>
              <a:xfrm>
                <a:off x="7809102" y="4341650"/>
                <a:ext cx="28575" cy="33337"/>
              </a:xfrm>
              <a:custGeom>
                <a:avLst/>
                <a:gdLst>
                  <a:gd name="connsiteX0" fmla="*/ 0 w 28575"/>
                  <a:gd name="connsiteY0" fmla="*/ 0 h 33337"/>
                  <a:gd name="connsiteX1" fmla="*/ 28575 w 28575"/>
                  <a:gd name="connsiteY1" fmla="*/ 0 h 33337"/>
                  <a:gd name="connsiteX2" fmla="*/ 28575 w 28575"/>
                  <a:gd name="connsiteY2" fmla="*/ 33337 h 33337"/>
                  <a:gd name="connsiteX3" fmla="*/ 0 w 28575"/>
                  <a:gd name="connsiteY3" fmla="*/ 33337 h 33337"/>
                </a:gdLst>
                <a:ahLst/>
                <a:cxnLst>
                  <a:cxn ang="0">
                    <a:pos x="connsiteX0" y="connsiteY0"/>
                  </a:cxn>
                  <a:cxn ang="0">
                    <a:pos x="connsiteX1" y="connsiteY1"/>
                  </a:cxn>
                  <a:cxn ang="0">
                    <a:pos x="connsiteX2" y="connsiteY2"/>
                  </a:cxn>
                  <a:cxn ang="0">
                    <a:pos x="connsiteX3" y="connsiteY3"/>
                  </a:cxn>
                </a:cxnLst>
                <a:rect l="l" t="t" r="r" b="b"/>
                <a:pathLst>
                  <a:path w="28575" h="33337">
                    <a:moveTo>
                      <a:pt x="0" y="0"/>
                    </a:moveTo>
                    <a:lnTo>
                      <a:pt x="28575" y="0"/>
                    </a:lnTo>
                    <a:lnTo>
                      <a:pt x="28575" y="33337"/>
                    </a:lnTo>
                    <a:lnTo>
                      <a:pt x="0" y="33337"/>
                    </a:lnTo>
                    <a:close/>
                  </a:path>
                </a:pathLst>
              </a:custGeom>
              <a:solidFill>
                <a:schemeClr val="bg2"/>
              </a:solidFill>
              <a:ln w="9525"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6A656EA1-31EB-0C86-CB42-BDAC84594EFD}"/>
                  </a:ext>
                </a:extLst>
              </p:cNvPr>
              <p:cNvSpPr/>
              <p:nvPr/>
            </p:nvSpPr>
            <p:spPr>
              <a:xfrm>
                <a:off x="7693850" y="4341650"/>
                <a:ext cx="28575" cy="33337"/>
              </a:xfrm>
              <a:custGeom>
                <a:avLst/>
                <a:gdLst>
                  <a:gd name="connsiteX0" fmla="*/ 0 w 28575"/>
                  <a:gd name="connsiteY0" fmla="*/ 0 h 33337"/>
                  <a:gd name="connsiteX1" fmla="*/ 28575 w 28575"/>
                  <a:gd name="connsiteY1" fmla="*/ 0 h 33337"/>
                  <a:gd name="connsiteX2" fmla="*/ 28575 w 28575"/>
                  <a:gd name="connsiteY2" fmla="*/ 33337 h 33337"/>
                  <a:gd name="connsiteX3" fmla="*/ 0 w 28575"/>
                  <a:gd name="connsiteY3" fmla="*/ 33337 h 33337"/>
                </a:gdLst>
                <a:ahLst/>
                <a:cxnLst>
                  <a:cxn ang="0">
                    <a:pos x="connsiteX0" y="connsiteY0"/>
                  </a:cxn>
                  <a:cxn ang="0">
                    <a:pos x="connsiteX1" y="connsiteY1"/>
                  </a:cxn>
                  <a:cxn ang="0">
                    <a:pos x="connsiteX2" y="connsiteY2"/>
                  </a:cxn>
                  <a:cxn ang="0">
                    <a:pos x="connsiteX3" y="connsiteY3"/>
                  </a:cxn>
                </a:cxnLst>
                <a:rect l="l" t="t" r="r" b="b"/>
                <a:pathLst>
                  <a:path w="28575" h="33337">
                    <a:moveTo>
                      <a:pt x="0" y="0"/>
                    </a:moveTo>
                    <a:lnTo>
                      <a:pt x="28575" y="0"/>
                    </a:lnTo>
                    <a:lnTo>
                      <a:pt x="28575" y="33337"/>
                    </a:lnTo>
                    <a:lnTo>
                      <a:pt x="0" y="33337"/>
                    </a:lnTo>
                    <a:close/>
                  </a:path>
                </a:pathLst>
              </a:custGeom>
              <a:solidFill>
                <a:schemeClr val="bg2"/>
              </a:solidFill>
              <a:ln w="9525" cap="flat">
                <a:no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C3DF21BE-3F11-8DE3-0C03-96FF43C36CAF}"/>
                  </a:ext>
                </a:extLst>
              </p:cNvPr>
              <p:cNvSpPr/>
              <p:nvPr/>
            </p:nvSpPr>
            <p:spPr>
              <a:xfrm>
                <a:off x="7565262" y="4218777"/>
                <a:ext cx="33337" cy="28575"/>
              </a:xfrm>
              <a:custGeom>
                <a:avLst/>
                <a:gdLst>
                  <a:gd name="connsiteX0" fmla="*/ 0 w 33337"/>
                  <a:gd name="connsiteY0" fmla="*/ 0 h 28575"/>
                  <a:gd name="connsiteX1" fmla="*/ 33337 w 33337"/>
                  <a:gd name="connsiteY1" fmla="*/ 0 h 28575"/>
                  <a:gd name="connsiteX2" fmla="*/ 33337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7" y="0"/>
                    </a:lnTo>
                    <a:lnTo>
                      <a:pt x="33337" y="28575"/>
                    </a:lnTo>
                    <a:lnTo>
                      <a:pt x="0" y="28575"/>
                    </a:lnTo>
                    <a:close/>
                  </a:path>
                </a:pathLst>
              </a:custGeom>
              <a:solidFill>
                <a:schemeClr val="bg2"/>
              </a:solidFill>
              <a:ln w="9525"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61A29153-45C4-4C64-0BDD-8B2B4E241013}"/>
                  </a:ext>
                </a:extLst>
              </p:cNvPr>
              <p:cNvSpPr/>
              <p:nvPr/>
            </p:nvSpPr>
            <p:spPr>
              <a:xfrm>
                <a:off x="7565262" y="4102572"/>
                <a:ext cx="33337" cy="28575"/>
              </a:xfrm>
              <a:custGeom>
                <a:avLst/>
                <a:gdLst>
                  <a:gd name="connsiteX0" fmla="*/ 0 w 33337"/>
                  <a:gd name="connsiteY0" fmla="*/ 0 h 28575"/>
                  <a:gd name="connsiteX1" fmla="*/ 33337 w 33337"/>
                  <a:gd name="connsiteY1" fmla="*/ 0 h 28575"/>
                  <a:gd name="connsiteX2" fmla="*/ 33337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7" y="0"/>
                    </a:lnTo>
                    <a:lnTo>
                      <a:pt x="33337" y="28575"/>
                    </a:lnTo>
                    <a:lnTo>
                      <a:pt x="0" y="28575"/>
                    </a:lnTo>
                    <a:close/>
                  </a:path>
                </a:pathLst>
              </a:custGeom>
              <a:solidFill>
                <a:schemeClr val="bg2"/>
              </a:solidFill>
              <a:ln w="9525"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D57768B0-D30A-9EEB-BEAD-B1A2505CA2DA}"/>
                  </a:ext>
                </a:extLst>
              </p:cNvPr>
              <p:cNvSpPr/>
              <p:nvPr/>
            </p:nvSpPr>
            <p:spPr>
              <a:xfrm>
                <a:off x="7565262" y="4160675"/>
                <a:ext cx="33337" cy="28575"/>
              </a:xfrm>
              <a:custGeom>
                <a:avLst/>
                <a:gdLst>
                  <a:gd name="connsiteX0" fmla="*/ 0 w 33337"/>
                  <a:gd name="connsiteY0" fmla="*/ 0 h 28575"/>
                  <a:gd name="connsiteX1" fmla="*/ 33337 w 33337"/>
                  <a:gd name="connsiteY1" fmla="*/ 0 h 28575"/>
                  <a:gd name="connsiteX2" fmla="*/ 33337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7" y="0"/>
                    </a:lnTo>
                    <a:lnTo>
                      <a:pt x="33337" y="28575"/>
                    </a:lnTo>
                    <a:lnTo>
                      <a:pt x="0" y="28575"/>
                    </a:lnTo>
                    <a:close/>
                  </a:path>
                </a:pathLst>
              </a:custGeom>
              <a:solidFill>
                <a:schemeClr val="bg2"/>
              </a:solidFill>
              <a:ln w="9525"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C74FF1E1-EDB2-5519-27F1-7AA5B793C302}"/>
                  </a:ext>
                </a:extLst>
              </p:cNvPr>
              <p:cNvSpPr/>
              <p:nvPr/>
            </p:nvSpPr>
            <p:spPr>
              <a:xfrm>
                <a:off x="7932927" y="4218777"/>
                <a:ext cx="33337" cy="28575"/>
              </a:xfrm>
              <a:custGeom>
                <a:avLst/>
                <a:gdLst>
                  <a:gd name="connsiteX0" fmla="*/ 0 w 33337"/>
                  <a:gd name="connsiteY0" fmla="*/ 0 h 28575"/>
                  <a:gd name="connsiteX1" fmla="*/ 33338 w 33337"/>
                  <a:gd name="connsiteY1" fmla="*/ 0 h 28575"/>
                  <a:gd name="connsiteX2" fmla="*/ 33338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8" y="0"/>
                    </a:lnTo>
                    <a:lnTo>
                      <a:pt x="33338" y="28575"/>
                    </a:lnTo>
                    <a:lnTo>
                      <a:pt x="0" y="28575"/>
                    </a:lnTo>
                    <a:close/>
                  </a:path>
                </a:pathLst>
              </a:custGeom>
              <a:solidFill>
                <a:schemeClr val="bg2"/>
              </a:solidFill>
              <a:ln w="9525" cap="flat">
                <a:noFill/>
                <a:prstDash val="solid"/>
                <a:miter/>
              </a:ln>
            </p:spPr>
            <p:txBody>
              <a:bodyPr rtlCol="0" anchor="ctr"/>
              <a:lstStyle/>
              <a:p>
                <a:endParaRPr lang="en-US" dirty="0"/>
              </a:p>
            </p:txBody>
          </p:sp>
          <p:sp>
            <p:nvSpPr>
              <p:cNvPr id="256" name="Freeform: Shape 255">
                <a:extLst>
                  <a:ext uri="{FF2B5EF4-FFF2-40B4-BE49-F238E27FC236}">
                    <a16:creationId xmlns:a16="http://schemas.microsoft.com/office/drawing/2014/main" id="{11C41122-3EB6-6391-132C-1CCDF981C287}"/>
                  </a:ext>
                </a:extLst>
              </p:cNvPr>
              <p:cNvSpPr/>
              <p:nvPr/>
            </p:nvSpPr>
            <p:spPr>
              <a:xfrm>
                <a:off x="7932927" y="4102572"/>
                <a:ext cx="33337" cy="28575"/>
              </a:xfrm>
              <a:custGeom>
                <a:avLst/>
                <a:gdLst>
                  <a:gd name="connsiteX0" fmla="*/ 0 w 33337"/>
                  <a:gd name="connsiteY0" fmla="*/ 0 h 28575"/>
                  <a:gd name="connsiteX1" fmla="*/ 33338 w 33337"/>
                  <a:gd name="connsiteY1" fmla="*/ 0 h 28575"/>
                  <a:gd name="connsiteX2" fmla="*/ 33338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8" y="0"/>
                    </a:lnTo>
                    <a:lnTo>
                      <a:pt x="33338" y="28575"/>
                    </a:lnTo>
                    <a:lnTo>
                      <a:pt x="0" y="28575"/>
                    </a:lnTo>
                    <a:close/>
                  </a:path>
                </a:pathLst>
              </a:custGeom>
              <a:solidFill>
                <a:schemeClr val="bg2"/>
              </a:solidFill>
              <a:ln w="9525" cap="flat">
                <a:noFill/>
                <a:prstDash val="solid"/>
                <a:miter/>
              </a:ln>
            </p:spPr>
            <p:txBody>
              <a:bodyPr rtlCol="0" anchor="ctr"/>
              <a:lstStyle/>
              <a:p>
                <a:endParaRPr lang="en-US" dirty="0"/>
              </a:p>
            </p:txBody>
          </p:sp>
          <p:sp>
            <p:nvSpPr>
              <p:cNvPr id="257" name="Freeform: Shape 256">
                <a:extLst>
                  <a:ext uri="{FF2B5EF4-FFF2-40B4-BE49-F238E27FC236}">
                    <a16:creationId xmlns:a16="http://schemas.microsoft.com/office/drawing/2014/main" id="{C37ABA7F-ECA3-FAF6-941F-A213AD7F90B2}"/>
                  </a:ext>
                </a:extLst>
              </p:cNvPr>
              <p:cNvSpPr/>
              <p:nvPr/>
            </p:nvSpPr>
            <p:spPr>
              <a:xfrm>
                <a:off x="7932927" y="4160675"/>
                <a:ext cx="33337" cy="28575"/>
              </a:xfrm>
              <a:custGeom>
                <a:avLst/>
                <a:gdLst>
                  <a:gd name="connsiteX0" fmla="*/ 0 w 33337"/>
                  <a:gd name="connsiteY0" fmla="*/ 0 h 28575"/>
                  <a:gd name="connsiteX1" fmla="*/ 33338 w 33337"/>
                  <a:gd name="connsiteY1" fmla="*/ 0 h 28575"/>
                  <a:gd name="connsiteX2" fmla="*/ 33338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8" y="0"/>
                    </a:lnTo>
                    <a:lnTo>
                      <a:pt x="33338" y="28575"/>
                    </a:lnTo>
                    <a:lnTo>
                      <a:pt x="0" y="28575"/>
                    </a:lnTo>
                    <a:close/>
                  </a:path>
                </a:pathLst>
              </a:custGeom>
              <a:solidFill>
                <a:schemeClr val="bg2"/>
              </a:solidFill>
              <a:ln w="9525" cap="flat">
                <a:noFill/>
                <a:prstDash val="solid"/>
                <a:miter/>
              </a:ln>
            </p:spPr>
            <p:txBody>
              <a:bodyPr rtlCol="0" anchor="ctr"/>
              <a:lstStyle/>
              <a:p>
                <a:endParaRPr lang="en-US" dirty="0"/>
              </a:p>
            </p:txBody>
          </p:sp>
        </p:grpSp>
      </p:grpSp>
      <p:sp>
        <p:nvSpPr>
          <p:cNvPr id="261" name="Text Placeholder 81">
            <a:extLst>
              <a:ext uri="{FF2B5EF4-FFF2-40B4-BE49-F238E27FC236}">
                <a16:creationId xmlns:a16="http://schemas.microsoft.com/office/drawing/2014/main" id="{6701931A-7969-2A56-B6B2-E1E75A02CBD2}"/>
              </a:ext>
            </a:extLst>
          </p:cNvPr>
          <p:cNvSpPr txBox="1">
            <a:spLocks/>
          </p:cNvSpPr>
          <p:nvPr/>
        </p:nvSpPr>
        <p:spPr>
          <a:xfrm>
            <a:off x="9754317" y="3325150"/>
            <a:ext cx="372974" cy="1384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MRI</a:t>
            </a:r>
          </a:p>
        </p:txBody>
      </p:sp>
      <p:sp>
        <p:nvSpPr>
          <p:cNvPr id="263" name="Text Placeholder 81">
            <a:extLst>
              <a:ext uri="{FF2B5EF4-FFF2-40B4-BE49-F238E27FC236}">
                <a16:creationId xmlns:a16="http://schemas.microsoft.com/office/drawing/2014/main" id="{3141D6A7-4943-49AB-0024-82D9877F3DD7}"/>
              </a:ext>
            </a:extLst>
          </p:cNvPr>
          <p:cNvSpPr txBox="1">
            <a:spLocks/>
          </p:cNvSpPr>
          <p:nvPr/>
        </p:nvSpPr>
        <p:spPr>
          <a:xfrm>
            <a:off x="10279813" y="3325150"/>
            <a:ext cx="1049972" cy="1384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Life Sciences</a:t>
            </a:r>
          </a:p>
        </p:txBody>
      </p:sp>
      <p:pic>
        <p:nvPicPr>
          <p:cNvPr id="264" name="Graphic 263">
            <a:extLst>
              <a:ext uri="{FF2B5EF4-FFF2-40B4-BE49-F238E27FC236}">
                <a16:creationId xmlns:a16="http://schemas.microsoft.com/office/drawing/2014/main" id="{B4E9B34B-32A2-D738-0EE5-F9668871454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29880" y="3544802"/>
            <a:ext cx="609600" cy="609600"/>
          </a:xfrm>
          <a:prstGeom prst="rect">
            <a:avLst/>
          </a:prstGeom>
        </p:spPr>
      </p:pic>
      <p:sp>
        <p:nvSpPr>
          <p:cNvPr id="265" name="Text Placeholder 81">
            <a:extLst>
              <a:ext uri="{FF2B5EF4-FFF2-40B4-BE49-F238E27FC236}">
                <a16:creationId xmlns:a16="http://schemas.microsoft.com/office/drawing/2014/main" id="{734B38CD-E44A-C2D9-2355-E9AC08200116}"/>
              </a:ext>
            </a:extLst>
          </p:cNvPr>
          <p:cNvSpPr txBox="1">
            <a:spLocks/>
          </p:cNvSpPr>
          <p:nvPr/>
        </p:nvSpPr>
        <p:spPr>
          <a:xfrm>
            <a:off x="5110049" y="3257239"/>
            <a:ext cx="1097280" cy="274320"/>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Aerospace &amp; Defense, Satellite</a:t>
            </a:r>
          </a:p>
        </p:txBody>
      </p:sp>
      <p:grpSp>
        <p:nvGrpSpPr>
          <p:cNvPr id="291" name="Graphic 373">
            <a:extLst>
              <a:ext uri="{FF2B5EF4-FFF2-40B4-BE49-F238E27FC236}">
                <a16:creationId xmlns:a16="http://schemas.microsoft.com/office/drawing/2014/main" id="{4073206D-FFC7-8686-8987-C89C6DDACB5F}"/>
              </a:ext>
            </a:extLst>
          </p:cNvPr>
          <p:cNvGrpSpPr/>
          <p:nvPr/>
        </p:nvGrpSpPr>
        <p:grpSpPr>
          <a:xfrm>
            <a:off x="5366843" y="3673350"/>
            <a:ext cx="583691" cy="494797"/>
            <a:chOff x="2787432" y="3937340"/>
            <a:chExt cx="583691" cy="494797"/>
          </a:xfrm>
        </p:grpSpPr>
        <p:sp>
          <p:nvSpPr>
            <p:cNvPr id="292" name="Freeform: Shape 291">
              <a:extLst>
                <a:ext uri="{FF2B5EF4-FFF2-40B4-BE49-F238E27FC236}">
                  <a16:creationId xmlns:a16="http://schemas.microsoft.com/office/drawing/2014/main" id="{E4366F9E-29A9-04E5-0F70-0AB9F8BDB853}"/>
                </a:ext>
              </a:extLst>
            </p:cNvPr>
            <p:cNvSpPr/>
            <p:nvPr/>
          </p:nvSpPr>
          <p:spPr>
            <a:xfrm rot="-3599956">
              <a:off x="2828389" y="3896383"/>
              <a:ext cx="99057" cy="180971"/>
            </a:xfrm>
            <a:custGeom>
              <a:avLst/>
              <a:gdLst>
                <a:gd name="connsiteX0" fmla="*/ 0 w 99057"/>
                <a:gd name="connsiteY0" fmla="*/ 0 h 180971"/>
                <a:gd name="connsiteX1" fmla="*/ 99058 w 99057"/>
                <a:gd name="connsiteY1" fmla="*/ 0 h 180971"/>
                <a:gd name="connsiteX2" fmla="*/ 99058 w 99057"/>
                <a:gd name="connsiteY2" fmla="*/ 180971 h 180971"/>
                <a:gd name="connsiteX3" fmla="*/ 0 w 99057"/>
                <a:gd name="connsiteY3" fmla="*/ 180971 h 180971"/>
              </a:gdLst>
              <a:ahLst/>
              <a:cxnLst>
                <a:cxn ang="0">
                  <a:pos x="connsiteX0" y="connsiteY0"/>
                </a:cxn>
                <a:cxn ang="0">
                  <a:pos x="connsiteX1" y="connsiteY1"/>
                </a:cxn>
                <a:cxn ang="0">
                  <a:pos x="connsiteX2" y="connsiteY2"/>
                </a:cxn>
                <a:cxn ang="0">
                  <a:pos x="connsiteX3" y="connsiteY3"/>
                </a:cxn>
              </a:cxnLst>
              <a:rect l="l" t="t" r="r" b="b"/>
              <a:pathLst>
                <a:path w="99057" h="180971">
                  <a:moveTo>
                    <a:pt x="0" y="0"/>
                  </a:moveTo>
                  <a:lnTo>
                    <a:pt x="99058" y="0"/>
                  </a:lnTo>
                  <a:lnTo>
                    <a:pt x="99058" y="180971"/>
                  </a:lnTo>
                  <a:lnTo>
                    <a:pt x="0" y="180971"/>
                  </a:lnTo>
                  <a:close/>
                </a:path>
              </a:pathLst>
            </a:custGeom>
            <a:solidFill>
              <a:srgbClr val="3D4647"/>
            </a:solidFill>
            <a:ln w="9525" cap="flat">
              <a:noFill/>
              <a:prstDash val="solid"/>
              <a:miter/>
            </a:ln>
          </p:spPr>
          <p:txBody>
            <a:bodyPr rtlCol="0" anchor="ctr"/>
            <a:lstStyle/>
            <a:p>
              <a:endParaRPr lang="en-US" dirty="0"/>
            </a:p>
          </p:txBody>
        </p:sp>
        <p:sp>
          <p:nvSpPr>
            <p:cNvPr id="293" name="Freeform: Shape 292">
              <a:extLst>
                <a:ext uri="{FF2B5EF4-FFF2-40B4-BE49-F238E27FC236}">
                  <a16:creationId xmlns:a16="http://schemas.microsoft.com/office/drawing/2014/main" id="{465E568C-A3DB-E52D-CB9D-B3267BD7DF31}"/>
                </a:ext>
              </a:extLst>
            </p:cNvPr>
            <p:cNvSpPr/>
            <p:nvPr/>
          </p:nvSpPr>
          <p:spPr>
            <a:xfrm rot="-3599956">
              <a:off x="3231109" y="4128882"/>
              <a:ext cx="99057" cy="180971"/>
            </a:xfrm>
            <a:custGeom>
              <a:avLst/>
              <a:gdLst>
                <a:gd name="connsiteX0" fmla="*/ 0 w 99057"/>
                <a:gd name="connsiteY0" fmla="*/ 0 h 180971"/>
                <a:gd name="connsiteX1" fmla="*/ 99058 w 99057"/>
                <a:gd name="connsiteY1" fmla="*/ 0 h 180971"/>
                <a:gd name="connsiteX2" fmla="*/ 99058 w 99057"/>
                <a:gd name="connsiteY2" fmla="*/ 180971 h 180971"/>
                <a:gd name="connsiteX3" fmla="*/ 0 w 99057"/>
                <a:gd name="connsiteY3" fmla="*/ 180971 h 180971"/>
              </a:gdLst>
              <a:ahLst/>
              <a:cxnLst>
                <a:cxn ang="0">
                  <a:pos x="connsiteX0" y="connsiteY0"/>
                </a:cxn>
                <a:cxn ang="0">
                  <a:pos x="connsiteX1" y="connsiteY1"/>
                </a:cxn>
                <a:cxn ang="0">
                  <a:pos x="connsiteX2" y="connsiteY2"/>
                </a:cxn>
                <a:cxn ang="0">
                  <a:pos x="connsiteX3" y="connsiteY3"/>
                </a:cxn>
              </a:cxnLst>
              <a:rect l="l" t="t" r="r" b="b"/>
              <a:pathLst>
                <a:path w="99057" h="180971">
                  <a:moveTo>
                    <a:pt x="0" y="0"/>
                  </a:moveTo>
                  <a:lnTo>
                    <a:pt x="99058" y="0"/>
                  </a:lnTo>
                  <a:lnTo>
                    <a:pt x="99058" y="180971"/>
                  </a:lnTo>
                  <a:lnTo>
                    <a:pt x="0" y="180971"/>
                  </a:lnTo>
                  <a:close/>
                </a:path>
              </a:pathLst>
            </a:custGeom>
            <a:solidFill>
              <a:srgbClr val="3D4647"/>
            </a:solidFill>
            <a:ln w="9525" cap="flat">
              <a:noFill/>
              <a:prstDash val="solid"/>
              <a:miter/>
            </a:ln>
          </p:spPr>
          <p:txBody>
            <a:bodyPr rtlCol="0" anchor="ctr"/>
            <a:lstStyle/>
            <a:p>
              <a:endParaRPr lang="en-US" dirty="0"/>
            </a:p>
          </p:txBody>
        </p:sp>
        <p:sp>
          <p:nvSpPr>
            <p:cNvPr id="294" name="Freeform: Shape 293">
              <a:extLst>
                <a:ext uri="{FF2B5EF4-FFF2-40B4-BE49-F238E27FC236}">
                  <a16:creationId xmlns:a16="http://schemas.microsoft.com/office/drawing/2014/main" id="{B03784A5-E81C-CFFC-D339-3C4E6DEA26A4}"/>
                </a:ext>
              </a:extLst>
            </p:cNvPr>
            <p:cNvSpPr/>
            <p:nvPr/>
          </p:nvSpPr>
          <p:spPr>
            <a:xfrm>
              <a:off x="2946476" y="3993987"/>
              <a:ext cx="261937" cy="226695"/>
            </a:xfrm>
            <a:custGeom>
              <a:avLst/>
              <a:gdLst>
                <a:gd name="connsiteX0" fmla="*/ 261938 w 261937"/>
                <a:gd name="connsiteY0" fmla="*/ 113348 h 226695"/>
                <a:gd name="connsiteX1" fmla="*/ 196215 w 261937"/>
                <a:gd name="connsiteY1" fmla="*/ 0 h 226695"/>
                <a:gd name="connsiteX2" fmla="*/ 65723 w 261937"/>
                <a:gd name="connsiteY2" fmla="*/ 0 h 226695"/>
                <a:gd name="connsiteX3" fmla="*/ 60007 w 261937"/>
                <a:gd name="connsiteY3" fmla="*/ 9525 h 226695"/>
                <a:gd name="connsiteX4" fmla="*/ 10478 w 261937"/>
                <a:gd name="connsiteY4" fmla="*/ 95250 h 226695"/>
                <a:gd name="connsiteX5" fmla="*/ 0 w 261937"/>
                <a:gd name="connsiteY5" fmla="*/ 113348 h 226695"/>
                <a:gd name="connsiteX6" fmla="*/ 65723 w 261937"/>
                <a:gd name="connsiteY6" fmla="*/ 226695 h 226695"/>
                <a:gd name="connsiteX7" fmla="*/ 196215 w 261937"/>
                <a:gd name="connsiteY7" fmla="*/ 226695 h 226695"/>
                <a:gd name="connsiteX8" fmla="*/ 206693 w 261937"/>
                <a:gd name="connsiteY8" fmla="*/ 208598 h 226695"/>
                <a:gd name="connsiteX9" fmla="*/ 256223 w 261937"/>
                <a:gd name="connsiteY9" fmla="*/ 122873 h 22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37" h="226695">
                  <a:moveTo>
                    <a:pt x="261938" y="113348"/>
                  </a:moveTo>
                  <a:lnTo>
                    <a:pt x="196215" y="0"/>
                  </a:lnTo>
                  <a:lnTo>
                    <a:pt x="65723" y="0"/>
                  </a:lnTo>
                  <a:lnTo>
                    <a:pt x="60007" y="9525"/>
                  </a:lnTo>
                  <a:lnTo>
                    <a:pt x="10478" y="95250"/>
                  </a:lnTo>
                  <a:lnTo>
                    <a:pt x="0" y="113348"/>
                  </a:lnTo>
                  <a:lnTo>
                    <a:pt x="65723" y="226695"/>
                  </a:lnTo>
                  <a:lnTo>
                    <a:pt x="196215" y="226695"/>
                  </a:lnTo>
                  <a:lnTo>
                    <a:pt x="206693" y="208598"/>
                  </a:lnTo>
                  <a:lnTo>
                    <a:pt x="256223" y="122873"/>
                  </a:lnTo>
                  <a:close/>
                </a:path>
              </a:pathLst>
            </a:custGeom>
            <a:solidFill>
              <a:srgbClr val="3D4647"/>
            </a:solidFill>
            <a:ln w="9525" cap="flat">
              <a:noFill/>
              <a:prstDash val="solid"/>
              <a:miter/>
            </a:ln>
          </p:spPr>
          <p:txBody>
            <a:bodyPr rtlCol="0" anchor="ctr"/>
            <a:lstStyle/>
            <a:p>
              <a:endParaRPr lang="en-US" dirty="0"/>
            </a:p>
          </p:txBody>
        </p:sp>
        <p:sp>
          <p:nvSpPr>
            <p:cNvPr id="301" name="Freeform: Shape 300">
              <a:extLst>
                <a:ext uri="{FF2B5EF4-FFF2-40B4-BE49-F238E27FC236}">
                  <a16:creationId xmlns:a16="http://schemas.microsoft.com/office/drawing/2014/main" id="{903434F7-643E-2B24-E25B-C6F52FBAF266}"/>
                </a:ext>
              </a:extLst>
            </p:cNvPr>
            <p:cNvSpPr/>
            <p:nvPr/>
          </p:nvSpPr>
          <p:spPr>
            <a:xfrm>
              <a:off x="2810268" y="4259735"/>
              <a:ext cx="235267" cy="172402"/>
            </a:xfrm>
            <a:custGeom>
              <a:avLst/>
              <a:gdLst>
                <a:gd name="connsiteX0" fmla="*/ 100013 w 235267"/>
                <a:gd name="connsiteY0" fmla="*/ 113348 h 172402"/>
                <a:gd name="connsiteX1" fmla="*/ 28575 w 235267"/>
                <a:gd name="connsiteY1" fmla="*/ 0 h 172402"/>
                <a:gd name="connsiteX2" fmla="*/ 0 w 235267"/>
                <a:gd name="connsiteY2" fmla="*/ 4763 h 172402"/>
                <a:gd name="connsiteX3" fmla="*/ 82867 w 235267"/>
                <a:gd name="connsiteY3" fmla="*/ 137160 h 172402"/>
                <a:gd name="connsiteX4" fmla="*/ 196215 w 235267"/>
                <a:gd name="connsiteY4" fmla="*/ 172402 h 172402"/>
                <a:gd name="connsiteX5" fmla="*/ 235268 w 235267"/>
                <a:gd name="connsiteY5" fmla="*/ 168593 h 172402"/>
                <a:gd name="connsiteX6" fmla="*/ 231458 w 235267"/>
                <a:gd name="connsiteY6" fmla="*/ 140970 h 172402"/>
                <a:gd name="connsiteX7" fmla="*/ 100013 w 235267"/>
                <a:gd name="connsiteY7" fmla="*/ 113348 h 17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267" h="172402">
                  <a:moveTo>
                    <a:pt x="100013" y="113348"/>
                  </a:moveTo>
                  <a:cubicBezTo>
                    <a:pt x="61912" y="86677"/>
                    <a:pt x="37148" y="46673"/>
                    <a:pt x="28575" y="0"/>
                  </a:cubicBezTo>
                  <a:lnTo>
                    <a:pt x="0" y="4763"/>
                  </a:lnTo>
                  <a:cubicBezTo>
                    <a:pt x="9525" y="59055"/>
                    <a:pt x="38100" y="105727"/>
                    <a:pt x="82867" y="137160"/>
                  </a:cubicBezTo>
                  <a:cubicBezTo>
                    <a:pt x="116205" y="160973"/>
                    <a:pt x="155258" y="172402"/>
                    <a:pt x="196215" y="172402"/>
                  </a:cubicBezTo>
                  <a:cubicBezTo>
                    <a:pt x="209550" y="172402"/>
                    <a:pt x="221933" y="171450"/>
                    <a:pt x="235268" y="168593"/>
                  </a:cubicBezTo>
                  <a:lnTo>
                    <a:pt x="231458" y="140970"/>
                  </a:lnTo>
                  <a:cubicBezTo>
                    <a:pt x="184785" y="149543"/>
                    <a:pt x="138113" y="140018"/>
                    <a:pt x="100013" y="113348"/>
                  </a:cubicBezTo>
                  <a:close/>
                </a:path>
              </a:pathLst>
            </a:custGeom>
            <a:solidFill>
              <a:schemeClr val="bg2"/>
            </a:solidFill>
            <a:ln w="9525" cap="flat">
              <a:noFill/>
              <a:prstDash val="solid"/>
              <a:miter/>
            </a:ln>
          </p:spPr>
          <p:txBody>
            <a:bodyPr rtlCol="0" anchor="ctr"/>
            <a:lstStyle/>
            <a:p>
              <a:endParaRPr lang="en-US" dirty="0"/>
            </a:p>
          </p:txBody>
        </p:sp>
        <p:sp>
          <p:nvSpPr>
            <p:cNvPr id="308" name="Freeform: Shape 307">
              <a:extLst>
                <a:ext uri="{FF2B5EF4-FFF2-40B4-BE49-F238E27FC236}">
                  <a16:creationId xmlns:a16="http://schemas.microsoft.com/office/drawing/2014/main" id="{6CDE22F2-5BE6-15C5-CD85-4BEF75F9508A}"/>
                </a:ext>
              </a:extLst>
            </p:cNvPr>
            <p:cNvSpPr/>
            <p:nvPr/>
          </p:nvSpPr>
          <p:spPr>
            <a:xfrm>
              <a:off x="2873133" y="4247352"/>
              <a:ext cx="160020" cy="119062"/>
            </a:xfrm>
            <a:custGeom>
              <a:avLst/>
              <a:gdLst>
                <a:gd name="connsiteX0" fmla="*/ 73343 w 160020"/>
                <a:gd name="connsiteY0" fmla="*/ 71438 h 119062"/>
                <a:gd name="connsiteX1" fmla="*/ 28575 w 160020"/>
                <a:gd name="connsiteY1" fmla="*/ 0 h 119062"/>
                <a:gd name="connsiteX2" fmla="*/ 0 w 160020"/>
                <a:gd name="connsiteY2" fmla="*/ 4763 h 119062"/>
                <a:gd name="connsiteX3" fmla="*/ 56198 w 160020"/>
                <a:gd name="connsiteY3" fmla="*/ 95250 h 119062"/>
                <a:gd name="connsiteX4" fmla="*/ 133350 w 160020"/>
                <a:gd name="connsiteY4" fmla="*/ 119063 h 119062"/>
                <a:gd name="connsiteX5" fmla="*/ 160020 w 160020"/>
                <a:gd name="connsiteY5" fmla="*/ 116205 h 119062"/>
                <a:gd name="connsiteX6" fmla="*/ 156210 w 160020"/>
                <a:gd name="connsiteY6" fmla="*/ 88582 h 119062"/>
                <a:gd name="connsiteX7" fmla="*/ 73343 w 160020"/>
                <a:gd name="connsiteY7" fmla="*/ 71438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020" h="119062">
                  <a:moveTo>
                    <a:pt x="73343" y="71438"/>
                  </a:moveTo>
                  <a:cubicBezTo>
                    <a:pt x="49530" y="55245"/>
                    <a:pt x="33338" y="29527"/>
                    <a:pt x="28575" y="0"/>
                  </a:cubicBezTo>
                  <a:lnTo>
                    <a:pt x="0" y="4763"/>
                  </a:lnTo>
                  <a:cubicBezTo>
                    <a:pt x="6667" y="41910"/>
                    <a:pt x="26670" y="74295"/>
                    <a:pt x="56198" y="95250"/>
                  </a:cubicBezTo>
                  <a:cubicBezTo>
                    <a:pt x="79058" y="111443"/>
                    <a:pt x="105727" y="119063"/>
                    <a:pt x="133350" y="119063"/>
                  </a:cubicBezTo>
                  <a:cubicBezTo>
                    <a:pt x="141923" y="119063"/>
                    <a:pt x="151448" y="118110"/>
                    <a:pt x="160020" y="116205"/>
                  </a:cubicBezTo>
                  <a:lnTo>
                    <a:pt x="156210" y="88582"/>
                  </a:lnTo>
                  <a:cubicBezTo>
                    <a:pt x="126683" y="93345"/>
                    <a:pt x="97155" y="87630"/>
                    <a:pt x="73343" y="71438"/>
                  </a:cubicBezTo>
                  <a:close/>
                </a:path>
              </a:pathLst>
            </a:custGeom>
            <a:solidFill>
              <a:schemeClr val="bg2"/>
            </a:solidFill>
            <a:ln w="9525" cap="flat">
              <a:noFill/>
              <a:prstDash val="solid"/>
              <a:miter/>
            </a:ln>
          </p:spPr>
          <p:txBody>
            <a:bodyPr rtlCol="0" anchor="ctr"/>
            <a:lstStyle/>
            <a:p>
              <a:endParaRPr lang="en-US" dirty="0"/>
            </a:p>
          </p:txBody>
        </p:sp>
        <p:sp>
          <p:nvSpPr>
            <p:cNvPr id="315" name="Freeform: Shape 314">
              <a:extLst>
                <a:ext uri="{FF2B5EF4-FFF2-40B4-BE49-F238E27FC236}">
                  <a16:creationId xmlns:a16="http://schemas.microsoft.com/office/drawing/2014/main" id="{A8CD2066-F25B-824E-B0C8-574CD584B139}"/>
                </a:ext>
              </a:extLst>
            </p:cNvPr>
            <p:cNvSpPr/>
            <p:nvPr/>
          </p:nvSpPr>
          <p:spPr>
            <a:xfrm>
              <a:off x="2934093" y="4236874"/>
              <a:ext cx="89534" cy="68580"/>
            </a:xfrm>
            <a:custGeom>
              <a:avLst/>
              <a:gdLst>
                <a:gd name="connsiteX0" fmla="*/ 48577 w 89534"/>
                <a:gd name="connsiteY0" fmla="*/ 31433 h 68580"/>
                <a:gd name="connsiteX1" fmla="*/ 28575 w 89534"/>
                <a:gd name="connsiteY1" fmla="*/ 0 h 68580"/>
                <a:gd name="connsiteX2" fmla="*/ 0 w 89534"/>
                <a:gd name="connsiteY2" fmla="*/ 4763 h 68580"/>
                <a:gd name="connsiteX3" fmla="*/ 31432 w 89534"/>
                <a:gd name="connsiteY3" fmla="*/ 55245 h 68580"/>
                <a:gd name="connsiteX4" fmla="*/ 74295 w 89534"/>
                <a:gd name="connsiteY4" fmla="*/ 68580 h 68580"/>
                <a:gd name="connsiteX5" fmla="*/ 89535 w 89534"/>
                <a:gd name="connsiteY5" fmla="*/ 67628 h 68580"/>
                <a:gd name="connsiteX6" fmla="*/ 83820 w 89534"/>
                <a:gd name="connsiteY6" fmla="*/ 40005 h 68580"/>
                <a:gd name="connsiteX7" fmla="*/ 48577 w 89534"/>
                <a:gd name="connsiteY7" fmla="*/ 31433 h 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34" h="68580">
                  <a:moveTo>
                    <a:pt x="48577" y="31433"/>
                  </a:moveTo>
                  <a:cubicBezTo>
                    <a:pt x="38100" y="23813"/>
                    <a:pt x="31432" y="13335"/>
                    <a:pt x="28575" y="0"/>
                  </a:cubicBezTo>
                  <a:lnTo>
                    <a:pt x="0" y="4763"/>
                  </a:lnTo>
                  <a:cubicBezTo>
                    <a:pt x="3810" y="25718"/>
                    <a:pt x="14288" y="42863"/>
                    <a:pt x="31432" y="55245"/>
                  </a:cubicBezTo>
                  <a:cubicBezTo>
                    <a:pt x="43815" y="63818"/>
                    <a:pt x="59055" y="68580"/>
                    <a:pt x="74295" y="68580"/>
                  </a:cubicBezTo>
                  <a:cubicBezTo>
                    <a:pt x="79057" y="68580"/>
                    <a:pt x="83820" y="68580"/>
                    <a:pt x="89535" y="67628"/>
                  </a:cubicBezTo>
                  <a:lnTo>
                    <a:pt x="83820" y="40005"/>
                  </a:lnTo>
                  <a:cubicBezTo>
                    <a:pt x="71438" y="40958"/>
                    <a:pt x="59055" y="39053"/>
                    <a:pt x="48577" y="31433"/>
                  </a:cubicBezTo>
                  <a:close/>
                </a:path>
              </a:pathLst>
            </a:custGeom>
            <a:solidFill>
              <a:schemeClr val="bg2"/>
            </a:solidFill>
            <a:ln w="9525" cap="flat">
              <a:noFill/>
              <a:prstDash val="solid"/>
              <a:miter/>
            </a:ln>
          </p:spPr>
          <p:txBody>
            <a:bodyPr rtlCol="0" anchor="ctr"/>
            <a:lstStyle/>
            <a:p>
              <a:endParaRPr lang="en-US" dirty="0"/>
            </a:p>
          </p:txBody>
        </p:sp>
      </p:grpSp>
      <p:sp>
        <p:nvSpPr>
          <p:cNvPr id="317" name="Text Placeholder 81">
            <a:extLst>
              <a:ext uri="{FF2B5EF4-FFF2-40B4-BE49-F238E27FC236}">
                <a16:creationId xmlns:a16="http://schemas.microsoft.com/office/drawing/2014/main" id="{615BB156-B319-EF81-1DDE-BDD91601361F}"/>
              </a:ext>
            </a:extLst>
          </p:cNvPr>
          <p:cNvSpPr txBox="1">
            <a:spLocks/>
          </p:cNvSpPr>
          <p:nvPr/>
        </p:nvSpPr>
        <p:spPr>
          <a:xfrm>
            <a:off x="6290631" y="3257239"/>
            <a:ext cx="1097280" cy="274320"/>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Aerospace &amp; Defense, Rocket</a:t>
            </a:r>
          </a:p>
        </p:txBody>
      </p:sp>
      <p:grpSp>
        <p:nvGrpSpPr>
          <p:cNvPr id="321" name="Graphic 377">
            <a:extLst>
              <a:ext uri="{FF2B5EF4-FFF2-40B4-BE49-F238E27FC236}">
                <a16:creationId xmlns:a16="http://schemas.microsoft.com/office/drawing/2014/main" id="{0F5ACDBC-D6E5-B9CE-94A1-D50DE8A71C4F}"/>
              </a:ext>
            </a:extLst>
          </p:cNvPr>
          <p:cNvGrpSpPr/>
          <p:nvPr/>
        </p:nvGrpSpPr>
        <p:grpSpPr>
          <a:xfrm>
            <a:off x="6676975" y="3643033"/>
            <a:ext cx="343181" cy="610552"/>
            <a:chOff x="4435133" y="3859685"/>
            <a:chExt cx="343181" cy="610552"/>
          </a:xfrm>
        </p:grpSpPr>
        <p:sp>
          <p:nvSpPr>
            <p:cNvPr id="330" name="Freeform: Shape 329">
              <a:extLst>
                <a:ext uri="{FF2B5EF4-FFF2-40B4-BE49-F238E27FC236}">
                  <a16:creationId xmlns:a16="http://schemas.microsoft.com/office/drawing/2014/main" id="{5C56BC7E-F2EB-751A-3F8B-CAC7EA553AF2}"/>
                </a:ext>
              </a:extLst>
            </p:cNvPr>
            <p:cNvSpPr/>
            <p:nvPr/>
          </p:nvSpPr>
          <p:spPr>
            <a:xfrm>
              <a:off x="4435133" y="4182582"/>
              <a:ext cx="63320" cy="192404"/>
            </a:xfrm>
            <a:custGeom>
              <a:avLst/>
              <a:gdLst>
                <a:gd name="connsiteX0" fmla="*/ 37603 w 63320"/>
                <a:gd name="connsiteY0" fmla="*/ 9525 h 192404"/>
                <a:gd name="connsiteX1" fmla="*/ 35698 w 63320"/>
                <a:gd name="connsiteY1" fmla="*/ 0 h 192404"/>
                <a:gd name="connsiteX2" fmla="*/ 29031 w 63320"/>
                <a:gd name="connsiteY2" fmla="*/ 8572 h 192404"/>
                <a:gd name="connsiteX3" fmla="*/ 6171 w 63320"/>
                <a:gd name="connsiteY3" fmla="*/ 135255 h 192404"/>
                <a:gd name="connsiteX4" fmla="*/ 24268 w 63320"/>
                <a:gd name="connsiteY4" fmla="*/ 192405 h 192404"/>
                <a:gd name="connsiteX5" fmla="*/ 63321 w 63320"/>
                <a:gd name="connsiteY5" fmla="*/ 146685 h 192404"/>
                <a:gd name="connsiteX6" fmla="*/ 54748 w 63320"/>
                <a:gd name="connsiteY6" fmla="*/ 102870 h 192404"/>
                <a:gd name="connsiteX7" fmla="*/ 37603 w 63320"/>
                <a:gd name="connsiteY7" fmla="*/ 9525 h 19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20" h="192404">
                  <a:moveTo>
                    <a:pt x="37603" y="9525"/>
                  </a:moveTo>
                  <a:lnTo>
                    <a:pt x="35698" y="0"/>
                  </a:lnTo>
                  <a:lnTo>
                    <a:pt x="29031" y="8572"/>
                  </a:lnTo>
                  <a:cubicBezTo>
                    <a:pt x="1408" y="44767"/>
                    <a:pt x="-7164" y="92392"/>
                    <a:pt x="6171" y="135255"/>
                  </a:cubicBezTo>
                  <a:lnTo>
                    <a:pt x="24268" y="192405"/>
                  </a:lnTo>
                  <a:lnTo>
                    <a:pt x="63321" y="146685"/>
                  </a:lnTo>
                  <a:lnTo>
                    <a:pt x="54748" y="102870"/>
                  </a:lnTo>
                  <a:cubicBezTo>
                    <a:pt x="49033" y="73342"/>
                    <a:pt x="42366" y="41910"/>
                    <a:pt x="37603" y="9525"/>
                  </a:cubicBezTo>
                  <a:close/>
                </a:path>
              </a:pathLst>
            </a:custGeom>
            <a:solidFill>
              <a:schemeClr val="bg2"/>
            </a:solidFill>
            <a:ln w="9525" cap="flat">
              <a:noFill/>
              <a:prstDash val="solid"/>
              <a:miter/>
            </a:ln>
          </p:spPr>
          <p:txBody>
            <a:bodyPr rtlCol="0" anchor="ctr"/>
            <a:lstStyle/>
            <a:p>
              <a:endParaRPr lang="en-US" dirty="0"/>
            </a:p>
          </p:txBody>
        </p:sp>
        <p:sp>
          <p:nvSpPr>
            <p:cNvPr id="332" name="Freeform: Shape 331">
              <a:extLst>
                <a:ext uri="{FF2B5EF4-FFF2-40B4-BE49-F238E27FC236}">
                  <a16:creationId xmlns:a16="http://schemas.microsoft.com/office/drawing/2014/main" id="{747D8E07-FC41-2DD4-5C00-1F5D18B323A9}"/>
                </a:ext>
              </a:extLst>
            </p:cNvPr>
            <p:cNvSpPr/>
            <p:nvPr/>
          </p:nvSpPr>
          <p:spPr>
            <a:xfrm>
              <a:off x="4713719" y="4183535"/>
              <a:ext cx="64595" cy="190500"/>
            </a:xfrm>
            <a:custGeom>
              <a:avLst/>
              <a:gdLst>
                <a:gd name="connsiteX0" fmla="*/ 35243 w 64595"/>
                <a:gd name="connsiteY0" fmla="*/ 6668 h 190500"/>
                <a:gd name="connsiteX1" fmla="*/ 29527 w 64595"/>
                <a:gd name="connsiteY1" fmla="*/ 0 h 190500"/>
                <a:gd name="connsiteX2" fmla="*/ 3810 w 64595"/>
                <a:gd name="connsiteY2" fmla="*/ 126682 h 190500"/>
                <a:gd name="connsiteX3" fmla="*/ 0 w 64595"/>
                <a:gd name="connsiteY3" fmla="*/ 144780 h 190500"/>
                <a:gd name="connsiteX4" fmla="*/ 39052 w 64595"/>
                <a:gd name="connsiteY4" fmla="*/ 190500 h 190500"/>
                <a:gd name="connsiteX5" fmla="*/ 57150 w 64595"/>
                <a:gd name="connsiteY5" fmla="*/ 133350 h 190500"/>
                <a:gd name="connsiteX6" fmla="*/ 35243 w 64595"/>
                <a:gd name="connsiteY6" fmla="*/ 666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95" h="190500">
                  <a:moveTo>
                    <a:pt x="35243" y="6668"/>
                  </a:moveTo>
                  <a:lnTo>
                    <a:pt x="29527" y="0"/>
                  </a:lnTo>
                  <a:cubicBezTo>
                    <a:pt x="23813" y="46673"/>
                    <a:pt x="13335" y="91440"/>
                    <a:pt x="3810" y="126682"/>
                  </a:cubicBezTo>
                  <a:lnTo>
                    <a:pt x="0" y="144780"/>
                  </a:lnTo>
                  <a:lnTo>
                    <a:pt x="39052" y="190500"/>
                  </a:lnTo>
                  <a:lnTo>
                    <a:pt x="57150" y="133350"/>
                  </a:lnTo>
                  <a:cubicBezTo>
                    <a:pt x="72390" y="90488"/>
                    <a:pt x="63818" y="42863"/>
                    <a:pt x="35243" y="6668"/>
                  </a:cubicBezTo>
                  <a:close/>
                </a:path>
              </a:pathLst>
            </a:custGeom>
            <a:solidFill>
              <a:schemeClr val="bg2"/>
            </a:solidFill>
            <a:ln w="9525" cap="flat">
              <a:noFill/>
              <a:prstDash val="solid"/>
              <a:miter/>
            </a:ln>
          </p:spPr>
          <p:txBody>
            <a:bodyPr rtlCol="0" anchor="ctr"/>
            <a:lstStyle/>
            <a:p>
              <a:endParaRPr lang="en-US" dirty="0"/>
            </a:p>
          </p:txBody>
        </p:sp>
        <p:sp>
          <p:nvSpPr>
            <p:cNvPr id="335" name="Freeform: Shape 334">
              <a:extLst>
                <a:ext uri="{FF2B5EF4-FFF2-40B4-BE49-F238E27FC236}">
                  <a16:creationId xmlns:a16="http://schemas.microsoft.com/office/drawing/2014/main" id="{BB8F3BA7-E0CC-E092-9204-6C44F9965630}"/>
                </a:ext>
              </a:extLst>
            </p:cNvPr>
            <p:cNvSpPr/>
            <p:nvPr/>
          </p:nvSpPr>
          <p:spPr>
            <a:xfrm>
              <a:off x="4495596" y="3859685"/>
              <a:ext cx="225742" cy="610552"/>
            </a:xfrm>
            <a:custGeom>
              <a:avLst/>
              <a:gdLst>
                <a:gd name="connsiteX0" fmla="*/ 171450 w 225742"/>
                <a:gd name="connsiteY0" fmla="*/ 66675 h 610552"/>
                <a:gd name="connsiteX1" fmla="*/ 117157 w 225742"/>
                <a:gd name="connsiteY1" fmla="*/ 3810 h 610552"/>
                <a:gd name="connsiteX2" fmla="*/ 112395 w 225742"/>
                <a:gd name="connsiteY2" fmla="*/ 0 h 610552"/>
                <a:gd name="connsiteX3" fmla="*/ 107633 w 225742"/>
                <a:gd name="connsiteY3" fmla="*/ 3810 h 610552"/>
                <a:gd name="connsiteX4" fmla="*/ 53340 w 225742"/>
                <a:gd name="connsiteY4" fmla="*/ 66675 h 610552"/>
                <a:gd name="connsiteX5" fmla="*/ 0 w 225742"/>
                <a:gd name="connsiteY5" fmla="*/ 249555 h 610552"/>
                <a:gd name="connsiteX6" fmla="*/ 36195 w 225742"/>
                <a:gd name="connsiteY6" fmla="*/ 465773 h 610552"/>
                <a:gd name="connsiteX7" fmla="*/ 38100 w 225742"/>
                <a:gd name="connsiteY7" fmla="*/ 471488 h 610552"/>
                <a:gd name="connsiteX8" fmla="*/ 63818 w 225742"/>
                <a:gd name="connsiteY8" fmla="*/ 471488 h 610552"/>
                <a:gd name="connsiteX9" fmla="*/ 59055 w 225742"/>
                <a:gd name="connsiteY9" fmla="*/ 503873 h 610552"/>
                <a:gd name="connsiteX10" fmla="*/ 107633 w 225742"/>
                <a:gd name="connsiteY10" fmla="*/ 603885 h 610552"/>
                <a:gd name="connsiteX11" fmla="*/ 113348 w 225742"/>
                <a:gd name="connsiteY11" fmla="*/ 610553 h 610552"/>
                <a:gd name="connsiteX12" fmla="*/ 119063 w 225742"/>
                <a:gd name="connsiteY12" fmla="*/ 603885 h 610552"/>
                <a:gd name="connsiteX13" fmla="*/ 167640 w 225742"/>
                <a:gd name="connsiteY13" fmla="*/ 503873 h 610552"/>
                <a:gd name="connsiteX14" fmla="*/ 162878 w 225742"/>
                <a:gd name="connsiteY14" fmla="*/ 471488 h 610552"/>
                <a:gd name="connsiteX15" fmla="*/ 187643 w 225742"/>
                <a:gd name="connsiteY15" fmla="*/ 471488 h 610552"/>
                <a:gd name="connsiteX16" fmla="*/ 189548 w 225742"/>
                <a:gd name="connsiteY16" fmla="*/ 465773 h 610552"/>
                <a:gd name="connsiteX17" fmla="*/ 225743 w 225742"/>
                <a:gd name="connsiteY17" fmla="*/ 249555 h 610552"/>
                <a:gd name="connsiteX18" fmla="*/ 171450 w 225742"/>
                <a:gd name="connsiteY18" fmla="*/ 66675 h 610552"/>
                <a:gd name="connsiteX19" fmla="*/ 113348 w 225742"/>
                <a:gd name="connsiteY19" fmla="*/ 563880 h 610552"/>
                <a:gd name="connsiteX20" fmla="*/ 87630 w 225742"/>
                <a:gd name="connsiteY20" fmla="*/ 502920 h 610552"/>
                <a:gd name="connsiteX21" fmla="*/ 91440 w 225742"/>
                <a:gd name="connsiteY21" fmla="*/ 480060 h 610552"/>
                <a:gd name="connsiteX22" fmla="*/ 95250 w 225742"/>
                <a:gd name="connsiteY22" fmla="*/ 469583 h 610552"/>
                <a:gd name="connsiteX23" fmla="*/ 110490 w 225742"/>
                <a:gd name="connsiteY23" fmla="*/ 469583 h 610552"/>
                <a:gd name="connsiteX24" fmla="*/ 117157 w 225742"/>
                <a:gd name="connsiteY24" fmla="*/ 469583 h 610552"/>
                <a:gd name="connsiteX25" fmla="*/ 132398 w 225742"/>
                <a:gd name="connsiteY25" fmla="*/ 469583 h 610552"/>
                <a:gd name="connsiteX26" fmla="*/ 136208 w 225742"/>
                <a:gd name="connsiteY26" fmla="*/ 480060 h 610552"/>
                <a:gd name="connsiteX27" fmla="*/ 140018 w 225742"/>
                <a:gd name="connsiteY27" fmla="*/ 502920 h 610552"/>
                <a:gd name="connsiteX28" fmla="*/ 113348 w 225742"/>
                <a:gd name="connsiteY28" fmla="*/ 563880 h 610552"/>
                <a:gd name="connsiteX29" fmla="*/ 160973 w 225742"/>
                <a:gd name="connsiteY29" fmla="*/ 303848 h 610552"/>
                <a:gd name="connsiteX30" fmla="*/ 112395 w 225742"/>
                <a:gd name="connsiteY30" fmla="*/ 332423 h 610552"/>
                <a:gd name="connsiteX31" fmla="*/ 63818 w 225742"/>
                <a:gd name="connsiteY31" fmla="*/ 303848 h 610552"/>
                <a:gd name="connsiteX32" fmla="*/ 63818 w 225742"/>
                <a:gd name="connsiteY32" fmla="*/ 247650 h 610552"/>
                <a:gd name="connsiteX33" fmla="*/ 112395 w 225742"/>
                <a:gd name="connsiteY33" fmla="*/ 219075 h 610552"/>
                <a:gd name="connsiteX34" fmla="*/ 160973 w 225742"/>
                <a:gd name="connsiteY34" fmla="*/ 247650 h 610552"/>
                <a:gd name="connsiteX35" fmla="*/ 160973 w 225742"/>
                <a:gd name="connsiteY35" fmla="*/ 303848 h 610552"/>
                <a:gd name="connsiteX36" fmla="*/ 152400 w 225742"/>
                <a:gd name="connsiteY36" fmla="*/ 120015 h 610552"/>
                <a:gd name="connsiteX37" fmla="*/ 139065 w 225742"/>
                <a:gd name="connsiteY37" fmla="*/ 124778 h 610552"/>
                <a:gd name="connsiteX38" fmla="*/ 112395 w 225742"/>
                <a:gd name="connsiteY38" fmla="*/ 128588 h 610552"/>
                <a:gd name="connsiteX39" fmla="*/ 85725 w 225742"/>
                <a:gd name="connsiteY39" fmla="*/ 124778 h 610552"/>
                <a:gd name="connsiteX40" fmla="*/ 72390 w 225742"/>
                <a:gd name="connsiteY40" fmla="*/ 120015 h 610552"/>
                <a:gd name="connsiteX41" fmla="*/ 59055 w 225742"/>
                <a:gd name="connsiteY41" fmla="*/ 114300 h 610552"/>
                <a:gd name="connsiteX42" fmla="*/ 64770 w 225742"/>
                <a:gd name="connsiteY42" fmla="*/ 102870 h 610552"/>
                <a:gd name="connsiteX43" fmla="*/ 65723 w 225742"/>
                <a:gd name="connsiteY43" fmla="*/ 100965 h 610552"/>
                <a:gd name="connsiteX44" fmla="*/ 66675 w 225742"/>
                <a:gd name="connsiteY44" fmla="*/ 98108 h 610552"/>
                <a:gd name="connsiteX45" fmla="*/ 68580 w 225742"/>
                <a:gd name="connsiteY45" fmla="*/ 94298 h 610552"/>
                <a:gd name="connsiteX46" fmla="*/ 70485 w 225742"/>
                <a:gd name="connsiteY46" fmla="*/ 91440 h 610552"/>
                <a:gd name="connsiteX47" fmla="*/ 76200 w 225742"/>
                <a:gd name="connsiteY47" fmla="*/ 81915 h 610552"/>
                <a:gd name="connsiteX48" fmla="*/ 112395 w 225742"/>
                <a:gd name="connsiteY48" fmla="*/ 38100 h 610552"/>
                <a:gd name="connsiteX49" fmla="*/ 147638 w 225742"/>
                <a:gd name="connsiteY49" fmla="*/ 81915 h 610552"/>
                <a:gd name="connsiteX50" fmla="*/ 153353 w 225742"/>
                <a:gd name="connsiteY50" fmla="*/ 91440 h 610552"/>
                <a:gd name="connsiteX51" fmla="*/ 157163 w 225742"/>
                <a:gd name="connsiteY51" fmla="*/ 98108 h 610552"/>
                <a:gd name="connsiteX52" fmla="*/ 157163 w 225742"/>
                <a:gd name="connsiteY52" fmla="*/ 98108 h 610552"/>
                <a:gd name="connsiteX53" fmla="*/ 158115 w 225742"/>
                <a:gd name="connsiteY53" fmla="*/ 100013 h 610552"/>
                <a:gd name="connsiteX54" fmla="*/ 159068 w 225742"/>
                <a:gd name="connsiteY54" fmla="*/ 101918 h 610552"/>
                <a:gd name="connsiteX55" fmla="*/ 164783 w 225742"/>
                <a:gd name="connsiteY55" fmla="*/ 113348 h 610552"/>
                <a:gd name="connsiteX56" fmla="*/ 152400 w 225742"/>
                <a:gd name="connsiteY56" fmla="*/ 120015 h 610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25742" h="610552">
                  <a:moveTo>
                    <a:pt x="171450" y="66675"/>
                  </a:moveTo>
                  <a:cubicBezTo>
                    <a:pt x="144780" y="25718"/>
                    <a:pt x="118110" y="4763"/>
                    <a:pt x="117157" y="3810"/>
                  </a:cubicBezTo>
                  <a:lnTo>
                    <a:pt x="112395" y="0"/>
                  </a:lnTo>
                  <a:lnTo>
                    <a:pt x="107633" y="3810"/>
                  </a:lnTo>
                  <a:cubicBezTo>
                    <a:pt x="106680" y="4763"/>
                    <a:pt x="80010" y="25718"/>
                    <a:pt x="53340" y="66675"/>
                  </a:cubicBezTo>
                  <a:cubicBezTo>
                    <a:pt x="28575" y="104775"/>
                    <a:pt x="0" y="166688"/>
                    <a:pt x="0" y="249555"/>
                  </a:cubicBezTo>
                  <a:cubicBezTo>
                    <a:pt x="0" y="329565"/>
                    <a:pt x="20955" y="411480"/>
                    <a:pt x="36195" y="465773"/>
                  </a:cubicBezTo>
                  <a:lnTo>
                    <a:pt x="38100" y="471488"/>
                  </a:lnTo>
                  <a:lnTo>
                    <a:pt x="63818" y="471488"/>
                  </a:lnTo>
                  <a:cubicBezTo>
                    <a:pt x="60960" y="481013"/>
                    <a:pt x="59055" y="491490"/>
                    <a:pt x="59055" y="503873"/>
                  </a:cubicBezTo>
                  <a:cubicBezTo>
                    <a:pt x="59055" y="548640"/>
                    <a:pt x="105728" y="601980"/>
                    <a:pt x="107633" y="603885"/>
                  </a:cubicBezTo>
                  <a:lnTo>
                    <a:pt x="113348" y="610553"/>
                  </a:lnTo>
                  <a:lnTo>
                    <a:pt x="119063" y="603885"/>
                  </a:lnTo>
                  <a:cubicBezTo>
                    <a:pt x="120968" y="601980"/>
                    <a:pt x="167640" y="548640"/>
                    <a:pt x="167640" y="503873"/>
                  </a:cubicBezTo>
                  <a:cubicBezTo>
                    <a:pt x="167640" y="491490"/>
                    <a:pt x="165735" y="481013"/>
                    <a:pt x="162878" y="471488"/>
                  </a:cubicBezTo>
                  <a:lnTo>
                    <a:pt x="187643" y="471488"/>
                  </a:lnTo>
                  <a:lnTo>
                    <a:pt x="189548" y="465773"/>
                  </a:lnTo>
                  <a:cubicBezTo>
                    <a:pt x="204788" y="411480"/>
                    <a:pt x="225743" y="329565"/>
                    <a:pt x="225743" y="249555"/>
                  </a:cubicBezTo>
                  <a:cubicBezTo>
                    <a:pt x="224790" y="166688"/>
                    <a:pt x="195263" y="103823"/>
                    <a:pt x="171450" y="66675"/>
                  </a:cubicBezTo>
                  <a:close/>
                  <a:moveTo>
                    <a:pt x="113348" y="563880"/>
                  </a:moveTo>
                  <a:cubicBezTo>
                    <a:pt x="100013" y="544830"/>
                    <a:pt x="87630" y="520065"/>
                    <a:pt x="87630" y="502920"/>
                  </a:cubicBezTo>
                  <a:cubicBezTo>
                    <a:pt x="87630" y="494348"/>
                    <a:pt x="88583" y="486728"/>
                    <a:pt x="91440" y="480060"/>
                  </a:cubicBezTo>
                  <a:lnTo>
                    <a:pt x="95250" y="469583"/>
                  </a:lnTo>
                  <a:lnTo>
                    <a:pt x="110490" y="469583"/>
                  </a:lnTo>
                  <a:lnTo>
                    <a:pt x="117157" y="469583"/>
                  </a:lnTo>
                  <a:lnTo>
                    <a:pt x="132398" y="469583"/>
                  </a:lnTo>
                  <a:lnTo>
                    <a:pt x="136208" y="480060"/>
                  </a:lnTo>
                  <a:cubicBezTo>
                    <a:pt x="138113" y="486728"/>
                    <a:pt x="140018" y="494348"/>
                    <a:pt x="140018" y="502920"/>
                  </a:cubicBezTo>
                  <a:cubicBezTo>
                    <a:pt x="139065" y="521018"/>
                    <a:pt x="125730" y="544830"/>
                    <a:pt x="113348" y="563880"/>
                  </a:cubicBezTo>
                  <a:close/>
                  <a:moveTo>
                    <a:pt x="160973" y="303848"/>
                  </a:moveTo>
                  <a:lnTo>
                    <a:pt x="112395" y="332423"/>
                  </a:lnTo>
                  <a:lnTo>
                    <a:pt x="63818" y="303848"/>
                  </a:lnTo>
                  <a:lnTo>
                    <a:pt x="63818" y="247650"/>
                  </a:lnTo>
                  <a:lnTo>
                    <a:pt x="112395" y="219075"/>
                  </a:lnTo>
                  <a:lnTo>
                    <a:pt x="160973" y="247650"/>
                  </a:lnTo>
                  <a:lnTo>
                    <a:pt x="160973" y="303848"/>
                  </a:lnTo>
                  <a:close/>
                  <a:moveTo>
                    <a:pt x="152400" y="120015"/>
                  </a:moveTo>
                  <a:cubicBezTo>
                    <a:pt x="147638" y="121920"/>
                    <a:pt x="143828" y="122873"/>
                    <a:pt x="139065" y="124778"/>
                  </a:cubicBezTo>
                  <a:cubicBezTo>
                    <a:pt x="130493" y="126683"/>
                    <a:pt x="121920" y="128588"/>
                    <a:pt x="112395" y="128588"/>
                  </a:cubicBezTo>
                  <a:cubicBezTo>
                    <a:pt x="103823" y="128588"/>
                    <a:pt x="94298" y="127635"/>
                    <a:pt x="85725" y="124778"/>
                  </a:cubicBezTo>
                  <a:cubicBezTo>
                    <a:pt x="80963" y="123825"/>
                    <a:pt x="76200" y="121920"/>
                    <a:pt x="72390" y="120015"/>
                  </a:cubicBezTo>
                  <a:cubicBezTo>
                    <a:pt x="67628" y="118110"/>
                    <a:pt x="63818" y="116205"/>
                    <a:pt x="59055" y="114300"/>
                  </a:cubicBezTo>
                  <a:cubicBezTo>
                    <a:pt x="60960" y="110490"/>
                    <a:pt x="62865" y="106680"/>
                    <a:pt x="64770" y="102870"/>
                  </a:cubicBezTo>
                  <a:cubicBezTo>
                    <a:pt x="64770" y="101918"/>
                    <a:pt x="65723" y="101918"/>
                    <a:pt x="65723" y="100965"/>
                  </a:cubicBezTo>
                  <a:cubicBezTo>
                    <a:pt x="65723" y="100013"/>
                    <a:pt x="66675" y="99060"/>
                    <a:pt x="66675" y="98108"/>
                  </a:cubicBezTo>
                  <a:cubicBezTo>
                    <a:pt x="67628" y="97155"/>
                    <a:pt x="68580" y="95250"/>
                    <a:pt x="68580" y="94298"/>
                  </a:cubicBezTo>
                  <a:cubicBezTo>
                    <a:pt x="69533" y="93345"/>
                    <a:pt x="69533" y="92393"/>
                    <a:pt x="70485" y="91440"/>
                  </a:cubicBezTo>
                  <a:cubicBezTo>
                    <a:pt x="72390" y="88583"/>
                    <a:pt x="74295" y="84773"/>
                    <a:pt x="76200" y="81915"/>
                  </a:cubicBezTo>
                  <a:cubicBezTo>
                    <a:pt x="90488" y="61913"/>
                    <a:pt x="102870" y="47625"/>
                    <a:pt x="112395" y="38100"/>
                  </a:cubicBezTo>
                  <a:cubicBezTo>
                    <a:pt x="121920" y="47625"/>
                    <a:pt x="134303" y="61913"/>
                    <a:pt x="147638" y="81915"/>
                  </a:cubicBezTo>
                  <a:cubicBezTo>
                    <a:pt x="149543" y="84773"/>
                    <a:pt x="151448" y="88583"/>
                    <a:pt x="153353" y="91440"/>
                  </a:cubicBezTo>
                  <a:cubicBezTo>
                    <a:pt x="154305" y="93345"/>
                    <a:pt x="156210" y="95250"/>
                    <a:pt x="157163" y="98108"/>
                  </a:cubicBezTo>
                  <a:cubicBezTo>
                    <a:pt x="157163" y="98108"/>
                    <a:pt x="157163" y="98108"/>
                    <a:pt x="157163" y="98108"/>
                  </a:cubicBezTo>
                  <a:cubicBezTo>
                    <a:pt x="157163" y="99060"/>
                    <a:pt x="158115" y="100013"/>
                    <a:pt x="158115" y="100013"/>
                  </a:cubicBezTo>
                  <a:cubicBezTo>
                    <a:pt x="158115" y="100965"/>
                    <a:pt x="159068" y="100965"/>
                    <a:pt x="159068" y="101918"/>
                  </a:cubicBezTo>
                  <a:cubicBezTo>
                    <a:pt x="160973" y="105728"/>
                    <a:pt x="162878" y="109538"/>
                    <a:pt x="164783" y="113348"/>
                  </a:cubicBezTo>
                  <a:cubicBezTo>
                    <a:pt x="160973" y="116205"/>
                    <a:pt x="157163" y="118110"/>
                    <a:pt x="152400" y="120015"/>
                  </a:cubicBezTo>
                  <a:close/>
                </a:path>
              </a:pathLst>
            </a:custGeom>
            <a:solidFill>
              <a:srgbClr val="3D4647"/>
            </a:solidFill>
            <a:ln w="9525" cap="flat">
              <a:noFill/>
              <a:prstDash val="solid"/>
              <a:miter/>
            </a:ln>
          </p:spPr>
          <p:txBody>
            <a:bodyPr rtlCol="0" anchor="ctr"/>
            <a:lstStyle/>
            <a:p>
              <a:endParaRPr lang="en-US" dirty="0"/>
            </a:p>
          </p:txBody>
        </p:sp>
      </p:grpSp>
      <p:pic>
        <p:nvPicPr>
          <p:cNvPr id="339" name="Graphic 338">
            <a:extLst>
              <a:ext uri="{FF2B5EF4-FFF2-40B4-BE49-F238E27FC236}">
                <a16:creationId xmlns:a16="http://schemas.microsoft.com/office/drawing/2014/main" id="{92FEE525-3C15-0B57-924C-0A809A98BA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58896" y="3356633"/>
            <a:ext cx="609600" cy="609600"/>
          </a:xfrm>
          <a:prstGeom prst="rect">
            <a:avLst/>
          </a:prstGeom>
        </p:spPr>
      </p:pic>
      <p:pic>
        <p:nvPicPr>
          <p:cNvPr id="341" name="Graphic 340">
            <a:extLst>
              <a:ext uri="{FF2B5EF4-FFF2-40B4-BE49-F238E27FC236}">
                <a16:creationId xmlns:a16="http://schemas.microsoft.com/office/drawing/2014/main" id="{FACDC0D9-C96F-AD69-5E08-EE8B4D95C8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40466" y="3577538"/>
            <a:ext cx="609600" cy="609600"/>
          </a:xfrm>
          <a:prstGeom prst="rect">
            <a:avLst/>
          </a:prstGeom>
        </p:spPr>
      </p:pic>
      <p:sp>
        <p:nvSpPr>
          <p:cNvPr id="343" name="Text Placeholder 81">
            <a:extLst>
              <a:ext uri="{FF2B5EF4-FFF2-40B4-BE49-F238E27FC236}">
                <a16:creationId xmlns:a16="http://schemas.microsoft.com/office/drawing/2014/main" id="{F7D71FA1-2F78-A201-81FC-32DC68528379}"/>
              </a:ext>
            </a:extLst>
          </p:cNvPr>
          <p:cNvSpPr txBox="1">
            <a:spLocks/>
          </p:cNvSpPr>
          <p:nvPr/>
        </p:nvSpPr>
        <p:spPr>
          <a:xfrm>
            <a:off x="7650319" y="3325150"/>
            <a:ext cx="1049972" cy="1384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Wind Turbine</a:t>
            </a:r>
          </a:p>
        </p:txBody>
      </p:sp>
      <p:sp>
        <p:nvSpPr>
          <p:cNvPr id="345" name="Text Placeholder 81">
            <a:extLst>
              <a:ext uri="{FF2B5EF4-FFF2-40B4-BE49-F238E27FC236}">
                <a16:creationId xmlns:a16="http://schemas.microsoft.com/office/drawing/2014/main" id="{4ECCCD28-1976-44BE-ACEF-01C80DDDF552}"/>
              </a:ext>
            </a:extLst>
          </p:cNvPr>
          <p:cNvSpPr txBox="1">
            <a:spLocks/>
          </p:cNvSpPr>
          <p:nvPr/>
        </p:nvSpPr>
        <p:spPr>
          <a:xfrm>
            <a:off x="162479" y="3296685"/>
            <a:ext cx="1136506" cy="3046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achine,   </a:t>
            </a:r>
            <a:br>
              <a:rPr lang="en-US" dirty="0"/>
            </a:br>
            <a:r>
              <a:rPr lang="en-US" dirty="0"/>
              <a:t>Robot Arm</a:t>
            </a:r>
          </a:p>
        </p:txBody>
      </p:sp>
      <p:grpSp>
        <p:nvGrpSpPr>
          <p:cNvPr id="21" name="Group 20">
            <a:extLst>
              <a:ext uri="{FF2B5EF4-FFF2-40B4-BE49-F238E27FC236}">
                <a16:creationId xmlns:a16="http://schemas.microsoft.com/office/drawing/2014/main" id="{C77B5BAE-3963-8F29-1CFE-2CA3BA725896}"/>
              </a:ext>
            </a:extLst>
          </p:cNvPr>
          <p:cNvGrpSpPr/>
          <p:nvPr/>
        </p:nvGrpSpPr>
        <p:grpSpPr>
          <a:xfrm>
            <a:off x="455459" y="3672837"/>
            <a:ext cx="549973" cy="609599"/>
            <a:chOff x="455459" y="3672837"/>
            <a:chExt cx="549973" cy="609599"/>
          </a:xfrm>
        </p:grpSpPr>
        <p:sp>
          <p:nvSpPr>
            <p:cNvPr id="280" name="Freeform: Shape 279">
              <a:extLst>
                <a:ext uri="{FF2B5EF4-FFF2-40B4-BE49-F238E27FC236}">
                  <a16:creationId xmlns:a16="http://schemas.microsoft.com/office/drawing/2014/main" id="{210C512C-C67F-783B-0F91-CA499F98891A}"/>
                </a:ext>
              </a:extLst>
            </p:cNvPr>
            <p:cNvSpPr/>
            <p:nvPr/>
          </p:nvSpPr>
          <p:spPr>
            <a:xfrm>
              <a:off x="805902" y="3803329"/>
              <a:ext cx="199530" cy="202724"/>
            </a:xfrm>
            <a:custGeom>
              <a:avLst/>
              <a:gdLst>
                <a:gd name="connsiteX0" fmla="*/ 194387 w 199530"/>
                <a:gd name="connsiteY0" fmla="*/ 119063 h 202724"/>
                <a:gd name="connsiteX1" fmla="*/ 151525 w 199530"/>
                <a:gd name="connsiteY1" fmla="*/ 88583 h 202724"/>
                <a:gd name="connsiteX2" fmla="*/ 155335 w 199530"/>
                <a:gd name="connsiteY2" fmla="*/ 81915 h 202724"/>
                <a:gd name="connsiteX3" fmla="*/ 126760 w 199530"/>
                <a:gd name="connsiteY3" fmla="*/ 54293 h 202724"/>
                <a:gd name="connsiteX4" fmla="*/ 126760 w 199530"/>
                <a:gd name="connsiteY4" fmla="*/ 0 h 202724"/>
                <a:gd name="connsiteX5" fmla="*/ 95327 w 199530"/>
                <a:gd name="connsiteY5" fmla="*/ 6667 h 202724"/>
                <a:gd name="connsiteX6" fmla="*/ 69610 w 199530"/>
                <a:gd name="connsiteY6" fmla="*/ 2858 h 202724"/>
                <a:gd name="connsiteX7" fmla="*/ 69610 w 199530"/>
                <a:gd name="connsiteY7" fmla="*/ 55245 h 202724"/>
                <a:gd name="connsiteX8" fmla="*/ 69610 w 199530"/>
                <a:gd name="connsiteY8" fmla="*/ 55245 h 202724"/>
                <a:gd name="connsiteX9" fmla="*/ 41035 w 199530"/>
                <a:gd name="connsiteY9" fmla="*/ 82868 h 202724"/>
                <a:gd name="connsiteX10" fmla="*/ 45797 w 199530"/>
                <a:gd name="connsiteY10" fmla="*/ 91440 h 202724"/>
                <a:gd name="connsiteX11" fmla="*/ 5792 w 199530"/>
                <a:gd name="connsiteY11" fmla="*/ 120015 h 202724"/>
                <a:gd name="connsiteX12" fmla="*/ 1982 w 199530"/>
                <a:gd name="connsiteY12" fmla="*/ 137160 h 202724"/>
                <a:gd name="connsiteX13" fmla="*/ 36272 w 199530"/>
                <a:gd name="connsiteY13" fmla="*/ 200025 h 202724"/>
                <a:gd name="connsiteX14" fmla="*/ 45797 w 199530"/>
                <a:gd name="connsiteY14" fmla="*/ 197168 h 202724"/>
                <a:gd name="connsiteX15" fmla="*/ 40082 w 199530"/>
                <a:gd name="connsiteY15" fmla="*/ 142875 h 202724"/>
                <a:gd name="connsiteX16" fmla="*/ 65800 w 199530"/>
                <a:gd name="connsiteY16" fmla="*/ 125730 h 202724"/>
                <a:gd name="connsiteX17" fmla="*/ 69610 w 199530"/>
                <a:gd name="connsiteY17" fmla="*/ 132398 h 202724"/>
                <a:gd name="connsiteX18" fmla="*/ 126760 w 199530"/>
                <a:gd name="connsiteY18" fmla="*/ 132398 h 202724"/>
                <a:gd name="connsiteX19" fmla="*/ 131522 w 199530"/>
                <a:gd name="connsiteY19" fmla="*/ 123825 h 202724"/>
                <a:gd name="connsiteX20" fmla="*/ 159145 w 199530"/>
                <a:gd name="connsiteY20" fmla="*/ 142875 h 202724"/>
                <a:gd name="connsiteX21" fmla="*/ 153430 w 199530"/>
                <a:gd name="connsiteY21" fmla="*/ 196215 h 202724"/>
                <a:gd name="connsiteX22" fmla="*/ 162955 w 199530"/>
                <a:gd name="connsiteY22" fmla="*/ 199072 h 202724"/>
                <a:gd name="connsiteX23" fmla="*/ 197245 w 199530"/>
                <a:gd name="connsiteY23" fmla="*/ 136208 h 202724"/>
                <a:gd name="connsiteX24" fmla="*/ 194387 w 199530"/>
                <a:gd name="connsiteY24" fmla="*/ 119063 h 20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9530" h="202724">
                  <a:moveTo>
                    <a:pt x="194387" y="119063"/>
                  </a:moveTo>
                  <a:lnTo>
                    <a:pt x="151525" y="88583"/>
                  </a:lnTo>
                  <a:lnTo>
                    <a:pt x="155335" y="81915"/>
                  </a:lnTo>
                  <a:lnTo>
                    <a:pt x="126760" y="54293"/>
                  </a:lnTo>
                  <a:lnTo>
                    <a:pt x="126760" y="0"/>
                  </a:lnTo>
                  <a:cubicBezTo>
                    <a:pt x="117235" y="3810"/>
                    <a:pt x="106757" y="6667"/>
                    <a:pt x="95327" y="6667"/>
                  </a:cubicBezTo>
                  <a:cubicBezTo>
                    <a:pt x="86755" y="6667"/>
                    <a:pt x="77230" y="4763"/>
                    <a:pt x="69610" y="2858"/>
                  </a:cubicBezTo>
                  <a:lnTo>
                    <a:pt x="69610" y="55245"/>
                  </a:lnTo>
                  <a:lnTo>
                    <a:pt x="69610" y="55245"/>
                  </a:lnTo>
                  <a:lnTo>
                    <a:pt x="41035" y="82868"/>
                  </a:lnTo>
                  <a:lnTo>
                    <a:pt x="45797" y="91440"/>
                  </a:lnTo>
                  <a:lnTo>
                    <a:pt x="5792" y="120015"/>
                  </a:lnTo>
                  <a:cubicBezTo>
                    <a:pt x="77" y="123825"/>
                    <a:pt x="-1828" y="131445"/>
                    <a:pt x="1982" y="137160"/>
                  </a:cubicBezTo>
                  <a:lnTo>
                    <a:pt x="36272" y="200025"/>
                  </a:lnTo>
                  <a:cubicBezTo>
                    <a:pt x="39130" y="204788"/>
                    <a:pt x="46750" y="202883"/>
                    <a:pt x="45797" y="197168"/>
                  </a:cubicBezTo>
                  <a:lnTo>
                    <a:pt x="40082" y="142875"/>
                  </a:lnTo>
                  <a:lnTo>
                    <a:pt x="65800" y="125730"/>
                  </a:lnTo>
                  <a:lnTo>
                    <a:pt x="69610" y="132398"/>
                  </a:lnTo>
                  <a:lnTo>
                    <a:pt x="126760" y="132398"/>
                  </a:lnTo>
                  <a:lnTo>
                    <a:pt x="131522" y="123825"/>
                  </a:lnTo>
                  <a:lnTo>
                    <a:pt x="159145" y="142875"/>
                  </a:lnTo>
                  <a:lnTo>
                    <a:pt x="153430" y="196215"/>
                  </a:lnTo>
                  <a:cubicBezTo>
                    <a:pt x="152477" y="201930"/>
                    <a:pt x="160097" y="203835"/>
                    <a:pt x="162955" y="199072"/>
                  </a:cubicBezTo>
                  <a:lnTo>
                    <a:pt x="197245" y="136208"/>
                  </a:lnTo>
                  <a:cubicBezTo>
                    <a:pt x="201055" y="130493"/>
                    <a:pt x="200102" y="122873"/>
                    <a:pt x="194387" y="119063"/>
                  </a:cubicBezTo>
                  <a:close/>
                </a:path>
              </a:pathLst>
            </a:custGeom>
            <a:solidFill>
              <a:schemeClr val="tx1"/>
            </a:solidFill>
            <a:ln w="9525" cap="flat">
              <a:noFill/>
              <a:prstDash val="solid"/>
              <a:miter/>
            </a:ln>
          </p:spPr>
          <p:txBody>
            <a:bodyPr rtlCol="0" anchor="ctr"/>
            <a:lstStyle/>
            <a:p>
              <a:endParaRPr lang="en-US" dirty="0"/>
            </a:p>
          </p:txBody>
        </p:sp>
        <p:sp>
          <p:nvSpPr>
            <p:cNvPr id="283" name="Freeform: Shape 282">
              <a:extLst>
                <a:ext uri="{FF2B5EF4-FFF2-40B4-BE49-F238E27FC236}">
                  <a16:creationId xmlns:a16="http://schemas.microsoft.com/office/drawing/2014/main" id="{FB0D55F0-3959-547D-5C37-D263B8935948}"/>
                </a:ext>
              </a:extLst>
            </p:cNvPr>
            <p:cNvSpPr/>
            <p:nvPr/>
          </p:nvSpPr>
          <p:spPr>
            <a:xfrm>
              <a:off x="846937" y="3672837"/>
              <a:ext cx="108584" cy="108584"/>
            </a:xfrm>
            <a:custGeom>
              <a:avLst/>
              <a:gdLst>
                <a:gd name="connsiteX0" fmla="*/ 54293 w 108584"/>
                <a:gd name="connsiteY0" fmla="*/ 0 h 108584"/>
                <a:gd name="connsiteX1" fmla="*/ 20955 w 108584"/>
                <a:gd name="connsiteY1" fmla="*/ 11430 h 108584"/>
                <a:gd name="connsiteX2" fmla="*/ 1905 w 108584"/>
                <a:gd name="connsiteY2" fmla="*/ 40005 h 108584"/>
                <a:gd name="connsiteX3" fmla="*/ 0 w 108584"/>
                <a:gd name="connsiteY3" fmla="*/ 54293 h 108584"/>
                <a:gd name="connsiteX4" fmla="*/ 1905 w 108584"/>
                <a:gd name="connsiteY4" fmla="*/ 68580 h 108584"/>
                <a:gd name="connsiteX5" fmla="*/ 20955 w 108584"/>
                <a:gd name="connsiteY5" fmla="*/ 97155 h 108584"/>
                <a:gd name="connsiteX6" fmla="*/ 28575 w 108584"/>
                <a:gd name="connsiteY6" fmla="*/ 101918 h 108584"/>
                <a:gd name="connsiteX7" fmla="*/ 54293 w 108584"/>
                <a:gd name="connsiteY7" fmla="*/ 108585 h 108584"/>
                <a:gd name="connsiteX8" fmla="*/ 85725 w 108584"/>
                <a:gd name="connsiteY8" fmla="*/ 98108 h 108584"/>
                <a:gd name="connsiteX9" fmla="*/ 108585 w 108584"/>
                <a:gd name="connsiteY9" fmla="*/ 54293 h 108584"/>
                <a:gd name="connsiteX10" fmla="*/ 54293 w 108584"/>
                <a:gd name="connsiteY10" fmla="*/ 0 h 108584"/>
                <a:gd name="connsiteX11" fmla="*/ 54293 w 108584"/>
                <a:gd name="connsiteY11" fmla="*/ 70485 h 108584"/>
                <a:gd name="connsiteX12" fmla="*/ 40005 w 108584"/>
                <a:gd name="connsiteY12" fmla="*/ 61913 h 108584"/>
                <a:gd name="connsiteX13" fmla="*/ 38100 w 108584"/>
                <a:gd name="connsiteY13" fmla="*/ 55245 h 108584"/>
                <a:gd name="connsiteX14" fmla="*/ 40005 w 108584"/>
                <a:gd name="connsiteY14" fmla="*/ 48578 h 108584"/>
                <a:gd name="connsiteX15" fmla="*/ 50482 w 108584"/>
                <a:gd name="connsiteY15" fmla="*/ 40005 h 108584"/>
                <a:gd name="connsiteX16" fmla="*/ 54293 w 108584"/>
                <a:gd name="connsiteY16" fmla="*/ 39053 h 108584"/>
                <a:gd name="connsiteX17" fmla="*/ 58102 w 108584"/>
                <a:gd name="connsiteY17" fmla="*/ 40005 h 108584"/>
                <a:gd name="connsiteX18" fmla="*/ 69532 w 108584"/>
                <a:gd name="connsiteY18" fmla="*/ 55245 h 108584"/>
                <a:gd name="connsiteX19" fmla="*/ 54293 w 108584"/>
                <a:gd name="connsiteY19" fmla="*/ 70485 h 10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584" h="108584">
                  <a:moveTo>
                    <a:pt x="54293" y="0"/>
                  </a:moveTo>
                  <a:cubicBezTo>
                    <a:pt x="41910" y="0"/>
                    <a:pt x="30480" y="4763"/>
                    <a:pt x="20955" y="11430"/>
                  </a:cubicBezTo>
                  <a:cubicBezTo>
                    <a:pt x="12382" y="18098"/>
                    <a:pt x="4763" y="28575"/>
                    <a:pt x="1905" y="40005"/>
                  </a:cubicBezTo>
                  <a:cubicBezTo>
                    <a:pt x="952" y="44768"/>
                    <a:pt x="0" y="49530"/>
                    <a:pt x="0" y="54293"/>
                  </a:cubicBezTo>
                  <a:cubicBezTo>
                    <a:pt x="0" y="59055"/>
                    <a:pt x="952" y="63818"/>
                    <a:pt x="1905" y="68580"/>
                  </a:cubicBezTo>
                  <a:cubicBezTo>
                    <a:pt x="4763" y="80010"/>
                    <a:pt x="11430" y="89535"/>
                    <a:pt x="20955" y="97155"/>
                  </a:cubicBezTo>
                  <a:cubicBezTo>
                    <a:pt x="22860" y="99060"/>
                    <a:pt x="25718" y="100965"/>
                    <a:pt x="28575" y="101918"/>
                  </a:cubicBezTo>
                  <a:cubicBezTo>
                    <a:pt x="36195" y="105728"/>
                    <a:pt x="44768" y="108585"/>
                    <a:pt x="54293" y="108585"/>
                  </a:cubicBezTo>
                  <a:cubicBezTo>
                    <a:pt x="65722" y="108585"/>
                    <a:pt x="77152" y="104775"/>
                    <a:pt x="85725" y="98108"/>
                  </a:cubicBezTo>
                  <a:cubicBezTo>
                    <a:pt x="99060" y="88583"/>
                    <a:pt x="108585" y="72390"/>
                    <a:pt x="108585" y="54293"/>
                  </a:cubicBezTo>
                  <a:cubicBezTo>
                    <a:pt x="108585" y="24765"/>
                    <a:pt x="84772" y="0"/>
                    <a:pt x="54293" y="0"/>
                  </a:cubicBezTo>
                  <a:close/>
                  <a:moveTo>
                    <a:pt x="54293" y="70485"/>
                  </a:moveTo>
                  <a:cubicBezTo>
                    <a:pt x="47625" y="70485"/>
                    <a:pt x="42863" y="66675"/>
                    <a:pt x="40005" y="61913"/>
                  </a:cubicBezTo>
                  <a:cubicBezTo>
                    <a:pt x="39052" y="60008"/>
                    <a:pt x="38100" y="57150"/>
                    <a:pt x="38100" y="55245"/>
                  </a:cubicBezTo>
                  <a:cubicBezTo>
                    <a:pt x="38100" y="52388"/>
                    <a:pt x="39052" y="50483"/>
                    <a:pt x="40005" y="48578"/>
                  </a:cubicBezTo>
                  <a:cubicBezTo>
                    <a:pt x="41910" y="44768"/>
                    <a:pt x="45720" y="41910"/>
                    <a:pt x="50482" y="40005"/>
                  </a:cubicBezTo>
                  <a:cubicBezTo>
                    <a:pt x="51435" y="40005"/>
                    <a:pt x="53340" y="39053"/>
                    <a:pt x="54293" y="39053"/>
                  </a:cubicBezTo>
                  <a:cubicBezTo>
                    <a:pt x="55245" y="39053"/>
                    <a:pt x="57150" y="39053"/>
                    <a:pt x="58102" y="40005"/>
                  </a:cubicBezTo>
                  <a:cubicBezTo>
                    <a:pt x="64770" y="41910"/>
                    <a:pt x="69532" y="47625"/>
                    <a:pt x="69532" y="55245"/>
                  </a:cubicBezTo>
                  <a:cubicBezTo>
                    <a:pt x="70485" y="62865"/>
                    <a:pt x="63818" y="70485"/>
                    <a:pt x="54293" y="70485"/>
                  </a:cubicBezTo>
                  <a:close/>
                </a:path>
              </a:pathLst>
            </a:custGeom>
            <a:solidFill>
              <a:schemeClr val="bg2"/>
            </a:solidFill>
            <a:ln w="9525" cap="flat">
              <a:noFill/>
              <a:prstDash val="solid"/>
              <a:miter/>
            </a:ln>
          </p:spPr>
          <p:txBody>
            <a:bodyPr rtlCol="0" anchor="ctr"/>
            <a:lstStyle/>
            <a:p>
              <a:endParaRPr lang="en-US" dirty="0"/>
            </a:p>
          </p:txBody>
        </p:sp>
        <p:sp>
          <p:nvSpPr>
            <p:cNvPr id="285" name="Freeform: Shape 284">
              <a:extLst>
                <a:ext uri="{FF2B5EF4-FFF2-40B4-BE49-F238E27FC236}">
                  <a16:creationId xmlns:a16="http://schemas.microsoft.com/office/drawing/2014/main" id="{35AF2E8E-3414-9AE5-51C9-8FB02BF57DBB}"/>
                </a:ext>
              </a:extLst>
            </p:cNvPr>
            <p:cNvSpPr/>
            <p:nvPr/>
          </p:nvSpPr>
          <p:spPr>
            <a:xfrm>
              <a:off x="455459" y="4119559"/>
              <a:ext cx="340042" cy="162877"/>
            </a:xfrm>
            <a:custGeom>
              <a:avLst/>
              <a:gdLst>
                <a:gd name="connsiteX0" fmla="*/ 247650 w 340042"/>
                <a:gd name="connsiteY0" fmla="*/ 93345 h 162877"/>
                <a:gd name="connsiteX1" fmla="*/ 141923 w 340042"/>
                <a:gd name="connsiteY1" fmla="*/ 0 h 162877"/>
                <a:gd name="connsiteX2" fmla="*/ 0 w 340042"/>
                <a:gd name="connsiteY2" fmla="*/ 162877 h 162877"/>
                <a:gd name="connsiteX3" fmla="*/ 340043 w 340042"/>
                <a:gd name="connsiteY3" fmla="*/ 162877 h 162877"/>
                <a:gd name="connsiteX4" fmla="*/ 340043 w 340042"/>
                <a:gd name="connsiteY4" fmla="*/ 39052 h 162877"/>
                <a:gd name="connsiteX5" fmla="*/ 247650 w 340042"/>
                <a:gd name="connsiteY5" fmla="*/ 93345 h 162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042" h="162877">
                  <a:moveTo>
                    <a:pt x="247650" y="93345"/>
                  </a:moveTo>
                  <a:cubicBezTo>
                    <a:pt x="193358" y="93345"/>
                    <a:pt x="148590" y="52388"/>
                    <a:pt x="141923" y="0"/>
                  </a:cubicBezTo>
                  <a:lnTo>
                    <a:pt x="0" y="162877"/>
                  </a:lnTo>
                  <a:lnTo>
                    <a:pt x="340043" y="162877"/>
                  </a:lnTo>
                  <a:lnTo>
                    <a:pt x="340043" y="39052"/>
                  </a:lnTo>
                  <a:cubicBezTo>
                    <a:pt x="321945" y="71438"/>
                    <a:pt x="287655" y="93345"/>
                    <a:pt x="247650" y="93345"/>
                  </a:cubicBezTo>
                  <a:close/>
                </a:path>
              </a:pathLst>
            </a:custGeom>
            <a:solidFill>
              <a:schemeClr val="tx1"/>
            </a:solidFill>
            <a:ln w="9525" cap="flat">
              <a:noFill/>
              <a:prstDash val="solid"/>
              <a:miter/>
            </a:ln>
          </p:spPr>
          <p:txBody>
            <a:bodyPr rtlCol="0" anchor="ctr"/>
            <a:lstStyle/>
            <a:p>
              <a:endParaRPr lang="en-US" dirty="0"/>
            </a:p>
          </p:txBody>
        </p:sp>
        <p:sp>
          <p:nvSpPr>
            <p:cNvPr id="286" name="Freeform: Shape 285">
              <a:extLst>
                <a:ext uri="{FF2B5EF4-FFF2-40B4-BE49-F238E27FC236}">
                  <a16:creationId xmlns:a16="http://schemas.microsoft.com/office/drawing/2014/main" id="{52995FB4-9852-C4CF-D2FC-D964FC21446F}"/>
                </a:ext>
              </a:extLst>
            </p:cNvPr>
            <p:cNvSpPr/>
            <p:nvPr/>
          </p:nvSpPr>
          <p:spPr>
            <a:xfrm>
              <a:off x="528802" y="3825237"/>
              <a:ext cx="211454" cy="237172"/>
            </a:xfrm>
            <a:custGeom>
              <a:avLst/>
              <a:gdLst>
                <a:gd name="connsiteX0" fmla="*/ 47625 w 211454"/>
                <a:gd name="connsiteY0" fmla="*/ 31432 h 237172"/>
                <a:gd name="connsiteX1" fmla="*/ 0 w 211454"/>
                <a:gd name="connsiteY1" fmla="*/ 20003 h 237172"/>
                <a:gd name="connsiteX2" fmla="*/ 78105 w 211454"/>
                <a:gd name="connsiteY2" fmla="*/ 237173 h 237172"/>
                <a:gd name="connsiteX3" fmla="*/ 174308 w 211454"/>
                <a:gd name="connsiteY3" fmla="*/ 175260 h 237172"/>
                <a:gd name="connsiteX4" fmla="*/ 211455 w 211454"/>
                <a:gd name="connsiteY4" fmla="*/ 181927 h 237172"/>
                <a:gd name="connsiteX5" fmla="*/ 122873 w 211454"/>
                <a:gd name="connsiteY5" fmla="*/ 0 h 237172"/>
                <a:gd name="connsiteX6" fmla="*/ 47625 w 211454"/>
                <a:gd name="connsiteY6" fmla="*/ 31432 h 23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454" h="237172">
                  <a:moveTo>
                    <a:pt x="47625" y="31432"/>
                  </a:moveTo>
                  <a:cubicBezTo>
                    <a:pt x="30480" y="31432"/>
                    <a:pt x="14288" y="27622"/>
                    <a:pt x="0" y="20003"/>
                  </a:cubicBezTo>
                  <a:lnTo>
                    <a:pt x="78105" y="237173"/>
                  </a:lnTo>
                  <a:cubicBezTo>
                    <a:pt x="95250" y="200977"/>
                    <a:pt x="131445" y="175260"/>
                    <a:pt x="174308" y="175260"/>
                  </a:cubicBezTo>
                  <a:cubicBezTo>
                    <a:pt x="187643" y="175260"/>
                    <a:pt x="200025" y="178118"/>
                    <a:pt x="211455" y="181927"/>
                  </a:cubicBezTo>
                  <a:lnTo>
                    <a:pt x="122873" y="0"/>
                  </a:lnTo>
                  <a:cubicBezTo>
                    <a:pt x="103823" y="20003"/>
                    <a:pt x="77152" y="31432"/>
                    <a:pt x="47625" y="31432"/>
                  </a:cubicBezTo>
                  <a:close/>
                </a:path>
              </a:pathLst>
            </a:custGeom>
            <a:solidFill>
              <a:schemeClr val="tx1"/>
            </a:solidFill>
            <a:ln w="9525" cap="flat">
              <a:noFill/>
              <a:prstDash val="solid"/>
              <a:miter/>
            </a:ln>
          </p:spPr>
          <p:txBody>
            <a:bodyPr rtlCol="0" anchor="ctr"/>
            <a:lstStyle/>
            <a:p>
              <a:endParaRPr lang="en-US" dirty="0"/>
            </a:p>
          </p:txBody>
        </p:sp>
        <p:sp>
          <p:nvSpPr>
            <p:cNvPr id="299" name="Freeform: Shape 298">
              <a:extLst>
                <a:ext uri="{FF2B5EF4-FFF2-40B4-BE49-F238E27FC236}">
                  <a16:creationId xmlns:a16="http://schemas.microsoft.com/office/drawing/2014/main" id="{123A1122-498B-8C82-8463-22305360176B}"/>
                </a:ext>
              </a:extLst>
            </p:cNvPr>
            <p:cNvSpPr/>
            <p:nvPr/>
          </p:nvSpPr>
          <p:spPr>
            <a:xfrm>
              <a:off x="675765" y="4066219"/>
              <a:ext cx="68302" cy="67794"/>
            </a:xfrm>
            <a:custGeom>
              <a:avLst/>
              <a:gdLst>
                <a:gd name="connsiteX0" fmla="*/ 28297 w 68302"/>
                <a:gd name="connsiteY0" fmla="*/ 0 h 67794"/>
                <a:gd name="connsiteX1" fmla="*/ 66397 w 68302"/>
                <a:gd name="connsiteY1" fmla="*/ 28575 h 67794"/>
                <a:gd name="connsiteX2" fmla="*/ 68302 w 68302"/>
                <a:gd name="connsiteY2" fmla="*/ 40005 h 67794"/>
                <a:gd name="connsiteX3" fmla="*/ 57824 w 68302"/>
                <a:gd name="connsiteY3" fmla="*/ 66675 h 67794"/>
                <a:gd name="connsiteX4" fmla="*/ 55347 w 68302"/>
                <a:gd name="connsiteY4" fmla="*/ 67794 h 67794"/>
                <a:gd name="connsiteX5" fmla="*/ 56871 w 68302"/>
                <a:gd name="connsiteY5" fmla="*/ 66675 h 67794"/>
                <a:gd name="connsiteX6" fmla="*/ 66396 w 68302"/>
                <a:gd name="connsiteY6" fmla="*/ 40958 h 67794"/>
                <a:gd name="connsiteX7" fmla="*/ 64491 w 68302"/>
                <a:gd name="connsiteY7" fmla="*/ 29528 h 67794"/>
                <a:gd name="connsiteX8" fmla="*/ 26391 w 68302"/>
                <a:gd name="connsiteY8" fmla="*/ 953 h 67794"/>
                <a:gd name="connsiteX9" fmla="*/ 0 w 68302"/>
                <a:gd name="connsiteY9" fmla="*/ 11977 h 67794"/>
                <a:gd name="connsiteX10" fmla="*/ 79 w 68302"/>
                <a:gd name="connsiteY10" fmla="*/ 11787 h 67794"/>
                <a:gd name="connsiteX11" fmla="*/ 28297 w 68302"/>
                <a:gd name="connsiteY11" fmla="*/ 0 h 6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302" h="67794">
                  <a:moveTo>
                    <a:pt x="28297" y="0"/>
                  </a:moveTo>
                  <a:cubicBezTo>
                    <a:pt x="46395" y="0"/>
                    <a:pt x="61635" y="12383"/>
                    <a:pt x="66397" y="28575"/>
                  </a:cubicBezTo>
                  <a:cubicBezTo>
                    <a:pt x="67349" y="32385"/>
                    <a:pt x="68302" y="35243"/>
                    <a:pt x="68302" y="40005"/>
                  </a:cubicBezTo>
                  <a:cubicBezTo>
                    <a:pt x="67349" y="50483"/>
                    <a:pt x="63540" y="59055"/>
                    <a:pt x="57824" y="66675"/>
                  </a:cubicBezTo>
                  <a:lnTo>
                    <a:pt x="55347" y="67794"/>
                  </a:lnTo>
                  <a:lnTo>
                    <a:pt x="56871" y="66675"/>
                  </a:lnTo>
                  <a:cubicBezTo>
                    <a:pt x="62586" y="60008"/>
                    <a:pt x="66396" y="50483"/>
                    <a:pt x="66396" y="40958"/>
                  </a:cubicBezTo>
                  <a:cubicBezTo>
                    <a:pt x="66396" y="37148"/>
                    <a:pt x="65443" y="33338"/>
                    <a:pt x="64491" y="29528"/>
                  </a:cubicBezTo>
                  <a:cubicBezTo>
                    <a:pt x="59729" y="13335"/>
                    <a:pt x="44489" y="953"/>
                    <a:pt x="26391" y="953"/>
                  </a:cubicBezTo>
                  <a:lnTo>
                    <a:pt x="0" y="11977"/>
                  </a:lnTo>
                  <a:lnTo>
                    <a:pt x="79" y="11787"/>
                  </a:lnTo>
                  <a:cubicBezTo>
                    <a:pt x="7342" y="4525"/>
                    <a:pt x="17343" y="0"/>
                    <a:pt x="28297" y="0"/>
                  </a:cubicBezTo>
                  <a:close/>
                </a:path>
              </a:pathLst>
            </a:custGeom>
            <a:solidFill>
              <a:schemeClr val="tx1"/>
            </a:solidFill>
            <a:ln w="9525" cap="flat">
              <a:noFill/>
              <a:prstDash val="solid"/>
              <a:miter/>
            </a:ln>
          </p:spPr>
          <p:txBody>
            <a:bodyPr rtlCol="0" anchor="ctr"/>
            <a:lstStyle/>
            <a:p>
              <a:endParaRPr lang="en-US" dirty="0"/>
            </a:p>
          </p:txBody>
        </p:sp>
        <p:sp>
          <p:nvSpPr>
            <p:cNvPr id="298" name="Freeform: Shape 297">
              <a:extLst>
                <a:ext uri="{FF2B5EF4-FFF2-40B4-BE49-F238E27FC236}">
                  <a16:creationId xmlns:a16="http://schemas.microsoft.com/office/drawing/2014/main" id="{86C597C6-ACFF-2336-6588-82E3A7389DD7}"/>
                </a:ext>
              </a:extLst>
            </p:cNvPr>
            <p:cNvSpPr/>
            <p:nvPr/>
          </p:nvSpPr>
          <p:spPr>
            <a:xfrm>
              <a:off x="662151" y="4078197"/>
              <a:ext cx="41539" cy="68033"/>
            </a:xfrm>
            <a:custGeom>
              <a:avLst/>
              <a:gdLst>
                <a:gd name="connsiteX0" fmla="*/ 13614 w 41539"/>
                <a:gd name="connsiteY0" fmla="*/ 0 h 68033"/>
                <a:gd name="connsiteX1" fmla="*/ 1906 w 41539"/>
                <a:gd name="connsiteY1" fmla="*/ 28028 h 68033"/>
                <a:gd name="connsiteX2" fmla="*/ 1906 w 41539"/>
                <a:gd name="connsiteY2" fmla="*/ 29933 h 68033"/>
                <a:gd name="connsiteX3" fmla="*/ 2859 w 41539"/>
                <a:gd name="connsiteY3" fmla="*/ 36601 h 68033"/>
                <a:gd name="connsiteX4" fmla="*/ 17027 w 41539"/>
                <a:gd name="connsiteY4" fmla="*/ 59103 h 68033"/>
                <a:gd name="connsiteX5" fmla="*/ 41539 w 41539"/>
                <a:gd name="connsiteY5" fmla="*/ 67899 h 68033"/>
                <a:gd name="connsiteX6" fmla="*/ 40958 w 41539"/>
                <a:gd name="connsiteY6" fmla="*/ 68033 h 68033"/>
                <a:gd name="connsiteX7" fmla="*/ 953 w 41539"/>
                <a:gd name="connsiteY7" fmla="*/ 37553 h 68033"/>
                <a:gd name="connsiteX8" fmla="*/ 0 w 41539"/>
                <a:gd name="connsiteY8" fmla="*/ 30886 h 68033"/>
                <a:gd name="connsiteX9" fmla="*/ 0 w 41539"/>
                <a:gd name="connsiteY9" fmla="*/ 28981 h 68033"/>
                <a:gd name="connsiteX10" fmla="*/ 11787 w 41539"/>
                <a:gd name="connsiteY10" fmla="*/ 763 h 68033"/>
                <a:gd name="connsiteX11" fmla="*/ 13614 w 41539"/>
                <a:gd name="connsiteY11" fmla="*/ 0 h 68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539" h="68033">
                  <a:moveTo>
                    <a:pt x="13614" y="0"/>
                  </a:moveTo>
                  <a:lnTo>
                    <a:pt x="1906" y="28028"/>
                  </a:lnTo>
                  <a:cubicBezTo>
                    <a:pt x="1906" y="28981"/>
                    <a:pt x="1906" y="28981"/>
                    <a:pt x="1906" y="29933"/>
                  </a:cubicBezTo>
                  <a:cubicBezTo>
                    <a:pt x="1906" y="32791"/>
                    <a:pt x="1906" y="34696"/>
                    <a:pt x="2859" y="36601"/>
                  </a:cubicBezTo>
                  <a:cubicBezTo>
                    <a:pt x="5240" y="45650"/>
                    <a:pt x="10241" y="53508"/>
                    <a:pt x="17027" y="59103"/>
                  </a:cubicBezTo>
                  <a:lnTo>
                    <a:pt x="41539" y="67899"/>
                  </a:lnTo>
                  <a:lnTo>
                    <a:pt x="40958" y="68033"/>
                  </a:lnTo>
                  <a:cubicBezTo>
                    <a:pt x="22860" y="68033"/>
                    <a:pt x="6668" y="54698"/>
                    <a:pt x="953" y="37553"/>
                  </a:cubicBezTo>
                  <a:cubicBezTo>
                    <a:pt x="0" y="35648"/>
                    <a:pt x="0" y="32791"/>
                    <a:pt x="0" y="30886"/>
                  </a:cubicBezTo>
                  <a:cubicBezTo>
                    <a:pt x="0" y="29933"/>
                    <a:pt x="0" y="29933"/>
                    <a:pt x="0" y="28981"/>
                  </a:cubicBezTo>
                  <a:cubicBezTo>
                    <a:pt x="0" y="18027"/>
                    <a:pt x="4525" y="8026"/>
                    <a:pt x="11787" y="763"/>
                  </a:cubicBezTo>
                  <a:lnTo>
                    <a:pt x="13614" y="0"/>
                  </a:lnTo>
                  <a:close/>
                </a:path>
              </a:pathLst>
            </a:custGeom>
            <a:solidFill>
              <a:schemeClr val="tx1"/>
            </a:solidFill>
            <a:ln w="9525" cap="flat">
              <a:noFill/>
              <a:prstDash val="solid"/>
              <a:miter/>
            </a:ln>
          </p:spPr>
          <p:txBody>
            <a:bodyPr rtlCol="0" anchor="ctr"/>
            <a:lstStyle/>
            <a:p>
              <a:endParaRPr lang="en-US" dirty="0"/>
            </a:p>
          </p:txBody>
        </p:sp>
        <p:sp>
          <p:nvSpPr>
            <p:cNvPr id="297" name="Freeform: Shape 296">
              <a:extLst>
                <a:ext uri="{FF2B5EF4-FFF2-40B4-BE49-F238E27FC236}">
                  <a16:creationId xmlns:a16="http://schemas.microsoft.com/office/drawing/2014/main" id="{9D3D089C-5DF8-81D5-D248-4E7EA5D9A5AA}"/>
                </a:ext>
              </a:extLst>
            </p:cNvPr>
            <p:cNvSpPr/>
            <p:nvPr/>
          </p:nvSpPr>
          <p:spPr>
            <a:xfrm>
              <a:off x="705053" y="4134014"/>
              <a:ext cx="26059" cy="11769"/>
            </a:xfrm>
            <a:custGeom>
              <a:avLst/>
              <a:gdLst>
                <a:gd name="connsiteX0" fmla="*/ 26059 w 26059"/>
                <a:gd name="connsiteY0" fmla="*/ 0 h 11769"/>
                <a:gd name="connsiteX1" fmla="*/ 14606 w 26059"/>
                <a:gd name="connsiteY1" fmla="*/ 8406 h 11769"/>
                <a:gd name="connsiteX2" fmla="*/ 0 w 26059"/>
                <a:gd name="connsiteY2" fmla="*/ 11769 h 11769"/>
                <a:gd name="connsiteX3" fmla="*/ 26059 w 26059"/>
                <a:gd name="connsiteY3" fmla="*/ 0 h 11769"/>
              </a:gdLst>
              <a:ahLst/>
              <a:cxnLst>
                <a:cxn ang="0">
                  <a:pos x="connsiteX0" y="connsiteY0"/>
                </a:cxn>
                <a:cxn ang="0">
                  <a:pos x="connsiteX1" y="connsiteY1"/>
                </a:cxn>
                <a:cxn ang="0">
                  <a:pos x="connsiteX2" y="connsiteY2"/>
                </a:cxn>
                <a:cxn ang="0">
                  <a:pos x="connsiteX3" y="connsiteY3"/>
                </a:cxn>
              </a:cxnLst>
              <a:rect l="l" t="t" r="r" b="b"/>
              <a:pathLst>
                <a:path w="26059" h="11769">
                  <a:moveTo>
                    <a:pt x="26059" y="0"/>
                  </a:moveTo>
                  <a:lnTo>
                    <a:pt x="14606" y="8406"/>
                  </a:lnTo>
                  <a:lnTo>
                    <a:pt x="0" y="11769"/>
                  </a:lnTo>
                  <a:lnTo>
                    <a:pt x="26059" y="0"/>
                  </a:lnTo>
                  <a:close/>
                </a:path>
              </a:pathLst>
            </a:custGeom>
            <a:solidFill>
              <a:schemeClr val="tx1"/>
            </a:solidFill>
            <a:ln w="9525" cap="flat">
              <a:noFill/>
              <a:prstDash val="solid"/>
              <a:miter/>
            </a:ln>
          </p:spPr>
          <p:txBody>
            <a:bodyPr rtlCol="0" anchor="ctr"/>
            <a:lstStyle/>
            <a:p>
              <a:endParaRPr lang="en-US" dirty="0"/>
            </a:p>
          </p:txBody>
        </p:sp>
        <p:sp>
          <p:nvSpPr>
            <p:cNvPr id="296" name="Freeform: Shape 295">
              <a:extLst>
                <a:ext uri="{FF2B5EF4-FFF2-40B4-BE49-F238E27FC236}">
                  <a16:creationId xmlns:a16="http://schemas.microsoft.com/office/drawing/2014/main" id="{4AD213CD-E725-B31C-034F-40CB23AC1E5D}"/>
                </a:ext>
              </a:extLst>
            </p:cNvPr>
            <p:cNvSpPr/>
            <p:nvPr/>
          </p:nvSpPr>
          <p:spPr>
            <a:xfrm>
              <a:off x="703690" y="4145783"/>
              <a:ext cx="1363" cy="447"/>
            </a:xfrm>
            <a:custGeom>
              <a:avLst/>
              <a:gdLst>
                <a:gd name="connsiteX0" fmla="*/ 1363 w 1363"/>
                <a:gd name="connsiteY0" fmla="*/ 0 h 447"/>
                <a:gd name="connsiteX1" fmla="*/ 372 w 1363"/>
                <a:gd name="connsiteY1" fmla="*/ 447 h 447"/>
                <a:gd name="connsiteX2" fmla="*/ 0 w 1363"/>
                <a:gd name="connsiteY2" fmla="*/ 313 h 447"/>
                <a:gd name="connsiteX3" fmla="*/ 1363 w 1363"/>
                <a:gd name="connsiteY3" fmla="*/ 0 h 447"/>
              </a:gdLst>
              <a:ahLst/>
              <a:cxnLst>
                <a:cxn ang="0">
                  <a:pos x="connsiteX0" y="connsiteY0"/>
                </a:cxn>
                <a:cxn ang="0">
                  <a:pos x="connsiteX1" y="connsiteY1"/>
                </a:cxn>
                <a:cxn ang="0">
                  <a:pos x="connsiteX2" y="connsiteY2"/>
                </a:cxn>
                <a:cxn ang="0">
                  <a:pos x="connsiteX3" y="connsiteY3"/>
                </a:cxn>
              </a:cxnLst>
              <a:rect l="l" t="t" r="r" b="b"/>
              <a:pathLst>
                <a:path w="1363" h="447">
                  <a:moveTo>
                    <a:pt x="1363" y="0"/>
                  </a:moveTo>
                  <a:lnTo>
                    <a:pt x="372" y="447"/>
                  </a:lnTo>
                  <a:lnTo>
                    <a:pt x="0" y="313"/>
                  </a:lnTo>
                  <a:lnTo>
                    <a:pt x="1363" y="0"/>
                  </a:lnTo>
                  <a:close/>
                </a:path>
              </a:pathLst>
            </a:custGeom>
            <a:solidFill>
              <a:schemeClr val="tx1"/>
            </a:solidFill>
            <a:ln w="9525" cap="flat">
              <a:noFill/>
              <a:prstDash val="solid"/>
              <a:miter/>
            </a:ln>
          </p:spPr>
          <p:txBody>
            <a:bodyPr rtlCol="0" anchor="ctr"/>
            <a:lstStyle/>
            <a:p>
              <a:endParaRPr lang="en-US" dirty="0"/>
            </a:p>
          </p:txBody>
        </p:sp>
        <p:sp>
          <p:nvSpPr>
            <p:cNvPr id="295" name="Freeform: Shape 294">
              <a:extLst>
                <a:ext uri="{FF2B5EF4-FFF2-40B4-BE49-F238E27FC236}">
                  <a16:creationId xmlns:a16="http://schemas.microsoft.com/office/drawing/2014/main" id="{327224A1-9AD6-3749-3D64-0F3EB2DD6BFC}"/>
                </a:ext>
              </a:extLst>
            </p:cNvPr>
            <p:cNvSpPr/>
            <p:nvPr/>
          </p:nvSpPr>
          <p:spPr>
            <a:xfrm>
              <a:off x="625957" y="4029072"/>
              <a:ext cx="154699" cy="154305"/>
            </a:xfrm>
            <a:custGeom>
              <a:avLst/>
              <a:gdLst>
                <a:gd name="connsiteX0" fmla="*/ 77153 w 154699"/>
                <a:gd name="connsiteY0" fmla="*/ 0 h 154305"/>
                <a:gd name="connsiteX1" fmla="*/ 144780 w 154699"/>
                <a:gd name="connsiteY1" fmla="*/ 39052 h 154305"/>
                <a:gd name="connsiteX2" fmla="*/ 149543 w 154699"/>
                <a:gd name="connsiteY2" fmla="*/ 48577 h 154305"/>
                <a:gd name="connsiteX3" fmla="*/ 153352 w 154699"/>
                <a:gd name="connsiteY3" fmla="*/ 60007 h 154305"/>
                <a:gd name="connsiteX4" fmla="*/ 154305 w 154699"/>
                <a:gd name="connsiteY4" fmla="*/ 76200 h 154305"/>
                <a:gd name="connsiteX5" fmla="*/ 145733 w 154699"/>
                <a:gd name="connsiteY5" fmla="*/ 112395 h 154305"/>
                <a:gd name="connsiteX6" fmla="*/ 77153 w 154699"/>
                <a:gd name="connsiteY6" fmla="*/ 154305 h 154305"/>
                <a:gd name="connsiteX7" fmla="*/ 0 w 154699"/>
                <a:gd name="connsiteY7" fmla="*/ 84772 h 154305"/>
                <a:gd name="connsiteX8" fmla="*/ 0 w 154699"/>
                <a:gd name="connsiteY8" fmla="*/ 77152 h 154305"/>
                <a:gd name="connsiteX9" fmla="*/ 0 w 154699"/>
                <a:gd name="connsiteY9" fmla="*/ 76200 h 154305"/>
                <a:gd name="connsiteX10" fmla="*/ 77153 w 154699"/>
                <a:gd name="connsiteY10" fmla="*/ 0 h 154305"/>
                <a:gd name="connsiteX11" fmla="*/ 78105 w 154699"/>
                <a:gd name="connsiteY11" fmla="*/ 37147 h 154305"/>
                <a:gd name="connsiteX12" fmla="*/ 49887 w 154699"/>
                <a:gd name="connsiteY12" fmla="*/ 48934 h 154305"/>
                <a:gd name="connsiteX13" fmla="*/ 49808 w 154699"/>
                <a:gd name="connsiteY13" fmla="*/ 49124 h 154305"/>
                <a:gd name="connsiteX14" fmla="*/ 47981 w 154699"/>
                <a:gd name="connsiteY14" fmla="*/ 49887 h 154305"/>
                <a:gd name="connsiteX15" fmla="*/ 36194 w 154699"/>
                <a:gd name="connsiteY15" fmla="*/ 78105 h 154305"/>
                <a:gd name="connsiteX16" fmla="*/ 36194 w 154699"/>
                <a:gd name="connsiteY16" fmla="*/ 80010 h 154305"/>
                <a:gd name="connsiteX17" fmla="*/ 37147 w 154699"/>
                <a:gd name="connsiteY17" fmla="*/ 86677 h 154305"/>
                <a:gd name="connsiteX18" fmla="*/ 77152 w 154699"/>
                <a:gd name="connsiteY18" fmla="*/ 117157 h 154305"/>
                <a:gd name="connsiteX19" fmla="*/ 77733 w 154699"/>
                <a:gd name="connsiteY19" fmla="*/ 117023 h 154305"/>
                <a:gd name="connsiteX20" fmla="*/ 78105 w 154699"/>
                <a:gd name="connsiteY20" fmla="*/ 117157 h 154305"/>
                <a:gd name="connsiteX21" fmla="*/ 79096 w 154699"/>
                <a:gd name="connsiteY21" fmla="*/ 116710 h 154305"/>
                <a:gd name="connsiteX22" fmla="*/ 93702 w 154699"/>
                <a:gd name="connsiteY22" fmla="*/ 113347 h 154305"/>
                <a:gd name="connsiteX23" fmla="*/ 105155 w 154699"/>
                <a:gd name="connsiteY23" fmla="*/ 104941 h 154305"/>
                <a:gd name="connsiteX24" fmla="*/ 107632 w 154699"/>
                <a:gd name="connsiteY24" fmla="*/ 103822 h 154305"/>
                <a:gd name="connsiteX25" fmla="*/ 118110 w 154699"/>
                <a:gd name="connsiteY25" fmla="*/ 77152 h 154305"/>
                <a:gd name="connsiteX26" fmla="*/ 116205 w 154699"/>
                <a:gd name="connsiteY26" fmla="*/ 65722 h 154305"/>
                <a:gd name="connsiteX27" fmla="*/ 78105 w 154699"/>
                <a:gd name="connsiteY27" fmla="*/ 37147 h 15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4699" h="154305">
                  <a:moveTo>
                    <a:pt x="77153" y="0"/>
                  </a:moveTo>
                  <a:cubicBezTo>
                    <a:pt x="106680" y="0"/>
                    <a:pt x="131445" y="16192"/>
                    <a:pt x="144780" y="39052"/>
                  </a:cubicBezTo>
                  <a:lnTo>
                    <a:pt x="149543" y="48577"/>
                  </a:lnTo>
                  <a:cubicBezTo>
                    <a:pt x="151448" y="52388"/>
                    <a:pt x="152400" y="56197"/>
                    <a:pt x="153352" y="60007"/>
                  </a:cubicBezTo>
                  <a:cubicBezTo>
                    <a:pt x="154305" y="65722"/>
                    <a:pt x="155258" y="71438"/>
                    <a:pt x="154305" y="76200"/>
                  </a:cubicBezTo>
                  <a:cubicBezTo>
                    <a:pt x="154305" y="89535"/>
                    <a:pt x="151448" y="101917"/>
                    <a:pt x="145733" y="112395"/>
                  </a:cubicBezTo>
                  <a:cubicBezTo>
                    <a:pt x="133350" y="137160"/>
                    <a:pt x="106680" y="154305"/>
                    <a:pt x="77153" y="154305"/>
                  </a:cubicBezTo>
                  <a:cubicBezTo>
                    <a:pt x="37147" y="154305"/>
                    <a:pt x="3810" y="123825"/>
                    <a:pt x="0" y="84772"/>
                  </a:cubicBezTo>
                  <a:cubicBezTo>
                    <a:pt x="0" y="82867"/>
                    <a:pt x="0" y="80010"/>
                    <a:pt x="0" y="77152"/>
                  </a:cubicBezTo>
                  <a:cubicBezTo>
                    <a:pt x="0" y="77152"/>
                    <a:pt x="0" y="76200"/>
                    <a:pt x="0" y="76200"/>
                  </a:cubicBezTo>
                  <a:cubicBezTo>
                    <a:pt x="0" y="34290"/>
                    <a:pt x="34290" y="0"/>
                    <a:pt x="77153" y="0"/>
                  </a:cubicBezTo>
                  <a:close/>
                  <a:moveTo>
                    <a:pt x="78105" y="37147"/>
                  </a:moveTo>
                  <a:cubicBezTo>
                    <a:pt x="67151" y="37147"/>
                    <a:pt x="57150" y="41672"/>
                    <a:pt x="49887" y="48934"/>
                  </a:cubicBezTo>
                  <a:lnTo>
                    <a:pt x="49808" y="49124"/>
                  </a:lnTo>
                  <a:lnTo>
                    <a:pt x="47981" y="49887"/>
                  </a:lnTo>
                  <a:cubicBezTo>
                    <a:pt x="40719" y="57150"/>
                    <a:pt x="36194" y="67151"/>
                    <a:pt x="36194" y="78105"/>
                  </a:cubicBezTo>
                  <a:cubicBezTo>
                    <a:pt x="36194" y="79057"/>
                    <a:pt x="36194" y="79057"/>
                    <a:pt x="36194" y="80010"/>
                  </a:cubicBezTo>
                  <a:cubicBezTo>
                    <a:pt x="36194" y="81915"/>
                    <a:pt x="36194" y="84772"/>
                    <a:pt x="37147" y="86677"/>
                  </a:cubicBezTo>
                  <a:cubicBezTo>
                    <a:pt x="42862" y="103822"/>
                    <a:pt x="59054" y="117157"/>
                    <a:pt x="77152" y="117157"/>
                  </a:cubicBezTo>
                  <a:lnTo>
                    <a:pt x="77733" y="117023"/>
                  </a:lnTo>
                  <a:lnTo>
                    <a:pt x="78105" y="117157"/>
                  </a:lnTo>
                  <a:lnTo>
                    <a:pt x="79096" y="116710"/>
                  </a:lnTo>
                  <a:lnTo>
                    <a:pt x="93702" y="113347"/>
                  </a:lnTo>
                  <a:lnTo>
                    <a:pt x="105155" y="104941"/>
                  </a:lnTo>
                  <a:lnTo>
                    <a:pt x="107632" y="103822"/>
                  </a:lnTo>
                  <a:cubicBezTo>
                    <a:pt x="113348" y="96202"/>
                    <a:pt x="117157" y="87630"/>
                    <a:pt x="118110" y="77152"/>
                  </a:cubicBezTo>
                  <a:cubicBezTo>
                    <a:pt x="118110" y="72390"/>
                    <a:pt x="117157" y="69532"/>
                    <a:pt x="116205" y="65722"/>
                  </a:cubicBezTo>
                  <a:cubicBezTo>
                    <a:pt x="111443" y="49530"/>
                    <a:pt x="96203" y="37147"/>
                    <a:pt x="78105" y="37147"/>
                  </a:cubicBezTo>
                  <a:close/>
                </a:path>
              </a:pathLst>
            </a:custGeom>
            <a:solidFill>
              <a:schemeClr val="bg2"/>
            </a:solidFill>
            <a:ln w="9525" cap="flat">
              <a:noFill/>
              <a:prstDash val="solid"/>
              <a:miter/>
            </a:ln>
          </p:spPr>
          <p:txBody>
            <a:bodyPr rtlCol="0" anchor="ctr"/>
            <a:lstStyle/>
            <a:p>
              <a:endParaRPr lang="en-US" dirty="0"/>
            </a:p>
          </p:txBody>
        </p:sp>
        <p:sp>
          <p:nvSpPr>
            <p:cNvPr id="288" name="Freeform: Shape 287">
              <a:extLst>
                <a:ext uri="{FF2B5EF4-FFF2-40B4-BE49-F238E27FC236}">
                  <a16:creationId xmlns:a16="http://schemas.microsoft.com/office/drawing/2014/main" id="{BEAAF59A-9ECA-50D2-4E71-5D9F7DB28A26}"/>
                </a:ext>
              </a:extLst>
            </p:cNvPr>
            <p:cNvSpPr/>
            <p:nvPr/>
          </p:nvSpPr>
          <p:spPr>
            <a:xfrm>
              <a:off x="647864" y="3672837"/>
              <a:ext cx="182880" cy="108584"/>
            </a:xfrm>
            <a:custGeom>
              <a:avLst/>
              <a:gdLst>
                <a:gd name="connsiteX0" fmla="*/ 172403 w 182880"/>
                <a:gd name="connsiteY0" fmla="*/ 68580 h 108584"/>
                <a:gd name="connsiteX1" fmla="*/ 107632 w 182880"/>
                <a:gd name="connsiteY1" fmla="*/ 68580 h 108584"/>
                <a:gd name="connsiteX2" fmla="*/ 107632 w 182880"/>
                <a:gd name="connsiteY2" fmla="*/ 40005 h 108584"/>
                <a:gd name="connsiteX3" fmla="*/ 172403 w 182880"/>
                <a:gd name="connsiteY3" fmla="*/ 40005 h 108584"/>
                <a:gd name="connsiteX4" fmla="*/ 182880 w 182880"/>
                <a:gd name="connsiteY4" fmla="*/ 11430 h 108584"/>
                <a:gd name="connsiteX5" fmla="*/ 107632 w 182880"/>
                <a:gd name="connsiteY5" fmla="*/ 11430 h 108584"/>
                <a:gd name="connsiteX6" fmla="*/ 107632 w 182880"/>
                <a:gd name="connsiteY6" fmla="*/ 0 h 108584"/>
                <a:gd name="connsiteX7" fmla="*/ 0 w 182880"/>
                <a:gd name="connsiteY7" fmla="*/ 0 h 108584"/>
                <a:gd name="connsiteX8" fmla="*/ 34290 w 182880"/>
                <a:gd name="connsiteY8" fmla="*/ 78105 h 108584"/>
                <a:gd name="connsiteX9" fmla="*/ 29528 w 182880"/>
                <a:gd name="connsiteY9" fmla="*/ 108585 h 108584"/>
                <a:gd name="connsiteX10" fmla="*/ 106680 w 182880"/>
                <a:gd name="connsiteY10" fmla="*/ 108585 h 108584"/>
                <a:gd name="connsiteX11" fmla="*/ 106680 w 182880"/>
                <a:gd name="connsiteY11" fmla="*/ 97155 h 108584"/>
                <a:gd name="connsiteX12" fmla="*/ 181928 w 182880"/>
                <a:gd name="connsiteY12" fmla="*/ 97155 h 108584"/>
                <a:gd name="connsiteX13" fmla="*/ 172403 w 182880"/>
                <a:gd name="connsiteY13" fmla="*/ 68580 h 10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08584">
                  <a:moveTo>
                    <a:pt x="172403" y="68580"/>
                  </a:moveTo>
                  <a:lnTo>
                    <a:pt x="107632" y="68580"/>
                  </a:lnTo>
                  <a:lnTo>
                    <a:pt x="107632" y="40005"/>
                  </a:lnTo>
                  <a:lnTo>
                    <a:pt x="172403" y="40005"/>
                  </a:lnTo>
                  <a:cubicBezTo>
                    <a:pt x="174308" y="29528"/>
                    <a:pt x="178118" y="20003"/>
                    <a:pt x="182880" y="11430"/>
                  </a:cubicBezTo>
                  <a:lnTo>
                    <a:pt x="107632" y="11430"/>
                  </a:lnTo>
                  <a:lnTo>
                    <a:pt x="107632" y="0"/>
                  </a:lnTo>
                  <a:lnTo>
                    <a:pt x="0" y="0"/>
                  </a:lnTo>
                  <a:cubicBezTo>
                    <a:pt x="20955" y="19050"/>
                    <a:pt x="34290" y="46673"/>
                    <a:pt x="34290" y="78105"/>
                  </a:cubicBezTo>
                  <a:cubicBezTo>
                    <a:pt x="34290" y="88583"/>
                    <a:pt x="32385" y="99060"/>
                    <a:pt x="29528" y="108585"/>
                  </a:cubicBezTo>
                  <a:lnTo>
                    <a:pt x="106680" y="108585"/>
                  </a:lnTo>
                  <a:lnTo>
                    <a:pt x="106680" y="97155"/>
                  </a:lnTo>
                  <a:lnTo>
                    <a:pt x="181928" y="97155"/>
                  </a:lnTo>
                  <a:cubicBezTo>
                    <a:pt x="178118" y="88583"/>
                    <a:pt x="174308" y="79058"/>
                    <a:pt x="172403" y="68580"/>
                  </a:cubicBezTo>
                  <a:close/>
                </a:path>
              </a:pathLst>
            </a:custGeom>
            <a:solidFill>
              <a:schemeClr val="tx1"/>
            </a:solidFill>
            <a:ln w="9525" cap="flat">
              <a:noFill/>
              <a:prstDash val="solid"/>
              <a:miter/>
            </a:ln>
          </p:spPr>
          <p:txBody>
            <a:bodyPr rtlCol="0" anchor="ctr"/>
            <a:lstStyle/>
            <a:p>
              <a:endParaRPr lang="en-US" dirty="0"/>
            </a:p>
          </p:txBody>
        </p:sp>
        <p:sp>
          <p:nvSpPr>
            <p:cNvPr id="289" name="Freeform: Shape 288">
              <a:extLst>
                <a:ext uri="{FF2B5EF4-FFF2-40B4-BE49-F238E27FC236}">
                  <a16:creationId xmlns:a16="http://schemas.microsoft.com/office/drawing/2014/main" id="{54756610-35A9-2C68-6C48-6F2FC3B1C92F}"/>
                </a:ext>
              </a:extLst>
            </p:cNvPr>
            <p:cNvSpPr/>
            <p:nvPr/>
          </p:nvSpPr>
          <p:spPr>
            <a:xfrm>
              <a:off x="498321" y="3672837"/>
              <a:ext cx="156210" cy="155257"/>
            </a:xfrm>
            <a:custGeom>
              <a:avLst/>
              <a:gdLst>
                <a:gd name="connsiteX0" fmla="*/ 78105 w 156210"/>
                <a:gd name="connsiteY0" fmla="*/ 0 h 155257"/>
                <a:gd name="connsiteX1" fmla="*/ 36195 w 156210"/>
                <a:gd name="connsiteY1" fmla="*/ 12383 h 155257"/>
                <a:gd name="connsiteX2" fmla="*/ 0 w 156210"/>
                <a:gd name="connsiteY2" fmla="*/ 78105 h 155257"/>
                <a:gd name="connsiteX3" fmla="*/ 1905 w 156210"/>
                <a:gd name="connsiteY3" fmla="*/ 93345 h 155257"/>
                <a:gd name="connsiteX4" fmla="*/ 1905 w 156210"/>
                <a:gd name="connsiteY4" fmla="*/ 93345 h 155257"/>
                <a:gd name="connsiteX5" fmla="*/ 1905 w 156210"/>
                <a:gd name="connsiteY5" fmla="*/ 93345 h 155257"/>
                <a:gd name="connsiteX6" fmla="*/ 9525 w 156210"/>
                <a:gd name="connsiteY6" fmla="*/ 114300 h 155257"/>
                <a:gd name="connsiteX7" fmla="*/ 78105 w 156210"/>
                <a:gd name="connsiteY7" fmla="*/ 155258 h 155257"/>
                <a:gd name="connsiteX8" fmla="*/ 140018 w 156210"/>
                <a:gd name="connsiteY8" fmla="*/ 124778 h 155257"/>
                <a:gd name="connsiteX9" fmla="*/ 149543 w 156210"/>
                <a:gd name="connsiteY9" fmla="*/ 108585 h 155257"/>
                <a:gd name="connsiteX10" fmla="*/ 156210 w 156210"/>
                <a:gd name="connsiteY10" fmla="*/ 78105 h 155257"/>
                <a:gd name="connsiteX11" fmla="*/ 78105 w 156210"/>
                <a:gd name="connsiteY11" fmla="*/ 0 h 155257"/>
                <a:gd name="connsiteX12" fmla="*/ 102870 w 156210"/>
                <a:gd name="connsiteY12" fmla="*/ 108585 h 155257"/>
                <a:gd name="connsiteX13" fmla="*/ 93345 w 156210"/>
                <a:gd name="connsiteY13" fmla="*/ 114300 h 155257"/>
                <a:gd name="connsiteX14" fmla="*/ 78105 w 156210"/>
                <a:gd name="connsiteY14" fmla="*/ 117158 h 155257"/>
                <a:gd name="connsiteX15" fmla="*/ 53340 w 156210"/>
                <a:gd name="connsiteY15" fmla="*/ 107633 h 155257"/>
                <a:gd name="connsiteX16" fmla="*/ 48578 w 156210"/>
                <a:gd name="connsiteY16" fmla="*/ 102870 h 155257"/>
                <a:gd name="connsiteX17" fmla="*/ 38100 w 156210"/>
                <a:gd name="connsiteY17" fmla="*/ 77153 h 155257"/>
                <a:gd name="connsiteX18" fmla="*/ 78105 w 156210"/>
                <a:gd name="connsiteY18" fmla="*/ 37148 h 155257"/>
                <a:gd name="connsiteX19" fmla="*/ 118110 w 156210"/>
                <a:gd name="connsiteY19" fmla="*/ 77153 h 155257"/>
                <a:gd name="connsiteX20" fmla="*/ 102870 w 156210"/>
                <a:gd name="connsiteY20" fmla="*/ 108585 h 155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6210" h="155257">
                  <a:moveTo>
                    <a:pt x="78105" y="0"/>
                  </a:moveTo>
                  <a:cubicBezTo>
                    <a:pt x="62865" y="0"/>
                    <a:pt x="48578" y="4763"/>
                    <a:pt x="36195" y="12383"/>
                  </a:cubicBezTo>
                  <a:cubicBezTo>
                    <a:pt x="14288" y="25718"/>
                    <a:pt x="0" y="50483"/>
                    <a:pt x="0" y="78105"/>
                  </a:cubicBezTo>
                  <a:cubicBezTo>
                    <a:pt x="0" y="83820"/>
                    <a:pt x="952" y="88583"/>
                    <a:pt x="1905" y="93345"/>
                  </a:cubicBezTo>
                  <a:lnTo>
                    <a:pt x="1905" y="93345"/>
                  </a:lnTo>
                  <a:lnTo>
                    <a:pt x="1905" y="93345"/>
                  </a:lnTo>
                  <a:cubicBezTo>
                    <a:pt x="3810" y="100965"/>
                    <a:pt x="5715" y="108585"/>
                    <a:pt x="9525" y="114300"/>
                  </a:cubicBezTo>
                  <a:cubicBezTo>
                    <a:pt x="22860" y="138113"/>
                    <a:pt x="48578" y="155258"/>
                    <a:pt x="78105" y="155258"/>
                  </a:cubicBezTo>
                  <a:cubicBezTo>
                    <a:pt x="103823" y="155258"/>
                    <a:pt x="125730" y="142875"/>
                    <a:pt x="140018" y="124778"/>
                  </a:cubicBezTo>
                  <a:cubicBezTo>
                    <a:pt x="143828" y="120015"/>
                    <a:pt x="146685" y="114300"/>
                    <a:pt x="149543" y="108585"/>
                  </a:cubicBezTo>
                  <a:cubicBezTo>
                    <a:pt x="153353" y="99060"/>
                    <a:pt x="156210" y="88583"/>
                    <a:pt x="156210" y="78105"/>
                  </a:cubicBezTo>
                  <a:cubicBezTo>
                    <a:pt x="155258" y="35243"/>
                    <a:pt x="120967" y="0"/>
                    <a:pt x="78105" y="0"/>
                  </a:cubicBezTo>
                  <a:close/>
                  <a:moveTo>
                    <a:pt x="102870" y="108585"/>
                  </a:moveTo>
                  <a:cubicBezTo>
                    <a:pt x="100013" y="110490"/>
                    <a:pt x="97155" y="113348"/>
                    <a:pt x="93345" y="114300"/>
                  </a:cubicBezTo>
                  <a:cubicBezTo>
                    <a:pt x="88583" y="116205"/>
                    <a:pt x="82867" y="117158"/>
                    <a:pt x="78105" y="117158"/>
                  </a:cubicBezTo>
                  <a:cubicBezTo>
                    <a:pt x="68580" y="117158"/>
                    <a:pt x="60007" y="113348"/>
                    <a:pt x="53340" y="107633"/>
                  </a:cubicBezTo>
                  <a:cubicBezTo>
                    <a:pt x="51435" y="106680"/>
                    <a:pt x="50482" y="104775"/>
                    <a:pt x="48578" y="102870"/>
                  </a:cubicBezTo>
                  <a:cubicBezTo>
                    <a:pt x="42863" y="96203"/>
                    <a:pt x="38100" y="86678"/>
                    <a:pt x="38100" y="77153"/>
                  </a:cubicBezTo>
                  <a:cubicBezTo>
                    <a:pt x="38100" y="55245"/>
                    <a:pt x="56198" y="37148"/>
                    <a:pt x="78105" y="37148"/>
                  </a:cubicBezTo>
                  <a:cubicBezTo>
                    <a:pt x="100013" y="37148"/>
                    <a:pt x="118110" y="55245"/>
                    <a:pt x="118110" y="77153"/>
                  </a:cubicBezTo>
                  <a:cubicBezTo>
                    <a:pt x="117158" y="90488"/>
                    <a:pt x="111442" y="100965"/>
                    <a:pt x="102870" y="108585"/>
                  </a:cubicBezTo>
                  <a:close/>
                </a:path>
              </a:pathLst>
            </a:custGeom>
            <a:solidFill>
              <a:schemeClr val="bg2"/>
            </a:solidFill>
            <a:ln w="9525" cap="flat">
              <a:noFill/>
              <a:prstDash val="solid"/>
              <a:miter/>
            </a:ln>
          </p:spPr>
          <p:txBody>
            <a:bodyPr rtlCol="0" anchor="ctr"/>
            <a:lstStyle/>
            <a:p>
              <a:endParaRPr lang="en-US" dirty="0"/>
            </a:p>
          </p:txBody>
        </p:sp>
      </p:grpSp>
      <p:pic>
        <p:nvPicPr>
          <p:cNvPr id="5" name="Graphic 4">
            <a:extLst>
              <a:ext uri="{FF2B5EF4-FFF2-40B4-BE49-F238E27FC236}">
                <a16:creationId xmlns:a16="http://schemas.microsoft.com/office/drawing/2014/main" id="{3539BFA4-8CEF-20E4-2F50-04B45F41B05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000815" y="2061075"/>
            <a:ext cx="622300" cy="546100"/>
          </a:xfrm>
          <a:prstGeom prst="rect">
            <a:avLst/>
          </a:prstGeom>
        </p:spPr>
      </p:pic>
      <p:pic>
        <p:nvPicPr>
          <p:cNvPr id="14" name="Graphic 13">
            <a:extLst>
              <a:ext uri="{FF2B5EF4-FFF2-40B4-BE49-F238E27FC236}">
                <a16:creationId xmlns:a16="http://schemas.microsoft.com/office/drawing/2014/main" id="{4959E71D-BCE3-10D4-6A02-C16E10134BCC}"/>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6885" r="6265"/>
          <a:stretch/>
        </p:blipFill>
        <p:spPr>
          <a:xfrm>
            <a:off x="967745" y="2029325"/>
            <a:ext cx="529443" cy="609600"/>
          </a:xfrm>
          <a:prstGeom prst="rect">
            <a:avLst/>
          </a:prstGeom>
        </p:spPr>
      </p:pic>
      <p:pic>
        <p:nvPicPr>
          <p:cNvPr id="18" name="Graphic 17">
            <a:extLst>
              <a:ext uri="{FF2B5EF4-FFF2-40B4-BE49-F238E27FC236}">
                <a16:creationId xmlns:a16="http://schemas.microsoft.com/office/drawing/2014/main" id="{5B9BD6C0-6E8A-A68F-F829-94BA4EBF606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788240" y="2029325"/>
            <a:ext cx="609600" cy="609600"/>
          </a:xfrm>
          <a:prstGeom prst="rect">
            <a:avLst/>
          </a:prstGeom>
        </p:spPr>
      </p:pic>
      <p:pic>
        <p:nvPicPr>
          <p:cNvPr id="23" name="Graphic 22">
            <a:extLst>
              <a:ext uri="{FF2B5EF4-FFF2-40B4-BE49-F238E27FC236}">
                <a16:creationId xmlns:a16="http://schemas.microsoft.com/office/drawing/2014/main" id="{C38B94F1-E88D-452C-AD1B-C37581A07B6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654876" y="2029325"/>
            <a:ext cx="609600" cy="609600"/>
          </a:xfrm>
          <a:prstGeom prst="rect">
            <a:avLst/>
          </a:prstGeom>
        </p:spPr>
      </p:pic>
      <p:pic>
        <p:nvPicPr>
          <p:cNvPr id="16" name="Graphic 15">
            <a:extLst>
              <a:ext uri="{FF2B5EF4-FFF2-40B4-BE49-F238E27FC236}">
                <a16:creationId xmlns:a16="http://schemas.microsoft.com/office/drawing/2014/main" id="{5BF24EEB-DB44-A92D-1B73-25C752B86EF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724853" y="3538468"/>
            <a:ext cx="609600" cy="609600"/>
          </a:xfrm>
          <a:prstGeom prst="rect">
            <a:avLst/>
          </a:prstGeom>
        </p:spPr>
      </p:pic>
      <p:pic>
        <p:nvPicPr>
          <p:cNvPr id="19" name="Graphic 18">
            <a:extLst>
              <a:ext uri="{FF2B5EF4-FFF2-40B4-BE49-F238E27FC236}">
                <a16:creationId xmlns:a16="http://schemas.microsoft.com/office/drawing/2014/main" id="{2B07D1DA-FA6C-E1FC-A601-CB628ADB31B7}"/>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278830" y="3549746"/>
            <a:ext cx="609600" cy="609600"/>
          </a:xfrm>
          <a:prstGeom prst="rect">
            <a:avLst/>
          </a:prstGeom>
        </p:spPr>
      </p:pic>
      <p:sp>
        <p:nvSpPr>
          <p:cNvPr id="4" name="Text Placeholder 81">
            <a:extLst>
              <a:ext uri="{FF2B5EF4-FFF2-40B4-BE49-F238E27FC236}">
                <a16:creationId xmlns:a16="http://schemas.microsoft.com/office/drawing/2014/main" id="{55E57E28-52A9-5402-6BD8-C4728EE8334C}"/>
              </a:ext>
            </a:extLst>
          </p:cNvPr>
          <p:cNvSpPr txBox="1">
            <a:spLocks/>
          </p:cNvSpPr>
          <p:nvPr/>
        </p:nvSpPr>
        <p:spPr>
          <a:xfrm>
            <a:off x="1015377" y="3296685"/>
            <a:ext cx="1136506"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igger</a:t>
            </a:r>
          </a:p>
        </p:txBody>
      </p:sp>
      <p:sp>
        <p:nvSpPr>
          <p:cNvPr id="12" name="Text Placeholder 81">
            <a:extLst>
              <a:ext uri="{FF2B5EF4-FFF2-40B4-BE49-F238E27FC236}">
                <a16:creationId xmlns:a16="http://schemas.microsoft.com/office/drawing/2014/main" id="{AF2040B7-3B9D-EF76-7D50-E9918B2F704B}"/>
              </a:ext>
            </a:extLst>
          </p:cNvPr>
          <p:cNvSpPr txBox="1">
            <a:spLocks/>
          </p:cNvSpPr>
          <p:nvPr/>
        </p:nvSpPr>
        <p:spPr>
          <a:xfrm>
            <a:off x="8801232" y="3325150"/>
            <a:ext cx="566861" cy="1384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Oil Rig</a:t>
            </a:r>
          </a:p>
        </p:txBody>
      </p:sp>
      <p:sp>
        <p:nvSpPr>
          <p:cNvPr id="15" name="Text Placeholder 81">
            <a:extLst>
              <a:ext uri="{FF2B5EF4-FFF2-40B4-BE49-F238E27FC236}">
                <a16:creationId xmlns:a16="http://schemas.microsoft.com/office/drawing/2014/main" id="{07C11069-BA03-BB99-9D91-2AD68293DD6D}"/>
              </a:ext>
            </a:extLst>
          </p:cNvPr>
          <p:cNvSpPr txBox="1">
            <a:spLocks/>
          </p:cNvSpPr>
          <p:nvPr/>
        </p:nvSpPr>
        <p:spPr>
          <a:xfrm>
            <a:off x="356880" y="5844609"/>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igital Twin</a:t>
            </a:r>
          </a:p>
        </p:txBody>
      </p:sp>
      <p:sp>
        <p:nvSpPr>
          <p:cNvPr id="20" name="object 41">
            <a:extLst>
              <a:ext uri="{FF2B5EF4-FFF2-40B4-BE49-F238E27FC236}">
                <a16:creationId xmlns:a16="http://schemas.microsoft.com/office/drawing/2014/main" id="{F5F19F9F-301D-E1F4-8D51-03E9BA0AD910}"/>
              </a:ext>
            </a:extLst>
          </p:cNvPr>
          <p:cNvSpPr txBox="1"/>
          <p:nvPr/>
        </p:nvSpPr>
        <p:spPr>
          <a:xfrm>
            <a:off x="1586387" y="5844609"/>
            <a:ext cx="150574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igital Thread</a:t>
            </a:r>
            <a:endParaRPr dirty="0"/>
          </a:p>
        </p:txBody>
      </p:sp>
      <p:pic>
        <p:nvPicPr>
          <p:cNvPr id="22" name="Graphic 21">
            <a:extLst>
              <a:ext uri="{FF2B5EF4-FFF2-40B4-BE49-F238E27FC236}">
                <a16:creationId xmlns:a16="http://schemas.microsoft.com/office/drawing/2014/main" id="{B28328FB-768D-235D-8EBF-D7772AACFDD8}"/>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10630" y="6016968"/>
            <a:ext cx="731520" cy="731520"/>
          </a:xfrm>
          <a:prstGeom prst="rect">
            <a:avLst/>
          </a:prstGeom>
        </p:spPr>
      </p:pic>
      <p:sp>
        <p:nvSpPr>
          <p:cNvPr id="17" name="object 11">
            <a:extLst>
              <a:ext uri="{FF2B5EF4-FFF2-40B4-BE49-F238E27FC236}">
                <a16:creationId xmlns:a16="http://schemas.microsoft.com/office/drawing/2014/main" id="{11D91CB1-3AC2-9B3C-C04E-9B9CE7330B77}"/>
              </a:ext>
            </a:extLst>
          </p:cNvPr>
          <p:cNvSpPr txBox="1"/>
          <p:nvPr/>
        </p:nvSpPr>
        <p:spPr>
          <a:xfrm>
            <a:off x="7308716" y="5775359"/>
            <a:ext cx="1366148"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gile</a:t>
            </a:r>
            <a:r>
              <a:rPr lang="en-US" dirty="0"/>
              <a:t> / Sprints (Onshape)</a:t>
            </a:r>
            <a:endParaRPr dirty="0"/>
          </a:p>
        </p:txBody>
      </p:sp>
      <p:pic>
        <p:nvPicPr>
          <p:cNvPr id="25" name="Graphic 24">
            <a:extLst>
              <a:ext uri="{FF2B5EF4-FFF2-40B4-BE49-F238E27FC236}">
                <a16:creationId xmlns:a16="http://schemas.microsoft.com/office/drawing/2014/main" id="{66C9BB5E-FDF7-73ED-94ED-542C2F1C759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673145" y="6108408"/>
            <a:ext cx="697230" cy="548640"/>
          </a:xfrm>
          <a:prstGeom prst="rect">
            <a:avLst/>
          </a:prstGeom>
        </p:spPr>
      </p:pic>
      <p:grpSp>
        <p:nvGrpSpPr>
          <p:cNvPr id="2" name="Group 1">
            <a:extLst>
              <a:ext uri="{FF2B5EF4-FFF2-40B4-BE49-F238E27FC236}">
                <a16:creationId xmlns:a16="http://schemas.microsoft.com/office/drawing/2014/main" id="{6D7F290D-F6DC-2EB2-5907-41A533B95042}"/>
              </a:ext>
            </a:extLst>
          </p:cNvPr>
          <p:cNvGrpSpPr/>
          <p:nvPr/>
        </p:nvGrpSpPr>
        <p:grpSpPr>
          <a:xfrm>
            <a:off x="1937260" y="6076404"/>
            <a:ext cx="780049" cy="612648"/>
            <a:chOff x="1937260" y="6046022"/>
            <a:chExt cx="780049" cy="612648"/>
          </a:xfrm>
        </p:grpSpPr>
        <p:sp>
          <p:nvSpPr>
            <p:cNvPr id="34" name="Freeform: Shape 33">
              <a:extLst>
                <a:ext uri="{FF2B5EF4-FFF2-40B4-BE49-F238E27FC236}">
                  <a16:creationId xmlns:a16="http://schemas.microsoft.com/office/drawing/2014/main" id="{269AEFE8-97C6-3B8A-2088-C045D6968C11}"/>
                </a:ext>
              </a:extLst>
            </p:cNvPr>
            <p:cNvSpPr/>
            <p:nvPr/>
          </p:nvSpPr>
          <p:spPr>
            <a:xfrm flipH="1">
              <a:off x="2306321" y="6046022"/>
              <a:ext cx="404794" cy="125470"/>
            </a:xfrm>
            <a:custGeom>
              <a:avLst/>
              <a:gdLst>
                <a:gd name="connsiteX0" fmla="*/ 209736 w 401332"/>
                <a:gd name="connsiteY0" fmla="*/ 0 h 124397"/>
                <a:gd name="connsiteX1" fmla="*/ 401332 w 401332"/>
                <a:gd name="connsiteY1" fmla="*/ 79724 h 124397"/>
                <a:gd name="connsiteX2" fmla="*/ 381303 w 401332"/>
                <a:gd name="connsiteY2" fmla="*/ 99917 h 124397"/>
                <a:gd name="connsiteX3" fmla="*/ 209736 w 401332"/>
                <a:gd name="connsiteY3" fmla="*/ 28575 h 124397"/>
                <a:gd name="connsiteX4" fmla="*/ 43836 w 401332"/>
                <a:gd name="connsiteY4" fmla="*/ 94393 h 124397"/>
                <a:gd name="connsiteX5" fmla="*/ 63487 w 401332"/>
                <a:gd name="connsiteY5" fmla="*/ 112586 h 124397"/>
                <a:gd name="connsiteX6" fmla="*/ 0 w 401332"/>
                <a:gd name="connsiteY6" fmla="*/ 124397 h 124397"/>
                <a:gd name="connsiteX7" fmla="*/ 6330 w 401332"/>
                <a:gd name="connsiteY7" fmla="*/ 59627 h 124397"/>
                <a:gd name="connsiteX8" fmla="*/ 22863 w 401332"/>
                <a:gd name="connsiteY8" fmla="*/ 74962 h 124397"/>
                <a:gd name="connsiteX9" fmla="*/ 209736 w 401332"/>
                <a:gd name="connsiteY9" fmla="*/ 0 h 12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332" h="124397">
                  <a:moveTo>
                    <a:pt x="209736" y="0"/>
                  </a:moveTo>
                  <a:cubicBezTo>
                    <a:pt x="277097" y="0"/>
                    <a:pt x="348615" y="26575"/>
                    <a:pt x="401332" y="79724"/>
                  </a:cubicBezTo>
                  <a:lnTo>
                    <a:pt x="381303" y="99917"/>
                  </a:lnTo>
                  <a:cubicBezTo>
                    <a:pt x="334160" y="52388"/>
                    <a:pt x="271900" y="28575"/>
                    <a:pt x="209736" y="28575"/>
                  </a:cubicBezTo>
                  <a:cubicBezTo>
                    <a:pt x="147571" y="28575"/>
                    <a:pt x="90318" y="50483"/>
                    <a:pt x="43836" y="94393"/>
                  </a:cubicBezTo>
                  <a:lnTo>
                    <a:pt x="63487" y="112586"/>
                  </a:lnTo>
                  <a:lnTo>
                    <a:pt x="0" y="124397"/>
                  </a:lnTo>
                  <a:lnTo>
                    <a:pt x="6330" y="59627"/>
                  </a:lnTo>
                  <a:lnTo>
                    <a:pt x="22863" y="74962"/>
                  </a:lnTo>
                  <a:cubicBezTo>
                    <a:pt x="75013" y="25051"/>
                    <a:pt x="142374" y="0"/>
                    <a:pt x="209736" y="0"/>
                  </a:cubicBez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35" name="Freeform: Shape 34">
              <a:extLst>
                <a:ext uri="{FF2B5EF4-FFF2-40B4-BE49-F238E27FC236}">
                  <a16:creationId xmlns:a16="http://schemas.microsoft.com/office/drawing/2014/main" id="{C134732F-C8F1-301C-A31A-1B80D9F9AB69}"/>
                </a:ext>
              </a:extLst>
            </p:cNvPr>
            <p:cNvSpPr/>
            <p:nvPr/>
          </p:nvSpPr>
          <p:spPr>
            <a:xfrm>
              <a:off x="2141373" y="6371224"/>
              <a:ext cx="165710" cy="171006"/>
            </a:xfrm>
            <a:custGeom>
              <a:avLst/>
              <a:gdLst>
                <a:gd name="connsiteX0" fmla="*/ 94 w 164293"/>
                <a:gd name="connsiteY0" fmla="*/ 72295 h 169544"/>
                <a:gd name="connsiteX1" fmla="*/ 51773 w 164293"/>
                <a:gd name="connsiteY1" fmla="*/ 46101 h 169544"/>
                <a:gd name="connsiteX2" fmla="*/ 97499 w 164293"/>
                <a:gd name="connsiteY2" fmla="*/ 0 h 169544"/>
                <a:gd name="connsiteX3" fmla="*/ 164293 w 164293"/>
                <a:gd name="connsiteY3" fmla="*/ 67342 h 169544"/>
                <a:gd name="connsiteX4" fmla="*/ 116961 w 164293"/>
                <a:gd name="connsiteY4" fmla="*/ 115062 h 169544"/>
                <a:gd name="connsiteX5" fmla="*/ 0 w 164293"/>
                <a:gd name="connsiteY5" fmla="*/ 169545 h 169544"/>
                <a:gd name="connsiteX6" fmla="*/ 0 w 164293"/>
                <a:gd name="connsiteY6" fmla="*/ 72390 h 16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3" h="169544">
                  <a:moveTo>
                    <a:pt x="94" y="72295"/>
                  </a:moveTo>
                  <a:cubicBezTo>
                    <a:pt x="19084" y="69437"/>
                    <a:pt x="37318" y="60674"/>
                    <a:pt x="51773" y="46101"/>
                  </a:cubicBezTo>
                  <a:lnTo>
                    <a:pt x="97499" y="0"/>
                  </a:lnTo>
                  <a:lnTo>
                    <a:pt x="164293" y="67342"/>
                  </a:lnTo>
                  <a:lnTo>
                    <a:pt x="116961" y="115062"/>
                  </a:lnTo>
                  <a:cubicBezTo>
                    <a:pt x="84461" y="147828"/>
                    <a:pt x="42703" y="166021"/>
                    <a:pt x="0" y="169545"/>
                  </a:cubicBezTo>
                  <a:lnTo>
                    <a:pt x="0" y="72390"/>
                  </a:lnTo>
                  <a:close/>
                </a:path>
              </a:pathLst>
            </a:custGeom>
            <a:solidFill>
              <a:schemeClr val="accent1"/>
            </a:solidFill>
            <a:ln w="9409"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2F5615AA-BE04-A131-7566-47EC5BA45FCD}"/>
                </a:ext>
              </a:extLst>
            </p:cNvPr>
            <p:cNvSpPr/>
            <p:nvPr/>
          </p:nvSpPr>
          <p:spPr>
            <a:xfrm>
              <a:off x="1937260" y="6366805"/>
              <a:ext cx="175620" cy="175618"/>
            </a:xfrm>
            <a:custGeom>
              <a:avLst/>
              <a:gdLst>
                <a:gd name="connsiteX0" fmla="*/ 96743 w 174118"/>
                <a:gd name="connsiteY0" fmla="*/ 0 h 174116"/>
                <a:gd name="connsiteX1" fmla="*/ 174119 w 174118"/>
                <a:gd name="connsiteY1" fmla="*/ 76676 h 174116"/>
                <a:gd name="connsiteX2" fmla="*/ 174119 w 174118"/>
                <a:gd name="connsiteY2" fmla="*/ 174117 h 174116"/>
                <a:gd name="connsiteX3" fmla="*/ 54229 w 174118"/>
                <a:gd name="connsiteY3" fmla="*/ 119444 h 174116"/>
                <a:gd name="connsiteX4" fmla="*/ 54229 w 174118"/>
                <a:gd name="connsiteY4" fmla="*/ 119444 h 174116"/>
                <a:gd name="connsiteX5" fmla="*/ 0 w 174118"/>
                <a:gd name="connsiteY5" fmla="*/ 0 h 174116"/>
                <a:gd name="connsiteX6" fmla="*/ 96743 w 174118"/>
                <a:gd name="connsiteY6" fmla="*/ 0 h 17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118" h="174116">
                  <a:moveTo>
                    <a:pt x="96743" y="0"/>
                  </a:moveTo>
                  <a:cubicBezTo>
                    <a:pt x="103356" y="39815"/>
                    <a:pt x="134439" y="70675"/>
                    <a:pt x="174119" y="76676"/>
                  </a:cubicBezTo>
                  <a:lnTo>
                    <a:pt x="174119" y="174117"/>
                  </a:lnTo>
                  <a:cubicBezTo>
                    <a:pt x="130376" y="171164"/>
                    <a:pt x="87484" y="152972"/>
                    <a:pt x="54229" y="119444"/>
                  </a:cubicBezTo>
                  <a:lnTo>
                    <a:pt x="54229" y="119444"/>
                  </a:lnTo>
                  <a:cubicBezTo>
                    <a:pt x="21257" y="86201"/>
                    <a:pt x="3212" y="43625"/>
                    <a:pt x="0" y="0"/>
                  </a:cubicBezTo>
                  <a:lnTo>
                    <a:pt x="96743" y="0"/>
                  </a:lnTo>
                  <a:close/>
                </a:path>
              </a:pathLst>
            </a:custGeom>
            <a:solidFill>
              <a:srgbClr val="3FAA48"/>
            </a:solidFill>
            <a:ln w="9409"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82B2EE71-C3B7-FFB3-C4E8-7998EE4E41EA}"/>
                </a:ext>
              </a:extLst>
            </p:cNvPr>
            <p:cNvSpPr/>
            <p:nvPr/>
          </p:nvSpPr>
          <p:spPr>
            <a:xfrm>
              <a:off x="1937260" y="6162365"/>
              <a:ext cx="175620" cy="175618"/>
            </a:xfrm>
            <a:custGeom>
              <a:avLst/>
              <a:gdLst>
                <a:gd name="connsiteX0" fmla="*/ 174119 w 174118"/>
                <a:gd name="connsiteY0" fmla="*/ 94298 h 174116"/>
                <a:gd name="connsiteX1" fmla="*/ 96271 w 174118"/>
                <a:gd name="connsiteY1" fmla="*/ 174117 h 174116"/>
                <a:gd name="connsiteX2" fmla="*/ 0 w 174118"/>
                <a:gd name="connsiteY2" fmla="*/ 174117 h 174116"/>
                <a:gd name="connsiteX3" fmla="*/ 54135 w 174118"/>
                <a:gd name="connsiteY3" fmla="*/ 54673 h 174116"/>
                <a:gd name="connsiteX4" fmla="*/ 174119 w 174118"/>
                <a:gd name="connsiteY4" fmla="*/ 0 h 174116"/>
                <a:gd name="connsiteX5" fmla="*/ 174119 w 174118"/>
                <a:gd name="connsiteY5" fmla="*/ 94298 h 17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118" h="174116">
                  <a:moveTo>
                    <a:pt x="174119" y="94298"/>
                  </a:moveTo>
                  <a:cubicBezTo>
                    <a:pt x="133400" y="100489"/>
                    <a:pt x="101750" y="132779"/>
                    <a:pt x="96271" y="174117"/>
                  </a:cubicBezTo>
                  <a:lnTo>
                    <a:pt x="0" y="174117"/>
                  </a:lnTo>
                  <a:cubicBezTo>
                    <a:pt x="3212" y="130493"/>
                    <a:pt x="21257" y="87821"/>
                    <a:pt x="54135" y="54673"/>
                  </a:cubicBezTo>
                  <a:cubicBezTo>
                    <a:pt x="87390" y="21145"/>
                    <a:pt x="130282" y="2858"/>
                    <a:pt x="174119" y="0"/>
                  </a:cubicBezTo>
                  <a:lnTo>
                    <a:pt x="174119" y="94298"/>
                  </a:lnTo>
                  <a:close/>
                </a:path>
              </a:pathLst>
            </a:custGeom>
            <a:solidFill>
              <a:schemeClr val="accent1"/>
            </a:solidFill>
            <a:ln w="9409"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0344E647-105B-CF7A-646B-A504615452ED}"/>
                </a:ext>
              </a:extLst>
            </p:cNvPr>
            <p:cNvSpPr/>
            <p:nvPr/>
          </p:nvSpPr>
          <p:spPr>
            <a:xfrm>
              <a:off x="2347486" y="6162653"/>
              <a:ext cx="165615" cy="171006"/>
            </a:xfrm>
            <a:custGeom>
              <a:avLst/>
              <a:gdLst>
                <a:gd name="connsiteX0" fmla="*/ 164199 w 164198"/>
                <a:gd name="connsiteY0" fmla="*/ 97155 h 169544"/>
                <a:gd name="connsiteX1" fmla="*/ 112615 w 164198"/>
                <a:gd name="connsiteY1" fmla="*/ 123349 h 169544"/>
                <a:gd name="connsiteX2" fmla="*/ 66794 w 164198"/>
                <a:gd name="connsiteY2" fmla="*/ 169545 h 169544"/>
                <a:gd name="connsiteX3" fmla="*/ 0 w 164198"/>
                <a:gd name="connsiteY3" fmla="*/ 102203 h 169544"/>
                <a:gd name="connsiteX4" fmla="*/ 47332 w 164198"/>
                <a:gd name="connsiteY4" fmla="*/ 54483 h 169544"/>
                <a:gd name="connsiteX5" fmla="*/ 164199 w 164198"/>
                <a:gd name="connsiteY5" fmla="*/ 0 h 169544"/>
                <a:gd name="connsiteX6" fmla="*/ 164199 w 164198"/>
                <a:gd name="connsiteY6" fmla="*/ 97155 h 16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98" h="169544">
                  <a:moveTo>
                    <a:pt x="164199" y="97155"/>
                  </a:moveTo>
                  <a:cubicBezTo>
                    <a:pt x="145209" y="100013"/>
                    <a:pt x="126975" y="108776"/>
                    <a:pt x="112615" y="123349"/>
                  </a:cubicBezTo>
                  <a:lnTo>
                    <a:pt x="66794" y="169545"/>
                  </a:lnTo>
                  <a:lnTo>
                    <a:pt x="0" y="102203"/>
                  </a:lnTo>
                  <a:lnTo>
                    <a:pt x="47332" y="54483"/>
                  </a:lnTo>
                  <a:cubicBezTo>
                    <a:pt x="79832" y="21717"/>
                    <a:pt x="121496" y="3620"/>
                    <a:pt x="164199" y="0"/>
                  </a:cubicBezTo>
                  <a:lnTo>
                    <a:pt x="164199" y="97155"/>
                  </a:lnTo>
                  <a:close/>
                </a:path>
              </a:pathLst>
            </a:custGeom>
            <a:solidFill>
              <a:schemeClr val="tx1"/>
            </a:solidFill>
            <a:ln w="9409"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1987D951-5B26-C177-143F-41F3DC233057}"/>
                </a:ext>
              </a:extLst>
            </p:cNvPr>
            <p:cNvSpPr/>
            <p:nvPr/>
          </p:nvSpPr>
          <p:spPr>
            <a:xfrm>
              <a:off x="2541689" y="6162365"/>
              <a:ext cx="175620" cy="175618"/>
            </a:xfrm>
            <a:custGeom>
              <a:avLst/>
              <a:gdLst>
                <a:gd name="connsiteX0" fmla="*/ 77376 w 174118"/>
                <a:gd name="connsiteY0" fmla="*/ 174117 h 174116"/>
                <a:gd name="connsiteX1" fmla="*/ 0 w 174118"/>
                <a:gd name="connsiteY1" fmla="*/ 97441 h 174116"/>
                <a:gd name="connsiteX2" fmla="*/ 0 w 174118"/>
                <a:gd name="connsiteY2" fmla="*/ 0 h 174116"/>
                <a:gd name="connsiteX3" fmla="*/ 119984 w 174118"/>
                <a:gd name="connsiteY3" fmla="*/ 54673 h 174116"/>
                <a:gd name="connsiteX4" fmla="*/ 174119 w 174118"/>
                <a:gd name="connsiteY4" fmla="*/ 174117 h 174116"/>
                <a:gd name="connsiteX5" fmla="*/ 77376 w 174118"/>
                <a:gd name="connsiteY5" fmla="*/ 174117 h 17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118" h="174116">
                  <a:moveTo>
                    <a:pt x="77376" y="174117"/>
                  </a:moveTo>
                  <a:cubicBezTo>
                    <a:pt x="70762" y="134303"/>
                    <a:pt x="39774" y="103442"/>
                    <a:pt x="0" y="97441"/>
                  </a:cubicBezTo>
                  <a:lnTo>
                    <a:pt x="0" y="0"/>
                  </a:lnTo>
                  <a:cubicBezTo>
                    <a:pt x="43742" y="2953"/>
                    <a:pt x="86729" y="21145"/>
                    <a:pt x="119984" y="54673"/>
                  </a:cubicBezTo>
                  <a:cubicBezTo>
                    <a:pt x="152862" y="87821"/>
                    <a:pt x="170906" y="130493"/>
                    <a:pt x="174119" y="174117"/>
                  </a:cubicBezTo>
                  <a:lnTo>
                    <a:pt x="77376" y="174117"/>
                  </a:lnTo>
                  <a:close/>
                </a:path>
              </a:pathLst>
            </a:custGeom>
            <a:solidFill>
              <a:schemeClr val="tx1"/>
            </a:solidFill>
            <a:ln w="9409"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83CCEC72-B04D-2FD6-8E4E-B09DA9D8B415}"/>
                </a:ext>
              </a:extLst>
            </p:cNvPr>
            <p:cNvSpPr/>
            <p:nvPr/>
          </p:nvSpPr>
          <p:spPr>
            <a:xfrm>
              <a:off x="2541689" y="6366805"/>
              <a:ext cx="175620" cy="175618"/>
            </a:xfrm>
            <a:custGeom>
              <a:avLst/>
              <a:gdLst>
                <a:gd name="connsiteX0" fmla="*/ 0 w 174118"/>
                <a:gd name="connsiteY0" fmla="*/ 79820 h 174116"/>
                <a:gd name="connsiteX1" fmla="*/ 77848 w 174118"/>
                <a:gd name="connsiteY1" fmla="*/ 0 h 174116"/>
                <a:gd name="connsiteX2" fmla="*/ 174119 w 174118"/>
                <a:gd name="connsiteY2" fmla="*/ 0 h 174116"/>
                <a:gd name="connsiteX3" fmla="*/ 119984 w 174118"/>
                <a:gd name="connsiteY3" fmla="*/ 119348 h 174116"/>
                <a:gd name="connsiteX4" fmla="*/ 119984 w 174118"/>
                <a:gd name="connsiteY4" fmla="*/ 119348 h 174116"/>
                <a:gd name="connsiteX5" fmla="*/ 94 w 174118"/>
                <a:gd name="connsiteY5" fmla="*/ 174117 h 174116"/>
                <a:gd name="connsiteX6" fmla="*/ 94 w 174118"/>
                <a:gd name="connsiteY6" fmla="*/ 79820 h 17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118" h="174116">
                  <a:moveTo>
                    <a:pt x="0" y="79820"/>
                  </a:moveTo>
                  <a:cubicBezTo>
                    <a:pt x="40719" y="73628"/>
                    <a:pt x="72368" y="41339"/>
                    <a:pt x="77848" y="0"/>
                  </a:cubicBezTo>
                  <a:lnTo>
                    <a:pt x="174119" y="0"/>
                  </a:lnTo>
                  <a:cubicBezTo>
                    <a:pt x="170906" y="43625"/>
                    <a:pt x="152862" y="86201"/>
                    <a:pt x="119984" y="119348"/>
                  </a:cubicBezTo>
                  <a:lnTo>
                    <a:pt x="119984" y="119348"/>
                  </a:lnTo>
                  <a:cubicBezTo>
                    <a:pt x="86729" y="152876"/>
                    <a:pt x="43837" y="171164"/>
                    <a:pt x="94" y="174117"/>
                  </a:cubicBezTo>
                  <a:lnTo>
                    <a:pt x="94" y="79820"/>
                  </a:lnTo>
                  <a:close/>
                </a:path>
              </a:pathLst>
            </a:custGeom>
            <a:solidFill>
              <a:srgbClr val="3D4647"/>
            </a:solidFill>
            <a:ln w="9409"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663A6E97-3EC9-F39A-AF67-CDE312AE6CEA}"/>
                </a:ext>
              </a:extLst>
            </p:cNvPr>
            <p:cNvSpPr/>
            <p:nvPr/>
          </p:nvSpPr>
          <p:spPr>
            <a:xfrm>
              <a:off x="2141277" y="6162461"/>
              <a:ext cx="371823" cy="379675"/>
            </a:xfrm>
            <a:custGeom>
              <a:avLst/>
              <a:gdLst>
                <a:gd name="connsiteX0" fmla="*/ 117055 w 368643"/>
                <a:gd name="connsiteY0" fmla="*/ 54578 h 376428"/>
                <a:gd name="connsiteX1" fmla="*/ 160986 w 368643"/>
                <a:gd name="connsiteY1" fmla="*/ 98870 h 376428"/>
                <a:gd name="connsiteX2" fmla="*/ 184416 w 368643"/>
                <a:gd name="connsiteY2" fmla="*/ 122492 h 376428"/>
                <a:gd name="connsiteX3" fmla="*/ 251211 w 368643"/>
                <a:gd name="connsiteY3" fmla="*/ 189833 h 376428"/>
                <a:gd name="connsiteX4" fmla="*/ 300621 w 368643"/>
                <a:gd name="connsiteY4" fmla="*/ 239649 h 376428"/>
                <a:gd name="connsiteX5" fmla="*/ 316966 w 368643"/>
                <a:gd name="connsiteY5" fmla="*/ 256127 h 376428"/>
                <a:gd name="connsiteX6" fmla="*/ 368644 w 368643"/>
                <a:gd name="connsiteY6" fmla="*/ 282321 h 376428"/>
                <a:gd name="connsiteX7" fmla="*/ 368644 w 368643"/>
                <a:gd name="connsiteY7" fmla="*/ 376428 h 376428"/>
                <a:gd name="connsiteX8" fmla="*/ 251683 w 368643"/>
                <a:gd name="connsiteY8" fmla="*/ 321945 h 376428"/>
                <a:gd name="connsiteX9" fmla="*/ 211247 w 368643"/>
                <a:gd name="connsiteY9" fmla="*/ 281178 h 376428"/>
                <a:gd name="connsiteX10" fmla="*/ 184322 w 368643"/>
                <a:gd name="connsiteY10" fmla="*/ 254032 h 376428"/>
                <a:gd name="connsiteX11" fmla="*/ 117528 w 368643"/>
                <a:gd name="connsiteY11" fmla="*/ 186690 h 376428"/>
                <a:gd name="connsiteX12" fmla="*/ 71518 w 368643"/>
                <a:gd name="connsiteY12" fmla="*/ 140303 h 376428"/>
                <a:gd name="connsiteX13" fmla="*/ 51678 w 368643"/>
                <a:gd name="connsiteY13" fmla="*/ 120301 h 376428"/>
                <a:gd name="connsiteX14" fmla="*/ 0 w 368643"/>
                <a:gd name="connsiteY14" fmla="*/ 94107 h 376428"/>
                <a:gd name="connsiteX15" fmla="*/ 0 w 368643"/>
                <a:gd name="connsiteY15" fmla="*/ 0 h 376428"/>
                <a:gd name="connsiteX16" fmla="*/ 116866 w 368643"/>
                <a:gd name="connsiteY16" fmla="*/ 54483 h 376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8643" h="376428">
                  <a:moveTo>
                    <a:pt x="117055" y="54578"/>
                  </a:moveTo>
                  <a:lnTo>
                    <a:pt x="160986" y="98870"/>
                  </a:lnTo>
                  <a:lnTo>
                    <a:pt x="184416" y="122492"/>
                  </a:lnTo>
                  <a:lnTo>
                    <a:pt x="251211" y="189833"/>
                  </a:lnTo>
                  <a:lnTo>
                    <a:pt x="300621" y="239649"/>
                  </a:lnTo>
                  <a:lnTo>
                    <a:pt x="316966" y="256127"/>
                  </a:lnTo>
                  <a:cubicBezTo>
                    <a:pt x="331420" y="270701"/>
                    <a:pt x="349654" y="279464"/>
                    <a:pt x="368644" y="282321"/>
                  </a:cubicBezTo>
                  <a:lnTo>
                    <a:pt x="368644" y="376428"/>
                  </a:lnTo>
                  <a:cubicBezTo>
                    <a:pt x="325941" y="372904"/>
                    <a:pt x="284183" y="354711"/>
                    <a:pt x="251683" y="321945"/>
                  </a:cubicBezTo>
                  <a:lnTo>
                    <a:pt x="211247" y="281178"/>
                  </a:lnTo>
                  <a:lnTo>
                    <a:pt x="184322" y="254032"/>
                  </a:lnTo>
                  <a:lnTo>
                    <a:pt x="117528" y="186690"/>
                  </a:lnTo>
                  <a:lnTo>
                    <a:pt x="71518" y="140303"/>
                  </a:lnTo>
                  <a:lnTo>
                    <a:pt x="51678" y="120301"/>
                  </a:lnTo>
                  <a:cubicBezTo>
                    <a:pt x="37223" y="105728"/>
                    <a:pt x="18990" y="96965"/>
                    <a:pt x="0" y="94107"/>
                  </a:cubicBezTo>
                  <a:lnTo>
                    <a:pt x="0" y="0"/>
                  </a:lnTo>
                  <a:cubicBezTo>
                    <a:pt x="42703" y="3524"/>
                    <a:pt x="84461" y="21717"/>
                    <a:pt x="116866" y="54483"/>
                  </a:cubicBezTo>
                  <a:close/>
                </a:path>
              </a:pathLst>
            </a:custGeom>
            <a:gradFill>
              <a:gsLst>
                <a:gs pos="80000">
                  <a:schemeClr val="tx1"/>
                </a:gs>
                <a:gs pos="18000">
                  <a:schemeClr val="accent1"/>
                </a:gs>
              </a:gsLst>
              <a:lin ang="3000000" scaled="0"/>
            </a:gradFill>
            <a:ln w="9409"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F7617EFF-20E3-5B8E-2C16-65B896FEE0CE}"/>
                </a:ext>
              </a:extLst>
            </p:cNvPr>
            <p:cNvSpPr/>
            <p:nvPr/>
          </p:nvSpPr>
          <p:spPr>
            <a:xfrm>
              <a:off x="1939547" y="6533201"/>
              <a:ext cx="404700" cy="125469"/>
            </a:xfrm>
            <a:custGeom>
              <a:avLst/>
              <a:gdLst>
                <a:gd name="connsiteX0" fmla="*/ 401238 w 401238"/>
                <a:gd name="connsiteY0" fmla="*/ 0 h 124396"/>
                <a:gd name="connsiteX1" fmla="*/ 394908 w 401238"/>
                <a:gd name="connsiteY1" fmla="*/ 64770 h 124396"/>
                <a:gd name="connsiteX2" fmla="*/ 378375 w 401238"/>
                <a:gd name="connsiteY2" fmla="*/ 49435 h 124396"/>
                <a:gd name="connsiteX3" fmla="*/ 191597 w 401238"/>
                <a:gd name="connsiteY3" fmla="*/ 124396 h 124396"/>
                <a:gd name="connsiteX4" fmla="*/ 0 w 401238"/>
                <a:gd name="connsiteY4" fmla="*/ 44672 h 124396"/>
                <a:gd name="connsiteX5" fmla="*/ 20029 w 401238"/>
                <a:gd name="connsiteY5" fmla="*/ 24479 h 124396"/>
                <a:gd name="connsiteX6" fmla="*/ 191597 w 401238"/>
                <a:gd name="connsiteY6" fmla="*/ 95821 h 124396"/>
                <a:gd name="connsiteX7" fmla="*/ 357496 w 401238"/>
                <a:gd name="connsiteY7" fmla="*/ 30004 h 124396"/>
                <a:gd name="connsiteX8" fmla="*/ 337845 w 401238"/>
                <a:gd name="connsiteY8" fmla="*/ 11811 h 124396"/>
                <a:gd name="connsiteX9" fmla="*/ 337750 w 401238"/>
                <a:gd name="connsiteY9" fmla="*/ 11811 h 124396"/>
                <a:gd name="connsiteX10" fmla="*/ 401238 w 401238"/>
                <a:gd name="connsiteY10" fmla="*/ 0 h 12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1238" h="124396">
                  <a:moveTo>
                    <a:pt x="401238" y="0"/>
                  </a:moveTo>
                  <a:lnTo>
                    <a:pt x="394908" y="64770"/>
                  </a:lnTo>
                  <a:lnTo>
                    <a:pt x="378375" y="49435"/>
                  </a:lnTo>
                  <a:cubicBezTo>
                    <a:pt x="326319" y="99441"/>
                    <a:pt x="261036" y="124396"/>
                    <a:pt x="191597" y="124396"/>
                  </a:cubicBezTo>
                  <a:cubicBezTo>
                    <a:pt x="122157" y="124396"/>
                    <a:pt x="52717" y="97822"/>
                    <a:pt x="0" y="44672"/>
                  </a:cubicBezTo>
                  <a:lnTo>
                    <a:pt x="20029" y="24479"/>
                  </a:lnTo>
                  <a:cubicBezTo>
                    <a:pt x="67172" y="72009"/>
                    <a:pt x="131793" y="95821"/>
                    <a:pt x="191597" y="95821"/>
                  </a:cubicBezTo>
                  <a:cubicBezTo>
                    <a:pt x="251400" y="95821"/>
                    <a:pt x="311108" y="73819"/>
                    <a:pt x="357496" y="30004"/>
                  </a:cubicBezTo>
                  <a:lnTo>
                    <a:pt x="337845" y="11811"/>
                  </a:lnTo>
                  <a:lnTo>
                    <a:pt x="337750" y="11811"/>
                  </a:lnTo>
                  <a:lnTo>
                    <a:pt x="401238"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sp>
        <p:nvSpPr>
          <p:cNvPr id="47" name="Rectangle 46">
            <a:extLst>
              <a:ext uri="{FF2B5EF4-FFF2-40B4-BE49-F238E27FC236}">
                <a16:creationId xmlns:a16="http://schemas.microsoft.com/office/drawing/2014/main" id="{6C052257-55A7-7D50-C6A3-FEECC8A4A7F4}"/>
              </a:ext>
            </a:extLst>
          </p:cNvPr>
          <p:cNvSpPr/>
          <p:nvPr/>
        </p:nvSpPr>
        <p:spPr>
          <a:xfrm>
            <a:off x="503172" y="5481183"/>
            <a:ext cx="11247120" cy="2194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solidFill>
                  <a:schemeClr val="bg1"/>
                </a:solidFill>
              </a:rPr>
              <a:t>Concepts </a:t>
            </a:r>
          </a:p>
        </p:txBody>
      </p:sp>
      <p:sp>
        <p:nvSpPr>
          <p:cNvPr id="50" name="Text Placeholder 81">
            <a:extLst>
              <a:ext uri="{FF2B5EF4-FFF2-40B4-BE49-F238E27FC236}">
                <a16:creationId xmlns:a16="http://schemas.microsoft.com/office/drawing/2014/main" id="{96A6DD2C-2EA3-436A-1BC9-7FA35641FA36}"/>
              </a:ext>
            </a:extLst>
          </p:cNvPr>
          <p:cNvSpPr txBox="1">
            <a:spLocks/>
          </p:cNvSpPr>
          <p:nvPr/>
        </p:nvSpPr>
        <p:spPr>
          <a:xfrm>
            <a:off x="8806503" y="5844609"/>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aaSIFY PTC</a:t>
            </a:r>
          </a:p>
        </p:txBody>
      </p:sp>
      <p:sp>
        <p:nvSpPr>
          <p:cNvPr id="53" name="Text Placeholder 81">
            <a:extLst>
              <a:ext uri="{FF2B5EF4-FFF2-40B4-BE49-F238E27FC236}">
                <a16:creationId xmlns:a16="http://schemas.microsoft.com/office/drawing/2014/main" id="{931D2B8A-1CAB-A9A7-AEED-0122C2A107C4}"/>
              </a:ext>
            </a:extLst>
          </p:cNvPr>
          <p:cNvSpPr txBox="1">
            <a:spLocks/>
          </p:cNvSpPr>
          <p:nvPr/>
        </p:nvSpPr>
        <p:spPr>
          <a:xfrm>
            <a:off x="7679255" y="4328713"/>
            <a:ext cx="3200400" cy="15234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tail</a:t>
            </a:r>
          </a:p>
        </p:txBody>
      </p:sp>
      <p:sp>
        <p:nvSpPr>
          <p:cNvPr id="258" name="TextBox 257">
            <a:extLst>
              <a:ext uri="{FF2B5EF4-FFF2-40B4-BE49-F238E27FC236}">
                <a16:creationId xmlns:a16="http://schemas.microsoft.com/office/drawing/2014/main" id="{551BD71F-E7DC-4991-7E1A-5A4F9EBDC1AB}"/>
              </a:ext>
            </a:extLst>
          </p:cNvPr>
          <p:cNvSpPr txBox="1"/>
          <p:nvPr/>
        </p:nvSpPr>
        <p:spPr>
          <a:xfrm>
            <a:off x="9096305" y="4550018"/>
            <a:ext cx="81191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ag, Price</a:t>
            </a:r>
          </a:p>
        </p:txBody>
      </p:sp>
      <p:sp>
        <p:nvSpPr>
          <p:cNvPr id="259" name="Text Placeholder 81">
            <a:extLst>
              <a:ext uri="{FF2B5EF4-FFF2-40B4-BE49-F238E27FC236}">
                <a16:creationId xmlns:a16="http://schemas.microsoft.com/office/drawing/2014/main" id="{AD2CAAAD-E8FF-B86A-148C-AE4B7CCC6C19}"/>
              </a:ext>
            </a:extLst>
          </p:cNvPr>
          <p:cNvSpPr txBox="1">
            <a:spLocks/>
          </p:cNvSpPr>
          <p:nvPr/>
        </p:nvSpPr>
        <p:spPr>
          <a:xfrm>
            <a:off x="7670932" y="4540767"/>
            <a:ext cx="146731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tail, Shopping Cart</a:t>
            </a:r>
          </a:p>
        </p:txBody>
      </p:sp>
      <p:pic>
        <p:nvPicPr>
          <p:cNvPr id="260" name="Graphic 259">
            <a:extLst>
              <a:ext uri="{FF2B5EF4-FFF2-40B4-BE49-F238E27FC236}">
                <a16:creationId xmlns:a16="http://schemas.microsoft.com/office/drawing/2014/main" id="{195B30F9-0520-F316-228E-A1171A5293A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994736" y="4692226"/>
            <a:ext cx="609600" cy="609600"/>
          </a:xfrm>
          <a:prstGeom prst="rect">
            <a:avLst/>
          </a:prstGeom>
        </p:spPr>
      </p:pic>
      <p:pic>
        <p:nvPicPr>
          <p:cNvPr id="266" name="Graphic 265">
            <a:extLst>
              <a:ext uri="{FF2B5EF4-FFF2-40B4-BE49-F238E27FC236}">
                <a16:creationId xmlns:a16="http://schemas.microsoft.com/office/drawing/2014/main" id="{A1D6F29F-4619-E48F-9BD0-C5D748C6C84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9314839" y="4759960"/>
            <a:ext cx="609600" cy="609600"/>
          </a:xfrm>
          <a:prstGeom prst="rect">
            <a:avLst/>
          </a:prstGeom>
        </p:spPr>
      </p:pic>
      <p:sp>
        <p:nvSpPr>
          <p:cNvPr id="267" name="TextBox 266">
            <a:extLst>
              <a:ext uri="{FF2B5EF4-FFF2-40B4-BE49-F238E27FC236}">
                <a16:creationId xmlns:a16="http://schemas.microsoft.com/office/drawing/2014/main" id="{165AF6E4-ADE0-10EF-CCF9-C178C062F1F9}"/>
              </a:ext>
            </a:extLst>
          </p:cNvPr>
          <p:cNvSpPr txBox="1"/>
          <p:nvPr/>
        </p:nvSpPr>
        <p:spPr>
          <a:xfrm>
            <a:off x="10119624" y="4550018"/>
            <a:ext cx="70638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ell, Buy</a:t>
            </a:r>
          </a:p>
        </p:txBody>
      </p:sp>
      <p:sp>
        <p:nvSpPr>
          <p:cNvPr id="271" name="TextBox 270">
            <a:extLst>
              <a:ext uri="{FF2B5EF4-FFF2-40B4-BE49-F238E27FC236}">
                <a16:creationId xmlns:a16="http://schemas.microsoft.com/office/drawing/2014/main" id="{BA6CEADF-ABD2-2529-D7E9-41129F4095B7}"/>
              </a:ext>
            </a:extLst>
          </p:cNvPr>
          <p:cNvSpPr txBox="1"/>
          <p:nvPr/>
        </p:nvSpPr>
        <p:spPr>
          <a:xfrm>
            <a:off x="5394974" y="4337143"/>
            <a:ext cx="168165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viation Defense Industry</a:t>
            </a:r>
          </a:p>
        </p:txBody>
      </p:sp>
      <p:pic>
        <p:nvPicPr>
          <p:cNvPr id="274" name="Graphic 273">
            <a:extLst>
              <a:ext uri="{FF2B5EF4-FFF2-40B4-BE49-F238E27FC236}">
                <a16:creationId xmlns:a16="http://schemas.microsoft.com/office/drawing/2014/main" id="{91E105F9-318B-6688-F932-BDEA8DD727D6}"/>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3773171" y="4055257"/>
            <a:ext cx="781050" cy="609600"/>
          </a:xfrm>
          <a:prstGeom prst="rect">
            <a:avLst/>
          </a:prstGeom>
        </p:spPr>
      </p:pic>
      <p:pic>
        <p:nvPicPr>
          <p:cNvPr id="276" name="Graphic 275">
            <a:extLst>
              <a:ext uri="{FF2B5EF4-FFF2-40B4-BE49-F238E27FC236}">
                <a16:creationId xmlns:a16="http://schemas.microsoft.com/office/drawing/2014/main" id="{8E11F5D3-6AFA-16D3-C6E2-B46D2FA04A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845277" y="4563079"/>
            <a:ext cx="781050" cy="609600"/>
          </a:xfrm>
          <a:prstGeom prst="rect">
            <a:avLst/>
          </a:prstGeom>
        </p:spPr>
      </p:pic>
      <p:pic>
        <p:nvPicPr>
          <p:cNvPr id="3" name="Graphic 2">
            <a:extLst>
              <a:ext uri="{FF2B5EF4-FFF2-40B4-BE49-F238E27FC236}">
                <a16:creationId xmlns:a16="http://schemas.microsoft.com/office/drawing/2014/main" id="{F690517E-CF31-5620-43A7-E6DEBF835FCC}"/>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0159104" y="4748671"/>
            <a:ext cx="774700" cy="609600"/>
          </a:xfrm>
          <a:prstGeom prst="rect">
            <a:avLst/>
          </a:prstGeom>
        </p:spPr>
      </p:pic>
      <p:sp>
        <p:nvSpPr>
          <p:cNvPr id="270" name="Text Placeholder 81">
            <a:extLst>
              <a:ext uri="{FF2B5EF4-FFF2-40B4-BE49-F238E27FC236}">
                <a16:creationId xmlns:a16="http://schemas.microsoft.com/office/drawing/2014/main" id="{1A67EA8E-0739-F0A6-B455-CF8B8DFBAA1C}"/>
              </a:ext>
            </a:extLst>
          </p:cNvPr>
          <p:cNvSpPr txBox="1">
            <a:spLocks/>
          </p:cNvSpPr>
          <p:nvPr/>
        </p:nvSpPr>
        <p:spPr>
          <a:xfrm>
            <a:off x="11288309" y="3325150"/>
            <a:ext cx="731520" cy="1384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Genetic </a:t>
            </a:r>
          </a:p>
        </p:txBody>
      </p:sp>
      <p:pic>
        <p:nvPicPr>
          <p:cNvPr id="272" name="Graphic 271">
            <a:extLst>
              <a:ext uri="{FF2B5EF4-FFF2-40B4-BE49-F238E27FC236}">
                <a16:creationId xmlns:a16="http://schemas.microsoft.com/office/drawing/2014/main" id="{337C701F-06E6-7BF7-FEB8-2EA2B9E06F5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1374941" y="3544802"/>
            <a:ext cx="609600" cy="609600"/>
          </a:xfrm>
          <a:prstGeom prst="rect">
            <a:avLst/>
          </a:prstGeom>
        </p:spPr>
      </p:pic>
      <p:sp>
        <p:nvSpPr>
          <p:cNvPr id="275" name="Text Placeholder 81">
            <a:extLst>
              <a:ext uri="{FF2B5EF4-FFF2-40B4-BE49-F238E27FC236}">
                <a16:creationId xmlns:a16="http://schemas.microsoft.com/office/drawing/2014/main" id="{5EBFE138-8CCF-7CD0-6D32-94ED0FC4489D}"/>
              </a:ext>
            </a:extLst>
          </p:cNvPr>
          <p:cNvSpPr txBox="1">
            <a:spLocks/>
          </p:cNvSpPr>
          <p:nvPr/>
        </p:nvSpPr>
        <p:spPr>
          <a:xfrm>
            <a:off x="1745683" y="4337143"/>
            <a:ext cx="1371600"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rocess Industry</a:t>
            </a:r>
          </a:p>
        </p:txBody>
      </p:sp>
      <p:pic>
        <p:nvPicPr>
          <p:cNvPr id="281" name="Graphic 280">
            <a:extLst>
              <a:ext uri="{FF2B5EF4-FFF2-40B4-BE49-F238E27FC236}">
                <a16:creationId xmlns:a16="http://schemas.microsoft.com/office/drawing/2014/main" id="{9BF0E30C-C056-0933-86B0-2DAEA6090B09}"/>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364972" y="4520514"/>
            <a:ext cx="731520" cy="731520"/>
          </a:xfrm>
          <a:prstGeom prst="rect">
            <a:avLst/>
          </a:prstGeom>
        </p:spPr>
      </p:pic>
      <p:sp>
        <p:nvSpPr>
          <p:cNvPr id="282" name="Text Placeholder 81">
            <a:extLst>
              <a:ext uri="{FF2B5EF4-FFF2-40B4-BE49-F238E27FC236}">
                <a16:creationId xmlns:a16="http://schemas.microsoft.com/office/drawing/2014/main" id="{86BCDDE3-1341-B0E7-0C76-BACBDF9F9BC9}"/>
              </a:ext>
            </a:extLst>
          </p:cNvPr>
          <p:cNvSpPr txBox="1">
            <a:spLocks/>
          </p:cNvSpPr>
          <p:nvPr/>
        </p:nvSpPr>
        <p:spPr>
          <a:xfrm>
            <a:off x="162479" y="4337143"/>
            <a:ext cx="113650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ssembly Line</a:t>
            </a:r>
          </a:p>
        </p:txBody>
      </p:sp>
      <p:pic>
        <p:nvPicPr>
          <p:cNvPr id="46" name="Graphic 45">
            <a:extLst>
              <a:ext uri="{FF2B5EF4-FFF2-40B4-BE49-F238E27FC236}">
                <a16:creationId xmlns:a16="http://schemas.microsoft.com/office/drawing/2014/main" id="{009C9B14-C938-744A-3672-B8ECE8C745C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2068011" y="4515797"/>
            <a:ext cx="609600" cy="609600"/>
          </a:xfrm>
          <a:prstGeom prst="rect">
            <a:avLst/>
          </a:prstGeom>
        </p:spPr>
      </p:pic>
      <p:sp>
        <p:nvSpPr>
          <p:cNvPr id="269" name="object 49">
            <a:extLst>
              <a:ext uri="{FF2B5EF4-FFF2-40B4-BE49-F238E27FC236}">
                <a16:creationId xmlns:a16="http://schemas.microsoft.com/office/drawing/2014/main" id="{10D73321-6ADE-D1AB-35A1-044DED67F3FF}"/>
              </a:ext>
            </a:extLst>
          </p:cNvPr>
          <p:cNvSpPr txBox="1"/>
          <p:nvPr/>
        </p:nvSpPr>
        <p:spPr>
          <a:xfrm>
            <a:off x="4896945" y="5775359"/>
            <a:ext cx="998084"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Model</a:t>
            </a:r>
            <a:r>
              <a:rPr lang="en-US" dirty="0"/>
              <a:t> </a:t>
            </a:r>
            <a:br>
              <a:rPr lang="en-US" dirty="0"/>
            </a:br>
            <a:r>
              <a:rPr lang="en-US" dirty="0"/>
              <a:t>(ALM)</a:t>
            </a:r>
            <a:endParaRPr dirty="0"/>
          </a:p>
        </p:txBody>
      </p:sp>
      <p:pic>
        <p:nvPicPr>
          <p:cNvPr id="273" name="Graphic 272">
            <a:extLst>
              <a:ext uri="{FF2B5EF4-FFF2-40B4-BE49-F238E27FC236}">
                <a16:creationId xmlns:a16="http://schemas.microsoft.com/office/drawing/2014/main" id="{A991E649-C987-6B23-2DE6-A6C808E83FE5}"/>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5050719" y="6108408"/>
            <a:ext cx="697230" cy="548640"/>
          </a:xfrm>
          <a:prstGeom prst="rect">
            <a:avLst/>
          </a:prstGeom>
        </p:spPr>
      </p:pic>
      <p:grpSp>
        <p:nvGrpSpPr>
          <p:cNvPr id="337" name="Group 336">
            <a:extLst>
              <a:ext uri="{FF2B5EF4-FFF2-40B4-BE49-F238E27FC236}">
                <a16:creationId xmlns:a16="http://schemas.microsoft.com/office/drawing/2014/main" id="{DF416E47-D6C6-339B-7A52-A9C13D78DEE1}"/>
              </a:ext>
            </a:extLst>
          </p:cNvPr>
          <p:cNvGrpSpPr/>
          <p:nvPr/>
        </p:nvGrpSpPr>
        <p:grpSpPr>
          <a:xfrm>
            <a:off x="9687875" y="3516293"/>
            <a:ext cx="534923" cy="603266"/>
            <a:chOff x="9720347" y="3544802"/>
            <a:chExt cx="534923" cy="603266"/>
          </a:xfrm>
        </p:grpSpPr>
        <p:sp>
          <p:nvSpPr>
            <p:cNvPr id="287" name="Freeform: Shape 286">
              <a:extLst>
                <a:ext uri="{FF2B5EF4-FFF2-40B4-BE49-F238E27FC236}">
                  <a16:creationId xmlns:a16="http://schemas.microsoft.com/office/drawing/2014/main" id="{42D9DD7A-7F26-B01D-72EF-6057250B7310}"/>
                </a:ext>
              </a:extLst>
            </p:cNvPr>
            <p:cNvSpPr/>
            <p:nvPr/>
          </p:nvSpPr>
          <p:spPr>
            <a:xfrm>
              <a:off x="10102680" y="3820265"/>
              <a:ext cx="152590" cy="196976"/>
            </a:xfrm>
            <a:custGeom>
              <a:avLst/>
              <a:gdLst>
                <a:gd name="connsiteX0" fmla="*/ 12573 w 152590"/>
                <a:gd name="connsiteY0" fmla="*/ 0 h 196976"/>
                <a:gd name="connsiteX1" fmla="*/ 0 w 152590"/>
                <a:gd name="connsiteY1" fmla="*/ 48292 h 196976"/>
                <a:gd name="connsiteX2" fmla="*/ 57436 w 152590"/>
                <a:gd name="connsiteY2" fmla="*/ 196977 h 196976"/>
                <a:gd name="connsiteX3" fmla="*/ 152591 w 152590"/>
                <a:gd name="connsiteY3" fmla="*/ 0 h 196976"/>
                <a:gd name="connsiteX4" fmla="*/ 12668 w 152590"/>
                <a:gd name="connsiteY4" fmla="*/ 0 h 196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590" h="196976">
                  <a:moveTo>
                    <a:pt x="12573" y="0"/>
                  </a:moveTo>
                  <a:cubicBezTo>
                    <a:pt x="11525" y="17240"/>
                    <a:pt x="7144" y="33528"/>
                    <a:pt x="0" y="48292"/>
                  </a:cubicBezTo>
                  <a:lnTo>
                    <a:pt x="57436" y="196977"/>
                  </a:lnTo>
                  <a:cubicBezTo>
                    <a:pt x="113824" y="149447"/>
                    <a:pt x="150305" y="78962"/>
                    <a:pt x="152591" y="0"/>
                  </a:cubicBezTo>
                  <a:lnTo>
                    <a:pt x="12668" y="0"/>
                  </a:lnTo>
                  <a:close/>
                </a:path>
              </a:pathLst>
            </a:custGeom>
            <a:solidFill>
              <a:srgbClr val="40AA1D"/>
            </a:solidFill>
            <a:ln w="9525" cap="flat">
              <a:noFill/>
              <a:prstDash val="solid"/>
              <a:miter/>
            </a:ln>
          </p:spPr>
          <p:txBody>
            <a:bodyPr rtlCol="0" anchor="ctr"/>
            <a:lstStyle/>
            <a:p>
              <a:endParaRPr lang="en-US" dirty="0"/>
            </a:p>
          </p:txBody>
        </p:sp>
        <p:sp>
          <p:nvSpPr>
            <p:cNvPr id="290" name="Freeform: Shape 289">
              <a:extLst>
                <a:ext uri="{FF2B5EF4-FFF2-40B4-BE49-F238E27FC236}">
                  <a16:creationId xmlns:a16="http://schemas.microsoft.com/office/drawing/2014/main" id="{27C3EE55-9283-5D0D-073E-ED3671B25D78}"/>
                </a:ext>
              </a:extLst>
            </p:cNvPr>
            <p:cNvSpPr/>
            <p:nvPr/>
          </p:nvSpPr>
          <p:spPr>
            <a:xfrm>
              <a:off x="9720347" y="3820265"/>
              <a:ext cx="153543" cy="198120"/>
            </a:xfrm>
            <a:custGeom>
              <a:avLst/>
              <a:gdLst>
                <a:gd name="connsiteX0" fmla="*/ 0 w 153543"/>
                <a:gd name="connsiteY0" fmla="*/ 0 h 198120"/>
                <a:gd name="connsiteX1" fmla="*/ 96393 w 153543"/>
                <a:gd name="connsiteY1" fmla="*/ 198120 h 198120"/>
                <a:gd name="connsiteX2" fmla="*/ 153543 w 153543"/>
                <a:gd name="connsiteY2" fmla="*/ 50292 h 198120"/>
                <a:gd name="connsiteX3" fmla="*/ 140018 w 153543"/>
                <a:gd name="connsiteY3" fmla="*/ 0 h 198120"/>
                <a:gd name="connsiteX4" fmla="*/ 0 w 153543"/>
                <a:gd name="connsiteY4" fmla="*/ 0 h 198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543" h="198120">
                  <a:moveTo>
                    <a:pt x="0" y="0"/>
                  </a:moveTo>
                  <a:cubicBezTo>
                    <a:pt x="2286" y="79629"/>
                    <a:pt x="39243" y="150590"/>
                    <a:pt x="96393" y="198120"/>
                  </a:cubicBezTo>
                  <a:lnTo>
                    <a:pt x="153543" y="50292"/>
                  </a:lnTo>
                  <a:cubicBezTo>
                    <a:pt x="145733" y="35052"/>
                    <a:pt x="141065" y="18002"/>
                    <a:pt x="140018" y="0"/>
                  </a:cubicBezTo>
                  <a:lnTo>
                    <a:pt x="0" y="0"/>
                  </a:lnTo>
                  <a:close/>
                </a:path>
              </a:pathLst>
            </a:custGeom>
            <a:solidFill>
              <a:srgbClr val="40AA1D"/>
            </a:solidFill>
            <a:ln w="9525" cap="flat">
              <a:noFill/>
              <a:prstDash val="solid"/>
              <a:miter/>
            </a:ln>
          </p:spPr>
          <p:txBody>
            <a:bodyPr rtlCol="0" anchor="ctr"/>
            <a:lstStyle/>
            <a:p>
              <a:endParaRPr lang="en-US" dirty="0"/>
            </a:p>
          </p:txBody>
        </p:sp>
        <p:sp>
          <p:nvSpPr>
            <p:cNvPr id="300" name="Freeform: Shape 299">
              <a:extLst>
                <a:ext uri="{FF2B5EF4-FFF2-40B4-BE49-F238E27FC236}">
                  <a16:creationId xmlns:a16="http://schemas.microsoft.com/office/drawing/2014/main" id="{4CDB1D21-6C79-6B04-2354-B3E8D2D17EB3}"/>
                </a:ext>
              </a:extLst>
            </p:cNvPr>
            <p:cNvSpPr/>
            <p:nvPr/>
          </p:nvSpPr>
          <p:spPr>
            <a:xfrm>
              <a:off x="9835409" y="3854840"/>
              <a:ext cx="308038" cy="195071"/>
            </a:xfrm>
            <a:custGeom>
              <a:avLst/>
              <a:gdLst>
                <a:gd name="connsiteX0" fmla="*/ 210217 w 308038"/>
                <a:gd name="connsiteY0" fmla="*/ 28575 h 195071"/>
                <a:gd name="connsiteX1" fmla="*/ 265843 w 308038"/>
                <a:gd name="connsiteY1" fmla="*/ 166497 h 195071"/>
                <a:gd name="connsiteX2" fmla="*/ 42482 w 308038"/>
                <a:gd name="connsiteY2" fmla="*/ 166497 h 195071"/>
                <a:gd name="connsiteX3" fmla="*/ 98108 w 308038"/>
                <a:gd name="connsiteY3" fmla="*/ 28575 h 195071"/>
                <a:gd name="connsiteX4" fmla="*/ 210121 w 308038"/>
                <a:gd name="connsiteY4" fmla="*/ 28575 h 195071"/>
                <a:gd name="connsiteX5" fmla="*/ 229362 w 308038"/>
                <a:gd name="connsiteY5" fmla="*/ 0 h 195071"/>
                <a:gd name="connsiteX6" fmla="*/ 78772 w 308038"/>
                <a:gd name="connsiteY6" fmla="*/ 0 h 195071"/>
                <a:gd name="connsiteX7" fmla="*/ 0 w 308038"/>
                <a:gd name="connsiteY7" fmla="*/ 195072 h 195071"/>
                <a:gd name="connsiteX8" fmla="*/ 308039 w 308038"/>
                <a:gd name="connsiteY8" fmla="*/ 195072 h 195071"/>
                <a:gd name="connsiteX9" fmla="*/ 229267 w 308038"/>
                <a:gd name="connsiteY9" fmla="*/ 0 h 195071"/>
                <a:gd name="connsiteX10" fmla="*/ 229267 w 308038"/>
                <a:gd name="connsiteY10" fmla="*/ 0 h 19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8038" h="195071">
                  <a:moveTo>
                    <a:pt x="210217" y="28575"/>
                  </a:moveTo>
                  <a:lnTo>
                    <a:pt x="265843" y="166497"/>
                  </a:lnTo>
                  <a:lnTo>
                    <a:pt x="42482" y="166497"/>
                  </a:lnTo>
                  <a:lnTo>
                    <a:pt x="98108" y="28575"/>
                  </a:lnTo>
                  <a:lnTo>
                    <a:pt x="210121" y="28575"/>
                  </a:lnTo>
                  <a:moveTo>
                    <a:pt x="229362" y="0"/>
                  </a:moveTo>
                  <a:lnTo>
                    <a:pt x="78772" y="0"/>
                  </a:lnTo>
                  <a:lnTo>
                    <a:pt x="0" y="195072"/>
                  </a:lnTo>
                  <a:lnTo>
                    <a:pt x="308039" y="195072"/>
                  </a:lnTo>
                  <a:lnTo>
                    <a:pt x="229267" y="0"/>
                  </a:lnTo>
                  <a:lnTo>
                    <a:pt x="229267" y="0"/>
                  </a:lnTo>
                  <a:close/>
                </a:path>
              </a:pathLst>
            </a:custGeom>
            <a:solidFill>
              <a:schemeClr val="tx1"/>
            </a:solidFill>
            <a:ln w="9525" cap="flat">
              <a:noFill/>
              <a:prstDash val="solid"/>
              <a:miter/>
            </a:ln>
          </p:spPr>
          <p:txBody>
            <a:bodyPr rtlCol="0" anchor="ctr"/>
            <a:lstStyle/>
            <a:p>
              <a:endParaRPr lang="en-US" dirty="0"/>
            </a:p>
          </p:txBody>
        </p:sp>
        <p:sp>
          <p:nvSpPr>
            <p:cNvPr id="309" name="Freeform: Shape 308">
              <a:extLst>
                <a:ext uri="{FF2B5EF4-FFF2-40B4-BE49-F238E27FC236}">
                  <a16:creationId xmlns:a16="http://schemas.microsoft.com/office/drawing/2014/main" id="{1B1FED10-67CB-27C4-E477-28E266F1B406}"/>
                </a:ext>
              </a:extLst>
            </p:cNvPr>
            <p:cNvSpPr/>
            <p:nvPr/>
          </p:nvSpPr>
          <p:spPr>
            <a:xfrm>
              <a:off x="9721013" y="3544802"/>
              <a:ext cx="533590" cy="246888"/>
            </a:xfrm>
            <a:custGeom>
              <a:avLst/>
              <a:gdLst>
                <a:gd name="connsiteX0" fmla="*/ 266795 w 533590"/>
                <a:gd name="connsiteY0" fmla="*/ 0 h 246888"/>
                <a:gd name="connsiteX1" fmla="*/ 0 w 533590"/>
                <a:gd name="connsiteY1" fmla="*/ 246888 h 246888"/>
                <a:gd name="connsiteX2" fmla="*/ 140684 w 533590"/>
                <a:gd name="connsiteY2" fmla="*/ 246888 h 246888"/>
                <a:gd name="connsiteX3" fmla="*/ 266795 w 533590"/>
                <a:gd name="connsiteY3" fmla="*/ 139732 h 246888"/>
                <a:gd name="connsiteX4" fmla="*/ 392906 w 533590"/>
                <a:gd name="connsiteY4" fmla="*/ 246888 h 246888"/>
                <a:gd name="connsiteX5" fmla="*/ 533591 w 533590"/>
                <a:gd name="connsiteY5" fmla="*/ 246888 h 246888"/>
                <a:gd name="connsiteX6" fmla="*/ 266795 w 533590"/>
                <a:gd name="connsiteY6" fmla="*/ 0 h 246888"/>
                <a:gd name="connsiteX7" fmla="*/ 302609 w 533590"/>
                <a:gd name="connsiteY7" fmla="*/ 98584 h 246888"/>
                <a:gd name="connsiteX8" fmla="*/ 231077 w 533590"/>
                <a:gd name="connsiteY8" fmla="*/ 98584 h 246888"/>
                <a:gd name="connsiteX9" fmla="*/ 231077 w 533590"/>
                <a:gd name="connsiteY9" fmla="*/ 45148 h 246888"/>
                <a:gd name="connsiteX10" fmla="*/ 302609 w 533590"/>
                <a:gd name="connsiteY10" fmla="*/ 45148 h 246888"/>
                <a:gd name="connsiteX11" fmla="*/ 302609 w 533590"/>
                <a:gd name="connsiteY11" fmla="*/ 98584 h 246888"/>
                <a:gd name="connsiteX12" fmla="*/ 414623 w 533590"/>
                <a:gd name="connsiteY12" fmla="*/ 149924 h 246888"/>
                <a:gd name="connsiteX13" fmla="*/ 396430 w 533590"/>
                <a:gd name="connsiteY13" fmla="*/ 131731 h 246888"/>
                <a:gd name="connsiteX14" fmla="*/ 414623 w 533590"/>
                <a:gd name="connsiteY14" fmla="*/ 113538 h 246888"/>
                <a:gd name="connsiteX15" fmla="*/ 432816 w 533590"/>
                <a:gd name="connsiteY15" fmla="*/ 131731 h 246888"/>
                <a:gd name="connsiteX16" fmla="*/ 414623 w 533590"/>
                <a:gd name="connsiteY16" fmla="*/ 149924 h 246888"/>
                <a:gd name="connsiteX17" fmla="*/ 448818 w 533590"/>
                <a:gd name="connsiteY17" fmla="*/ 199739 h 246888"/>
                <a:gd name="connsiteX18" fmla="*/ 430625 w 533590"/>
                <a:gd name="connsiteY18" fmla="*/ 181547 h 246888"/>
                <a:gd name="connsiteX19" fmla="*/ 448818 w 533590"/>
                <a:gd name="connsiteY19" fmla="*/ 163354 h 246888"/>
                <a:gd name="connsiteX20" fmla="*/ 467011 w 533590"/>
                <a:gd name="connsiteY20" fmla="*/ 181547 h 246888"/>
                <a:gd name="connsiteX21" fmla="*/ 448818 w 533590"/>
                <a:gd name="connsiteY21" fmla="*/ 199739 h 24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3590" h="246888">
                  <a:moveTo>
                    <a:pt x="266795" y="0"/>
                  </a:moveTo>
                  <a:cubicBezTo>
                    <a:pt x="125921" y="0"/>
                    <a:pt x="10573" y="108776"/>
                    <a:pt x="0" y="246888"/>
                  </a:cubicBezTo>
                  <a:lnTo>
                    <a:pt x="140684" y="246888"/>
                  </a:lnTo>
                  <a:cubicBezTo>
                    <a:pt x="150686" y="186119"/>
                    <a:pt x="203264" y="139732"/>
                    <a:pt x="266795" y="139732"/>
                  </a:cubicBezTo>
                  <a:cubicBezTo>
                    <a:pt x="330327" y="139732"/>
                    <a:pt x="383000" y="186119"/>
                    <a:pt x="392906" y="246888"/>
                  </a:cubicBezTo>
                  <a:lnTo>
                    <a:pt x="533591" y="246888"/>
                  </a:lnTo>
                  <a:cubicBezTo>
                    <a:pt x="522923" y="108776"/>
                    <a:pt x="407575" y="0"/>
                    <a:pt x="266795" y="0"/>
                  </a:cubicBezTo>
                  <a:close/>
                  <a:moveTo>
                    <a:pt x="302609" y="98584"/>
                  </a:moveTo>
                  <a:lnTo>
                    <a:pt x="231077" y="98584"/>
                  </a:lnTo>
                  <a:lnTo>
                    <a:pt x="231077" y="45148"/>
                  </a:lnTo>
                  <a:lnTo>
                    <a:pt x="302609" y="45148"/>
                  </a:lnTo>
                  <a:lnTo>
                    <a:pt x="302609" y="98584"/>
                  </a:lnTo>
                  <a:close/>
                  <a:moveTo>
                    <a:pt x="414623" y="149924"/>
                  </a:moveTo>
                  <a:cubicBezTo>
                    <a:pt x="404527" y="149924"/>
                    <a:pt x="396430" y="141732"/>
                    <a:pt x="396430" y="131731"/>
                  </a:cubicBezTo>
                  <a:cubicBezTo>
                    <a:pt x="396430" y="121730"/>
                    <a:pt x="404622" y="113538"/>
                    <a:pt x="414623" y="113538"/>
                  </a:cubicBezTo>
                  <a:cubicBezTo>
                    <a:pt x="424625" y="113538"/>
                    <a:pt x="432816" y="121730"/>
                    <a:pt x="432816" y="131731"/>
                  </a:cubicBezTo>
                  <a:cubicBezTo>
                    <a:pt x="432816" y="141732"/>
                    <a:pt x="424625" y="149924"/>
                    <a:pt x="414623" y="149924"/>
                  </a:cubicBezTo>
                  <a:close/>
                  <a:moveTo>
                    <a:pt x="448818" y="199739"/>
                  </a:moveTo>
                  <a:cubicBezTo>
                    <a:pt x="438722" y="199739"/>
                    <a:pt x="430625" y="191548"/>
                    <a:pt x="430625" y="181547"/>
                  </a:cubicBezTo>
                  <a:cubicBezTo>
                    <a:pt x="430625" y="171545"/>
                    <a:pt x="438817" y="163354"/>
                    <a:pt x="448818" y="163354"/>
                  </a:cubicBezTo>
                  <a:cubicBezTo>
                    <a:pt x="458819" y="163354"/>
                    <a:pt x="467011" y="171545"/>
                    <a:pt x="467011" y="181547"/>
                  </a:cubicBezTo>
                  <a:cubicBezTo>
                    <a:pt x="467011" y="191548"/>
                    <a:pt x="458819" y="199739"/>
                    <a:pt x="448818" y="199739"/>
                  </a:cubicBezTo>
                  <a:close/>
                </a:path>
              </a:pathLst>
            </a:custGeom>
            <a:solidFill>
              <a:srgbClr val="40AA1D"/>
            </a:solidFill>
            <a:ln w="9525" cap="flat">
              <a:noFill/>
              <a:prstDash val="solid"/>
              <a:miter/>
            </a:ln>
          </p:spPr>
          <p:txBody>
            <a:bodyPr rtlCol="0" anchor="ctr"/>
            <a:lstStyle/>
            <a:p>
              <a:endParaRPr lang="en-US" dirty="0"/>
            </a:p>
          </p:txBody>
        </p:sp>
        <p:sp>
          <p:nvSpPr>
            <p:cNvPr id="326" name="Freeform: Shape 325">
              <a:extLst>
                <a:ext uri="{FF2B5EF4-FFF2-40B4-BE49-F238E27FC236}">
                  <a16:creationId xmlns:a16="http://schemas.microsoft.com/office/drawing/2014/main" id="{FD07AD01-218B-CE06-3972-E433E207E7B8}"/>
                </a:ext>
              </a:extLst>
            </p:cNvPr>
            <p:cNvSpPr/>
            <p:nvPr/>
          </p:nvSpPr>
          <p:spPr>
            <a:xfrm>
              <a:off x="9835408" y="4050008"/>
              <a:ext cx="308038" cy="98060"/>
            </a:xfrm>
            <a:custGeom>
              <a:avLst/>
              <a:gdLst>
                <a:gd name="connsiteX0" fmla="*/ 0 w 308038"/>
                <a:gd name="connsiteY0" fmla="*/ 0 h 98060"/>
                <a:gd name="connsiteX1" fmla="*/ 26247 w 308038"/>
                <a:gd name="connsiteY1" fmla="*/ 0 h 98060"/>
                <a:gd name="connsiteX2" fmla="*/ 26247 w 308038"/>
                <a:gd name="connsiteY2" fmla="*/ 71694 h 98060"/>
                <a:gd name="connsiteX3" fmla="*/ 281792 w 308038"/>
                <a:gd name="connsiteY3" fmla="*/ 71694 h 98060"/>
                <a:gd name="connsiteX4" fmla="*/ 281792 w 308038"/>
                <a:gd name="connsiteY4" fmla="*/ 0 h 98060"/>
                <a:gd name="connsiteX5" fmla="*/ 308038 w 308038"/>
                <a:gd name="connsiteY5" fmla="*/ 0 h 98060"/>
                <a:gd name="connsiteX6" fmla="*/ 308038 w 308038"/>
                <a:gd name="connsiteY6" fmla="*/ 98060 h 98060"/>
                <a:gd name="connsiteX7" fmla="*/ 0 w 308038"/>
                <a:gd name="connsiteY7" fmla="*/ 98060 h 98060"/>
                <a:gd name="connsiteX8" fmla="*/ 0 w 308038"/>
                <a:gd name="connsiteY8" fmla="*/ 0 h 9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038" h="98060">
                  <a:moveTo>
                    <a:pt x="0" y="0"/>
                  </a:moveTo>
                  <a:lnTo>
                    <a:pt x="26247" y="0"/>
                  </a:lnTo>
                  <a:lnTo>
                    <a:pt x="26247" y="71694"/>
                  </a:lnTo>
                  <a:lnTo>
                    <a:pt x="281792" y="71694"/>
                  </a:lnTo>
                  <a:lnTo>
                    <a:pt x="281792" y="0"/>
                  </a:lnTo>
                  <a:lnTo>
                    <a:pt x="308038" y="0"/>
                  </a:lnTo>
                  <a:lnTo>
                    <a:pt x="308038" y="98060"/>
                  </a:lnTo>
                  <a:lnTo>
                    <a:pt x="0" y="98060"/>
                  </a:lnTo>
                  <a:lnTo>
                    <a:pt x="0" y="0"/>
                  </a:lnTo>
                  <a:close/>
                </a:path>
              </a:pathLst>
            </a:custGeom>
            <a:solidFill>
              <a:schemeClr val="tx1"/>
            </a:solidFill>
            <a:ln w="28575" cap="flat">
              <a:noFill/>
              <a:prstDash val="solid"/>
              <a:miter/>
            </a:ln>
          </p:spPr>
          <p:txBody>
            <a:bodyPr rtlCol="0" anchor="ctr"/>
            <a:lstStyle/>
            <a:p>
              <a:endParaRPr lang="en-US" dirty="0"/>
            </a:p>
          </p:txBody>
        </p:sp>
      </p:grpSp>
      <p:sp>
        <p:nvSpPr>
          <p:cNvPr id="277" name="object 41">
            <a:extLst>
              <a:ext uri="{FF2B5EF4-FFF2-40B4-BE49-F238E27FC236}">
                <a16:creationId xmlns:a16="http://schemas.microsoft.com/office/drawing/2014/main" id="{706CB7C8-8211-506A-1762-074DC6A318B1}"/>
              </a:ext>
            </a:extLst>
          </p:cNvPr>
          <p:cNvSpPr txBox="1"/>
          <p:nvPr/>
        </p:nvSpPr>
        <p:spPr>
          <a:xfrm>
            <a:off x="3051487" y="5775359"/>
            <a:ext cx="183179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Engineering</a:t>
            </a:r>
            <a:r>
              <a:rPr lang="en-US" dirty="0"/>
              <a:t> </a:t>
            </a:r>
            <a:br>
              <a:rPr lang="en-US" dirty="0"/>
            </a:br>
            <a:r>
              <a:rPr lang="en-US" dirty="0"/>
              <a:t>D</a:t>
            </a:r>
            <a:r>
              <a:rPr dirty="0"/>
              <a:t>igital</a:t>
            </a:r>
            <a:r>
              <a:rPr lang="en-US" dirty="0"/>
              <a:t> Thread</a:t>
            </a:r>
            <a:endParaRPr dirty="0"/>
          </a:p>
        </p:txBody>
      </p:sp>
      <p:pic>
        <p:nvPicPr>
          <p:cNvPr id="278" name="Graphic 277">
            <a:extLst>
              <a:ext uri="{FF2B5EF4-FFF2-40B4-BE49-F238E27FC236}">
                <a16:creationId xmlns:a16="http://schemas.microsoft.com/office/drawing/2014/main" id="{7527931F-0BA0-7E3B-7776-C5D8CB77B58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3646067" y="6077928"/>
            <a:ext cx="774700" cy="609600"/>
          </a:xfrm>
          <a:prstGeom prst="rect">
            <a:avLst/>
          </a:prstGeom>
        </p:spPr>
      </p:pic>
      <p:grpSp>
        <p:nvGrpSpPr>
          <p:cNvPr id="24" name="Group 23">
            <a:extLst>
              <a:ext uri="{FF2B5EF4-FFF2-40B4-BE49-F238E27FC236}">
                <a16:creationId xmlns:a16="http://schemas.microsoft.com/office/drawing/2014/main" id="{2ED7E4FE-099F-5E29-6249-F898F98FC278}"/>
              </a:ext>
            </a:extLst>
          </p:cNvPr>
          <p:cNvGrpSpPr/>
          <p:nvPr/>
        </p:nvGrpSpPr>
        <p:grpSpPr>
          <a:xfrm>
            <a:off x="8985728" y="6037727"/>
            <a:ext cx="548522" cy="784272"/>
            <a:chOff x="7250233" y="6032306"/>
            <a:chExt cx="548522" cy="784272"/>
          </a:xfrm>
        </p:grpSpPr>
        <p:grpSp>
          <p:nvGrpSpPr>
            <p:cNvPr id="26" name="Graphic 50">
              <a:extLst>
                <a:ext uri="{FF2B5EF4-FFF2-40B4-BE49-F238E27FC236}">
                  <a16:creationId xmlns:a16="http://schemas.microsoft.com/office/drawing/2014/main" id="{E05CC96E-7787-E9FA-1C22-BE0AE3D8B0C3}"/>
                </a:ext>
              </a:extLst>
            </p:cNvPr>
            <p:cNvGrpSpPr/>
            <p:nvPr/>
          </p:nvGrpSpPr>
          <p:grpSpPr>
            <a:xfrm>
              <a:off x="7271993" y="6109583"/>
              <a:ext cx="501304" cy="303647"/>
              <a:chOff x="7246537" y="6109583"/>
              <a:chExt cx="501304" cy="303647"/>
            </a:xfrm>
          </p:grpSpPr>
          <p:sp>
            <p:nvSpPr>
              <p:cNvPr id="284" name="Freeform: Shape 283">
                <a:extLst>
                  <a:ext uri="{FF2B5EF4-FFF2-40B4-BE49-F238E27FC236}">
                    <a16:creationId xmlns:a16="http://schemas.microsoft.com/office/drawing/2014/main" id="{64940E42-C23D-526D-574B-E41A8BFAFD6A}"/>
                  </a:ext>
                </a:extLst>
              </p:cNvPr>
              <p:cNvSpPr/>
              <p:nvPr/>
            </p:nvSpPr>
            <p:spPr>
              <a:xfrm>
                <a:off x="7246537" y="6109583"/>
                <a:ext cx="501304" cy="303647"/>
              </a:xfrm>
              <a:custGeom>
                <a:avLst/>
                <a:gdLst>
                  <a:gd name="connsiteX0" fmla="*/ 214621 w 501304"/>
                  <a:gd name="connsiteY0" fmla="*/ 23418 h 303647"/>
                  <a:gd name="connsiteX1" fmla="*/ 300000 w 501304"/>
                  <a:gd name="connsiteY1" fmla="*/ 74156 h 303647"/>
                  <a:gd name="connsiteX2" fmla="*/ 310182 w 501304"/>
                  <a:gd name="connsiteY2" fmla="*/ 92109 h 303647"/>
                  <a:gd name="connsiteX3" fmla="*/ 329765 w 501304"/>
                  <a:gd name="connsiteY3" fmla="*/ 84303 h 303647"/>
                  <a:gd name="connsiteX4" fmla="*/ 351697 w 501304"/>
                  <a:gd name="connsiteY4" fmla="*/ 80400 h 303647"/>
                  <a:gd name="connsiteX5" fmla="*/ 411227 w 501304"/>
                  <a:gd name="connsiteY5" fmla="*/ 139725 h 303647"/>
                  <a:gd name="connsiteX6" fmla="*/ 410443 w 501304"/>
                  <a:gd name="connsiteY6" fmla="*/ 149092 h 303647"/>
                  <a:gd name="connsiteX7" fmla="*/ 407310 w 501304"/>
                  <a:gd name="connsiteY7" fmla="*/ 172509 h 303647"/>
                  <a:gd name="connsiteX8" fmla="*/ 431592 w 501304"/>
                  <a:gd name="connsiteY8" fmla="*/ 174851 h 303647"/>
                  <a:gd name="connsiteX9" fmla="*/ 477806 w 501304"/>
                  <a:gd name="connsiteY9" fmla="*/ 226370 h 303647"/>
                  <a:gd name="connsiteX10" fmla="*/ 425326 w 501304"/>
                  <a:gd name="connsiteY10" fmla="*/ 278669 h 303647"/>
                  <a:gd name="connsiteX11" fmla="*/ 107311 w 501304"/>
                  <a:gd name="connsiteY11" fmla="*/ 279450 h 303647"/>
                  <a:gd name="connsiteX12" fmla="*/ 23499 w 501304"/>
                  <a:gd name="connsiteY12" fmla="*/ 195927 h 303647"/>
                  <a:gd name="connsiteX13" fmla="*/ 100261 w 501304"/>
                  <a:gd name="connsiteY13" fmla="*/ 112404 h 303647"/>
                  <a:gd name="connsiteX14" fmla="*/ 116710 w 501304"/>
                  <a:gd name="connsiteY14" fmla="*/ 110843 h 303647"/>
                  <a:gd name="connsiteX15" fmla="*/ 120626 w 501304"/>
                  <a:gd name="connsiteY15" fmla="*/ 95231 h 303647"/>
                  <a:gd name="connsiteX16" fmla="*/ 214621 w 501304"/>
                  <a:gd name="connsiteY16" fmla="*/ 23418 h 303647"/>
                  <a:gd name="connsiteX17" fmla="*/ 214621 w 501304"/>
                  <a:gd name="connsiteY17" fmla="*/ 0 h 303647"/>
                  <a:gd name="connsiteX18" fmla="*/ 97911 w 501304"/>
                  <a:gd name="connsiteY18" fmla="*/ 89767 h 303647"/>
                  <a:gd name="connsiteX19" fmla="*/ 0 w 501304"/>
                  <a:gd name="connsiteY19" fmla="*/ 195927 h 303647"/>
                  <a:gd name="connsiteX20" fmla="*/ 107311 w 501304"/>
                  <a:gd name="connsiteY20" fmla="*/ 303648 h 303647"/>
                  <a:gd name="connsiteX21" fmla="*/ 425326 w 501304"/>
                  <a:gd name="connsiteY21" fmla="*/ 302867 h 303647"/>
                  <a:gd name="connsiteX22" fmla="*/ 501305 w 501304"/>
                  <a:gd name="connsiteY22" fmla="*/ 227150 h 303647"/>
                  <a:gd name="connsiteX23" fmla="*/ 434725 w 501304"/>
                  <a:gd name="connsiteY23" fmla="*/ 152214 h 303647"/>
                  <a:gd name="connsiteX24" fmla="*/ 435509 w 501304"/>
                  <a:gd name="connsiteY24" fmla="*/ 139725 h 303647"/>
                  <a:gd name="connsiteX25" fmla="*/ 352480 w 501304"/>
                  <a:gd name="connsiteY25" fmla="*/ 56983 h 303647"/>
                  <a:gd name="connsiteX26" fmla="*/ 321932 w 501304"/>
                  <a:gd name="connsiteY26" fmla="*/ 63227 h 303647"/>
                  <a:gd name="connsiteX27" fmla="*/ 214621 w 501304"/>
                  <a:gd name="connsiteY27" fmla="*/ 0 h 303647"/>
                  <a:gd name="connsiteX28" fmla="*/ 214621 w 501304"/>
                  <a:gd name="connsiteY28" fmla="*/ 0 h 30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01304" h="303647">
                    <a:moveTo>
                      <a:pt x="214621" y="23418"/>
                    </a:moveTo>
                    <a:cubicBezTo>
                      <a:pt x="250652" y="23418"/>
                      <a:pt x="283551" y="42932"/>
                      <a:pt x="300000" y="74156"/>
                    </a:cubicBezTo>
                    <a:lnTo>
                      <a:pt x="310182" y="92109"/>
                    </a:lnTo>
                    <a:lnTo>
                      <a:pt x="329765" y="84303"/>
                    </a:lnTo>
                    <a:cubicBezTo>
                      <a:pt x="336814" y="81181"/>
                      <a:pt x="344647" y="80400"/>
                      <a:pt x="351697" y="80400"/>
                    </a:cubicBezTo>
                    <a:cubicBezTo>
                      <a:pt x="384595" y="80400"/>
                      <a:pt x="411227" y="106940"/>
                      <a:pt x="411227" y="139725"/>
                    </a:cubicBezTo>
                    <a:cubicBezTo>
                      <a:pt x="411227" y="142847"/>
                      <a:pt x="411227" y="145969"/>
                      <a:pt x="410443" y="149092"/>
                    </a:cubicBezTo>
                    <a:lnTo>
                      <a:pt x="407310" y="172509"/>
                    </a:lnTo>
                    <a:lnTo>
                      <a:pt x="431592" y="174851"/>
                    </a:lnTo>
                    <a:cubicBezTo>
                      <a:pt x="458224" y="177973"/>
                      <a:pt x="477806" y="199830"/>
                      <a:pt x="477806" y="226370"/>
                    </a:cubicBezTo>
                    <a:cubicBezTo>
                      <a:pt x="477806" y="255251"/>
                      <a:pt x="454307" y="278669"/>
                      <a:pt x="425326" y="278669"/>
                    </a:cubicBezTo>
                    <a:cubicBezTo>
                      <a:pt x="425326" y="278669"/>
                      <a:pt x="108877" y="279450"/>
                      <a:pt x="107311" y="279450"/>
                    </a:cubicBezTo>
                    <a:cubicBezTo>
                      <a:pt x="61097" y="280230"/>
                      <a:pt x="23499" y="242762"/>
                      <a:pt x="23499" y="195927"/>
                    </a:cubicBezTo>
                    <a:cubicBezTo>
                      <a:pt x="23499" y="152995"/>
                      <a:pt x="57180" y="116307"/>
                      <a:pt x="100261" y="112404"/>
                    </a:cubicBezTo>
                    <a:lnTo>
                      <a:pt x="116710" y="110843"/>
                    </a:lnTo>
                    <a:lnTo>
                      <a:pt x="120626" y="95231"/>
                    </a:lnTo>
                    <a:cubicBezTo>
                      <a:pt x="131593" y="53080"/>
                      <a:pt x="170757" y="23418"/>
                      <a:pt x="214621" y="23418"/>
                    </a:cubicBezTo>
                    <a:moveTo>
                      <a:pt x="214621" y="0"/>
                    </a:moveTo>
                    <a:cubicBezTo>
                      <a:pt x="158224" y="0"/>
                      <a:pt x="111227" y="38249"/>
                      <a:pt x="97911" y="89767"/>
                    </a:cubicBezTo>
                    <a:cubicBezTo>
                      <a:pt x="43081" y="94451"/>
                      <a:pt x="0" y="140505"/>
                      <a:pt x="0" y="195927"/>
                    </a:cubicBezTo>
                    <a:cubicBezTo>
                      <a:pt x="0" y="255251"/>
                      <a:pt x="47781" y="303648"/>
                      <a:pt x="107311" y="303648"/>
                    </a:cubicBezTo>
                    <a:cubicBezTo>
                      <a:pt x="108094" y="303648"/>
                      <a:pt x="425326" y="302867"/>
                      <a:pt x="425326" y="302867"/>
                    </a:cubicBezTo>
                    <a:cubicBezTo>
                      <a:pt x="467623" y="302867"/>
                      <a:pt x="501305" y="269302"/>
                      <a:pt x="501305" y="227150"/>
                    </a:cubicBezTo>
                    <a:cubicBezTo>
                      <a:pt x="501305" y="188121"/>
                      <a:pt x="472323" y="156117"/>
                      <a:pt x="434725" y="152214"/>
                    </a:cubicBezTo>
                    <a:cubicBezTo>
                      <a:pt x="435509" y="148311"/>
                      <a:pt x="435509" y="143628"/>
                      <a:pt x="435509" y="139725"/>
                    </a:cubicBezTo>
                    <a:cubicBezTo>
                      <a:pt x="435509" y="93670"/>
                      <a:pt x="397911" y="56983"/>
                      <a:pt x="352480" y="56983"/>
                    </a:cubicBezTo>
                    <a:cubicBezTo>
                      <a:pt x="341514" y="56983"/>
                      <a:pt x="331331" y="59324"/>
                      <a:pt x="321932" y="63227"/>
                    </a:cubicBezTo>
                    <a:cubicBezTo>
                      <a:pt x="300783" y="24979"/>
                      <a:pt x="260835" y="0"/>
                      <a:pt x="214621" y="0"/>
                    </a:cubicBezTo>
                    <a:lnTo>
                      <a:pt x="214621" y="0"/>
                    </a:lnTo>
                    <a:close/>
                  </a:path>
                </a:pathLst>
              </a:custGeom>
              <a:solidFill>
                <a:srgbClr val="40AA1D"/>
              </a:solidFill>
              <a:ln w="7781" cap="flat">
                <a:noFill/>
                <a:prstDash val="solid"/>
                <a:miter/>
              </a:ln>
            </p:spPr>
            <p:txBody>
              <a:bodyPr rtlCol="0" anchor="ctr"/>
              <a:lstStyle/>
              <a:p>
                <a:endParaRPr lang="en-US" dirty="0"/>
              </a:p>
            </p:txBody>
          </p:sp>
          <p:sp>
            <p:nvSpPr>
              <p:cNvPr id="310" name="Freeform: Shape 309">
                <a:extLst>
                  <a:ext uri="{FF2B5EF4-FFF2-40B4-BE49-F238E27FC236}">
                    <a16:creationId xmlns:a16="http://schemas.microsoft.com/office/drawing/2014/main" id="{F236E13F-0A4B-3CF6-7785-65BB38599E7F}"/>
                  </a:ext>
                </a:extLst>
              </p:cNvPr>
              <p:cNvSpPr/>
              <p:nvPr/>
            </p:nvSpPr>
            <p:spPr>
              <a:xfrm>
                <a:off x="7382829" y="6149198"/>
                <a:ext cx="94777" cy="73570"/>
              </a:xfrm>
              <a:custGeom>
                <a:avLst/>
                <a:gdLst>
                  <a:gd name="connsiteX0" fmla="*/ 15666 w 94777"/>
                  <a:gd name="connsiteY0" fmla="*/ 73570 h 73570"/>
                  <a:gd name="connsiteX1" fmla="*/ 0 w 94777"/>
                  <a:gd name="connsiteY1" fmla="*/ 72790 h 73570"/>
                  <a:gd name="connsiteX2" fmla="*/ 29765 w 94777"/>
                  <a:gd name="connsiteY2" fmla="*/ 15807 h 73570"/>
                  <a:gd name="connsiteX3" fmla="*/ 94778 w 94777"/>
                  <a:gd name="connsiteY3" fmla="*/ 1756 h 73570"/>
                  <a:gd name="connsiteX4" fmla="*/ 91645 w 94777"/>
                  <a:gd name="connsiteY4" fmla="*/ 17368 h 73570"/>
                  <a:gd name="connsiteX5" fmla="*/ 39164 w 94777"/>
                  <a:gd name="connsiteY5" fmla="*/ 29077 h 73570"/>
                  <a:gd name="connsiteX6" fmla="*/ 15666 w 94777"/>
                  <a:gd name="connsiteY6" fmla="*/ 73570 h 73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77" h="73570">
                    <a:moveTo>
                      <a:pt x="15666" y="73570"/>
                    </a:moveTo>
                    <a:lnTo>
                      <a:pt x="0" y="72790"/>
                    </a:lnTo>
                    <a:cubicBezTo>
                      <a:pt x="1567" y="49372"/>
                      <a:pt x="12533" y="29077"/>
                      <a:pt x="29765" y="15807"/>
                    </a:cubicBezTo>
                    <a:cubicBezTo>
                      <a:pt x="47781" y="1756"/>
                      <a:pt x="71279" y="-2927"/>
                      <a:pt x="94778" y="1756"/>
                    </a:cubicBezTo>
                    <a:lnTo>
                      <a:pt x="91645" y="17368"/>
                    </a:lnTo>
                    <a:cubicBezTo>
                      <a:pt x="72063" y="13465"/>
                      <a:pt x="53264" y="18149"/>
                      <a:pt x="39164" y="29077"/>
                    </a:cubicBezTo>
                    <a:cubicBezTo>
                      <a:pt x="25065" y="38444"/>
                      <a:pt x="16449" y="54836"/>
                      <a:pt x="15666" y="73570"/>
                    </a:cubicBezTo>
                    <a:close/>
                  </a:path>
                </a:pathLst>
              </a:custGeom>
              <a:solidFill>
                <a:srgbClr val="3D4647"/>
              </a:solidFill>
              <a:ln w="7781" cap="flat">
                <a:noFill/>
                <a:prstDash val="solid"/>
                <a:miter/>
              </a:ln>
            </p:spPr>
            <p:txBody>
              <a:bodyPr rtlCol="0" anchor="ctr"/>
              <a:lstStyle/>
              <a:p>
                <a:endParaRPr lang="en-US" dirty="0"/>
              </a:p>
            </p:txBody>
          </p:sp>
        </p:grpSp>
        <p:grpSp>
          <p:nvGrpSpPr>
            <p:cNvPr id="52" name="Graphic 50">
              <a:extLst>
                <a:ext uri="{FF2B5EF4-FFF2-40B4-BE49-F238E27FC236}">
                  <a16:creationId xmlns:a16="http://schemas.microsoft.com/office/drawing/2014/main" id="{66E72619-8296-7036-DD24-D11B681F7376}"/>
                </a:ext>
              </a:extLst>
            </p:cNvPr>
            <p:cNvGrpSpPr/>
            <p:nvPr/>
          </p:nvGrpSpPr>
          <p:grpSpPr>
            <a:xfrm>
              <a:off x="7630348" y="6032306"/>
              <a:ext cx="168407" cy="146750"/>
              <a:chOff x="7630348" y="6032306"/>
              <a:chExt cx="168407" cy="146750"/>
            </a:xfrm>
            <a:solidFill>
              <a:srgbClr val="3D4647"/>
            </a:solidFill>
          </p:grpSpPr>
          <p:sp>
            <p:nvSpPr>
              <p:cNvPr id="262" name="Freeform: Shape 261">
                <a:extLst>
                  <a:ext uri="{FF2B5EF4-FFF2-40B4-BE49-F238E27FC236}">
                    <a16:creationId xmlns:a16="http://schemas.microsoft.com/office/drawing/2014/main" id="{627AB908-A198-8080-A9F7-5C8A6F00E7F1}"/>
                  </a:ext>
                </a:extLst>
              </p:cNvPr>
              <p:cNvSpPr/>
              <p:nvPr/>
            </p:nvSpPr>
            <p:spPr>
              <a:xfrm>
                <a:off x="7631131" y="6032306"/>
                <a:ext cx="167623" cy="146750"/>
              </a:xfrm>
              <a:custGeom>
                <a:avLst/>
                <a:gdLst>
                  <a:gd name="connsiteX0" fmla="*/ 110444 w 167623"/>
                  <a:gd name="connsiteY0" fmla="*/ 55422 h 146750"/>
                  <a:gd name="connsiteX1" fmla="*/ 24282 w 167623"/>
                  <a:gd name="connsiteY1" fmla="*/ 5464 h 146750"/>
                  <a:gd name="connsiteX2" fmla="*/ 0 w 167623"/>
                  <a:gd name="connsiteY2" fmla="*/ 0 h 146750"/>
                  <a:gd name="connsiteX3" fmla="*/ 0 w 167623"/>
                  <a:gd name="connsiteY3" fmla="*/ 24198 h 146750"/>
                  <a:gd name="connsiteX4" fmla="*/ 17232 w 167623"/>
                  <a:gd name="connsiteY4" fmla="*/ 28101 h 146750"/>
                  <a:gd name="connsiteX5" fmla="*/ 93995 w 167623"/>
                  <a:gd name="connsiteY5" fmla="*/ 72594 h 146750"/>
                  <a:gd name="connsiteX6" fmla="*/ 140992 w 167623"/>
                  <a:gd name="connsiteY6" fmla="*/ 142847 h 146750"/>
                  <a:gd name="connsiteX7" fmla="*/ 142559 w 167623"/>
                  <a:gd name="connsiteY7" fmla="*/ 146750 h 146750"/>
                  <a:gd name="connsiteX8" fmla="*/ 167624 w 167623"/>
                  <a:gd name="connsiteY8" fmla="*/ 146750 h 146750"/>
                  <a:gd name="connsiteX9" fmla="*/ 163707 w 167623"/>
                  <a:gd name="connsiteY9" fmla="*/ 135041 h 146750"/>
                  <a:gd name="connsiteX10" fmla="*/ 110444 w 167623"/>
                  <a:gd name="connsiteY10" fmla="*/ 55422 h 14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623" h="146750">
                    <a:moveTo>
                      <a:pt x="110444" y="55422"/>
                    </a:moveTo>
                    <a:cubicBezTo>
                      <a:pt x="86162" y="32004"/>
                      <a:pt x="56397" y="15612"/>
                      <a:pt x="24282" y="5464"/>
                    </a:cubicBezTo>
                    <a:cubicBezTo>
                      <a:pt x="16449" y="3122"/>
                      <a:pt x="8616" y="1561"/>
                      <a:pt x="0" y="0"/>
                    </a:cubicBezTo>
                    <a:lnTo>
                      <a:pt x="0" y="24198"/>
                    </a:lnTo>
                    <a:cubicBezTo>
                      <a:pt x="6266" y="24979"/>
                      <a:pt x="11749" y="26540"/>
                      <a:pt x="17232" y="28101"/>
                    </a:cubicBezTo>
                    <a:cubicBezTo>
                      <a:pt x="46214" y="36688"/>
                      <a:pt x="72063" y="51519"/>
                      <a:pt x="93995" y="72594"/>
                    </a:cubicBezTo>
                    <a:cubicBezTo>
                      <a:pt x="115143" y="92109"/>
                      <a:pt x="130809" y="116307"/>
                      <a:pt x="140992" y="142847"/>
                    </a:cubicBezTo>
                    <a:cubicBezTo>
                      <a:pt x="141775" y="144408"/>
                      <a:pt x="141775" y="145189"/>
                      <a:pt x="142559" y="146750"/>
                    </a:cubicBezTo>
                    <a:lnTo>
                      <a:pt x="167624" y="146750"/>
                    </a:lnTo>
                    <a:cubicBezTo>
                      <a:pt x="166057" y="142847"/>
                      <a:pt x="165274" y="138944"/>
                      <a:pt x="163707" y="135041"/>
                    </a:cubicBezTo>
                    <a:cubicBezTo>
                      <a:pt x="151958" y="104598"/>
                      <a:pt x="133942" y="78059"/>
                      <a:pt x="110444" y="55422"/>
                    </a:cubicBezTo>
                    <a:close/>
                  </a:path>
                </a:pathLst>
              </a:custGeom>
              <a:solidFill>
                <a:srgbClr val="3D4647"/>
              </a:solidFill>
              <a:ln w="7781" cap="flat">
                <a:noFill/>
                <a:prstDash val="solid"/>
                <a:miter/>
              </a:ln>
            </p:spPr>
            <p:txBody>
              <a:bodyPr rtlCol="0" anchor="ctr"/>
              <a:lstStyle/>
              <a:p>
                <a:endParaRPr lang="en-US" dirty="0"/>
              </a:p>
            </p:txBody>
          </p:sp>
          <p:sp>
            <p:nvSpPr>
              <p:cNvPr id="268" name="Freeform: Shape 267">
                <a:extLst>
                  <a:ext uri="{FF2B5EF4-FFF2-40B4-BE49-F238E27FC236}">
                    <a16:creationId xmlns:a16="http://schemas.microsoft.com/office/drawing/2014/main" id="{5CFD548B-8E6F-31D3-1BEF-1BF9A85E92BA}"/>
                  </a:ext>
                </a:extLst>
              </p:cNvPr>
              <p:cNvSpPr/>
              <p:nvPr/>
            </p:nvSpPr>
            <p:spPr>
              <a:xfrm>
                <a:off x="7631131" y="6124415"/>
                <a:ext cx="72062" cy="54640"/>
              </a:xfrm>
              <a:custGeom>
                <a:avLst/>
                <a:gdLst>
                  <a:gd name="connsiteX0" fmla="*/ 12533 w 72062"/>
                  <a:gd name="connsiteY0" fmla="*/ 3122 h 54640"/>
                  <a:gd name="connsiteX1" fmla="*/ 0 w 72062"/>
                  <a:gd name="connsiteY1" fmla="*/ 0 h 54640"/>
                  <a:gd name="connsiteX2" fmla="*/ 0 w 72062"/>
                  <a:gd name="connsiteY2" fmla="*/ 24198 h 54640"/>
                  <a:gd name="connsiteX3" fmla="*/ 6266 w 72062"/>
                  <a:gd name="connsiteY3" fmla="*/ 25759 h 54640"/>
                  <a:gd name="connsiteX4" fmla="*/ 35248 w 72062"/>
                  <a:gd name="connsiteY4" fmla="*/ 42932 h 54640"/>
                  <a:gd name="connsiteX5" fmla="*/ 45431 w 72062"/>
                  <a:gd name="connsiteY5" fmla="*/ 54641 h 54640"/>
                  <a:gd name="connsiteX6" fmla="*/ 72063 w 72062"/>
                  <a:gd name="connsiteY6" fmla="*/ 54641 h 54640"/>
                  <a:gd name="connsiteX7" fmla="*/ 51697 w 72062"/>
                  <a:gd name="connsiteY7" fmla="*/ 25759 h 54640"/>
                  <a:gd name="connsiteX8" fmla="*/ 12533 w 72062"/>
                  <a:gd name="connsiteY8" fmla="*/ 3122 h 5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62" h="54640">
                    <a:moveTo>
                      <a:pt x="12533" y="3122"/>
                    </a:moveTo>
                    <a:cubicBezTo>
                      <a:pt x="8616" y="1561"/>
                      <a:pt x="3916" y="781"/>
                      <a:pt x="0" y="0"/>
                    </a:cubicBezTo>
                    <a:lnTo>
                      <a:pt x="0" y="24198"/>
                    </a:lnTo>
                    <a:cubicBezTo>
                      <a:pt x="2350" y="24979"/>
                      <a:pt x="3916" y="24979"/>
                      <a:pt x="6266" y="25759"/>
                    </a:cubicBezTo>
                    <a:cubicBezTo>
                      <a:pt x="17232" y="28882"/>
                      <a:pt x="27415" y="34346"/>
                      <a:pt x="35248" y="42932"/>
                    </a:cubicBezTo>
                    <a:cubicBezTo>
                      <a:pt x="39164" y="46835"/>
                      <a:pt x="42298" y="50738"/>
                      <a:pt x="45431" y="54641"/>
                    </a:cubicBezTo>
                    <a:lnTo>
                      <a:pt x="72063" y="54641"/>
                    </a:lnTo>
                    <a:cubicBezTo>
                      <a:pt x="67363" y="43713"/>
                      <a:pt x="60313" y="34346"/>
                      <a:pt x="51697" y="25759"/>
                    </a:cubicBezTo>
                    <a:cubicBezTo>
                      <a:pt x="39948" y="14831"/>
                      <a:pt x="27415" y="7806"/>
                      <a:pt x="12533" y="3122"/>
                    </a:cubicBezTo>
                    <a:close/>
                  </a:path>
                </a:pathLst>
              </a:custGeom>
              <a:solidFill>
                <a:srgbClr val="3D4647"/>
              </a:solidFill>
              <a:ln w="7781" cap="flat">
                <a:noFill/>
                <a:prstDash val="solid"/>
                <a:miter/>
              </a:ln>
            </p:spPr>
            <p:txBody>
              <a:bodyPr rtlCol="0" anchor="ctr"/>
              <a:lstStyle/>
              <a:p>
                <a:endParaRPr lang="en-US" dirty="0"/>
              </a:p>
            </p:txBody>
          </p:sp>
          <p:sp>
            <p:nvSpPr>
              <p:cNvPr id="279" name="Freeform: Shape 278">
                <a:extLst>
                  <a:ext uri="{FF2B5EF4-FFF2-40B4-BE49-F238E27FC236}">
                    <a16:creationId xmlns:a16="http://schemas.microsoft.com/office/drawing/2014/main" id="{2933AA20-7CF4-07DD-A1DB-4A4A6A926B4E}"/>
                  </a:ext>
                </a:extLst>
              </p:cNvPr>
              <p:cNvSpPr/>
              <p:nvPr/>
            </p:nvSpPr>
            <p:spPr>
              <a:xfrm>
                <a:off x="7630348" y="6079141"/>
                <a:ext cx="119843" cy="99914"/>
              </a:xfrm>
              <a:custGeom>
                <a:avLst/>
                <a:gdLst>
                  <a:gd name="connsiteX0" fmla="*/ 81462 w 119843"/>
                  <a:gd name="connsiteY0" fmla="*/ 39810 h 99914"/>
                  <a:gd name="connsiteX1" fmla="*/ 18799 w 119843"/>
                  <a:gd name="connsiteY1" fmla="*/ 3903 h 99914"/>
                  <a:gd name="connsiteX2" fmla="*/ 0 w 119843"/>
                  <a:gd name="connsiteY2" fmla="*/ 0 h 99914"/>
                  <a:gd name="connsiteX3" fmla="*/ 0 w 119843"/>
                  <a:gd name="connsiteY3" fmla="*/ 23418 h 99914"/>
                  <a:gd name="connsiteX4" fmla="*/ 11749 w 119843"/>
                  <a:gd name="connsiteY4" fmla="*/ 26540 h 99914"/>
                  <a:gd name="connsiteX5" fmla="*/ 65013 w 119843"/>
                  <a:gd name="connsiteY5" fmla="*/ 56983 h 99914"/>
                  <a:gd name="connsiteX6" fmla="*/ 94778 w 119843"/>
                  <a:gd name="connsiteY6" fmla="*/ 99915 h 99914"/>
                  <a:gd name="connsiteX7" fmla="*/ 119843 w 119843"/>
                  <a:gd name="connsiteY7" fmla="*/ 99915 h 99914"/>
                  <a:gd name="connsiteX8" fmla="*/ 119060 w 119843"/>
                  <a:gd name="connsiteY8" fmla="*/ 97573 h 99914"/>
                  <a:gd name="connsiteX9" fmla="*/ 81462 w 119843"/>
                  <a:gd name="connsiteY9" fmla="*/ 39810 h 9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843" h="99914">
                    <a:moveTo>
                      <a:pt x="81462" y="39810"/>
                    </a:moveTo>
                    <a:cubicBezTo>
                      <a:pt x="63446" y="22637"/>
                      <a:pt x="42298" y="10928"/>
                      <a:pt x="18799" y="3903"/>
                    </a:cubicBezTo>
                    <a:cubicBezTo>
                      <a:pt x="12533" y="2342"/>
                      <a:pt x="6266" y="781"/>
                      <a:pt x="0" y="0"/>
                    </a:cubicBezTo>
                    <a:lnTo>
                      <a:pt x="0" y="23418"/>
                    </a:lnTo>
                    <a:cubicBezTo>
                      <a:pt x="3916" y="24198"/>
                      <a:pt x="7833" y="24979"/>
                      <a:pt x="11749" y="26540"/>
                    </a:cubicBezTo>
                    <a:cubicBezTo>
                      <a:pt x="32115" y="32785"/>
                      <a:pt x="50130" y="42932"/>
                      <a:pt x="65013" y="56983"/>
                    </a:cubicBezTo>
                    <a:cubicBezTo>
                      <a:pt x="77546" y="69472"/>
                      <a:pt x="87728" y="83523"/>
                      <a:pt x="94778" y="99915"/>
                    </a:cubicBezTo>
                    <a:lnTo>
                      <a:pt x="119843" y="99915"/>
                    </a:lnTo>
                    <a:cubicBezTo>
                      <a:pt x="119843" y="99134"/>
                      <a:pt x="119060" y="98354"/>
                      <a:pt x="119060" y="97573"/>
                    </a:cubicBezTo>
                    <a:cubicBezTo>
                      <a:pt x="112010" y="74936"/>
                      <a:pt x="98694" y="55422"/>
                      <a:pt x="81462" y="39810"/>
                    </a:cubicBezTo>
                    <a:close/>
                  </a:path>
                </a:pathLst>
              </a:custGeom>
              <a:solidFill>
                <a:srgbClr val="3D4647"/>
              </a:solidFill>
              <a:ln w="7781" cap="flat">
                <a:noFill/>
                <a:prstDash val="solid"/>
                <a:miter/>
              </a:ln>
            </p:spPr>
            <p:txBody>
              <a:bodyPr rtlCol="0" anchor="ctr"/>
              <a:lstStyle/>
              <a:p>
                <a:endParaRPr lang="en-US" dirty="0"/>
              </a:p>
            </p:txBody>
          </p:sp>
        </p:grpSp>
        <p:pic>
          <p:nvPicPr>
            <p:cNvPr id="54" name="Graphic 53">
              <a:extLst>
                <a:ext uri="{FF2B5EF4-FFF2-40B4-BE49-F238E27FC236}">
                  <a16:creationId xmlns:a16="http://schemas.microsoft.com/office/drawing/2014/main" id="{F9CC7C60-3046-A426-5439-9FBED817F0EE}"/>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250233" y="6271754"/>
              <a:ext cx="544824" cy="544824"/>
            </a:xfrm>
            <a:prstGeom prst="rect">
              <a:avLst/>
            </a:prstGeom>
          </p:spPr>
        </p:pic>
      </p:grpSp>
    </p:spTree>
    <p:extLst>
      <p:ext uri="{BB962C8B-B14F-4D97-AF65-F5344CB8AC3E}">
        <p14:creationId xmlns:p14="http://schemas.microsoft.com/office/powerpoint/2010/main" val="635724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460AD5-3063-0CC8-6B74-09C6983432BE}"/>
            </a:ext>
          </a:extLst>
        </p:cNvPr>
        <p:cNvGrpSpPr/>
        <p:nvPr/>
      </p:nvGrpSpPr>
      <p:grpSpPr>
        <a:xfrm>
          <a:off x="0" y="0"/>
          <a:ext cx="0" cy="0"/>
          <a:chOff x="0" y="0"/>
          <a:chExt cx="0" cy="0"/>
        </a:xfrm>
      </p:grpSpPr>
      <p:grpSp>
        <p:nvGrpSpPr>
          <p:cNvPr id="20" name="Group 19">
            <a:extLst>
              <a:ext uri="{FF2B5EF4-FFF2-40B4-BE49-F238E27FC236}">
                <a16:creationId xmlns:a16="http://schemas.microsoft.com/office/drawing/2014/main" id="{2875F257-92FC-4485-765E-86D9AE2D5019}"/>
              </a:ext>
            </a:extLst>
          </p:cNvPr>
          <p:cNvGrpSpPr/>
          <p:nvPr/>
        </p:nvGrpSpPr>
        <p:grpSpPr>
          <a:xfrm>
            <a:off x="2086329" y="3362379"/>
            <a:ext cx="723899" cy="733544"/>
            <a:chOff x="2280832" y="3574671"/>
            <a:chExt cx="723899" cy="733544"/>
          </a:xfrm>
        </p:grpSpPr>
        <p:sp>
          <p:nvSpPr>
            <p:cNvPr id="50" name="Freeform: Shape 49">
              <a:extLst>
                <a:ext uri="{FF2B5EF4-FFF2-40B4-BE49-F238E27FC236}">
                  <a16:creationId xmlns:a16="http://schemas.microsoft.com/office/drawing/2014/main" id="{4C4F6753-BCFA-C302-51E4-38D5484CED53}"/>
                </a:ext>
              </a:extLst>
            </p:cNvPr>
            <p:cNvSpPr/>
            <p:nvPr/>
          </p:nvSpPr>
          <p:spPr>
            <a:xfrm>
              <a:off x="2442757" y="3730048"/>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57DD3423-2B52-7F8D-7D94-64BF3C4AB92C}"/>
                </a:ext>
              </a:extLst>
            </p:cNvPr>
            <p:cNvSpPr/>
            <p:nvPr/>
          </p:nvSpPr>
          <p:spPr>
            <a:xfrm>
              <a:off x="2280832" y="4087235"/>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nvGrpSpPr>
            <p:cNvPr id="52" name="Graphic 19">
              <a:extLst>
                <a:ext uri="{FF2B5EF4-FFF2-40B4-BE49-F238E27FC236}">
                  <a16:creationId xmlns:a16="http://schemas.microsoft.com/office/drawing/2014/main" id="{CEBE33A6-577B-39CF-5286-6E44DA45E4F2}"/>
                </a:ext>
              </a:extLst>
            </p:cNvPr>
            <p:cNvGrpSpPr/>
            <p:nvPr/>
          </p:nvGrpSpPr>
          <p:grpSpPr>
            <a:xfrm>
              <a:off x="2779293" y="3574671"/>
              <a:ext cx="225438" cy="514469"/>
              <a:chOff x="2779293" y="3574671"/>
              <a:chExt cx="225438" cy="514469"/>
            </a:xfrm>
          </p:grpSpPr>
          <p:grpSp>
            <p:nvGrpSpPr>
              <p:cNvPr id="53" name="Graphic 19">
                <a:extLst>
                  <a:ext uri="{FF2B5EF4-FFF2-40B4-BE49-F238E27FC236}">
                    <a16:creationId xmlns:a16="http://schemas.microsoft.com/office/drawing/2014/main" id="{C057D99D-3643-796D-1898-719E16DC394D}"/>
                  </a:ext>
                </a:extLst>
              </p:cNvPr>
              <p:cNvGrpSpPr/>
              <p:nvPr/>
            </p:nvGrpSpPr>
            <p:grpSpPr>
              <a:xfrm>
                <a:off x="2864340" y="3750050"/>
                <a:ext cx="105254" cy="339090"/>
                <a:chOff x="2864340" y="3750050"/>
                <a:chExt cx="105254" cy="339090"/>
              </a:xfrm>
            </p:grpSpPr>
            <p:sp>
              <p:nvSpPr>
                <p:cNvPr id="54" name="Freeform: Shape 53">
                  <a:extLst>
                    <a:ext uri="{FF2B5EF4-FFF2-40B4-BE49-F238E27FC236}">
                      <a16:creationId xmlns:a16="http://schemas.microsoft.com/office/drawing/2014/main" id="{A3B4AE63-3745-2F53-42D8-B0C7E817A03B}"/>
                    </a:ext>
                  </a:extLst>
                </p:cNvPr>
                <p:cNvSpPr/>
                <p:nvPr/>
              </p:nvSpPr>
              <p:spPr>
                <a:xfrm>
                  <a:off x="2867571" y="3750050"/>
                  <a:ext cx="99060" cy="114300"/>
                </a:xfrm>
                <a:custGeom>
                  <a:avLst/>
                  <a:gdLst>
                    <a:gd name="connsiteX0" fmla="*/ 49530 w 99060"/>
                    <a:gd name="connsiteY0" fmla="*/ 0 h 114300"/>
                    <a:gd name="connsiteX1" fmla="*/ 0 w 99060"/>
                    <a:gd name="connsiteY1" fmla="*/ 28575 h 114300"/>
                    <a:gd name="connsiteX2" fmla="*/ 0 w 99060"/>
                    <a:gd name="connsiteY2" fmla="*/ 28575 h 114300"/>
                    <a:gd name="connsiteX3" fmla="*/ 0 w 99060"/>
                    <a:gd name="connsiteY3" fmla="*/ 28575 h 114300"/>
                    <a:gd name="connsiteX4" fmla="*/ 0 w 99060"/>
                    <a:gd name="connsiteY4" fmla="*/ 85725 h 114300"/>
                    <a:gd name="connsiteX5" fmla="*/ 49530 w 99060"/>
                    <a:gd name="connsiteY5" fmla="*/ 114300 h 114300"/>
                    <a:gd name="connsiteX6" fmla="*/ 99060 w 99060"/>
                    <a:gd name="connsiteY6" fmla="*/ 85725 h 114300"/>
                    <a:gd name="connsiteX7" fmla="*/ 99060 w 99060"/>
                    <a:gd name="connsiteY7" fmla="*/ 28575 h 114300"/>
                    <a:gd name="connsiteX8" fmla="*/ 49530 w 99060"/>
                    <a:gd name="connsiteY8" fmla="*/ 0 h 114300"/>
                    <a:gd name="connsiteX9" fmla="*/ 49530 w 99060"/>
                    <a:gd name="connsiteY9" fmla="*/ 16193 h 114300"/>
                    <a:gd name="connsiteX10" fmla="*/ 77152 w 99060"/>
                    <a:gd name="connsiteY10" fmla="*/ 32385 h 114300"/>
                    <a:gd name="connsiteX11" fmla="*/ 49530 w 99060"/>
                    <a:gd name="connsiteY11" fmla="*/ 48578 h 114300"/>
                    <a:gd name="connsiteX12" fmla="*/ 21908 w 99060"/>
                    <a:gd name="connsiteY12" fmla="*/ 32385 h 114300"/>
                    <a:gd name="connsiteX13" fmla="*/ 49530 w 99060"/>
                    <a:gd name="connsiteY13" fmla="*/ 16193 h 114300"/>
                    <a:gd name="connsiteX14" fmla="*/ 14288 w 99060"/>
                    <a:gd name="connsiteY14" fmla="*/ 77153 h 114300"/>
                    <a:gd name="connsiteX15" fmla="*/ 14288 w 99060"/>
                    <a:gd name="connsiteY15" fmla="*/ 44768 h 114300"/>
                    <a:gd name="connsiteX16" fmla="*/ 41910 w 99060"/>
                    <a:gd name="connsiteY16" fmla="*/ 60960 h 114300"/>
                    <a:gd name="connsiteX17" fmla="*/ 41910 w 99060"/>
                    <a:gd name="connsiteY17" fmla="*/ 93345 h 114300"/>
                    <a:gd name="connsiteX18" fmla="*/ 14288 w 99060"/>
                    <a:gd name="connsiteY18" fmla="*/ 77153 h 114300"/>
                    <a:gd name="connsiteX19" fmla="*/ 84773 w 99060"/>
                    <a:gd name="connsiteY19" fmla="*/ 77153 h 114300"/>
                    <a:gd name="connsiteX20" fmla="*/ 57150 w 99060"/>
                    <a:gd name="connsiteY20" fmla="*/ 93345 h 114300"/>
                    <a:gd name="connsiteX21" fmla="*/ 57150 w 99060"/>
                    <a:gd name="connsiteY21" fmla="*/ 60960 h 114300"/>
                    <a:gd name="connsiteX22" fmla="*/ 84773 w 99060"/>
                    <a:gd name="connsiteY22" fmla="*/ 44768 h 114300"/>
                    <a:gd name="connsiteX23" fmla="*/ 84773 w 99060"/>
                    <a:gd name="connsiteY23" fmla="*/ 77153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9060" h="114300">
                      <a:moveTo>
                        <a:pt x="49530" y="0"/>
                      </a:moveTo>
                      <a:lnTo>
                        <a:pt x="0" y="28575"/>
                      </a:lnTo>
                      <a:lnTo>
                        <a:pt x="0" y="28575"/>
                      </a:lnTo>
                      <a:lnTo>
                        <a:pt x="0" y="28575"/>
                      </a:lnTo>
                      <a:lnTo>
                        <a:pt x="0" y="85725"/>
                      </a:lnTo>
                      <a:lnTo>
                        <a:pt x="49530" y="114300"/>
                      </a:lnTo>
                      <a:lnTo>
                        <a:pt x="99060" y="85725"/>
                      </a:lnTo>
                      <a:lnTo>
                        <a:pt x="99060" y="28575"/>
                      </a:lnTo>
                      <a:lnTo>
                        <a:pt x="49530" y="0"/>
                      </a:lnTo>
                      <a:close/>
                      <a:moveTo>
                        <a:pt x="49530" y="16193"/>
                      </a:moveTo>
                      <a:lnTo>
                        <a:pt x="77152" y="32385"/>
                      </a:lnTo>
                      <a:lnTo>
                        <a:pt x="49530" y="48578"/>
                      </a:lnTo>
                      <a:lnTo>
                        <a:pt x="21908" y="32385"/>
                      </a:lnTo>
                      <a:lnTo>
                        <a:pt x="49530" y="16193"/>
                      </a:lnTo>
                      <a:close/>
                      <a:moveTo>
                        <a:pt x="14288" y="77153"/>
                      </a:moveTo>
                      <a:lnTo>
                        <a:pt x="14288" y="44768"/>
                      </a:lnTo>
                      <a:lnTo>
                        <a:pt x="41910" y="60960"/>
                      </a:lnTo>
                      <a:lnTo>
                        <a:pt x="41910" y="93345"/>
                      </a:lnTo>
                      <a:lnTo>
                        <a:pt x="14288" y="77153"/>
                      </a:lnTo>
                      <a:close/>
                      <a:moveTo>
                        <a:pt x="84773" y="77153"/>
                      </a:moveTo>
                      <a:lnTo>
                        <a:pt x="57150" y="93345"/>
                      </a:lnTo>
                      <a:lnTo>
                        <a:pt x="57150" y="60960"/>
                      </a:lnTo>
                      <a:lnTo>
                        <a:pt x="84773" y="44768"/>
                      </a:lnTo>
                      <a:lnTo>
                        <a:pt x="84773" y="77153"/>
                      </a:lnTo>
                      <a:close/>
                    </a:path>
                  </a:pathLst>
                </a:custGeom>
                <a:solidFill>
                  <a:srgbClr val="40AA1D"/>
                </a:solidFill>
                <a:ln w="9525"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4E899DCB-DE30-7F54-1ED9-86D927AEA402}"/>
                    </a:ext>
                  </a:extLst>
                </p:cNvPr>
                <p:cNvSpPr/>
                <p:nvPr/>
              </p:nvSpPr>
              <p:spPr>
                <a:xfrm>
                  <a:off x="2913292" y="3983413"/>
                  <a:ext cx="9525" cy="9525"/>
                </a:xfrm>
                <a:custGeom>
                  <a:avLst/>
                  <a:gdLst>
                    <a:gd name="connsiteX0" fmla="*/ 0 w 9525"/>
                    <a:gd name="connsiteY0" fmla="*/ 0 h 9525"/>
                    <a:gd name="connsiteX1" fmla="*/ 0 w 9525"/>
                    <a:gd name="connsiteY1" fmla="*/ 0 h 9525"/>
                    <a:gd name="connsiteX2" fmla="*/ 0 w 9525"/>
                    <a:gd name="connsiteY2" fmla="*/ 0 h 9525"/>
                    <a:gd name="connsiteX3" fmla="*/ 0 w 9525"/>
                    <a:gd name="connsiteY3" fmla="*/ 0 h 9525"/>
                    <a:gd name="connsiteX4" fmla="*/ 0 w 9525"/>
                    <a:gd name="connsiteY4" fmla="*/ 0 h 9525"/>
                    <a:gd name="connsiteX5" fmla="*/ 0 w 9525"/>
                    <a:gd name="connsiteY5"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9525">
                      <a:moveTo>
                        <a:pt x="0" y="0"/>
                      </a:moveTo>
                      <a:lnTo>
                        <a:pt x="0" y="0"/>
                      </a:lnTo>
                      <a:lnTo>
                        <a:pt x="0" y="0"/>
                      </a:lnTo>
                      <a:close/>
                      <a:moveTo>
                        <a:pt x="0" y="0"/>
                      </a:moveTo>
                      <a:lnTo>
                        <a:pt x="0" y="0"/>
                      </a:lnTo>
                      <a:cubicBezTo>
                        <a:pt x="0" y="0"/>
                        <a:pt x="0" y="0"/>
                        <a:pt x="0" y="0"/>
                      </a:cubicBezTo>
                      <a:close/>
                    </a:path>
                  </a:pathLst>
                </a:custGeom>
                <a:solidFill>
                  <a:srgbClr val="40AA1D"/>
                </a:solidFill>
                <a:ln w="9525"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66BB933F-CEC5-44A8-8A3D-B79132A1109F}"/>
                    </a:ext>
                  </a:extLst>
                </p:cNvPr>
                <p:cNvSpPr/>
                <p:nvPr/>
              </p:nvSpPr>
              <p:spPr>
                <a:xfrm>
                  <a:off x="2864340" y="3936741"/>
                  <a:ext cx="105254" cy="152400"/>
                </a:xfrm>
                <a:custGeom>
                  <a:avLst/>
                  <a:gdLst>
                    <a:gd name="connsiteX0" fmla="*/ 105149 w 105254"/>
                    <a:gd name="connsiteY0" fmla="*/ 67627 h 152400"/>
                    <a:gd name="connsiteX1" fmla="*/ 100386 w 105254"/>
                    <a:gd name="connsiteY1" fmla="*/ 48577 h 152400"/>
                    <a:gd name="connsiteX2" fmla="*/ 92766 w 105254"/>
                    <a:gd name="connsiteY2" fmla="*/ 45720 h 152400"/>
                    <a:gd name="connsiteX3" fmla="*/ 85146 w 105254"/>
                    <a:gd name="connsiteY3" fmla="*/ 47625 h 152400"/>
                    <a:gd name="connsiteX4" fmla="*/ 73716 w 105254"/>
                    <a:gd name="connsiteY4" fmla="*/ 40957 h 152400"/>
                    <a:gd name="connsiteX5" fmla="*/ 65144 w 105254"/>
                    <a:gd name="connsiteY5" fmla="*/ 42863 h 152400"/>
                    <a:gd name="connsiteX6" fmla="*/ 55619 w 105254"/>
                    <a:gd name="connsiteY6" fmla="*/ 38100 h 152400"/>
                    <a:gd name="connsiteX7" fmla="*/ 47999 w 105254"/>
                    <a:gd name="connsiteY7" fmla="*/ 39052 h 152400"/>
                    <a:gd name="connsiteX8" fmla="*/ 47999 w 105254"/>
                    <a:gd name="connsiteY8" fmla="*/ 13335 h 152400"/>
                    <a:gd name="connsiteX9" fmla="*/ 45141 w 105254"/>
                    <a:gd name="connsiteY9" fmla="*/ 4763 h 152400"/>
                    <a:gd name="connsiteX10" fmla="*/ 35616 w 105254"/>
                    <a:gd name="connsiteY10" fmla="*/ 0 h 152400"/>
                    <a:gd name="connsiteX11" fmla="*/ 25139 w 105254"/>
                    <a:gd name="connsiteY11" fmla="*/ 3810 h 152400"/>
                    <a:gd name="connsiteX12" fmla="*/ 21329 w 105254"/>
                    <a:gd name="connsiteY12" fmla="*/ 13335 h 152400"/>
                    <a:gd name="connsiteX13" fmla="*/ 21329 w 105254"/>
                    <a:gd name="connsiteY13" fmla="*/ 56198 h 152400"/>
                    <a:gd name="connsiteX14" fmla="*/ 10851 w 105254"/>
                    <a:gd name="connsiteY14" fmla="*/ 53340 h 152400"/>
                    <a:gd name="connsiteX15" fmla="*/ 374 w 105254"/>
                    <a:gd name="connsiteY15" fmla="*/ 63818 h 152400"/>
                    <a:gd name="connsiteX16" fmla="*/ 374 w 105254"/>
                    <a:gd name="connsiteY16" fmla="*/ 63818 h 152400"/>
                    <a:gd name="connsiteX17" fmla="*/ 2279 w 105254"/>
                    <a:gd name="connsiteY17" fmla="*/ 118110 h 152400"/>
                    <a:gd name="connsiteX18" fmla="*/ 23234 w 105254"/>
                    <a:gd name="connsiteY18" fmla="*/ 151448 h 152400"/>
                    <a:gd name="connsiteX19" fmla="*/ 24186 w 105254"/>
                    <a:gd name="connsiteY19" fmla="*/ 152400 h 152400"/>
                    <a:gd name="connsiteX20" fmla="*/ 85146 w 105254"/>
                    <a:gd name="connsiteY20" fmla="*/ 152400 h 152400"/>
                    <a:gd name="connsiteX21" fmla="*/ 86099 w 105254"/>
                    <a:gd name="connsiteY21" fmla="*/ 151448 h 152400"/>
                    <a:gd name="connsiteX22" fmla="*/ 102291 w 105254"/>
                    <a:gd name="connsiteY22" fmla="*/ 132398 h 152400"/>
                    <a:gd name="connsiteX23" fmla="*/ 105149 w 105254"/>
                    <a:gd name="connsiteY23" fmla="*/ 67627 h 152400"/>
                    <a:gd name="connsiteX24" fmla="*/ 96576 w 105254"/>
                    <a:gd name="connsiteY24" fmla="*/ 129540 h 152400"/>
                    <a:gd name="connsiteX25" fmla="*/ 83241 w 105254"/>
                    <a:gd name="connsiteY25" fmla="*/ 144780 h 152400"/>
                    <a:gd name="connsiteX26" fmla="*/ 27996 w 105254"/>
                    <a:gd name="connsiteY26" fmla="*/ 144780 h 152400"/>
                    <a:gd name="connsiteX27" fmla="*/ 9899 w 105254"/>
                    <a:gd name="connsiteY27" fmla="*/ 116205 h 152400"/>
                    <a:gd name="connsiteX28" fmla="*/ 7994 w 105254"/>
                    <a:gd name="connsiteY28" fmla="*/ 63818 h 152400"/>
                    <a:gd name="connsiteX29" fmla="*/ 11804 w 105254"/>
                    <a:gd name="connsiteY29" fmla="*/ 60007 h 152400"/>
                    <a:gd name="connsiteX30" fmla="*/ 22281 w 105254"/>
                    <a:gd name="connsiteY30" fmla="*/ 68580 h 152400"/>
                    <a:gd name="connsiteX31" fmla="*/ 22281 w 105254"/>
                    <a:gd name="connsiteY31" fmla="*/ 99060 h 152400"/>
                    <a:gd name="connsiteX32" fmla="*/ 28949 w 105254"/>
                    <a:gd name="connsiteY32" fmla="*/ 99060 h 152400"/>
                    <a:gd name="connsiteX33" fmla="*/ 28949 w 105254"/>
                    <a:gd name="connsiteY33" fmla="*/ 99060 h 152400"/>
                    <a:gd name="connsiteX34" fmla="*/ 28949 w 105254"/>
                    <a:gd name="connsiteY34" fmla="*/ 99060 h 152400"/>
                    <a:gd name="connsiteX35" fmla="*/ 28949 w 105254"/>
                    <a:gd name="connsiteY35" fmla="*/ 12382 h 152400"/>
                    <a:gd name="connsiteX36" fmla="*/ 30854 w 105254"/>
                    <a:gd name="connsiteY36" fmla="*/ 7620 h 152400"/>
                    <a:gd name="connsiteX37" fmla="*/ 35616 w 105254"/>
                    <a:gd name="connsiteY37" fmla="*/ 5715 h 152400"/>
                    <a:gd name="connsiteX38" fmla="*/ 40379 w 105254"/>
                    <a:gd name="connsiteY38" fmla="*/ 7620 h 152400"/>
                    <a:gd name="connsiteX39" fmla="*/ 41331 w 105254"/>
                    <a:gd name="connsiteY39" fmla="*/ 11430 h 152400"/>
                    <a:gd name="connsiteX40" fmla="*/ 41331 w 105254"/>
                    <a:gd name="connsiteY40" fmla="*/ 80963 h 152400"/>
                    <a:gd name="connsiteX41" fmla="*/ 47999 w 105254"/>
                    <a:gd name="connsiteY41" fmla="*/ 80963 h 152400"/>
                    <a:gd name="connsiteX42" fmla="*/ 47999 w 105254"/>
                    <a:gd name="connsiteY42" fmla="*/ 45720 h 152400"/>
                    <a:gd name="connsiteX43" fmla="*/ 54666 w 105254"/>
                    <a:gd name="connsiteY43" fmla="*/ 43815 h 152400"/>
                    <a:gd name="connsiteX44" fmla="*/ 59429 w 105254"/>
                    <a:gd name="connsiteY44" fmla="*/ 47625 h 152400"/>
                    <a:gd name="connsiteX45" fmla="*/ 59429 w 105254"/>
                    <a:gd name="connsiteY45" fmla="*/ 80010 h 152400"/>
                    <a:gd name="connsiteX46" fmla="*/ 66096 w 105254"/>
                    <a:gd name="connsiteY46" fmla="*/ 80010 h 152400"/>
                    <a:gd name="connsiteX47" fmla="*/ 66096 w 105254"/>
                    <a:gd name="connsiteY47" fmla="*/ 51435 h 152400"/>
                    <a:gd name="connsiteX48" fmla="*/ 67049 w 105254"/>
                    <a:gd name="connsiteY48" fmla="*/ 47625 h 152400"/>
                    <a:gd name="connsiteX49" fmla="*/ 73716 w 105254"/>
                    <a:gd name="connsiteY49" fmla="*/ 47625 h 152400"/>
                    <a:gd name="connsiteX50" fmla="*/ 79431 w 105254"/>
                    <a:gd name="connsiteY50" fmla="*/ 51435 h 152400"/>
                    <a:gd name="connsiteX51" fmla="*/ 79431 w 105254"/>
                    <a:gd name="connsiteY51" fmla="*/ 81915 h 152400"/>
                    <a:gd name="connsiteX52" fmla="*/ 86099 w 105254"/>
                    <a:gd name="connsiteY52" fmla="*/ 81915 h 152400"/>
                    <a:gd name="connsiteX53" fmla="*/ 86099 w 105254"/>
                    <a:gd name="connsiteY53" fmla="*/ 59055 h 152400"/>
                    <a:gd name="connsiteX54" fmla="*/ 88004 w 105254"/>
                    <a:gd name="connsiteY54" fmla="*/ 53340 h 152400"/>
                    <a:gd name="connsiteX55" fmla="*/ 92766 w 105254"/>
                    <a:gd name="connsiteY55" fmla="*/ 51435 h 152400"/>
                    <a:gd name="connsiteX56" fmla="*/ 94671 w 105254"/>
                    <a:gd name="connsiteY56" fmla="*/ 52388 h 152400"/>
                    <a:gd name="connsiteX57" fmla="*/ 97529 w 105254"/>
                    <a:gd name="connsiteY57" fmla="*/ 66675 h 152400"/>
                    <a:gd name="connsiteX58" fmla="*/ 96576 w 105254"/>
                    <a:gd name="connsiteY58" fmla="*/ 12954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254" h="152400">
                      <a:moveTo>
                        <a:pt x="105149" y="67627"/>
                      </a:moveTo>
                      <a:cubicBezTo>
                        <a:pt x="105149" y="62865"/>
                        <a:pt x="105149" y="53340"/>
                        <a:pt x="100386" y="48577"/>
                      </a:cubicBezTo>
                      <a:cubicBezTo>
                        <a:pt x="98481" y="46673"/>
                        <a:pt x="95624" y="45720"/>
                        <a:pt x="92766" y="45720"/>
                      </a:cubicBezTo>
                      <a:cubicBezTo>
                        <a:pt x="89909" y="45720"/>
                        <a:pt x="87051" y="46673"/>
                        <a:pt x="85146" y="47625"/>
                      </a:cubicBezTo>
                      <a:cubicBezTo>
                        <a:pt x="83241" y="43815"/>
                        <a:pt x="79431" y="41910"/>
                        <a:pt x="73716" y="40957"/>
                      </a:cubicBezTo>
                      <a:cubicBezTo>
                        <a:pt x="70859" y="40957"/>
                        <a:pt x="68001" y="41910"/>
                        <a:pt x="65144" y="42863"/>
                      </a:cubicBezTo>
                      <a:cubicBezTo>
                        <a:pt x="63239" y="40005"/>
                        <a:pt x="59429" y="38100"/>
                        <a:pt x="55619" y="38100"/>
                      </a:cubicBezTo>
                      <a:cubicBezTo>
                        <a:pt x="52761" y="38100"/>
                        <a:pt x="50856" y="38100"/>
                        <a:pt x="47999" y="39052"/>
                      </a:cubicBezTo>
                      <a:lnTo>
                        <a:pt x="47999" y="13335"/>
                      </a:lnTo>
                      <a:cubicBezTo>
                        <a:pt x="47999" y="12382"/>
                        <a:pt x="47999" y="7620"/>
                        <a:pt x="45141" y="4763"/>
                      </a:cubicBezTo>
                      <a:cubicBezTo>
                        <a:pt x="43236" y="1905"/>
                        <a:pt x="39426" y="0"/>
                        <a:pt x="35616" y="0"/>
                      </a:cubicBezTo>
                      <a:cubicBezTo>
                        <a:pt x="30854" y="0"/>
                        <a:pt x="27996" y="952"/>
                        <a:pt x="25139" y="3810"/>
                      </a:cubicBezTo>
                      <a:cubicBezTo>
                        <a:pt x="21329" y="7620"/>
                        <a:pt x="21329" y="12382"/>
                        <a:pt x="21329" y="13335"/>
                      </a:cubicBezTo>
                      <a:lnTo>
                        <a:pt x="21329" y="56198"/>
                      </a:lnTo>
                      <a:cubicBezTo>
                        <a:pt x="18471" y="54293"/>
                        <a:pt x="14661" y="53340"/>
                        <a:pt x="10851" y="53340"/>
                      </a:cubicBezTo>
                      <a:cubicBezTo>
                        <a:pt x="3231" y="53340"/>
                        <a:pt x="374" y="60007"/>
                        <a:pt x="374" y="63818"/>
                      </a:cubicBezTo>
                      <a:lnTo>
                        <a:pt x="374" y="63818"/>
                      </a:lnTo>
                      <a:cubicBezTo>
                        <a:pt x="-579" y="89535"/>
                        <a:pt x="374" y="106680"/>
                        <a:pt x="2279" y="118110"/>
                      </a:cubicBezTo>
                      <a:cubicBezTo>
                        <a:pt x="4184" y="127635"/>
                        <a:pt x="21329" y="148590"/>
                        <a:pt x="23234" y="151448"/>
                      </a:cubicBezTo>
                      <a:lnTo>
                        <a:pt x="24186" y="152400"/>
                      </a:lnTo>
                      <a:lnTo>
                        <a:pt x="85146" y="152400"/>
                      </a:lnTo>
                      <a:lnTo>
                        <a:pt x="86099" y="151448"/>
                      </a:lnTo>
                      <a:cubicBezTo>
                        <a:pt x="88956" y="149543"/>
                        <a:pt x="100386" y="138113"/>
                        <a:pt x="102291" y="132398"/>
                      </a:cubicBezTo>
                      <a:cubicBezTo>
                        <a:pt x="106101" y="125730"/>
                        <a:pt x="105149" y="67627"/>
                        <a:pt x="105149" y="67627"/>
                      </a:cubicBezTo>
                      <a:close/>
                      <a:moveTo>
                        <a:pt x="96576" y="129540"/>
                      </a:moveTo>
                      <a:cubicBezTo>
                        <a:pt x="95624" y="132398"/>
                        <a:pt x="88004" y="140018"/>
                        <a:pt x="83241" y="144780"/>
                      </a:cubicBezTo>
                      <a:lnTo>
                        <a:pt x="27996" y="144780"/>
                      </a:lnTo>
                      <a:cubicBezTo>
                        <a:pt x="21329" y="136208"/>
                        <a:pt x="10851" y="121920"/>
                        <a:pt x="9899" y="116205"/>
                      </a:cubicBezTo>
                      <a:cubicBezTo>
                        <a:pt x="7994" y="105727"/>
                        <a:pt x="7041" y="88582"/>
                        <a:pt x="7994" y="63818"/>
                      </a:cubicBezTo>
                      <a:cubicBezTo>
                        <a:pt x="7994" y="62865"/>
                        <a:pt x="8946" y="60007"/>
                        <a:pt x="11804" y="60007"/>
                      </a:cubicBezTo>
                      <a:cubicBezTo>
                        <a:pt x="15614" y="60007"/>
                        <a:pt x="22281" y="61913"/>
                        <a:pt x="22281" y="68580"/>
                      </a:cubicBezTo>
                      <a:cubicBezTo>
                        <a:pt x="22281" y="77152"/>
                        <a:pt x="22281" y="99060"/>
                        <a:pt x="22281" y="99060"/>
                      </a:cubicBezTo>
                      <a:lnTo>
                        <a:pt x="28949" y="99060"/>
                      </a:lnTo>
                      <a:lnTo>
                        <a:pt x="28949" y="99060"/>
                      </a:lnTo>
                      <a:cubicBezTo>
                        <a:pt x="28949" y="99060"/>
                        <a:pt x="28949" y="99060"/>
                        <a:pt x="28949" y="99060"/>
                      </a:cubicBezTo>
                      <a:lnTo>
                        <a:pt x="28949" y="12382"/>
                      </a:lnTo>
                      <a:cubicBezTo>
                        <a:pt x="28949" y="12382"/>
                        <a:pt x="28949" y="9525"/>
                        <a:pt x="30854" y="7620"/>
                      </a:cubicBezTo>
                      <a:cubicBezTo>
                        <a:pt x="31806" y="6668"/>
                        <a:pt x="33711" y="5715"/>
                        <a:pt x="35616" y="5715"/>
                      </a:cubicBezTo>
                      <a:cubicBezTo>
                        <a:pt x="37521" y="5715"/>
                        <a:pt x="39426" y="6668"/>
                        <a:pt x="40379" y="7620"/>
                      </a:cubicBezTo>
                      <a:cubicBezTo>
                        <a:pt x="42284" y="9525"/>
                        <a:pt x="41331" y="11430"/>
                        <a:pt x="41331" y="11430"/>
                      </a:cubicBezTo>
                      <a:lnTo>
                        <a:pt x="41331" y="80963"/>
                      </a:lnTo>
                      <a:lnTo>
                        <a:pt x="47999" y="80963"/>
                      </a:lnTo>
                      <a:lnTo>
                        <a:pt x="47999" y="45720"/>
                      </a:lnTo>
                      <a:cubicBezTo>
                        <a:pt x="47999" y="45720"/>
                        <a:pt x="49904" y="43815"/>
                        <a:pt x="54666" y="43815"/>
                      </a:cubicBezTo>
                      <a:cubicBezTo>
                        <a:pt x="57524" y="43815"/>
                        <a:pt x="59429" y="45720"/>
                        <a:pt x="59429" y="47625"/>
                      </a:cubicBezTo>
                      <a:cubicBezTo>
                        <a:pt x="59429" y="47625"/>
                        <a:pt x="59429" y="80010"/>
                        <a:pt x="59429" y="80010"/>
                      </a:cubicBezTo>
                      <a:lnTo>
                        <a:pt x="66096" y="80010"/>
                      </a:lnTo>
                      <a:cubicBezTo>
                        <a:pt x="66096" y="80010"/>
                        <a:pt x="66096" y="59055"/>
                        <a:pt x="66096" y="51435"/>
                      </a:cubicBezTo>
                      <a:cubicBezTo>
                        <a:pt x="66096" y="49530"/>
                        <a:pt x="66096" y="47625"/>
                        <a:pt x="67049" y="47625"/>
                      </a:cubicBezTo>
                      <a:cubicBezTo>
                        <a:pt x="70859" y="47625"/>
                        <a:pt x="72764" y="47625"/>
                        <a:pt x="73716" y="47625"/>
                      </a:cubicBezTo>
                      <a:cubicBezTo>
                        <a:pt x="76574" y="47625"/>
                        <a:pt x="78479" y="48577"/>
                        <a:pt x="79431" y="51435"/>
                      </a:cubicBezTo>
                      <a:cubicBezTo>
                        <a:pt x="79431" y="53340"/>
                        <a:pt x="79431" y="81915"/>
                        <a:pt x="79431" y="81915"/>
                      </a:cubicBezTo>
                      <a:lnTo>
                        <a:pt x="86099" y="81915"/>
                      </a:lnTo>
                      <a:cubicBezTo>
                        <a:pt x="86099" y="81915"/>
                        <a:pt x="86099" y="68580"/>
                        <a:pt x="86099" y="59055"/>
                      </a:cubicBezTo>
                      <a:cubicBezTo>
                        <a:pt x="86099" y="58102"/>
                        <a:pt x="86099" y="55245"/>
                        <a:pt x="88004" y="53340"/>
                      </a:cubicBezTo>
                      <a:cubicBezTo>
                        <a:pt x="88956" y="52388"/>
                        <a:pt x="90861" y="51435"/>
                        <a:pt x="92766" y="51435"/>
                      </a:cubicBezTo>
                      <a:cubicBezTo>
                        <a:pt x="93719" y="51435"/>
                        <a:pt x="94671" y="51435"/>
                        <a:pt x="94671" y="52388"/>
                      </a:cubicBezTo>
                      <a:cubicBezTo>
                        <a:pt x="97529" y="55245"/>
                        <a:pt x="97529" y="63818"/>
                        <a:pt x="97529" y="66675"/>
                      </a:cubicBezTo>
                      <a:cubicBezTo>
                        <a:pt x="97529" y="67627"/>
                        <a:pt x="98481" y="125730"/>
                        <a:pt x="96576" y="129540"/>
                      </a:cubicBezTo>
                      <a:close/>
                    </a:path>
                  </a:pathLst>
                </a:custGeom>
                <a:solidFill>
                  <a:srgbClr val="3D4647"/>
                </a:solidFill>
                <a:ln w="9525" cap="flat">
                  <a:noFill/>
                  <a:prstDash val="solid"/>
                  <a:miter/>
                </a:ln>
              </p:spPr>
              <p:txBody>
                <a:bodyPr rtlCol="0" anchor="ctr"/>
                <a:lstStyle/>
                <a:p>
                  <a:endParaRPr lang="en-US" dirty="0"/>
                </a:p>
              </p:txBody>
            </p:sp>
          </p:grpSp>
          <p:grpSp>
            <p:nvGrpSpPr>
              <p:cNvPr id="57" name="Graphic 19">
                <a:extLst>
                  <a:ext uri="{FF2B5EF4-FFF2-40B4-BE49-F238E27FC236}">
                    <a16:creationId xmlns:a16="http://schemas.microsoft.com/office/drawing/2014/main" id="{603882F2-DC36-BB4B-5984-7412BA72F7B5}"/>
                  </a:ext>
                </a:extLst>
              </p:cNvPr>
              <p:cNvGrpSpPr/>
              <p:nvPr/>
            </p:nvGrpSpPr>
            <p:grpSpPr>
              <a:xfrm>
                <a:off x="2779293" y="3574671"/>
                <a:ext cx="225438" cy="384929"/>
                <a:chOff x="2779293" y="3574671"/>
                <a:chExt cx="225438" cy="384929"/>
              </a:xfrm>
            </p:grpSpPr>
            <p:sp>
              <p:nvSpPr>
                <p:cNvPr id="58" name="Freeform: Shape 57">
                  <a:extLst>
                    <a:ext uri="{FF2B5EF4-FFF2-40B4-BE49-F238E27FC236}">
                      <a16:creationId xmlns:a16="http://schemas.microsoft.com/office/drawing/2014/main" id="{1B171ACC-F7B7-0435-BCBE-BFC8218C18C3}"/>
                    </a:ext>
                  </a:extLst>
                </p:cNvPr>
                <p:cNvSpPr/>
                <p:nvPr/>
              </p:nvSpPr>
              <p:spPr>
                <a:xfrm>
                  <a:off x="2779293" y="3574671"/>
                  <a:ext cx="145992" cy="158882"/>
                </a:xfrm>
                <a:custGeom>
                  <a:avLst/>
                  <a:gdLst>
                    <a:gd name="connsiteX0" fmla="*/ 126379 w 145992"/>
                    <a:gd name="connsiteY0" fmla="*/ 54412 h 158882"/>
                    <a:gd name="connsiteX1" fmla="*/ 97804 w 145992"/>
                    <a:gd name="connsiteY1" fmla="*/ 48697 h 158882"/>
                    <a:gd name="connsiteX2" fmla="*/ 88279 w 145992"/>
                    <a:gd name="connsiteY2" fmla="*/ 21074 h 158882"/>
                    <a:gd name="connsiteX3" fmla="*/ 107329 w 145992"/>
                    <a:gd name="connsiteY3" fmla="*/ 119 h 158882"/>
                    <a:gd name="connsiteX4" fmla="*/ 74944 w 145992"/>
                    <a:gd name="connsiteY4" fmla="*/ 14407 h 158882"/>
                    <a:gd name="connsiteX5" fmla="*/ 65419 w 145992"/>
                    <a:gd name="connsiteY5" fmla="*/ 48697 h 158882"/>
                    <a:gd name="connsiteX6" fmla="*/ 59704 w 145992"/>
                    <a:gd name="connsiteY6" fmla="*/ 66794 h 158882"/>
                    <a:gd name="connsiteX7" fmla="*/ 6364 w 145992"/>
                    <a:gd name="connsiteY7" fmla="*/ 127754 h 158882"/>
                    <a:gd name="connsiteX8" fmla="*/ 5411 w 145992"/>
                    <a:gd name="connsiteY8" fmla="*/ 128707 h 158882"/>
                    <a:gd name="connsiteX9" fmla="*/ 4459 w 145992"/>
                    <a:gd name="connsiteY9" fmla="*/ 129659 h 158882"/>
                    <a:gd name="connsiteX10" fmla="*/ 6364 w 145992"/>
                    <a:gd name="connsiteY10" fmla="*/ 154424 h 158882"/>
                    <a:gd name="connsiteX11" fmla="*/ 31129 w 145992"/>
                    <a:gd name="connsiteY11" fmla="*/ 152519 h 158882"/>
                    <a:gd name="connsiteX12" fmla="*/ 32081 w 145992"/>
                    <a:gd name="connsiteY12" fmla="*/ 151567 h 158882"/>
                    <a:gd name="connsiteX13" fmla="*/ 33034 w 145992"/>
                    <a:gd name="connsiteY13" fmla="*/ 150614 h 158882"/>
                    <a:gd name="connsiteX14" fmla="*/ 86374 w 145992"/>
                    <a:gd name="connsiteY14" fmla="*/ 89654 h 158882"/>
                    <a:gd name="connsiteX15" fmla="*/ 101614 w 145992"/>
                    <a:gd name="connsiteY15" fmla="*/ 81082 h 158882"/>
                    <a:gd name="connsiteX16" fmla="*/ 135904 w 145992"/>
                    <a:gd name="connsiteY16" fmla="*/ 67747 h 158882"/>
                    <a:gd name="connsiteX17" fmla="*/ 145429 w 145992"/>
                    <a:gd name="connsiteY17" fmla="*/ 33457 h 158882"/>
                    <a:gd name="connsiteX18" fmla="*/ 126379 w 145992"/>
                    <a:gd name="connsiteY18" fmla="*/ 54412 h 158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5992" h="158882">
                      <a:moveTo>
                        <a:pt x="126379" y="54412"/>
                      </a:moveTo>
                      <a:lnTo>
                        <a:pt x="97804" y="48697"/>
                      </a:lnTo>
                      <a:lnTo>
                        <a:pt x="88279" y="21074"/>
                      </a:lnTo>
                      <a:lnTo>
                        <a:pt x="107329" y="119"/>
                      </a:lnTo>
                      <a:cubicBezTo>
                        <a:pt x="94946" y="-833"/>
                        <a:pt x="83516" y="3929"/>
                        <a:pt x="74944" y="14407"/>
                      </a:cubicBezTo>
                      <a:cubicBezTo>
                        <a:pt x="66371" y="23932"/>
                        <a:pt x="63514" y="37267"/>
                        <a:pt x="65419" y="48697"/>
                      </a:cubicBezTo>
                      <a:cubicBezTo>
                        <a:pt x="66371" y="51554"/>
                        <a:pt x="67324" y="58222"/>
                        <a:pt x="59704" y="66794"/>
                      </a:cubicBezTo>
                      <a:lnTo>
                        <a:pt x="6364" y="127754"/>
                      </a:lnTo>
                      <a:cubicBezTo>
                        <a:pt x="6364" y="127754"/>
                        <a:pt x="6364" y="128707"/>
                        <a:pt x="5411" y="128707"/>
                      </a:cubicBezTo>
                      <a:cubicBezTo>
                        <a:pt x="5411" y="128707"/>
                        <a:pt x="4459" y="129659"/>
                        <a:pt x="4459" y="129659"/>
                      </a:cubicBezTo>
                      <a:cubicBezTo>
                        <a:pt x="-2209" y="137279"/>
                        <a:pt x="-1256" y="147757"/>
                        <a:pt x="6364" y="154424"/>
                      </a:cubicBezTo>
                      <a:cubicBezTo>
                        <a:pt x="13984" y="161092"/>
                        <a:pt x="24461" y="160139"/>
                        <a:pt x="31129" y="152519"/>
                      </a:cubicBezTo>
                      <a:cubicBezTo>
                        <a:pt x="31129" y="152519"/>
                        <a:pt x="32081" y="151567"/>
                        <a:pt x="32081" y="151567"/>
                      </a:cubicBezTo>
                      <a:cubicBezTo>
                        <a:pt x="32081" y="151567"/>
                        <a:pt x="33034" y="150614"/>
                        <a:pt x="33034" y="150614"/>
                      </a:cubicBezTo>
                      <a:lnTo>
                        <a:pt x="86374" y="89654"/>
                      </a:lnTo>
                      <a:cubicBezTo>
                        <a:pt x="91136" y="82987"/>
                        <a:pt x="99709" y="81082"/>
                        <a:pt x="101614" y="81082"/>
                      </a:cubicBezTo>
                      <a:cubicBezTo>
                        <a:pt x="113996" y="82034"/>
                        <a:pt x="127331" y="77272"/>
                        <a:pt x="135904" y="67747"/>
                      </a:cubicBezTo>
                      <a:cubicBezTo>
                        <a:pt x="144476" y="58222"/>
                        <a:pt x="147334" y="44887"/>
                        <a:pt x="145429" y="33457"/>
                      </a:cubicBezTo>
                      <a:lnTo>
                        <a:pt x="126379" y="54412"/>
                      </a:lnTo>
                      <a:close/>
                    </a:path>
                  </a:pathLst>
                </a:custGeom>
                <a:solidFill>
                  <a:srgbClr val="40AA1D"/>
                </a:solidFill>
                <a:ln w="9525" cap="flat">
                  <a:noFill/>
                  <a:prstDash val="solid"/>
                  <a:miter/>
                </a:ln>
              </p:spPr>
              <p:txBody>
                <a:bodyPr rtlCol="0" anchor="ctr"/>
                <a:lstStyle/>
                <a:p>
                  <a:endParaRPr lang="en-US" dirty="0"/>
                </a:p>
              </p:txBody>
            </p:sp>
            <p:grpSp>
              <p:nvGrpSpPr>
                <p:cNvPr id="59" name="Graphic 19">
                  <a:extLst>
                    <a:ext uri="{FF2B5EF4-FFF2-40B4-BE49-F238E27FC236}">
                      <a16:creationId xmlns:a16="http://schemas.microsoft.com/office/drawing/2014/main" id="{F7FD8A51-8055-5F11-D4FB-2CA9F35BFB21}"/>
                    </a:ext>
                  </a:extLst>
                </p:cNvPr>
                <p:cNvGrpSpPr/>
                <p:nvPr/>
              </p:nvGrpSpPr>
              <p:grpSpPr>
                <a:xfrm>
                  <a:off x="2829471" y="3654800"/>
                  <a:ext cx="175260" cy="304800"/>
                  <a:chOff x="2829471" y="3654800"/>
                  <a:chExt cx="175260" cy="304800"/>
                </a:xfrm>
                <a:solidFill>
                  <a:srgbClr val="3D4647"/>
                </a:solidFill>
              </p:grpSpPr>
              <p:sp>
                <p:nvSpPr>
                  <p:cNvPr id="60" name="Freeform: Shape 59">
                    <a:extLst>
                      <a:ext uri="{FF2B5EF4-FFF2-40B4-BE49-F238E27FC236}">
                        <a16:creationId xmlns:a16="http://schemas.microsoft.com/office/drawing/2014/main" id="{7A00A528-89D1-493E-E696-E640EA5838A5}"/>
                      </a:ext>
                    </a:extLst>
                  </p:cNvPr>
                  <p:cNvSpPr/>
                  <p:nvPr/>
                </p:nvSpPr>
                <p:spPr>
                  <a:xfrm>
                    <a:off x="2829471" y="3727191"/>
                    <a:ext cx="34290" cy="231457"/>
                  </a:xfrm>
                  <a:custGeom>
                    <a:avLst/>
                    <a:gdLst>
                      <a:gd name="connsiteX0" fmla="*/ 3810 w 34290"/>
                      <a:gd name="connsiteY0" fmla="*/ 17145 h 231457"/>
                      <a:gd name="connsiteX1" fmla="*/ 2858 w 34290"/>
                      <a:gd name="connsiteY1" fmla="*/ 18097 h 231457"/>
                      <a:gd name="connsiteX2" fmla="*/ 0 w 34290"/>
                      <a:gd name="connsiteY2" fmla="*/ 20955 h 231457"/>
                      <a:gd name="connsiteX3" fmla="*/ 0 w 34290"/>
                      <a:gd name="connsiteY3" fmla="*/ 203835 h 231457"/>
                      <a:gd name="connsiteX4" fmla="*/ 0 w 34290"/>
                      <a:gd name="connsiteY4" fmla="*/ 212408 h 231457"/>
                      <a:gd name="connsiteX5" fmla="*/ 19050 w 34290"/>
                      <a:gd name="connsiteY5" fmla="*/ 231458 h 231457"/>
                      <a:gd name="connsiteX6" fmla="*/ 28575 w 34290"/>
                      <a:gd name="connsiteY6" fmla="*/ 231458 h 231457"/>
                      <a:gd name="connsiteX7" fmla="*/ 28575 w 34290"/>
                      <a:gd name="connsiteY7" fmla="*/ 223838 h 231457"/>
                      <a:gd name="connsiteX8" fmla="*/ 34290 w 34290"/>
                      <a:gd name="connsiteY8" fmla="*/ 201930 h 231457"/>
                      <a:gd name="connsiteX9" fmla="*/ 20003 w 34290"/>
                      <a:gd name="connsiteY9" fmla="*/ 201930 h 231457"/>
                      <a:gd name="connsiteX10" fmla="*/ 20003 w 34290"/>
                      <a:gd name="connsiteY10" fmla="*/ 0 h 231457"/>
                      <a:gd name="connsiteX11" fmla="*/ 5715 w 34290"/>
                      <a:gd name="connsiteY11" fmla="*/ 17145 h 231457"/>
                      <a:gd name="connsiteX12" fmla="*/ 3810 w 34290"/>
                      <a:gd name="connsiteY12" fmla="*/ 17145 h 23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290" h="231457">
                        <a:moveTo>
                          <a:pt x="3810" y="17145"/>
                        </a:moveTo>
                        <a:cubicBezTo>
                          <a:pt x="3810" y="17145"/>
                          <a:pt x="2858" y="18097"/>
                          <a:pt x="2858" y="18097"/>
                        </a:cubicBezTo>
                        <a:cubicBezTo>
                          <a:pt x="1905" y="19050"/>
                          <a:pt x="953" y="20003"/>
                          <a:pt x="0" y="20955"/>
                        </a:cubicBezTo>
                        <a:lnTo>
                          <a:pt x="0" y="203835"/>
                        </a:lnTo>
                        <a:lnTo>
                          <a:pt x="0" y="212408"/>
                        </a:lnTo>
                        <a:cubicBezTo>
                          <a:pt x="0" y="222885"/>
                          <a:pt x="8573" y="231458"/>
                          <a:pt x="19050" y="231458"/>
                        </a:cubicBezTo>
                        <a:lnTo>
                          <a:pt x="28575" y="231458"/>
                        </a:lnTo>
                        <a:lnTo>
                          <a:pt x="28575" y="223838"/>
                        </a:lnTo>
                        <a:cubicBezTo>
                          <a:pt x="28575" y="217170"/>
                          <a:pt x="29528" y="209550"/>
                          <a:pt x="34290" y="201930"/>
                        </a:cubicBezTo>
                        <a:lnTo>
                          <a:pt x="20003" y="201930"/>
                        </a:lnTo>
                        <a:lnTo>
                          <a:pt x="20003" y="0"/>
                        </a:lnTo>
                        <a:lnTo>
                          <a:pt x="5715" y="17145"/>
                        </a:lnTo>
                        <a:cubicBezTo>
                          <a:pt x="4763" y="17145"/>
                          <a:pt x="4763" y="17145"/>
                          <a:pt x="3810" y="17145"/>
                        </a:cubicBezTo>
                        <a:close/>
                      </a:path>
                    </a:pathLst>
                  </a:custGeom>
                  <a:solidFill>
                    <a:srgbClr val="3D4647"/>
                  </a:solidFill>
                  <a:ln w="9525"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B9A12A33-9E73-AB5A-5019-D8449861747D}"/>
                      </a:ext>
                    </a:extLst>
                  </p:cNvPr>
                  <p:cNvSpPr/>
                  <p:nvPr/>
                </p:nvSpPr>
                <p:spPr>
                  <a:xfrm>
                    <a:off x="2876144" y="3654800"/>
                    <a:ext cx="128587" cy="304800"/>
                  </a:xfrm>
                  <a:custGeom>
                    <a:avLst/>
                    <a:gdLst>
                      <a:gd name="connsiteX0" fmla="*/ 127635 w 128587"/>
                      <a:gd name="connsiteY0" fmla="*/ 14288 h 304800"/>
                      <a:gd name="connsiteX1" fmla="*/ 109538 w 128587"/>
                      <a:gd name="connsiteY1" fmla="*/ 0 h 304800"/>
                      <a:gd name="connsiteX2" fmla="*/ 65723 w 128587"/>
                      <a:gd name="connsiteY2" fmla="*/ 0 h 304800"/>
                      <a:gd name="connsiteX3" fmla="*/ 60960 w 128587"/>
                      <a:gd name="connsiteY3" fmla="*/ 5715 h 304800"/>
                      <a:gd name="connsiteX4" fmla="*/ 9525 w 128587"/>
                      <a:gd name="connsiteY4" fmla="*/ 29528 h 304800"/>
                      <a:gd name="connsiteX5" fmla="*/ 0 w 128587"/>
                      <a:gd name="connsiteY5" fmla="*/ 40958 h 304800"/>
                      <a:gd name="connsiteX6" fmla="*/ 107633 w 128587"/>
                      <a:gd name="connsiteY6" fmla="*/ 40958 h 304800"/>
                      <a:gd name="connsiteX7" fmla="*/ 107633 w 128587"/>
                      <a:gd name="connsiteY7" fmla="*/ 274320 h 304800"/>
                      <a:gd name="connsiteX8" fmla="*/ 60008 w 128587"/>
                      <a:gd name="connsiteY8" fmla="*/ 274320 h 304800"/>
                      <a:gd name="connsiteX9" fmla="*/ 65723 w 128587"/>
                      <a:gd name="connsiteY9" fmla="*/ 294323 h 304800"/>
                      <a:gd name="connsiteX10" fmla="*/ 80963 w 128587"/>
                      <a:gd name="connsiteY10" fmla="*/ 298133 h 304800"/>
                      <a:gd name="connsiteX11" fmla="*/ 80963 w 128587"/>
                      <a:gd name="connsiteY11" fmla="*/ 298133 h 304800"/>
                      <a:gd name="connsiteX12" fmla="*/ 101917 w 128587"/>
                      <a:gd name="connsiteY12" fmla="*/ 304800 h 304800"/>
                      <a:gd name="connsiteX13" fmla="*/ 109538 w 128587"/>
                      <a:gd name="connsiteY13" fmla="*/ 304800 h 304800"/>
                      <a:gd name="connsiteX14" fmla="*/ 128588 w 128587"/>
                      <a:gd name="connsiteY14" fmla="*/ 285750 h 304800"/>
                      <a:gd name="connsiteX15" fmla="*/ 127635 w 128587"/>
                      <a:gd name="connsiteY15" fmla="*/ 14288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587" h="304800">
                        <a:moveTo>
                          <a:pt x="127635" y="14288"/>
                        </a:moveTo>
                        <a:cubicBezTo>
                          <a:pt x="125730" y="5715"/>
                          <a:pt x="118110" y="0"/>
                          <a:pt x="109538" y="0"/>
                        </a:cubicBezTo>
                        <a:lnTo>
                          <a:pt x="65723" y="0"/>
                        </a:lnTo>
                        <a:cubicBezTo>
                          <a:pt x="63817" y="1905"/>
                          <a:pt x="62865" y="3810"/>
                          <a:pt x="60960" y="5715"/>
                        </a:cubicBezTo>
                        <a:cubicBezTo>
                          <a:pt x="47625" y="20955"/>
                          <a:pt x="29527" y="29528"/>
                          <a:pt x="9525" y="29528"/>
                        </a:cubicBezTo>
                        <a:lnTo>
                          <a:pt x="0" y="40958"/>
                        </a:lnTo>
                        <a:lnTo>
                          <a:pt x="107633" y="40958"/>
                        </a:lnTo>
                        <a:lnTo>
                          <a:pt x="107633" y="274320"/>
                        </a:lnTo>
                        <a:lnTo>
                          <a:pt x="60008" y="274320"/>
                        </a:lnTo>
                        <a:cubicBezTo>
                          <a:pt x="64770" y="281940"/>
                          <a:pt x="65723" y="289560"/>
                          <a:pt x="65723" y="294323"/>
                        </a:cubicBezTo>
                        <a:cubicBezTo>
                          <a:pt x="71438" y="294323"/>
                          <a:pt x="76200" y="296228"/>
                          <a:pt x="80963" y="298133"/>
                        </a:cubicBezTo>
                        <a:cubicBezTo>
                          <a:pt x="80963" y="298133"/>
                          <a:pt x="80963" y="298133"/>
                          <a:pt x="80963" y="298133"/>
                        </a:cubicBezTo>
                        <a:cubicBezTo>
                          <a:pt x="88583" y="298133"/>
                          <a:pt x="96202" y="300038"/>
                          <a:pt x="101917" y="304800"/>
                        </a:cubicBezTo>
                        <a:lnTo>
                          <a:pt x="109538" y="304800"/>
                        </a:lnTo>
                        <a:cubicBezTo>
                          <a:pt x="120015" y="304800"/>
                          <a:pt x="128588" y="296228"/>
                          <a:pt x="128588" y="285750"/>
                        </a:cubicBezTo>
                        <a:lnTo>
                          <a:pt x="127635" y="14288"/>
                        </a:lnTo>
                        <a:close/>
                      </a:path>
                    </a:pathLst>
                  </a:custGeom>
                  <a:solidFill>
                    <a:srgbClr val="3D4647"/>
                  </a:solidFill>
                  <a:ln w="9525" cap="flat">
                    <a:noFill/>
                    <a:prstDash val="solid"/>
                    <a:miter/>
                  </a:ln>
                </p:spPr>
                <p:txBody>
                  <a:bodyPr rtlCol="0" anchor="ctr"/>
                  <a:lstStyle/>
                  <a:p>
                    <a:endParaRPr lang="en-US" dirty="0"/>
                  </a:p>
                </p:txBody>
              </p:sp>
            </p:grpSp>
          </p:grpSp>
        </p:grpSp>
      </p:grpSp>
      <p:sp>
        <p:nvSpPr>
          <p:cNvPr id="10" name="Title 9">
            <a:extLst>
              <a:ext uri="{FF2B5EF4-FFF2-40B4-BE49-F238E27FC236}">
                <a16:creationId xmlns:a16="http://schemas.microsoft.com/office/drawing/2014/main" id="{8978F4B0-4727-D8A9-4A3B-2E4A8F81C2C8}"/>
              </a:ext>
            </a:extLst>
          </p:cNvPr>
          <p:cNvSpPr>
            <a:spLocks noGrp="1"/>
          </p:cNvSpPr>
          <p:nvPr>
            <p:ph type="title"/>
          </p:nvPr>
        </p:nvSpPr>
        <p:spPr>
          <a:xfrm>
            <a:off x="490760" y="547539"/>
            <a:ext cx="10789920" cy="369332"/>
          </a:xfrm>
        </p:spPr>
        <p:txBody>
          <a:bodyPr/>
          <a:lstStyle/>
          <a:p>
            <a:r>
              <a:rPr lang="en-US" dirty="0"/>
              <a:t>PTC Icons</a:t>
            </a:r>
          </a:p>
        </p:txBody>
      </p:sp>
      <p:sp>
        <p:nvSpPr>
          <p:cNvPr id="235" name="Rectangle 234">
            <a:extLst>
              <a:ext uri="{FF2B5EF4-FFF2-40B4-BE49-F238E27FC236}">
                <a16:creationId xmlns:a16="http://schemas.microsoft.com/office/drawing/2014/main" id="{9D40C5BB-4A67-02BF-C3AC-FF6BFBDF48EF}"/>
              </a:ext>
            </a:extLst>
          </p:cNvPr>
          <p:cNvSpPr/>
          <p:nvPr/>
        </p:nvSpPr>
        <p:spPr>
          <a:xfrm>
            <a:off x="501015" y="1193595"/>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SLM Asset System of Record</a:t>
            </a:r>
          </a:p>
        </p:txBody>
      </p:sp>
      <p:sp>
        <p:nvSpPr>
          <p:cNvPr id="258" name="Text Placeholder 81">
            <a:extLst>
              <a:ext uri="{FF2B5EF4-FFF2-40B4-BE49-F238E27FC236}">
                <a16:creationId xmlns:a16="http://schemas.microsoft.com/office/drawing/2014/main" id="{80E231E5-B59E-4531-23F9-920FA2620919}"/>
              </a:ext>
            </a:extLst>
          </p:cNvPr>
          <p:cNvSpPr txBox="1">
            <a:spLocks/>
          </p:cNvSpPr>
          <p:nvPr/>
        </p:nvSpPr>
        <p:spPr>
          <a:xfrm>
            <a:off x="8378456" y="1498334"/>
            <a:ext cx="1049972"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Automotive</a:t>
            </a:r>
          </a:p>
        </p:txBody>
      </p:sp>
      <p:pic>
        <p:nvPicPr>
          <p:cNvPr id="261" name="Graphic 260">
            <a:extLst>
              <a:ext uri="{FF2B5EF4-FFF2-40B4-BE49-F238E27FC236}">
                <a16:creationId xmlns:a16="http://schemas.microsoft.com/office/drawing/2014/main" id="{C406469C-7709-70EA-8269-80C6D73F92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53919" y="1849485"/>
            <a:ext cx="774700" cy="609600"/>
          </a:xfrm>
          <a:prstGeom prst="rect">
            <a:avLst/>
          </a:prstGeom>
        </p:spPr>
      </p:pic>
      <p:sp>
        <p:nvSpPr>
          <p:cNvPr id="255" name="Text Placeholder 81">
            <a:extLst>
              <a:ext uri="{FF2B5EF4-FFF2-40B4-BE49-F238E27FC236}">
                <a16:creationId xmlns:a16="http://schemas.microsoft.com/office/drawing/2014/main" id="{FBF60EE5-986B-073B-8301-06C46850396E}"/>
              </a:ext>
            </a:extLst>
          </p:cNvPr>
          <p:cNvSpPr txBox="1">
            <a:spLocks/>
          </p:cNvSpPr>
          <p:nvPr/>
        </p:nvSpPr>
        <p:spPr>
          <a:xfrm>
            <a:off x="6837578" y="1498334"/>
            <a:ext cx="1049972"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MedTech</a:t>
            </a:r>
          </a:p>
        </p:txBody>
      </p:sp>
      <p:pic>
        <p:nvPicPr>
          <p:cNvPr id="263" name="Graphic 262">
            <a:extLst>
              <a:ext uri="{FF2B5EF4-FFF2-40B4-BE49-F238E27FC236}">
                <a16:creationId xmlns:a16="http://schemas.microsoft.com/office/drawing/2014/main" id="{DB152E20-9D98-E431-2A06-7E74DDE68D3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75214" y="1849485"/>
            <a:ext cx="774700" cy="609600"/>
          </a:xfrm>
          <a:prstGeom prst="rect">
            <a:avLst/>
          </a:prstGeom>
        </p:spPr>
      </p:pic>
      <p:sp>
        <p:nvSpPr>
          <p:cNvPr id="257" name="Text Placeholder 81">
            <a:extLst>
              <a:ext uri="{FF2B5EF4-FFF2-40B4-BE49-F238E27FC236}">
                <a16:creationId xmlns:a16="http://schemas.microsoft.com/office/drawing/2014/main" id="{87FEEE7D-3DD8-43FF-B278-8D276C2469C1}"/>
              </a:ext>
            </a:extLst>
          </p:cNvPr>
          <p:cNvSpPr txBox="1">
            <a:spLocks/>
          </p:cNvSpPr>
          <p:nvPr/>
        </p:nvSpPr>
        <p:spPr>
          <a:xfrm>
            <a:off x="3159874" y="1498334"/>
            <a:ext cx="1049972"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FA&amp;D</a:t>
            </a:r>
          </a:p>
        </p:txBody>
      </p:sp>
      <p:pic>
        <p:nvPicPr>
          <p:cNvPr id="264" name="Graphic 263">
            <a:extLst>
              <a:ext uri="{FF2B5EF4-FFF2-40B4-BE49-F238E27FC236}">
                <a16:creationId xmlns:a16="http://schemas.microsoft.com/office/drawing/2014/main" id="{74B80545-D51A-FD82-4F94-62339882074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261480" y="1849485"/>
            <a:ext cx="774700" cy="609600"/>
          </a:xfrm>
          <a:prstGeom prst="rect">
            <a:avLst/>
          </a:prstGeom>
        </p:spPr>
      </p:pic>
      <p:grpSp>
        <p:nvGrpSpPr>
          <p:cNvPr id="236" name="Group 235">
            <a:extLst>
              <a:ext uri="{FF2B5EF4-FFF2-40B4-BE49-F238E27FC236}">
                <a16:creationId xmlns:a16="http://schemas.microsoft.com/office/drawing/2014/main" id="{1883D9DF-4E9A-24BD-A038-AD4835238FCA}"/>
              </a:ext>
            </a:extLst>
          </p:cNvPr>
          <p:cNvGrpSpPr/>
          <p:nvPr/>
        </p:nvGrpSpPr>
        <p:grpSpPr>
          <a:xfrm>
            <a:off x="1548968" y="1849720"/>
            <a:ext cx="968845" cy="609365"/>
            <a:chOff x="1633904" y="5853535"/>
            <a:chExt cx="968845" cy="609365"/>
          </a:xfrm>
        </p:grpSpPr>
        <p:sp>
          <p:nvSpPr>
            <p:cNvPr id="237" name="Freeform: Shape 236">
              <a:extLst>
                <a:ext uri="{FF2B5EF4-FFF2-40B4-BE49-F238E27FC236}">
                  <a16:creationId xmlns:a16="http://schemas.microsoft.com/office/drawing/2014/main" id="{89043116-A291-268C-A52C-B5CFDA45C357}"/>
                </a:ext>
              </a:extLst>
            </p:cNvPr>
            <p:cNvSpPr/>
            <p:nvPr/>
          </p:nvSpPr>
          <p:spPr>
            <a:xfrm>
              <a:off x="1939426" y="6366773"/>
              <a:ext cx="65057" cy="56378"/>
            </a:xfrm>
            <a:custGeom>
              <a:avLst/>
              <a:gdLst>
                <a:gd name="connsiteX0" fmla="*/ 48793 w 65057"/>
                <a:gd name="connsiteY0" fmla="*/ 0 h 56378"/>
                <a:gd name="connsiteX1" fmla="*/ 16264 w 65057"/>
                <a:gd name="connsiteY1" fmla="*/ 0 h 56378"/>
                <a:gd name="connsiteX2" fmla="*/ 0 w 65057"/>
                <a:gd name="connsiteY2" fmla="*/ 28226 h 56378"/>
                <a:gd name="connsiteX3" fmla="*/ 16264 w 65057"/>
                <a:gd name="connsiteY3" fmla="*/ 56378 h 56378"/>
                <a:gd name="connsiteX4" fmla="*/ 48793 w 65057"/>
                <a:gd name="connsiteY4" fmla="*/ 56378 h 56378"/>
                <a:gd name="connsiteX5" fmla="*/ 65057 w 65057"/>
                <a:gd name="connsiteY5" fmla="*/ 28226 h 56378"/>
                <a:gd name="connsiteX6" fmla="*/ 48793 w 65057"/>
                <a:gd name="connsiteY6" fmla="*/ 0 h 56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57" h="56378">
                  <a:moveTo>
                    <a:pt x="48793" y="0"/>
                  </a:moveTo>
                  <a:lnTo>
                    <a:pt x="16264" y="0"/>
                  </a:lnTo>
                  <a:lnTo>
                    <a:pt x="0" y="28226"/>
                  </a:lnTo>
                  <a:lnTo>
                    <a:pt x="16264" y="56378"/>
                  </a:lnTo>
                  <a:lnTo>
                    <a:pt x="48793" y="56378"/>
                  </a:lnTo>
                  <a:lnTo>
                    <a:pt x="65057" y="28226"/>
                  </a:lnTo>
                  <a:lnTo>
                    <a:pt x="48793" y="0"/>
                  </a:lnTo>
                  <a:close/>
                </a:path>
              </a:pathLst>
            </a:custGeom>
            <a:solidFill>
              <a:srgbClr val="FFFFFF"/>
            </a:solidFill>
            <a:ln w="7233" cap="flat">
              <a:noFill/>
              <a:prstDash val="solid"/>
              <a:miter/>
            </a:ln>
          </p:spPr>
          <p:txBody>
            <a:bodyPr rtlCol="0" anchor="ctr"/>
            <a:lstStyle/>
            <a:p>
              <a:endParaRPr lang="en-US" dirty="0"/>
            </a:p>
          </p:txBody>
        </p:sp>
        <p:sp>
          <p:nvSpPr>
            <p:cNvPr id="238" name="Freeform: Shape 237">
              <a:extLst>
                <a:ext uri="{FF2B5EF4-FFF2-40B4-BE49-F238E27FC236}">
                  <a16:creationId xmlns:a16="http://schemas.microsoft.com/office/drawing/2014/main" id="{E7BF4A57-B6D6-8DEE-A2FF-18E839447669}"/>
                </a:ext>
              </a:extLst>
            </p:cNvPr>
            <p:cNvSpPr/>
            <p:nvPr/>
          </p:nvSpPr>
          <p:spPr>
            <a:xfrm>
              <a:off x="1933518" y="6366773"/>
              <a:ext cx="65057" cy="56378"/>
            </a:xfrm>
            <a:custGeom>
              <a:avLst/>
              <a:gdLst>
                <a:gd name="connsiteX0" fmla="*/ 48793 w 65057"/>
                <a:gd name="connsiteY0" fmla="*/ 0 h 56378"/>
                <a:gd name="connsiteX1" fmla="*/ 16264 w 65057"/>
                <a:gd name="connsiteY1" fmla="*/ 0 h 56378"/>
                <a:gd name="connsiteX2" fmla="*/ 0 w 65057"/>
                <a:gd name="connsiteY2" fmla="*/ 28226 h 56378"/>
                <a:gd name="connsiteX3" fmla="*/ 16264 w 65057"/>
                <a:gd name="connsiteY3" fmla="*/ 56378 h 56378"/>
                <a:gd name="connsiteX4" fmla="*/ 48793 w 65057"/>
                <a:gd name="connsiteY4" fmla="*/ 56378 h 56378"/>
                <a:gd name="connsiteX5" fmla="*/ 65057 w 65057"/>
                <a:gd name="connsiteY5" fmla="*/ 28226 h 56378"/>
                <a:gd name="connsiteX6" fmla="*/ 48793 w 65057"/>
                <a:gd name="connsiteY6" fmla="*/ 0 h 56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57" h="56378">
                  <a:moveTo>
                    <a:pt x="48793" y="0"/>
                  </a:moveTo>
                  <a:lnTo>
                    <a:pt x="16264" y="0"/>
                  </a:lnTo>
                  <a:lnTo>
                    <a:pt x="0" y="28226"/>
                  </a:lnTo>
                  <a:lnTo>
                    <a:pt x="16264" y="56378"/>
                  </a:lnTo>
                  <a:lnTo>
                    <a:pt x="48793" y="56378"/>
                  </a:lnTo>
                  <a:lnTo>
                    <a:pt x="65057" y="28226"/>
                  </a:lnTo>
                  <a:lnTo>
                    <a:pt x="48793" y="0"/>
                  </a:lnTo>
                  <a:close/>
                </a:path>
              </a:pathLst>
            </a:custGeom>
            <a:solidFill>
              <a:srgbClr val="FFFFFF"/>
            </a:solidFill>
            <a:ln w="7233" cap="flat">
              <a:noFill/>
              <a:prstDash val="solid"/>
              <a:miter/>
            </a:ln>
          </p:spPr>
          <p:txBody>
            <a:bodyPr rtlCol="0" anchor="ctr"/>
            <a:lstStyle/>
            <a:p>
              <a:endParaRPr lang="en-US" dirty="0"/>
            </a:p>
          </p:txBody>
        </p:sp>
        <p:sp>
          <p:nvSpPr>
            <p:cNvPr id="239" name="Freeform: Shape 238">
              <a:extLst>
                <a:ext uri="{FF2B5EF4-FFF2-40B4-BE49-F238E27FC236}">
                  <a16:creationId xmlns:a16="http://schemas.microsoft.com/office/drawing/2014/main" id="{1AB101DB-E01C-70D6-B262-571AAA743A66}"/>
                </a:ext>
              </a:extLst>
            </p:cNvPr>
            <p:cNvSpPr/>
            <p:nvPr/>
          </p:nvSpPr>
          <p:spPr>
            <a:xfrm>
              <a:off x="1899713" y="6075619"/>
              <a:ext cx="214682" cy="376705"/>
            </a:xfrm>
            <a:custGeom>
              <a:avLst/>
              <a:gdLst>
                <a:gd name="connsiteX0" fmla="*/ 214683 w 214682"/>
                <a:gd name="connsiteY0" fmla="*/ 144045 h 376705"/>
                <a:gd name="connsiteX1" fmla="*/ 194772 w 214682"/>
                <a:gd name="connsiteY1" fmla="*/ 155642 h 376705"/>
                <a:gd name="connsiteX2" fmla="*/ 142113 w 214682"/>
                <a:gd name="connsiteY2" fmla="*/ 205748 h 376705"/>
                <a:gd name="connsiteX3" fmla="*/ 122859 w 214682"/>
                <a:gd name="connsiteY3" fmla="*/ 191598 h 376705"/>
                <a:gd name="connsiteX4" fmla="*/ 118118 w 214682"/>
                <a:gd name="connsiteY4" fmla="*/ 134053 h 376705"/>
                <a:gd name="connsiteX5" fmla="*/ 214610 w 214682"/>
                <a:gd name="connsiteY5" fmla="*/ 125885 h 376705"/>
                <a:gd name="connsiteX6" fmla="*/ 214610 w 214682"/>
                <a:gd name="connsiteY6" fmla="*/ 113267 h 376705"/>
                <a:gd name="connsiteX7" fmla="*/ 118701 w 214682"/>
                <a:gd name="connsiteY7" fmla="*/ 120925 h 376705"/>
                <a:gd name="connsiteX8" fmla="*/ 132048 w 214682"/>
                <a:gd name="connsiteY8" fmla="*/ 47480 h 376705"/>
                <a:gd name="connsiteX9" fmla="*/ 149771 w 214682"/>
                <a:gd name="connsiteY9" fmla="*/ 21078 h 376705"/>
                <a:gd name="connsiteX10" fmla="*/ 214610 w 214682"/>
                <a:gd name="connsiteY10" fmla="*/ 18161 h 376705"/>
                <a:gd name="connsiteX11" fmla="*/ 214610 w 214682"/>
                <a:gd name="connsiteY11" fmla="*/ 0 h 376705"/>
                <a:gd name="connsiteX12" fmla="*/ 186530 w 214682"/>
                <a:gd name="connsiteY12" fmla="*/ 948 h 376705"/>
                <a:gd name="connsiteX13" fmla="*/ 133142 w 214682"/>
                <a:gd name="connsiteY13" fmla="*/ 6783 h 376705"/>
                <a:gd name="connsiteX14" fmla="*/ 133142 w 214682"/>
                <a:gd name="connsiteY14" fmla="*/ 6783 h 376705"/>
                <a:gd name="connsiteX15" fmla="*/ 133142 w 214682"/>
                <a:gd name="connsiteY15" fmla="*/ 6783 h 376705"/>
                <a:gd name="connsiteX16" fmla="*/ 97477 w 214682"/>
                <a:gd name="connsiteY16" fmla="*/ 96565 h 376705"/>
                <a:gd name="connsiteX17" fmla="*/ 97477 w 214682"/>
                <a:gd name="connsiteY17" fmla="*/ 96565 h 376705"/>
                <a:gd name="connsiteX18" fmla="*/ 97477 w 214682"/>
                <a:gd name="connsiteY18" fmla="*/ 96565 h 376705"/>
                <a:gd name="connsiteX19" fmla="*/ 102364 w 214682"/>
                <a:gd name="connsiteY19" fmla="*/ 231639 h 376705"/>
                <a:gd name="connsiteX20" fmla="*/ 128256 w 214682"/>
                <a:gd name="connsiteY20" fmla="*/ 248779 h 376705"/>
                <a:gd name="connsiteX21" fmla="*/ 184342 w 214682"/>
                <a:gd name="connsiteY21" fmla="*/ 248122 h 376705"/>
                <a:gd name="connsiteX22" fmla="*/ 185874 w 214682"/>
                <a:gd name="connsiteY22" fmla="*/ 260813 h 376705"/>
                <a:gd name="connsiteX23" fmla="*/ 155679 w 214682"/>
                <a:gd name="connsiteY23" fmla="*/ 267085 h 376705"/>
                <a:gd name="connsiteX24" fmla="*/ 33514 w 214682"/>
                <a:gd name="connsiteY24" fmla="*/ 274233 h 376705"/>
                <a:gd name="connsiteX25" fmla="*/ 183 w 214682"/>
                <a:gd name="connsiteY25" fmla="*/ 337467 h 376705"/>
                <a:gd name="connsiteX26" fmla="*/ 24835 w 214682"/>
                <a:gd name="connsiteY26" fmla="*/ 376706 h 376705"/>
                <a:gd name="connsiteX27" fmla="*/ 214464 w 214682"/>
                <a:gd name="connsiteY27" fmla="*/ 376706 h 376705"/>
                <a:gd name="connsiteX28" fmla="*/ 214464 w 214682"/>
                <a:gd name="connsiteY28" fmla="*/ 143972 h 37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4682" h="376705">
                  <a:moveTo>
                    <a:pt x="214683" y="144045"/>
                  </a:moveTo>
                  <a:cubicBezTo>
                    <a:pt x="208994" y="147181"/>
                    <a:pt x="202430" y="150974"/>
                    <a:pt x="194772" y="155642"/>
                  </a:cubicBezTo>
                  <a:cubicBezTo>
                    <a:pt x="169391" y="171177"/>
                    <a:pt x="150282" y="206842"/>
                    <a:pt x="142113" y="205748"/>
                  </a:cubicBezTo>
                  <a:cubicBezTo>
                    <a:pt x="133945" y="204654"/>
                    <a:pt x="126943" y="211728"/>
                    <a:pt x="122859" y="191598"/>
                  </a:cubicBezTo>
                  <a:cubicBezTo>
                    <a:pt x="119066" y="173000"/>
                    <a:pt x="117607" y="153600"/>
                    <a:pt x="118118" y="134053"/>
                  </a:cubicBezTo>
                  <a:lnTo>
                    <a:pt x="214610" y="125885"/>
                  </a:lnTo>
                  <a:lnTo>
                    <a:pt x="214610" y="113267"/>
                  </a:lnTo>
                  <a:lnTo>
                    <a:pt x="118701" y="120925"/>
                  </a:lnTo>
                  <a:cubicBezTo>
                    <a:pt x="120452" y="95763"/>
                    <a:pt x="125192" y="70819"/>
                    <a:pt x="132048" y="47480"/>
                  </a:cubicBezTo>
                  <a:cubicBezTo>
                    <a:pt x="132048" y="47480"/>
                    <a:pt x="136935" y="24287"/>
                    <a:pt x="149771" y="21078"/>
                  </a:cubicBezTo>
                  <a:cubicBezTo>
                    <a:pt x="158159" y="18963"/>
                    <a:pt x="192146" y="18307"/>
                    <a:pt x="214610" y="18161"/>
                  </a:cubicBezTo>
                  <a:lnTo>
                    <a:pt x="214610" y="0"/>
                  </a:lnTo>
                  <a:cubicBezTo>
                    <a:pt x="204764" y="292"/>
                    <a:pt x="195136" y="656"/>
                    <a:pt x="186530" y="948"/>
                  </a:cubicBezTo>
                  <a:lnTo>
                    <a:pt x="133142" y="6783"/>
                  </a:lnTo>
                  <a:lnTo>
                    <a:pt x="133142" y="6783"/>
                  </a:lnTo>
                  <a:cubicBezTo>
                    <a:pt x="133142" y="6783"/>
                    <a:pt x="133142" y="6783"/>
                    <a:pt x="133142" y="6783"/>
                  </a:cubicBezTo>
                  <a:lnTo>
                    <a:pt x="97477" y="96565"/>
                  </a:lnTo>
                  <a:lnTo>
                    <a:pt x="97477" y="96565"/>
                  </a:lnTo>
                  <a:cubicBezTo>
                    <a:pt x="97477" y="96565"/>
                    <a:pt x="97477" y="96565"/>
                    <a:pt x="97477" y="96565"/>
                  </a:cubicBezTo>
                  <a:cubicBezTo>
                    <a:pt x="90403" y="129240"/>
                    <a:pt x="97769" y="211728"/>
                    <a:pt x="102364" y="231639"/>
                  </a:cubicBezTo>
                  <a:cubicBezTo>
                    <a:pt x="106959" y="251550"/>
                    <a:pt x="128256" y="248779"/>
                    <a:pt x="128256" y="248779"/>
                  </a:cubicBezTo>
                  <a:lnTo>
                    <a:pt x="184342" y="248122"/>
                  </a:lnTo>
                  <a:lnTo>
                    <a:pt x="185874" y="260813"/>
                  </a:lnTo>
                  <a:cubicBezTo>
                    <a:pt x="175371" y="263293"/>
                    <a:pt x="164139" y="265918"/>
                    <a:pt x="155679" y="267085"/>
                  </a:cubicBezTo>
                  <a:cubicBezTo>
                    <a:pt x="138904" y="269346"/>
                    <a:pt x="50070" y="270805"/>
                    <a:pt x="33514" y="274233"/>
                  </a:cubicBezTo>
                  <a:cubicBezTo>
                    <a:pt x="17031" y="277661"/>
                    <a:pt x="-2078" y="291008"/>
                    <a:pt x="183" y="337467"/>
                  </a:cubicBezTo>
                  <a:cubicBezTo>
                    <a:pt x="1277" y="359201"/>
                    <a:pt x="12874" y="370652"/>
                    <a:pt x="24835" y="376706"/>
                  </a:cubicBezTo>
                  <a:lnTo>
                    <a:pt x="214464" y="376706"/>
                  </a:lnTo>
                  <a:lnTo>
                    <a:pt x="214464" y="143972"/>
                  </a:lnTo>
                  <a:close/>
                </a:path>
              </a:pathLst>
            </a:custGeom>
            <a:solidFill>
              <a:srgbClr val="3F4748"/>
            </a:solidFill>
            <a:ln w="7233" cap="flat">
              <a:noFill/>
              <a:prstDash val="solid"/>
              <a:miter/>
            </a:ln>
          </p:spPr>
          <p:txBody>
            <a:bodyPr rtlCol="0" anchor="ctr"/>
            <a:lstStyle/>
            <a:p>
              <a:endParaRPr lang="en-US" dirty="0"/>
            </a:p>
          </p:txBody>
        </p:sp>
        <p:sp>
          <p:nvSpPr>
            <p:cNvPr id="240" name="Freeform: Shape 239">
              <a:extLst>
                <a:ext uri="{FF2B5EF4-FFF2-40B4-BE49-F238E27FC236}">
                  <a16:creationId xmlns:a16="http://schemas.microsoft.com/office/drawing/2014/main" id="{EC1B915B-DBCC-3C82-DAB6-DC5DE14630D0}"/>
                </a:ext>
              </a:extLst>
            </p:cNvPr>
            <p:cNvSpPr/>
            <p:nvPr/>
          </p:nvSpPr>
          <p:spPr>
            <a:xfrm>
              <a:off x="1633904" y="5965489"/>
              <a:ext cx="399096" cy="478011"/>
            </a:xfrm>
            <a:custGeom>
              <a:avLst/>
              <a:gdLst>
                <a:gd name="connsiteX0" fmla="*/ 399024 w 399096"/>
                <a:gd name="connsiteY0" fmla="*/ 116987 h 478011"/>
                <a:gd name="connsiteX1" fmla="*/ 399024 w 399096"/>
                <a:gd name="connsiteY1" fmla="*/ 116987 h 478011"/>
                <a:gd name="connsiteX2" fmla="*/ 289695 w 399096"/>
                <a:gd name="connsiteY2" fmla="*/ 70236 h 478011"/>
                <a:gd name="connsiteX3" fmla="*/ 241267 w 399096"/>
                <a:gd name="connsiteY3" fmla="*/ 31726 h 478011"/>
                <a:gd name="connsiteX4" fmla="*/ 174021 w 399096"/>
                <a:gd name="connsiteY4" fmla="*/ 0 h 478011"/>
                <a:gd name="connsiteX5" fmla="*/ 174021 w 399096"/>
                <a:gd name="connsiteY5" fmla="*/ 292 h 478011"/>
                <a:gd name="connsiteX6" fmla="*/ 173802 w 399096"/>
                <a:gd name="connsiteY6" fmla="*/ 0 h 478011"/>
                <a:gd name="connsiteX7" fmla="*/ 118226 w 399096"/>
                <a:gd name="connsiteY7" fmla="*/ 0 h 478011"/>
                <a:gd name="connsiteX8" fmla="*/ 90439 w 399096"/>
                <a:gd name="connsiteY8" fmla="*/ 48137 h 478011"/>
                <a:gd name="connsiteX9" fmla="*/ 44125 w 399096"/>
                <a:gd name="connsiteY9" fmla="*/ 346219 h 478011"/>
                <a:gd name="connsiteX10" fmla="*/ 25819 w 399096"/>
                <a:gd name="connsiteY10" fmla="*/ 346219 h 478011"/>
                <a:gd name="connsiteX11" fmla="*/ 0 w 399096"/>
                <a:gd name="connsiteY11" fmla="*/ 405733 h 478011"/>
                <a:gd name="connsiteX12" fmla="*/ 49012 w 399096"/>
                <a:gd name="connsiteY12" fmla="*/ 477063 h 478011"/>
                <a:gd name="connsiteX13" fmla="*/ 124280 w 399096"/>
                <a:gd name="connsiteY13" fmla="*/ 477063 h 478011"/>
                <a:gd name="connsiteX14" fmla="*/ 124134 w 399096"/>
                <a:gd name="connsiteY14" fmla="*/ 478011 h 478011"/>
                <a:gd name="connsiteX15" fmla="*/ 124863 w 399096"/>
                <a:gd name="connsiteY15" fmla="*/ 477063 h 478011"/>
                <a:gd name="connsiteX16" fmla="*/ 125228 w 399096"/>
                <a:gd name="connsiteY16" fmla="*/ 477063 h 478011"/>
                <a:gd name="connsiteX17" fmla="*/ 126030 w 399096"/>
                <a:gd name="connsiteY17" fmla="*/ 475750 h 478011"/>
                <a:gd name="connsiteX18" fmla="*/ 221647 w 399096"/>
                <a:gd name="connsiteY18" fmla="*/ 380644 h 478011"/>
                <a:gd name="connsiteX19" fmla="*/ 213187 w 399096"/>
                <a:gd name="connsiteY19" fmla="*/ 372184 h 478011"/>
                <a:gd name="connsiteX20" fmla="*/ 159216 w 399096"/>
                <a:gd name="connsiteY20" fmla="*/ 403837 h 478011"/>
                <a:gd name="connsiteX21" fmla="*/ 125301 w 399096"/>
                <a:gd name="connsiteY21" fmla="*/ 345125 h 478011"/>
                <a:gd name="connsiteX22" fmla="*/ 89563 w 399096"/>
                <a:gd name="connsiteY22" fmla="*/ 345125 h 478011"/>
                <a:gd name="connsiteX23" fmla="*/ 125666 w 399096"/>
                <a:gd name="connsiteY23" fmla="*/ 96419 h 478011"/>
                <a:gd name="connsiteX24" fmla="*/ 173875 w 399096"/>
                <a:gd name="connsiteY24" fmla="*/ 96419 h 478011"/>
                <a:gd name="connsiteX25" fmla="*/ 174094 w 399096"/>
                <a:gd name="connsiteY25" fmla="*/ 95982 h 478011"/>
                <a:gd name="connsiteX26" fmla="*/ 247831 w 399096"/>
                <a:gd name="connsiteY26" fmla="*/ 121800 h 478011"/>
                <a:gd name="connsiteX27" fmla="*/ 363432 w 399096"/>
                <a:gd name="connsiteY27" fmla="*/ 206988 h 478011"/>
                <a:gd name="connsiteX28" fmla="*/ 363432 w 399096"/>
                <a:gd name="connsiteY28" fmla="*/ 206988 h 478011"/>
                <a:gd name="connsiteX29" fmla="*/ 399096 w 399096"/>
                <a:gd name="connsiteY29" fmla="*/ 117205 h 478011"/>
                <a:gd name="connsiteX30" fmla="*/ 105755 w 399096"/>
                <a:gd name="connsiteY30" fmla="*/ 373424 h 478011"/>
                <a:gd name="connsiteX31" fmla="*/ 126322 w 399096"/>
                <a:gd name="connsiteY31" fmla="*/ 409015 h 478011"/>
                <a:gd name="connsiteX32" fmla="*/ 105755 w 399096"/>
                <a:gd name="connsiteY32" fmla="*/ 444607 h 478011"/>
                <a:gd name="connsiteX33" fmla="*/ 64693 w 399096"/>
                <a:gd name="connsiteY33" fmla="*/ 444607 h 478011"/>
                <a:gd name="connsiteX34" fmla="*/ 44125 w 399096"/>
                <a:gd name="connsiteY34" fmla="*/ 409015 h 478011"/>
                <a:gd name="connsiteX35" fmla="*/ 64693 w 399096"/>
                <a:gd name="connsiteY35" fmla="*/ 373424 h 478011"/>
                <a:gd name="connsiteX36" fmla="*/ 105755 w 399096"/>
                <a:gd name="connsiteY36" fmla="*/ 373424 h 478011"/>
                <a:gd name="connsiteX37" fmla="*/ 157465 w 399096"/>
                <a:gd name="connsiteY37" fmla="*/ 68266 h 478011"/>
                <a:gd name="connsiteX38" fmla="*/ 134564 w 399096"/>
                <a:gd name="connsiteY38" fmla="*/ 68266 h 478011"/>
                <a:gd name="connsiteX39" fmla="*/ 123113 w 399096"/>
                <a:gd name="connsiteY39" fmla="*/ 48428 h 478011"/>
                <a:gd name="connsiteX40" fmla="*/ 134564 w 399096"/>
                <a:gd name="connsiteY40" fmla="*/ 28517 h 478011"/>
                <a:gd name="connsiteX41" fmla="*/ 157465 w 399096"/>
                <a:gd name="connsiteY41" fmla="*/ 28517 h 478011"/>
                <a:gd name="connsiteX42" fmla="*/ 168916 w 399096"/>
                <a:gd name="connsiteY42" fmla="*/ 48428 h 478011"/>
                <a:gd name="connsiteX43" fmla="*/ 157465 w 399096"/>
                <a:gd name="connsiteY43" fmla="*/ 68266 h 478011"/>
                <a:gd name="connsiteX44" fmla="*/ 247758 w 399096"/>
                <a:gd name="connsiteY44" fmla="*/ 52221 h 478011"/>
                <a:gd name="connsiteX45" fmla="*/ 199111 w 399096"/>
                <a:gd name="connsiteY45" fmla="*/ 43761 h 478011"/>
                <a:gd name="connsiteX46" fmla="*/ 182555 w 399096"/>
                <a:gd name="connsiteY46" fmla="*/ 15097 h 478011"/>
                <a:gd name="connsiteX47" fmla="*/ 237182 w 399096"/>
                <a:gd name="connsiteY47" fmla="*/ 40260 h 478011"/>
                <a:gd name="connsiteX48" fmla="*/ 257239 w 399096"/>
                <a:gd name="connsiteY48" fmla="*/ 56232 h 478011"/>
                <a:gd name="connsiteX49" fmla="*/ 247831 w 399096"/>
                <a:gd name="connsiteY49" fmla="*/ 52221 h 47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99096" h="478011">
                  <a:moveTo>
                    <a:pt x="399024" y="116987"/>
                  </a:moveTo>
                  <a:lnTo>
                    <a:pt x="399024" y="116987"/>
                  </a:lnTo>
                  <a:cubicBezTo>
                    <a:pt x="399024" y="116987"/>
                    <a:pt x="289695" y="70236"/>
                    <a:pt x="289695" y="70236"/>
                  </a:cubicBezTo>
                  <a:lnTo>
                    <a:pt x="241267" y="31726"/>
                  </a:lnTo>
                  <a:lnTo>
                    <a:pt x="174021" y="0"/>
                  </a:lnTo>
                  <a:lnTo>
                    <a:pt x="174021" y="292"/>
                  </a:lnTo>
                  <a:cubicBezTo>
                    <a:pt x="174021" y="292"/>
                    <a:pt x="173802" y="0"/>
                    <a:pt x="173802" y="0"/>
                  </a:cubicBezTo>
                  <a:lnTo>
                    <a:pt x="118226" y="0"/>
                  </a:lnTo>
                  <a:lnTo>
                    <a:pt x="90439" y="48137"/>
                  </a:lnTo>
                  <a:lnTo>
                    <a:pt x="44125" y="346219"/>
                  </a:lnTo>
                  <a:lnTo>
                    <a:pt x="25819" y="346219"/>
                  </a:lnTo>
                  <a:lnTo>
                    <a:pt x="0" y="405733"/>
                  </a:lnTo>
                  <a:lnTo>
                    <a:pt x="49012" y="477063"/>
                  </a:lnTo>
                  <a:lnTo>
                    <a:pt x="124280" y="477063"/>
                  </a:lnTo>
                  <a:lnTo>
                    <a:pt x="124134" y="478011"/>
                  </a:lnTo>
                  <a:cubicBezTo>
                    <a:pt x="124134" y="478011"/>
                    <a:pt x="124499" y="477428"/>
                    <a:pt x="124863" y="477063"/>
                  </a:cubicBezTo>
                  <a:lnTo>
                    <a:pt x="125228" y="477063"/>
                  </a:lnTo>
                  <a:lnTo>
                    <a:pt x="126030" y="475750"/>
                  </a:lnTo>
                  <a:cubicBezTo>
                    <a:pt x="139669" y="460215"/>
                    <a:pt x="221647" y="380644"/>
                    <a:pt x="221647" y="380644"/>
                  </a:cubicBezTo>
                  <a:lnTo>
                    <a:pt x="213187" y="372184"/>
                  </a:lnTo>
                  <a:lnTo>
                    <a:pt x="159216" y="403837"/>
                  </a:lnTo>
                  <a:lnTo>
                    <a:pt x="125301" y="345125"/>
                  </a:lnTo>
                  <a:lnTo>
                    <a:pt x="89563" y="345125"/>
                  </a:lnTo>
                  <a:lnTo>
                    <a:pt x="125666" y="96419"/>
                  </a:lnTo>
                  <a:lnTo>
                    <a:pt x="173875" y="96419"/>
                  </a:lnTo>
                  <a:lnTo>
                    <a:pt x="174094" y="95982"/>
                  </a:lnTo>
                  <a:lnTo>
                    <a:pt x="247831" y="121800"/>
                  </a:lnTo>
                  <a:lnTo>
                    <a:pt x="363432" y="206988"/>
                  </a:lnTo>
                  <a:lnTo>
                    <a:pt x="363432" y="206988"/>
                  </a:lnTo>
                  <a:cubicBezTo>
                    <a:pt x="363432" y="206988"/>
                    <a:pt x="399096" y="117205"/>
                    <a:pt x="399096" y="117205"/>
                  </a:cubicBezTo>
                  <a:close/>
                  <a:moveTo>
                    <a:pt x="105755" y="373424"/>
                  </a:moveTo>
                  <a:lnTo>
                    <a:pt x="126322" y="409015"/>
                  </a:lnTo>
                  <a:lnTo>
                    <a:pt x="105755" y="444607"/>
                  </a:lnTo>
                  <a:lnTo>
                    <a:pt x="64693" y="444607"/>
                  </a:lnTo>
                  <a:lnTo>
                    <a:pt x="44125" y="409015"/>
                  </a:lnTo>
                  <a:lnTo>
                    <a:pt x="64693" y="373424"/>
                  </a:lnTo>
                  <a:lnTo>
                    <a:pt x="105755" y="373424"/>
                  </a:lnTo>
                  <a:close/>
                  <a:moveTo>
                    <a:pt x="157465" y="68266"/>
                  </a:moveTo>
                  <a:lnTo>
                    <a:pt x="134564" y="68266"/>
                  </a:lnTo>
                  <a:lnTo>
                    <a:pt x="123113" y="48428"/>
                  </a:lnTo>
                  <a:lnTo>
                    <a:pt x="134564" y="28517"/>
                  </a:lnTo>
                  <a:lnTo>
                    <a:pt x="157465" y="28517"/>
                  </a:lnTo>
                  <a:lnTo>
                    <a:pt x="168916" y="48428"/>
                  </a:lnTo>
                  <a:lnTo>
                    <a:pt x="157465" y="68266"/>
                  </a:lnTo>
                  <a:close/>
                  <a:moveTo>
                    <a:pt x="247758" y="52221"/>
                  </a:moveTo>
                  <a:lnTo>
                    <a:pt x="199111" y="43761"/>
                  </a:lnTo>
                  <a:lnTo>
                    <a:pt x="182555" y="15097"/>
                  </a:lnTo>
                  <a:lnTo>
                    <a:pt x="237182" y="40260"/>
                  </a:lnTo>
                  <a:lnTo>
                    <a:pt x="257239" y="56232"/>
                  </a:lnTo>
                  <a:lnTo>
                    <a:pt x="247831" y="52221"/>
                  </a:lnTo>
                  <a:close/>
                </a:path>
              </a:pathLst>
            </a:custGeom>
            <a:solidFill>
              <a:srgbClr val="3F4748"/>
            </a:solidFill>
            <a:ln w="7233" cap="flat">
              <a:noFill/>
              <a:prstDash val="solid"/>
              <a:miter/>
            </a:ln>
          </p:spPr>
          <p:txBody>
            <a:bodyPr rtlCol="0" anchor="ctr"/>
            <a:lstStyle/>
            <a:p>
              <a:endParaRPr lang="en-US" dirty="0"/>
            </a:p>
          </p:txBody>
        </p:sp>
        <p:sp>
          <p:nvSpPr>
            <p:cNvPr id="241" name="Freeform: Shape 240">
              <a:extLst>
                <a:ext uri="{FF2B5EF4-FFF2-40B4-BE49-F238E27FC236}">
                  <a16:creationId xmlns:a16="http://schemas.microsoft.com/office/drawing/2014/main" id="{05DEEE7D-8BF0-5C66-93F5-EA7D76414F74}"/>
                </a:ext>
              </a:extLst>
            </p:cNvPr>
            <p:cNvSpPr/>
            <p:nvPr/>
          </p:nvSpPr>
          <p:spPr>
            <a:xfrm>
              <a:off x="2153488" y="5913195"/>
              <a:ext cx="27933" cy="489826"/>
            </a:xfrm>
            <a:custGeom>
              <a:avLst/>
              <a:gdLst>
                <a:gd name="connsiteX0" fmla="*/ 27934 w 27933"/>
                <a:gd name="connsiteY0" fmla="*/ 460069 h 489826"/>
                <a:gd name="connsiteX1" fmla="*/ 27934 w 27933"/>
                <a:gd name="connsiteY1" fmla="*/ 30049 h 489826"/>
                <a:gd name="connsiteX2" fmla="*/ 0 w 27933"/>
                <a:gd name="connsiteY2" fmla="*/ 0 h 489826"/>
                <a:gd name="connsiteX3" fmla="*/ 0 w 27933"/>
                <a:gd name="connsiteY3" fmla="*/ 489827 h 489826"/>
                <a:gd name="connsiteX4" fmla="*/ 27934 w 27933"/>
                <a:gd name="connsiteY4" fmla="*/ 460142 h 48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33" h="489826">
                  <a:moveTo>
                    <a:pt x="27934" y="460069"/>
                  </a:moveTo>
                  <a:lnTo>
                    <a:pt x="27934" y="30049"/>
                  </a:lnTo>
                  <a:cubicBezTo>
                    <a:pt x="12326" y="28809"/>
                    <a:pt x="0" y="15900"/>
                    <a:pt x="0" y="0"/>
                  </a:cubicBezTo>
                  <a:lnTo>
                    <a:pt x="0" y="489827"/>
                  </a:lnTo>
                  <a:cubicBezTo>
                    <a:pt x="0" y="474000"/>
                    <a:pt x="12326" y="461164"/>
                    <a:pt x="27934" y="460142"/>
                  </a:cubicBezTo>
                  <a:close/>
                </a:path>
              </a:pathLst>
            </a:custGeom>
            <a:solidFill>
              <a:srgbClr val="3F4748"/>
            </a:solidFill>
            <a:ln w="7233" cap="flat">
              <a:noFill/>
              <a:prstDash val="solid"/>
              <a:miter/>
            </a:ln>
          </p:spPr>
          <p:txBody>
            <a:bodyPr rtlCol="0" anchor="ctr"/>
            <a:lstStyle/>
            <a:p>
              <a:endParaRPr lang="en-US" dirty="0"/>
            </a:p>
          </p:txBody>
        </p:sp>
        <p:sp>
          <p:nvSpPr>
            <p:cNvPr id="242" name="Freeform: Shape 241">
              <a:extLst>
                <a:ext uri="{FF2B5EF4-FFF2-40B4-BE49-F238E27FC236}">
                  <a16:creationId xmlns:a16="http://schemas.microsoft.com/office/drawing/2014/main" id="{1AE3B9C8-F198-9A48-B3F2-E329D069CB29}"/>
                </a:ext>
              </a:extLst>
            </p:cNvPr>
            <p:cNvSpPr/>
            <p:nvPr/>
          </p:nvSpPr>
          <p:spPr>
            <a:xfrm>
              <a:off x="2153561" y="5853535"/>
              <a:ext cx="431114" cy="89855"/>
            </a:xfrm>
            <a:custGeom>
              <a:avLst/>
              <a:gdLst>
                <a:gd name="connsiteX0" fmla="*/ 400701 w 431114"/>
                <a:gd name="connsiteY0" fmla="*/ 73 h 89855"/>
                <a:gd name="connsiteX1" fmla="*/ 30268 w 431114"/>
                <a:gd name="connsiteY1" fmla="*/ 73 h 89855"/>
                <a:gd name="connsiteX2" fmla="*/ 0 w 431114"/>
                <a:gd name="connsiteY2" fmla="*/ 30341 h 89855"/>
                <a:gd name="connsiteX3" fmla="*/ 0 w 431114"/>
                <a:gd name="connsiteY3" fmla="*/ 59587 h 89855"/>
                <a:gd name="connsiteX4" fmla="*/ 27934 w 431114"/>
                <a:gd name="connsiteY4" fmla="*/ 89636 h 89855"/>
                <a:gd name="connsiteX5" fmla="*/ 30341 w 431114"/>
                <a:gd name="connsiteY5" fmla="*/ 89855 h 89855"/>
                <a:gd name="connsiteX6" fmla="*/ 400774 w 431114"/>
                <a:gd name="connsiteY6" fmla="*/ 89855 h 89855"/>
                <a:gd name="connsiteX7" fmla="*/ 405806 w 431114"/>
                <a:gd name="connsiteY7" fmla="*/ 89345 h 89855"/>
                <a:gd name="connsiteX8" fmla="*/ 431115 w 431114"/>
                <a:gd name="connsiteY8" fmla="*/ 59514 h 89855"/>
                <a:gd name="connsiteX9" fmla="*/ 431115 w 431114"/>
                <a:gd name="connsiteY9" fmla="*/ 30268 h 89855"/>
                <a:gd name="connsiteX10" fmla="*/ 400847 w 431114"/>
                <a:gd name="connsiteY10" fmla="*/ 0 h 89855"/>
                <a:gd name="connsiteX11" fmla="*/ 250602 w 431114"/>
                <a:gd name="connsiteY11" fmla="*/ 64984 h 89855"/>
                <a:gd name="connsiteX12" fmla="*/ 180731 w 431114"/>
                <a:gd name="connsiteY12" fmla="*/ 64984 h 89855"/>
                <a:gd name="connsiteX13" fmla="*/ 180731 w 431114"/>
                <a:gd name="connsiteY13" fmla="*/ 45000 h 89855"/>
                <a:gd name="connsiteX14" fmla="*/ 250602 w 431114"/>
                <a:gd name="connsiteY14" fmla="*/ 45000 h 89855"/>
                <a:gd name="connsiteX15" fmla="*/ 250602 w 431114"/>
                <a:gd name="connsiteY15" fmla="*/ 64984 h 8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1114" h="89855">
                  <a:moveTo>
                    <a:pt x="400701" y="73"/>
                  </a:moveTo>
                  <a:lnTo>
                    <a:pt x="30268" y="73"/>
                  </a:lnTo>
                  <a:cubicBezTo>
                    <a:pt x="13566" y="73"/>
                    <a:pt x="0" y="13639"/>
                    <a:pt x="0" y="30341"/>
                  </a:cubicBezTo>
                  <a:lnTo>
                    <a:pt x="0" y="59587"/>
                  </a:lnTo>
                  <a:cubicBezTo>
                    <a:pt x="0" y="75487"/>
                    <a:pt x="12326" y="88396"/>
                    <a:pt x="27934" y="89636"/>
                  </a:cubicBezTo>
                  <a:cubicBezTo>
                    <a:pt x="28736" y="89636"/>
                    <a:pt x="29538" y="89855"/>
                    <a:pt x="30341" y="89855"/>
                  </a:cubicBezTo>
                  <a:lnTo>
                    <a:pt x="400774" y="89855"/>
                  </a:lnTo>
                  <a:cubicBezTo>
                    <a:pt x="402524" y="89855"/>
                    <a:pt x="404129" y="89636"/>
                    <a:pt x="405806" y="89345"/>
                  </a:cubicBezTo>
                  <a:cubicBezTo>
                    <a:pt x="420174" y="86938"/>
                    <a:pt x="431115" y="74539"/>
                    <a:pt x="431115" y="59514"/>
                  </a:cubicBezTo>
                  <a:lnTo>
                    <a:pt x="431115" y="30268"/>
                  </a:lnTo>
                  <a:cubicBezTo>
                    <a:pt x="431115" y="13566"/>
                    <a:pt x="417549" y="0"/>
                    <a:pt x="400847" y="0"/>
                  </a:cubicBezTo>
                  <a:close/>
                  <a:moveTo>
                    <a:pt x="250602" y="64984"/>
                  </a:moveTo>
                  <a:lnTo>
                    <a:pt x="180731" y="64984"/>
                  </a:lnTo>
                  <a:lnTo>
                    <a:pt x="180731" y="45000"/>
                  </a:lnTo>
                  <a:lnTo>
                    <a:pt x="250602" y="45000"/>
                  </a:lnTo>
                  <a:lnTo>
                    <a:pt x="250602" y="64984"/>
                  </a:lnTo>
                  <a:close/>
                </a:path>
              </a:pathLst>
            </a:custGeom>
            <a:solidFill>
              <a:srgbClr val="3F4748"/>
            </a:solidFill>
            <a:ln w="7233" cap="flat">
              <a:noFill/>
              <a:prstDash val="solid"/>
              <a:miter/>
            </a:ln>
          </p:spPr>
          <p:txBody>
            <a:bodyPr rtlCol="0" anchor="ctr"/>
            <a:lstStyle/>
            <a:p>
              <a:endParaRPr lang="en-US" dirty="0"/>
            </a:p>
          </p:txBody>
        </p:sp>
        <p:sp>
          <p:nvSpPr>
            <p:cNvPr id="243" name="Freeform: Shape 242">
              <a:extLst>
                <a:ext uri="{FF2B5EF4-FFF2-40B4-BE49-F238E27FC236}">
                  <a16:creationId xmlns:a16="http://schemas.microsoft.com/office/drawing/2014/main" id="{9F5705BF-A6DB-AEDA-6632-CE2FFF6BC9FD}"/>
                </a:ext>
              </a:extLst>
            </p:cNvPr>
            <p:cNvSpPr/>
            <p:nvPr/>
          </p:nvSpPr>
          <p:spPr>
            <a:xfrm>
              <a:off x="2222630" y="6319512"/>
              <a:ext cx="120049" cy="17868"/>
            </a:xfrm>
            <a:custGeom>
              <a:avLst/>
              <a:gdLst>
                <a:gd name="connsiteX0" fmla="*/ 0 w 120049"/>
                <a:gd name="connsiteY0" fmla="*/ 0 h 17868"/>
                <a:gd name="connsiteX1" fmla="*/ 120050 w 120049"/>
                <a:gd name="connsiteY1" fmla="*/ 0 h 17868"/>
                <a:gd name="connsiteX2" fmla="*/ 120050 w 120049"/>
                <a:gd name="connsiteY2" fmla="*/ 17869 h 17868"/>
                <a:gd name="connsiteX3" fmla="*/ 0 w 120049"/>
                <a:gd name="connsiteY3" fmla="*/ 17869 h 17868"/>
              </a:gdLst>
              <a:ahLst/>
              <a:cxnLst>
                <a:cxn ang="0">
                  <a:pos x="connsiteX0" y="connsiteY0"/>
                </a:cxn>
                <a:cxn ang="0">
                  <a:pos x="connsiteX1" y="connsiteY1"/>
                </a:cxn>
                <a:cxn ang="0">
                  <a:pos x="connsiteX2" y="connsiteY2"/>
                </a:cxn>
                <a:cxn ang="0">
                  <a:pos x="connsiteX3" y="connsiteY3"/>
                </a:cxn>
              </a:cxnLst>
              <a:rect l="l" t="t" r="r" b="b"/>
              <a:pathLst>
                <a:path w="120049" h="17868">
                  <a:moveTo>
                    <a:pt x="0" y="0"/>
                  </a:moveTo>
                  <a:lnTo>
                    <a:pt x="120050" y="0"/>
                  </a:lnTo>
                  <a:lnTo>
                    <a:pt x="120050" y="17869"/>
                  </a:lnTo>
                  <a:lnTo>
                    <a:pt x="0" y="17869"/>
                  </a:lnTo>
                  <a:close/>
                </a:path>
              </a:pathLst>
            </a:custGeom>
            <a:solidFill>
              <a:srgbClr val="3FAA48"/>
            </a:solidFill>
            <a:ln w="7233" cap="flat">
              <a:noFill/>
              <a:prstDash val="solid"/>
              <a:miter/>
            </a:ln>
          </p:spPr>
          <p:txBody>
            <a:bodyPr rtlCol="0" anchor="ctr"/>
            <a:lstStyle/>
            <a:p>
              <a:endParaRPr lang="en-US" dirty="0"/>
            </a:p>
          </p:txBody>
        </p:sp>
        <p:sp>
          <p:nvSpPr>
            <p:cNvPr id="244" name="Freeform: Shape 243">
              <a:extLst>
                <a:ext uri="{FF2B5EF4-FFF2-40B4-BE49-F238E27FC236}">
                  <a16:creationId xmlns:a16="http://schemas.microsoft.com/office/drawing/2014/main" id="{1E70A5AE-0609-FF8E-6291-7CC4C4D2C377}"/>
                </a:ext>
              </a:extLst>
            </p:cNvPr>
            <p:cNvSpPr/>
            <p:nvPr/>
          </p:nvSpPr>
          <p:spPr>
            <a:xfrm>
              <a:off x="2559295" y="5913195"/>
              <a:ext cx="25308" cy="363650"/>
            </a:xfrm>
            <a:custGeom>
              <a:avLst/>
              <a:gdLst>
                <a:gd name="connsiteX0" fmla="*/ 25308 w 25308"/>
                <a:gd name="connsiteY0" fmla="*/ 0 h 363650"/>
                <a:gd name="connsiteX1" fmla="*/ 0 w 25308"/>
                <a:gd name="connsiteY1" fmla="*/ 29830 h 363650"/>
                <a:gd name="connsiteX2" fmla="*/ 0 w 25308"/>
                <a:gd name="connsiteY2" fmla="*/ 325506 h 363650"/>
                <a:gd name="connsiteX3" fmla="*/ 25308 w 25308"/>
                <a:gd name="connsiteY3" fmla="*/ 363650 h 363650"/>
                <a:gd name="connsiteX4" fmla="*/ 25308 w 25308"/>
                <a:gd name="connsiteY4" fmla="*/ 0 h 363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08" h="363650">
                  <a:moveTo>
                    <a:pt x="25308" y="0"/>
                  </a:moveTo>
                  <a:cubicBezTo>
                    <a:pt x="25308" y="15024"/>
                    <a:pt x="14368" y="27423"/>
                    <a:pt x="0" y="29830"/>
                  </a:cubicBezTo>
                  <a:lnTo>
                    <a:pt x="0" y="325506"/>
                  </a:lnTo>
                  <a:lnTo>
                    <a:pt x="25308" y="363650"/>
                  </a:lnTo>
                  <a:lnTo>
                    <a:pt x="25308" y="0"/>
                  </a:lnTo>
                  <a:close/>
                </a:path>
              </a:pathLst>
            </a:custGeom>
            <a:solidFill>
              <a:srgbClr val="3F4748"/>
            </a:solidFill>
            <a:ln w="7233" cap="flat">
              <a:noFill/>
              <a:prstDash val="solid"/>
              <a:miter/>
            </a:ln>
          </p:spPr>
          <p:txBody>
            <a:bodyPr rtlCol="0" anchor="ctr"/>
            <a:lstStyle/>
            <a:p>
              <a:endParaRPr lang="en-US" dirty="0"/>
            </a:p>
          </p:txBody>
        </p:sp>
        <p:sp>
          <p:nvSpPr>
            <p:cNvPr id="245" name="Freeform: Shape 244">
              <a:extLst>
                <a:ext uri="{FF2B5EF4-FFF2-40B4-BE49-F238E27FC236}">
                  <a16:creationId xmlns:a16="http://schemas.microsoft.com/office/drawing/2014/main" id="{224B587C-4037-F583-2341-1AA8C77AA860}"/>
                </a:ext>
              </a:extLst>
            </p:cNvPr>
            <p:cNvSpPr/>
            <p:nvPr/>
          </p:nvSpPr>
          <p:spPr>
            <a:xfrm>
              <a:off x="2153561" y="6373045"/>
              <a:ext cx="415798" cy="89855"/>
            </a:xfrm>
            <a:custGeom>
              <a:avLst/>
              <a:gdLst>
                <a:gd name="connsiteX0" fmla="*/ 29903 w 415798"/>
                <a:gd name="connsiteY0" fmla="*/ 0 h 89855"/>
                <a:gd name="connsiteX1" fmla="*/ 27934 w 415798"/>
                <a:gd name="connsiteY1" fmla="*/ 219 h 89855"/>
                <a:gd name="connsiteX2" fmla="*/ 0 w 415798"/>
                <a:gd name="connsiteY2" fmla="*/ 29903 h 89855"/>
                <a:gd name="connsiteX3" fmla="*/ 0 w 415798"/>
                <a:gd name="connsiteY3" fmla="*/ 59952 h 89855"/>
                <a:gd name="connsiteX4" fmla="*/ 29903 w 415798"/>
                <a:gd name="connsiteY4" fmla="*/ 89855 h 89855"/>
                <a:gd name="connsiteX5" fmla="*/ 401139 w 415798"/>
                <a:gd name="connsiteY5" fmla="*/ 89855 h 89855"/>
                <a:gd name="connsiteX6" fmla="*/ 415798 w 415798"/>
                <a:gd name="connsiteY6" fmla="*/ 85844 h 89855"/>
                <a:gd name="connsiteX7" fmla="*/ 357524 w 415798"/>
                <a:gd name="connsiteY7" fmla="*/ 0 h 89855"/>
                <a:gd name="connsiteX8" fmla="*/ 29903 w 415798"/>
                <a:gd name="connsiteY8" fmla="*/ 0 h 8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798" h="89855">
                  <a:moveTo>
                    <a:pt x="29903" y="0"/>
                  </a:moveTo>
                  <a:cubicBezTo>
                    <a:pt x="29247" y="0"/>
                    <a:pt x="28590" y="146"/>
                    <a:pt x="27934" y="219"/>
                  </a:cubicBezTo>
                  <a:cubicBezTo>
                    <a:pt x="12399" y="1240"/>
                    <a:pt x="0" y="14076"/>
                    <a:pt x="0" y="29903"/>
                  </a:cubicBezTo>
                  <a:lnTo>
                    <a:pt x="0" y="59952"/>
                  </a:lnTo>
                  <a:cubicBezTo>
                    <a:pt x="0" y="76435"/>
                    <a:pt x="13420" y="89855"/>
                    <a:pt x="29903" y="89855"/>
                  </a:cubicBezTo>
                  <a:lnTo>
                    <a:pt x="401139" y="89855"/>
                  </a:lnTo>
                  <a:cubicBezTo>
                    <a:pt x="406536" y="89855"/>
                    <a:pt x="411495" y="88323"/>
                    <a:pt x="415798" y="85844"/>
                  </a:cubicBezTo>
                  <a:lnTo>
                    <a:pt x="357524" y="0"/>
                  </a:lnTo>
                  <a:lnTo>
                    <a:pt x="29903" y="0"/>
                  </a:lnTo>
                  <a:close/>
                </a:path>
              </a:pathLst>
            </a:custGeom>
            <a:solidFill>
              <a:srgbClr val="3F4748"/>
            </a:solidFill>
            <a:ln w="7233" cap="flat">
              <a:noFill/>
              <a:prstDash val="solid"/>
              <a:miter/>
            </a:ln>
          </p:spPr>
          <p:txBody>
            <a:bodyPr rtlCol="0" anchor="ctr"/>
            <a:lstStyle/>
            <a:p>
              <a:endParaRPr lang="en-US" dirty="0"/>
            </a:p>
          </p:txBody>
        </p:sp>
        <p:sp>
          <p:nvSpPr>
            <p:cNvPr id="246" name="Freeform: Shape 245">
              <a:extLst>
                <a:ext uri="{FF2B5EF4-FFF2-40B4-BE49-F238E27FC236}">
                  <a16:creationId xmlns:a16="http://schemas.microsoft.com/office/drawing/2014/main" id="{58748A44-C9E7-B152-4E25-ED7C9B5E71FC}"/>
                </a:ext>
              </a:extLst>
            </p:cNvPr>
            <p:cNvSpPr/>
            <p:nvPr/>
          </p:nvSpPr>
          <p:spPr>
            <a:xfrm>
              <a:off x="2222630" y="6248109"/>
              <a:ext cx="159288" cy="17868"/>
            </a:xfrm>
            <a:custGeom>
              <a:avLst/>
              <a:gdLst>
                <a:gd name="connsiteX0" fmla="*/ 0 w 159288"/>
                <a:gd name="connsiteY0" fmla="*/ 0 h 17868"/>
                <a:gd name="connsiteX1" fmla="*/ 159288 w 159288"/>
                <a:gd name="connsiteY1" fmla="*/ 0 h 17868"/>
                <a:gd name="connsiteX2" fmla="*/ 159288 w 159288"/>
                <a:gd name="connsiteY2" fmla="*/ 17869 h 17868"/>
                <a:gd name="connsiteX3" fmla="*/ 0 w 159288"/>
                <a:gd name="connsiteY3" fmla="*/ 17869 h 17868"/>
              </a:gdLst>
              <a:ahLst/>
              <a:cxnLst>
                <a:cxn ang="0">
                  <a:pos x="connsiteX0" y="connsiteY0"/>
                </a:cxn>
                <a:cxn ang="0">
                  <a:pos x="connsiteX1" y="connsiteY1"/>
                </a:cxn>
                <a:cxn ang="0">
                  <a:pos x="connsiteX2" y="connsiteY2"/>
                </a:cxn>
                <a:cxn ang="0">
                  <a:pos x="connsiteX3" y="connsiteY3"/>
                </a:cxn>
              </a:cxnLst>
              <a:rect l="l" t="t" r="r" b="b"/>
              <a:pathLst>
                <a:path w="159288" h="17868">
                  <a:moveTo>
                    <a:pt x="0" y="0"/>
                  </a:moveTo>
                  <a:lnTo>
                    <a:pt x="159288" y="0"/>
                  </a:lnTo>
                  <a:lnTo>
                    <a:pt x="159288" y="17869"/>
                  </a:lnTo>
                  <a:lnTo>
                    <a:pt x="0" y="17869"/>
                  </a:lnTo>
                  <a:close/>
                </a:path>
              </a:pathLst>
            </a:custGeom>
            <a:solidFill>
              <a:srgbClr val="3FAA48"/>
            </a:solidFill>
            <a:ln w="7233" cap="flat">
              <a:noFill/>
              <a:prstDash val="solid"/>
              <a:miter/>
            </a:ln>
          </p:spPr>
          <p:txBody>
            <a:bodyPr rtlCol="0" anchor="ctr"/>
            <a:lstStyle/>
            <a:p>
              <a:endParaRPr lang="en-US" dirty="0"/>
            </a:p>
          </p:txBody>
        </p:sp>
        <p:sp>
          <p:nvSpPr>
            <p:cNvPr id="247" name="Freeform: Shape 246">
              <a:extLst>
                <a:ext uri="{FF2B5EF4-FFF2-40B4-BE49-F238E27FC236}">
                  <a16:creationId xmlns:a16="http://schemas.microsoft.com/office/drawing/2014/main" id="{39A17DE4-8561-03B3-17B6-58BFE41CAB0F}"/>
                </a:ext>
              </a:extLst>
            </p:cNvPr>
            <p:cNvSpPr/>
            <p:nvPr/>
          </p:nvSpPr>
          <p:spPr>
            <a:xfrm>
              <a:off x="2222630" y="6283847"/>
              <a:ext cx="159288" cy="17868"/>
            </a:xfrm>
            <a:custGeom>
              <a:avLst/>
              <a:gdLst>
                <a:gd name="connsiteX0" fmla="*/ 0 w 159288"/>
                <a:gd name="connsiteY0" fmla="*/ 0 h 17868"/>
                <a:gd name="connsiteX1" fmla="*/ 159288 w 159288"/>
                <a:gd name="connsiteY1" fmla="*/ 0 h 17868"/>
                <a:gd name="connsiteX2" fmla="*/ 159288 w 159288"/>
                <a:gd name="connsiteY2" fmla="*/ 17869 h 17868"/>
                <a:gd name="connsiteX3" fmla="*/ 0 w 159288"/>
                <a:gd name="connsiteY3" fmla="*/ 17869 h 17868"/>
              </a:gdLst>
              <a:ahLst/>
              <a:cxnLst>
                <a:cxn ang="0">
                  <a:pos x="connsiteX0" y="connsiteY0"/>
                </a:cxn>
                <a:cxn ang="0">
                  <a:pos x="connsiteX1" y="connsiteY1"/>
                </a:cxn>
                <a:cxn ang="0">
                  <a:pos x="connsiteX2" y="connsiteY2"/>
                </a:cxn>
                <a:cxn ang="0">
                  <a:pos x="connsiteX3" y="connsiteY3"/>
                </a:cxn>
              </a:cxnLst>
              <a:rect l="l" t="t" r="r" b="b"/>
              <a:pathLst>
                <a:path w="159288" h="17868">
                  <a:moveTo>
                    <a:pt x="0" y="0"/>
                  </a:moveTo>
                  <a:lnTo>
                    <a:pt x="159288" y="0"/>
                  </a:lnTo>
                  <a:lnTo>
                    <a:pt x="159288" y="17869"/>
                  </a:lnTo>
                  <a:lnTo>
                    <a:pt x="0" y="17869"/>
                  </a:lnTo>
                  <a:close/>
                </a:path>
              </a:pathLst>
            </a:custGeom>
            <a:solidFill>
              <a:srgbClr val="3FAA48"/>
            </a:solidFill>
            <a:ln w="7233" cap="flat">
              <a:noFill/>
              <a:prstDash val="solid"/>
              <a:miter/>
            </a:ln>
          </p:spPr>
          <p:txBody>
            <a:bodyPr rtlCol="0" anchor="ctr"/>
            <a:lstStyle/>
            <a:p>
              <a:endParaRPr lang="en-US" dirty="0"/>
            </a:p>
          </p:txBody>
        </p:sp>
        <p:sp>
          <p:nvSpPr>
            <p:cNvPr id="248" name="Freeform: Shape 247">
              <a:extLst>
                <a:ext uri="{FF2B5EF4-FFF2-40B4-BE49-F238E27FC236}">
                  <a16:creationId xmlns:a16="http://schemas.microsoft.com/office/drawing/2014/main" id="{6690637A-F6B9-C1C2-FD16-37BE0B25253D}"/>
                </a:ext>
              </a:extLst>
            </p:cNvPr>
            <p:cNvSpPr/>
            <p:nvPr/>
          </p:nvSpPr>
          <p:spPr>
            <a:xfrm>
              <a:off x="2421183" y="6183562"/>
              <a:ext cx="181566" cy="232222"/>
            </a:xfrm>
            <a:custGeom>
              <a:avLst/>
              <a:gdLst>
                <a:gd name="connsiteX0" fmla="*/ 73346 w 181566"/>
                <a:gd name="connsiteY0" fmla="*/ 125374 h 232222"/>
                <a:gd name="connsiteX1" fmla="*/ 53873 w 181566"/>
                <a:gd name="connsiteY1" fmla="*/ 111371 h 232222"/>
                <a:gd name="connsiteX2" fmla="*/ 9383 w 181566"/>
                <a:gd name="connsiteY2" fmla="*/ 86573 h 232222"/>
                <a:gd name="connsiteX3" fmla="*/ 2892 w 181566"/>
                <a:gd name="connsiteY3" fmla="*/ 37853 h 232222"/>
                <a:gd name="connsiteX4" fmla="*/ 24626 w 181566"/>
                <a:gd name="connsiteY4" fmla="*/ 70455 h 232222"/>
                <a:gd name="connsiteX5" fmla="*/ 64302 w 181566"/>
                <a:gd name="connsiteY5" fmla="*/ 67902 h 232222"/>
                <a:gd name="connsiteX6" fmla="*/ 81879 w 181566"/>
                <a:gd name="connsiteY6" fmla="*/ 32310 h 232222"/>
                <a:gd name="connsiteX7" fmla="*/ 60364 w 181566"/>
                <a:gd name="connsiteY7" fmla="*/ 0 h 232222"/>
                <a:gd name="connsiteX8" fmla="*/ 102228 w 181566"/>
                <a:gd name="connsiteY8" fmla="*/ 24652 h 232222"/>
                <a:gd name="connsiteX9" fmla="*/ 108792 w 181566"/>
                <a:gd name="connsiteY9" fmla="*/ 73080 h 232222"/>
                <a:gd name="connsiteX10" fmla="*/ 113460 w 181566"/>
                <a:gd name="connsiteY10" fmla="*/ 98607 h 232222"/>
                <a:gd name="connsiteX11" fmla="*/ 177496 w 181566"/>
                <a:gd name="connsiteY11" fmla="*/ 194662 h 232222"/>
                <a:gd name="connsiteX12" fmla="*/ 170786 w 181566"/>
                <a:gd name="connsiteY12" fmla="*/ 228138 h 232222"/>
                <a:gd name="connsiteX13" fmla="*/ 157439 w 181566"/>
                <a:gd name="connsiteY13" fmla="*/ 232223 h 232222"/>
                <a:gd name="connsiteX14" fmla="*/ 137309 w 181566"/>
                <a:gd name="connsiteY14" fmla="*/ 221428 h 232222"/>
                <a:gd name="connsiteX15" fmla="*/ 73273 w 181566"/>
                <a:gd name="connsiteY15" fmla="*/ 125374 h 232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1566" h="232222">
                  <a:moveTo>
                    <a:pt x="73346" y="125374"/>
                  </a:moveTo>
                  <a:cubicBezTo>
                    <a:pt x="67292" y="115674"/>
                    <a:pt x="57155" y="111517"/>
                    <a:pt x="53873" y="111371"/>
                  </a:cubicBezTo>
                  <a:cubicBezTo>
                    <a:pt x="36514" y="110714"/>
                    <a:pt x="19739" y="102035"/>
                    <a:pt x="9383" y="86573"/>
                  </a:cubicBezTo>
                  <a:cubicBezTo>
                    <a:pt x="-609" y="71621"/>
                    <a:pt x="-2360" y="53607"/>
                    <a:pt x="2892" y="37853"/>
                  </a:cubicBezTo>
                  <a:lnTo>
                    <a:pt x="24626" y="70455"/>
                  </a:lnTo>
                  <a:lnTo>
                    <a:pt x="64302" y="67902"/>
                  </a:lnTo>
                  <a:lnTo>
                    <a:pt x="81879" y="32310"/>
                  </a:lnTo>
                  <a:lnTo>
                    <a:pt x="60364" y="0"/>
                  </a:lnTo>
                  <a:cubicBezTo>
                    <a:pt x="76774" y="1386"/>
                    <a:pt x="92382" y="9919"/>
                    <a:pt x="102228" y="24652"/>
                  </a:cubicBezTo>
                  <a:cubicBezTo>
                    <a:pt x="112147" y="39457"/>
                    <a:pt x="113970" y="57326"/>
                    <a:pt x="108792" y="73080"/>
                  </a:cubicBezTo>
                  <a:cubicBezTo>
                    <a:pt x="107552" y="76946"/>
                    <a:pt x="104708" y="85479"/>
                    <a:pt x="113460" y="98607"/>
                  </a:cubicBezTo>
                  <a:cubicBezTo>
                    <a:pt x="113460" y="98607"/>
                    <a:pt x="177059" y="194005"/>
                    <a:pt x="177496" y="194662"/>
                  </a:cubicBezTo>
                  <a:cubicBezTo>
                    <a:pt x="184935" y="205748"/>
                    <a:pt x="181872" y="220772"/>
                    <a:pt x="170786" y="228138"/>
                  </a:cubicBezTo>
                  <a:cubicBezTo>
                    <a:pt x="166702" y="230910"/>
                    <a:pt x="162034" y="232223"/>
                    <a:pt x="157439" y="232223"/>
                  </a:cubicBezTo>
                  <a:cubicBezTo>
                    <a:pt x="149635" y="232223"/>
                    <a:pt x="141977" y="228430"/>
                    <a:pt x="137309" y="221428"/>
                  </a:cubicBezTo>
                  <a:cubicBezTo>
                    <a:pt x="136872" y="220772"/>
                    <a:pt x="73273" y="125374"/>
                    <a:pt x="73273" y="125374"/>
                  </a:cubicBezTo>
                  <a:close/>
                </a:path>
              </a:pathLst>
            </a:custGeom>
            <a:solidFill>
              <a:srgbClr val="3F4748"/>
            </a:solidFill>
            <a:ln w="7233" cap="flat">
              <a:noFill/>
              <a:prstDash val="solid"/>
              <a:miter/>
            </a:ln>
          </p:spPr>
          <p:txBody>
            <a:bodyPr rtlCol="0" anchor="ctr"/>
            <a:lstStyle/>
            <a:p>
              <a:endParaRPr lang="en-US" dirty="0"/>
            </a:p>
          </p:txBody>
        </p:sp>
        <p:sp>
          <p:nvSpPr>
            <p:cNvPr id="249" name="Freeform: Shape 248">
              <a:extLst>
                <a:ext uri="{FF2B5EF4-FFF2-40B4-BE49-F238E27FC236}">
                  <a16:creationId xmlns:a16="http://schemas.microsoft.com/office/drawing/2014/main" id="{52166884-5ED6-2A18-21C7-E96ACFB4B03D}"/>
                </a:ext>
              </a:extLst>
            </p:cNvPr>
            <p:cNvSpPr/>
            <p:nvPr/>
          </p:nvSpPr>
          <p:spPr>
            <a:xfrm>
              <a:off x="2432827" y="6034630"/>
              <a:ext cx="14003" cy="38217"/>
            </a:xfrm>
            <a:custGeom>
              <a:avLst/>
              <a:gdLst>
                <a:gd name="connsiteX0" fmla="*/ 0 w 14003"/>
                <a:gd name="connsiteY0" fmla="*/ 0 h 38217"/>
                <a:gd name="connsiteX1" fmla="*/ 14003 w 14003"/>
                <a:gd name="connsiteY1" fmla="*/ 0 h 38217"/>
                <a:gd name="connsiteX2" fmla="*/ 14003 w 14003"/>
                <a:gd name="connsiteY2" fmla="*/ 38218 h 38217"/>
                <a:gd name="connsiteX3" fmla="*/ 0 w 14003"/>
                <a:gd name="connsiteY3" fmla="*/ 38218 h 38217"/>
              </a:gdLst>
              <a:ahLst/>
              <a:cxnLst>
                <a:cxn ang="0">
                  <a:pos x="connsiteX0" y="connsiteY0"/>
                </a:cxn>
                <a:cxn ang="0">
                  <a:pos x="connsiteX1" y="connsiteY1"/>
                </a:cxn>
                <a:cxn ang="0">
                  <a:pos x="connsiteX2" y="connsiteY2"/>
                </a:cxn>
                <a:cxn ang="0">
                  <a:pos x="connsiteX3" y="connsiteY3"/>
                </a:cxn>
              </a:cxnLst>
              <a:rect l="l" t="t" r="r" b="b"/>
              <a:pathLst>
                <a:path w="14003" h="38217">
                  <a:moveTo>
                    <a:pt x="0" y="0"/>
                  </a:moveTo>
                  <a:lnTo>
                    <a:pt x="14003" y="0"/>
                  </a:lnTo>
                  <a:lnTo>
                    <a:pt x="14003" y="38218"/>
                  </a:lnTo>
                  <a:lnTo>
                    <a:pt x="0" y="38218"/>
                  </a:lnTo>
                  <a:close/>
                </a:path>
              </a:pathLst>
            </a:custGeom>
            <a:solidFill>
              <a:srgbClr val="3FAA48"/>
            </a:solidFill>
            <a:ln w="7233" cap="flat">
              <a:noFill/>
              <a:prstDash val="solid"/>
              <a:miter/>
            </a:ln>
          </p:spPr>
          <p:txBody>
            <a:bodyPr rtlCol="0" anchor="ctr"/>
            <a:lstStyle/>
            <a:p>
              <a:endParaRPr lang="en-US" dirty="0"/>
            </a:p>
          </p:txBody>
        </p:sp>
        <p:sp>
          <p:nvSpPr>
            <p:cNvPr id="250" name="Freeform: Shape 249">
              <a:extLst>
                <a:ext uri="{FF2B5EF4-FFF2-40B4-BE49-F238E27FC236}">
                  <a16:creationId xmlns:a16="http://schemas.microsoft.com/office/drawing/2014/main" id="{D298704F-647A-1E8C-F2CF-7F00F9B2CEA2}"/>
                </a:ext>
              </a:extLst>
            </p:cNvPr>
            <p:cNvSpPr/>
            <p:nvPr/>
          </p:nvSpPr>
          <p:spPr>
            <a:xfrm>
              <a:off x="2346187" y="6028003"/>
              <a:ext cx="175473" cy="133022"/>
            </a:xfrm>
            <a:custGeom>
              <a:avLst/>
              <a:gdLst>
                <a:gd name="connsiteX0" fmla="*/ 133026 w 175473"/>
                <a:gd name="connsiteY0" fmla="*/ 85105 h 133022"/>
                <a:gd name="connsiteX1" fmla="*/ 175473 w 175473"/>
                <a:gd name="connsiteY1" fmla="*/ 85105 h 133022"/>
                <a:gd name="connsiteX2" fmla="*/ 175473 w 175473"/>
                <a:gd name="connsiteY2" fmla="*/ 32884 h 133022"/>
                <a:gd name="connsiteX3" fmla="*/ 158334 w 175473"/>
                <a:gd name="connsiteY3" fmla="*/ 32884 h 133022"/>
                <a:gd name="connsiteX4" fmla="*/ 155489 w 175473"/>
                <a:gd name="connsiteY4" fmla="*/ 25007 h 133022"/>
                <a:gd name="connsiteX5" fmla="*/ 127410 w 175473"/>
                <a:gd name="connsiteY5" fmla="*/ 25007 h 133022"/>
                <a:gd name="connsiteX6" fmla="*/ 126461 w 175473"/>
                <a:gd name="connsiteY6" fmla="*/ 34853 h 133022"/>
                <a:gd name="connsiteX7" fmla="*/ 113041 w 175473"/>
                <a:gd name="connsiteY7" fmla="*/ 34634 h 133022"/>
                <a:gd name="connsiteX8" fmla="*/ 108520 w 175473"/>
                <a:gd name="connsiteY8" fmla="*/ 14286 h 133022"/>
                <a:gd name="connsiteX9" fmla="*/ 101372 w 175473"/>
                <a:gd name="connsiteY9" fmla="*/ 428 h 133022"/>
                <a:gd name="connsiteX10" fmla="*/ 64467 w 175473"/>
                <a:gd name="connsiteY10" fmla="*/ 720 h 133022"/>
                <a:gd name="connsiteX11" fmla="*/ 46015 w 175473"/>
                <a:gd name="connsiteY11" fmla="*/ 2762 h 133022"/>
                <a:gd name="connsiteX12" fmla="*/ 36169 w 175473"/>
                <a:gd name="connsiteY12" fmla="*/ 23038 h 133022"/>
                <a:gd name="connsiteX13" fmla="*/ 33689 w 175473"/>
                <a:gd name="connsiteY13" fmla="*/ 33759 h 133022"/>
                <a:gd name="connsiteX14" fmla="*/ 35366 w 175473"/>
                <a:gd name="connsiteY14" fmla="*/ 80437 h 133022"/>
                <a:gd name="connsiteX15" fmla="*/ 44337 w 175473"/>
                <a:gd name="connsiteY15" fmla="*/ 86345 h 133022"/>
                <a:gd name="connsiteX16" fmla="*/ 63738 w 175473"/>
                <a:gd name="connsiteY16" fmla="*/ 86126 h 133022"/>
                <a:gd name="connsiteX17" fmla="*/ 64248 w 175473"/>
                <a:gd name="connsiteY17" fmla="*/ 90502 h 133022"/>
                <a:gd name="connsiteX18" fmla="*/ 53819 w 175473"/>
                <a:gd name="connsiteY18" fmla="*/ 92690 h 133022"/>
                <a:gd name="connsiteX19" fmla="*/ 11590 w 175473"/>
                <a:gd name="connsiteY19" fmla="*/ 95170 h 133022"/>
                <a:gd name="connsiteX20" fmla="*/ 66 w 175473"/>
                <a:gd name="connsiteY20" fmla="*/ 117050 h 133022"/>
                <a:gd name="connsiteX21" fmla="*/ 18154 w 175473"/>
                <a:gd name="connsiteY21" fmla="*/ 133023 h 133022"/>
                <a:gd name="connsiteX22" fmla="*/ 145570 w 175473"/>
                <a:gd name="connsiteY22" fmla="*/ 130835 h 133022"/>
                <a:gd name="connsiteX23" fmla="*/ 164752 w 175473"/>
                <a:gd name="connsiteY23" fmla="*/ 110048 h 133022"/>
                <a:gd name="connsiteX24" fmla="*/ 133463 w 175473"/>
                <a:gd name="connsiteY24" fmla="*/ 91815 h 133022"/>
                <a:gd name="connsiteX25" fmla="*/ 120262 w 175473"/>
                <a:gd name="connsiteY25" fmla="*/ 88970 h 133022"/>
                <a:gd name="connsiteX26" fmla="*/ 117782 w 175473"/>
                <a:gd name="connsiteY26" fmla="*/ 88752 h 133022"/>
                <a:gd name="connsiteX27" fmla="*/ 118584 w 175473"/>
                <a:gd name="connsiteY27" fmla="*/ 85469 h 133022"/>
                <a:gd name="connsiteX28" fmla="*/ 133026 w 175473"/>
                <a:gd name="connsiteY28" fmla="*/ 84959 h 133022"/>
                <a:gd name="connsiteX29" fmla="*/ 28511 w 175473"/>
                <a:gd name="connsiteY29" fmla="*/ 123031 h 133022"/>
                <a:gd name="connsiteX30" fmla="*/ 17279 w 175473"/>
                <a:gd name="connsiteY30" fmla="*/ 123031 h 133022"/>
                <a:gd name="connsiteX31" fmla="*/ 11663 w 175473"/>
                <a:gd name="connsiteY31" fmla="*/ 113257 h 133022"/>
                <a:gd name="connsiteX32" fmla="*/ 17279 w 175473"/>
                <a:gd name="connsiteY32" fmla="*/ 103484 h 133022"/>
                <a:gd name="connsiteX33" fmla="*/ 28511 w 175473"/>
                <a:gd name="connsiteY33" fmla="*/ 103484 h 133022"/>
                <a:gd name="connsiteX34" fmla="*/ 34127 w 175473"/>
                <a:gd name="connsiteY34" fmla="*/ 113257 h 133022"/>
                <a:gd name="connsiteX35" fmla="*/ 28511 w 175473"/>
                <a:gd name="connsiteY35" fmla="*/ 123031 h 133022"/>
                <a:gd name="connsiteX36" fmla="*/ 45650 w 175473"/>
                <a:gd name="connsiteY36" fmla="*/ 16838 h 133022"/>
                <a:gd name="connsiteX37" fmla="*/ 51777 w 175473"/>
                <a:gd name="connsiteY37" fmla="*/ 7722 h 133022"/>
                <a:gd name="connsiteX38" fmla="*/ 81242 w 175473"/>
                <a:gd name="connsiteY38" fmla="*/ 6700 h 133022"/>
                <a:gd name="connsiteX39" fmla="*/ 81388 w 175473"/>
                <a:gd name="connsiteY39" fmla="*/ 39010 h 133022"/>
                <a:gd name="connsiteX40" fmla="*/ 41055 w 175473"/>
                <a:gd name="connsiteY40" fmla="*/ 42219 h 133022"/>
                <a:gd name="connsiteX41" fmla="*/ 45650 w 175473"/>
                <a:gd name="connsiteY41" fmla="*/ 16838 h 133022"/>
                <a:gd name="connsiteX42" fmla="*/ 67312 w 175473"/>
                <a:gd name="connsiteY42" fmla="*/ 54181 h 133022"/>
                <a:gd name="connsiteX43" fmla="*/ 49151 w 175473"/>
                <a:gd name="connsiteY43" fmla="*/ 71539 h 133022"/>
                <a:gd name="connsiteX44" fmla="*/ 42514 w 175473"/>
                <a:gd name="connsiteY44" fmla="*/ 66652 h 133022"/>
                <a:gd name="connsiteX45" fmla="*/ 40909 w 175473"/>
                <a:gd name="connsiteY45" fmla="*/ 46741 h 133022"/>
                <a:gd name="connsiteX46" fmla="*/ 81461 w 175473"/>
                <a:gd name="connsiteY46" fmla="*/ 43313 h 133022"/>
                <a:gd name="connsiteX47" fmla="*/ 81461 w 175473"/>
                <a:gd name="connsiteY47" fmla="*/ 46450 h 133022"/>
                <a:gd name="connsiteX48" fmla="*/ 67385 w 175473"/>
                <a:gd name="connsiteY48" fmla="*/ 54181 h 133022"/>
                <a:gd name="connsiteX49" fmla="*/ 100497 w 175473"/>
                <a:gd name="connsiteY49" fmla="*/ 42074 h 133022"/>
                <a:gd name="connsiteX50" fmla="*/ 87660 w 175473"/>
                <a:gd name="connsiteY50" fmla="*/ 44918 h 133022"/>
                <a:gd name="connsiteX51" fmla="*/ 86785 w 175473"/>
                <a:gd name="connsiteY51" fmla="*/ 9982 h 133022"/>
                <a:gd name="connsiteX52" fmla="*/ 88463 w 175473"/>
                <a:gd name="connsiteY52" fmla="*/ 7503 h 133022"/>
                <a:gd name="connsiteX53" fmla="*/ 97944 w 175473"/>
                <a:gd name="connsiteY53" fmla="*/ 7576 h 133022"/>
                <a:gd name="connsiteX54" fmla="*/ 100424 w 175473"/>
                <a:gd name="connsiteY54" fmla="*/ 29894 h 133022"/>
                <a:gd name="connsiteX55" fmla="*/ 100424 w 175473"/>
                <a:gd name="connsiteY55" fmla="*/ 42074 h 133022"/>
                <a:gd name="connsiteX56" fmla="*/ 140829 w 175473"/>
                <a:gd name="connsiteY56" fmla="*/ 103557 h 133022"/>
                <a:gd name="connsiteX57" fmla="*/ 152061 w 175473"/>
                <a:gd name="connsiteY57" fmla="*/ 103557 h 133022"/>
                <a:gd name="connsiteX58" fmla="*/ 157677 w 175473"/>
                <a:gd name="connsiteY58" fmla="*/ 113330 h 133022"/>
                <a:gd name="connsiteX59" fmla="*/ 152061 w 175473"/>
                <a:gd name="connsiteY59" fmla="*/ 123104 h 133022"/>
                <a:gd name="connsiteX60" fmla="*/ 140829 w 175473"/>
                <a:gd name="connsiteY60" fmla="*/ 123104 h 133022"/>
                <a:gd name="connsiteX61" fmla="*/ 135213 w 175473"/>
                <a:gd name="connsiteY61" fmla="*/ 113330 h 133022"/>
                <a:gd name="connsiteX62" fmla="*/ 140829 w 175473"/>
                <a:gd name="connsiteY62" fmla="*/ 103557 h 13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75473" h="133022">
                  <a:moveTo>
                    <a:pt x="133026" y="85105"/>
                  </a:moveTo>
                  <a:lnTo>
                    <a:pt x="175473" y="85105"/>
                  </a:lnTo>
                  <a:lnTo>
                    <a:pt x="175473" y="32884"/>
                  </a:lnTo>
                  <a:lnTo>
                    <a:pt x="158334" y="32884"/>
                  </a:lnTo>
                  <a:lnTo>
                    <a:pt x="155489" y="25007"/>
                  </a:lnTo>
                  <a:lnTo>
                    <a:pt x="127410" y="25007"/>
                  </a:lnTo>
                  <a:cubicBezTo>
                    <a:pt x="127410" y="25007"/>
                    <a:pt x="127993" y="33030"/>
                    <a:pt x="126461" y="34853"/>
                  </a:cubicBezTo>
                  <a:cubicBezTo>
                    <a:pt x="118803" y="34853"/>
                    <a:pt x="113479" y="34853"/>
                    <a:pt x="113041" y="34634"/>
                  </a:cubicBezTo>
                  <a:cubicBezTo>
                    <a:pt x="111364" y="33759"/>
                    <a:pt x="108811" y="15963"/>
                    <a:pt x="108520" y="14286"/>
                  </a:cubicBezTo>
                  <a:cubicBezTo>
                    <a:pt x="108228" y="12608"/>
                    <a:pt x="104362" y="1741"/>
                    <a:pt x="101372" y="428"/>
                  </a:cubicBezTo>
                  <a:cubicBezTo>
                    <a:pt x="99330" y="-447"/>
                    <a:pt x="78179" y="209"/>
                    <a:pt x="64467" y="720"/>
                  </a:cubicBezTo>
                  <a:lnTo>
                    <a:pt x="46015" y="2762"/>
                  </a:lnTo>
                  <a:lnTo>
                    <a:pt x="36169" y="23038"/>
                  </a:lnTo>
                  <a:cubicBezTo>
                    <a:pt x="35294" y="26539"/>
                    <a:pt x="34418" y="30258"/>
                    <a:pt x="33689" y="33759"/>
                  </a:cubicBezTo>
                  <a:cubicBezTo>
                    <a:pt x="31209" y="45064"/>
                    <a:pt x="33762" y="73581"/>
                    <a:pt x="35366" y="80437"/>
                  </a:cubicBezTo>
                  <a:cubicBezTo>
                    <a:pt x="36971" y="87293"/>
                    <a:pt x="44337" y="86345"/>
                    <a:pt x="44337" y="86345"/>
                  </a:cubicBezTo>
                  <a:lnTo>
                    <a:pt x="63738" y="86126"/>
                  </a:lnTo>
                  <a:lnTo>
                    <a:pt x="64248" y="90502"/>
                  </a:lnTo>
                  <a:cubicBezTo>
                    <a:pt x="60602" y="91377"/>
                    <a:pt x="56736" y="92252"/>
                    <a:pt x="53819" y="92690"/>
                  </a:cubicBezTo>
                  <a:cubicBezTo>
                    <a:pt x="47984" y="93492"/>
                    <a:pt x="17279" y="94003"/>
                    <a:pt x="11590" y="95170"/>
                  </a:cubicBezTo>
                  <a:cubicBezTo>
                    <a:pt x="5901" y="96337"/>
                    <a:pt x="-736" y="101004"/>
                    <a:pt x="66" y="117050"/>
                  </a:cubicBezTo>
                  <a:cubicBezTo>
                    <a:pt x="869" y="133096"/>
                    <a:pt x="18154" y="133023"/>
                    <a:pt x="18154" y="133023"/>
                  </a:cubicBezTo>
                  <a:cubicBezTo>
                    <a:pt x="18154" y="133023"/>
                    <a:pt x="133609" y="130835"/>
                    <a:pt x="145570" y="130835"/>
                  </a:cubicBezTo>
                  <a:cubicBezTo>
                    <a:pt x="157531" y="130835"/>
                    <a:pt x="165773" y="126240"/>
                    <a:pt x="164752" y="110048"/>
                  </a:cubicBezTo>
                  <a:cubicBezTo>
                    <a:pt x="163731" y="93857"/>
                    <a:pt x="140027" y="91231"/>
                    <a:pt x="133463" y="91815"/>
                  </a:cubicBezTo>
                  <a:cubicBezTo>
                    <a:pt x="126899" y="92398"/>
                    <a:pt x="126753" y="89846"/>
                    <a:pt x="120262" y="88970"/>
                  </a:cubicBezTo>
                  <a:cubicBezTo>
                    <a:pt x="119679" y="88897"/>
                    <a:pt x="118876" y="88824"/>
                    <a:pt x="117782" y="88752"/>
                  </a:cubicBezTo>
                  <a:lnTo>
                    <a:pt x="118584" y="85469"/>
                  </a:lnTo>
                  <a:lnTo>
                    <a:pt x="133026" y="84959"/>
                  </a:lnTo>
                  <a:close/>
                  <a:moveTo>
                    <a:pt x="28511" y="123031"/>
                  </a:moveTo>
                  <a:lnTo>
                    <a:pt x="17279" y="123031"/>
                  </a:lnTo>
                  <a:lnTo>
                    <a:pt x="11663" y="113257"/>
                  </a:lnTo>
                  <a:lnTo>
                    <a:pt x="17279" y="103484"/>
                  </a:lnTo>
                  <a:lnTo>
                    <a:pt x="28511" y="103484"/>
                  </a:lnTo>
                  <a:lnTo>
                    <a:pt x="34127" y="113257"/>
                  </a:lnTo>
                  <a:lnTo>
                    <a:pt x="28511" y="123031"/>
                  </a:lnTo>
                  <a:close/>
                  <a:moveTo>
                    <a:pt x="45650" y="16838"/>
                  </a:moveTo>
                  <a:cubicBezTo>
                    <a:pt x="45650" y="16838"/>
                    <a:pt x="47328" y="8816"/>
                    <a:pt x="51777" y="7722"/>
                  </a:cubicBezTo>
                  <a:cubicBezTo>
                    <a:pt x="56226" y="6555"/>
                    <a:pt x="81242" y="6700"/>
                    <a:pt x="81242" y="6700"/>
                  </a:cubicBezTo>
                  <a:lnTo>
                    <a:pt x="81388" y="39010"/>
                  </a:lnTo>
                  <a:lnTo>
                    <a:pt x="41055" y="42219"/>
                  </a:lnTo>
                  <a:cubicBezTo>
                    <a:pt x="41639" y="33540"/>
                    <a:pt x="43316" y="24861"/>
                    <a:pt x="45650" y="16838"/>
                  </a:cubicBezTo>
                  <a:moveTo>
                    <a:pt x="67312" y="54181"/>
                  </a:moveTo>
                  <a:cubicBezTo>
                    <a:pt x="58560" y="59578"/>
                    <a:pt x="51923" y="71904"/>
                    <a:pt x="49151" y="71539"/>
                  </a:cubicBezTo>
                  <a:cubicBezTo>
                    <a:pt x="46307" y="71174"/>
                    <a:pt x="43900" y="73581"/>
                    <a:pt x="42514" y="66652"/>
                  </a:cubicBezTo>
                  <a:cubicBezTo>
                    <a:pt x="41201" y="60234"/>
                    <a:pt x="40691" y="53524"/>
                    <a:pt x="40909" y="46741"/>
                  </a:cubicBezTo>
                  <a:lnTo>
                    <a:pt x="81461" y="43313"/>
                  </a:lnTo>
                  <a:lnTo>
                    <a:pt x="81461" y="46450"/>
                  </a:lnTo>
                  <a:cubicBezTo>
                    <a:pt x="81461" y="46450"/>
                    <a:pt x="76137" y="48784"/>
                    <a:pt x="67385" y="54181"/>
                  </a:cubicBezTo>
                  <a:moveTo>
                    <a:pt x="100497" y="42074"/>
                  </a:moveTo>
                  <a:cubicBezTo>
                    <a:pt x="99840" y="44407"/>
                    <a:pt x="87660" y="44918"/>
                    <a:pt x="87660" y="44918"/>
                  </a:cubicBezTo>
                  <a:lnTo>
                    <a:pt x="86785" y="9982"/>
                  </a:lnTo>
                  <a:cubicBezTo>
                    <a:pt x="86785" y="9982"/>
                    <a:pt x="86858" y="7430"/>
                    <a:pt x="88463" y="7503"/>
                  </a:cubicBezTo>
                  <a:cubicBezTo>
                    <a:pt x="88463" y="7503"/>
                    <a:pt x="97215" y="7138"/>
                    <a:pt x="97944" y="7576"/>
                  </a:cubicBezTo>
                  <a:cubicBezTo>
                    <a:pt x="98673" y="8013"/>
                    <a:pt x="100424" y="27997"/>
                    <a:pt x="100424" y="29894"/>
                  </a:cubicBezTo>
                  <a:cubicBezTo>
                    <a:pt x="100424" y="31790"/>
                    <a:pt x="101153" y="39740"/>
                    <a:pt x="100424" y="42074"/>
                  </a:cubicBezTo>
                  <a:moveTo>
                    <a:pt x="140829" y="103557"/>
                  </a:moveTo>
                  <a:lnTo>
                    <a:pt x="152061" y="103557"/>
                  </a:lnTo>
                  <a:lnTo>
                    <a:pt x="157677" y="113330"/>
                  </a:lnTo>
                  <a:lnTo>
                    <a:pt x="152061" y="123104"/>
                  </a:lnTo>
                  <a:lnTo>
                    <a:pt x="140829" y="123104"/>
                  </a:lnTo>
                  <a:lnTo>
                    <a:pt x="135213" y="113330"/>
                  </a:lnTo>
                  <a:lnTo>
                    <a:pt x="140829" y="103557"/>
                  </a:lnTo>
                  <a:close/>
                </a:path>
              </a:pathLst>
            </a:custGeom>
            <a:solidFill>
              <a:srgbClr val="3FAA48"/>
            </a:solidFill>
            <a:ln w="7233" cap="flat">
              <a:noFill/>
              <a:prstDash val="solid"/>
              <a:miter/>
            </a:ln>
          </p:spPr>
          <p:txBody>
            <a:bodyPr rtlCol="0" anchor="ctr"/>
            <a:lstStyle/>
            <a:p>
              <a:endParaRPr lang="en-US" dirty="0"/>
            </a:p>
          </p:txBody>
        </p:sp>
        <p:sp>
          <p:nvSpPr>
            <p:cNvPr id="251" name="Freeform: Shape 250">
              <a:extLst>
                <a:ext uri="{FF2B5EF4-FFF2-40B4-BE49-F238E27FC236}">
                  <a16:creationId xmlns:a16="http://schemas.microsoft.com/office/drawing/2014/main" id="{C2ADB3F4-03C9-47AF-4A5F-59B29D5C99A2}"/>
                </a:ext>
              </a:extLst>
            </p:cNvPr>
            <p:cNvSpPr/>
            <p:nvPr/>
          </p:nvSpPr>
          <p:spPr>
            <a:xfrm>
              <a:off x="2216504" y="5990359"/>
              <a:ext cx="175844" cy="165050"/>
            </a:xfrm>
            <a:custGeom>
              <a:avLst/>
              <a:gdLst>
                <a:gd name="connsiteX0" fmla="*/ 137846 w 175844"/>
                <a:gd name="connsiteY0" fmla="*/ 24214 h 165050"/>
                <a:gd name="connsiteX1" fmla="*/ 121071 w 175844"/>
                <a:gd name="connsiteY1" fmla="*/ 10940 h 165050"/>
                <a:gd name="connsiteX2" fmla="*/ 97805 w 175844"/>
                <a:gd name="connsiteY2" fmla="*/ 0 h 165050"/>
                <a:gd name="connsiteX3" fmla="*/ 97805 w 175844"/>
                <a:gd name="connsiteY3" fmla="*/ 0 h 165050"/>
                <a:gd name="connsiteX4" fmla="*/ 97805 w 175844"/>
                <a:gd name="connsiteY4" fmla="*/ 0 h 165050"/>
                <a:gd name="connsiteX5" fmla="*/ 78623 w 175844"/>
                <a:gd name="connsiteY5" fmla="*/ 0 h 165050"/>
                <a:gd name="connsiteX6" fmla="*/ 68996 w 175844"/>
                <a:gd name="connsiteY6" fmla="*/ 16629 h 165050"/>
                <a:gd name="connsiteX7" fmla="*/ 68121 w 175844"/>
                <a:gd name="connsiteY7" fmla="*/ 18379 h 165050"/>
                <a:gd name="connsiteX8" fmla="*/ 219 w 175844"/>
                <a:gd name="connsiteY8" fmla="*/ 120779 h 165050"/>
                <a:gd name="connsiteX9" fmla="*/ 0 w 175844"/>
                <a:gd name="connsiteY9" fmla="*/ 120779 h 165050"/>
                <a:gd name="connsiteX10" fmla="*/ 0 w 175844"/>
                <a:gd name="connsiteY10" fmla="*/ 120998 h 165050"/>
                <a:gd name="connsiteX11" fmla="*/ 0 w 175844"/>
                <a:gd name="connsiteY11" fmla="*/ 120998 h 165050"/>
                <a:gd name="connsiteX12" fmla="*/ 146 w 175844"/>
                <a:gd name="connsiteY12" fmla="*/ 121144 h 165050"/>
                <a:gd name="connsiteX13" fmla="*/ 6272 w 175844"/>
                <a:gd name="connsiteY13" fmla="*/ 141930 h 165050"/>
                <a:gd name="connsiteX14" fmla="*/ 19473 w 175844"/>
                <a:gd name="connsiteY14" fmla="*/ 164759 h 165050"/>
                <a:gd name="connsiteX15" fmla="*/ 45511 w 175844"/>
                <a:gd name="connsiteY15" fmla="*/ 164759 h 165050"/>
                <a:gd name="connsiteX16" fmla="*/ 45511 w 175844"/>
                <a:gd name="connsiteY16" fmla="*/ 165050 h 165050"/>
                <a:gd name="connsiteX17" fmla="*/ 45730 w 175844"/>
                <a:gd name="connsiteY17" fmla="*/ 164759 h 165050"/>
                <a:gd name="connsiteX18" fmla="*/ 45876 w 175844"/>
                <a:gd name="connsiteY18" fmla="*/ 164759 h 165050"/>
                <a:gd name="connsiteX19" fmla="*/ 46167 w 175844"/>
                <a:gd name="connsiteY19" fmla="*/ 164321 h 165050"/>
                <a:gd name="connsiteX20" fmla="*/ 79207 w 175844"/>
                <a:gd name="connsiteY20" fmla="*/ 131428 h 165050"/>
                <a:gd name="connsiteX21" fmla="*/ 76289 w 175844"/>
                <a:gd name="connsiteY21" fmla="*/ 128510 h 165050"/>
                <a:gd name="connsiteX22" fmla="*/ 57618 w 175844"/>
                <a:gd name="connsiteY22" fmla="*/ 139450 h 165050"/>
                <a:gd name="connsiteX23" fmla="*/ 45876 w 175844"/>
                <a:gd name="connsiteY23" fmla="*/ 119175 h 165050"/>
                <a:gd name="connsiteX24" fmla="*/ 33550 w 175844"/>
                <a:gd name="connsiteY24" fmla="*/ 119175 h 165050"/>
                <a:gd name="connsiteX25" fmla="*/ 81322 w 175844"/>
                <a:gd name="connsiteY25" fmla="*/ 33185 h 165050"/>
                <a:gd name="connsiteX26" fmla="*/ 98024 w 175844"/>
                <a:gd name="connsiteY26" fmla="*/ 33185 h 165050"/>
                <a:gd name="connsiteX27" fmla="*/ 98024 w 175844"/>
                <a:gd name="connsiteY27" fmla="*/ 33039 h 165050"/>
                <a:gd name="connsiteX28" fmla="*/ 123551 w 175844"/>
                <a:gd name="connsiteY28" fmla="*/ 41937 h 165050"/>
                <a:gd name="connsiteX29" fmla="*/ 163519 w 175844"/>
                <a:gd name="connsiteY29" fmla="*/ 71330 h 165050"/>
                <a:gd name="connsiteX30" fmla="*/ 175845 w 175844"/>
                <a:gd name="connsiteY30" fmla="*/ 40333 h 165050"/>
                <a:gd name="connsiteX31" fmla="*/ 138065 w 175844"/>
                <a:gd name="connsiteY31" fmla="*/ 24141 h 165050"/>
                <a:gd name="connsiteX32" fmla="*/ 38947 w 175844"/>
                <a:gd name="connsiteY32" fmla="*/ 129021 h 165050"/>
                <a:gd name="connsiteX33" fmla="*/ 46022 w 175844"/>
                <a:gd name="connsiteY33" fmla="*/ 141347 h 165050"/>
                <a:gd name="connsiteX34" fmla="*/ 38947 w 175844"/>
                <a:gd name="connsiteY34" fmla="*/ 153673 h 165050"/>
                <a:gd name="connsiteX35" fmla="*/ 24725 w 175844"/>
                <a:gd name="connsiteY35" fmla="*/ 153673 h 165050"/>
                <a:gd name="connsiteX36" fmla="*/ 17650 w 175844"/>
                <a:gd name="connsiteY36" fmla="*/ 141347 h 165050"/>
                <a:gd name="connsiteX37" fmla="*/ 24725 w 175844"/>
                <a:gd name="connsiteY37" fmla="*/ 129021 h 165050"/>
                <a:gd name="connsiteX38" fmla="*/ 38947 w 175844"/>
                <a:gd name="connsiteY38" fmla="*/ 129021 h 165050"/>
                <a:gd name="connsiteX39" fmla="*/ 20130 w 175844"/>
                <a:gd name="connsiteY39" fmla="*/ 118664 h 165050"/>
                <a:gd name="connsiteX40" fmla="*/ 4084 w 175844"/>
                <a:gd name="connsiteY40" fmla="*/ 120342 h 165050"/>
                <a:gd name="connsiteX41" fmla="*/ 58274 w 175844"/>
                <a:gd name="connsiteY41" fmla="*/ 38947 h 165050"/>
                <a:gd name="connsiteX42" fmla="*/ 20130 w 175844"/>
                <a:gd name="connsiteY42" fmla="*/ 118664 h 165050"/>
                <a:gd name="connsiteX43" fmla="*/ 92116 w 175844"/>
                <a:gd name="connsiteY43" fmla="*/ 23558 h 165050"/>
                <a:gd name="connsiteX44" fmla="*/ 84166 w 175844"/>
                <a:gd name="connsiteY44" fmla="*/ 23558 h 165050"/>
                <a:gd name="connsiteX45" fmla="*/ 80228 w 175844"/>
                <a:gd name="connsiteY45" fmla="*/ 16702 h 165050"/>
                <a:gd name="connsiteX46" fmla="*/ 84166 w 175844"/>
                <a:gd name="connsiteY46" fmla="*/ 9846 h 165050"/>
                <a:gd name="connsiteX47" fmla="*/ 92116 w 175844"/>
                <a:gd name="connsiteY47" fmla="*/ 9846 h 165050"/>
                <a:gd name="connsiteX48" fmla="*/ 96054 w 175844"/>
                <a:gd name="connsiteY48" fmla="*/ 16702 h 165050"/>
                <a:gd name="connsiteX49" fmla="*/ 92116 w 175844"/>
                <a:gd name="connsiteY49" fmla="*/ 23558 h 165050"/>
                <a:gd name="connsiteX50" fmla="*/ 106484 w 175844"/>
                <a:gd name="connsiteY50" fmla="*/ 15097 h 165050"/>
                <a:gd name="connsiteX51" fmla="*/ 100795 w 175844"/>
                <a:gd name="connsiteY51" fmla="*/ 5178 h 165050"/>
                <a:gd name="connsiteX52" fmla="*/ 119685 w 175844"/>
                <a:gd name="connsiteY52" fmla="*/ 13858 h 165050"/>
                <a:gd name="connsiteX53" fmla="*/ 126614 w 175844"/>
                <a:gd name="connsiteY53" fmla="*/ 19401 h 165050"/>
                <a:gd name="connsiteX54" fmla="*/ 123332 w 175844"/>
                <a:gd name="connsiteY54" fmla="*/ 18015 h 165050"/>
                <a:gd name="connsiteX55" fmla="*/ 106484 w 175844"/>
                <a:gd name="connsiteY55" fmla="*/ 15097 h 16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75844" h="165050">
                  <a:moveTo>
                    <a:pt x="137846" y="24214"/>
                  </a:moveTo>
                  <a:lnTo>
                    <a:pt x="121071" y="10940"/>
                  </a:lnTo>
                  <a:lnTo>
                    <a:pt x="97805" y="0"/>
                  </a:lnTo>
                  <a:lnTo>
                    <a:pt x="97805" y="0"/>
                  </a:lnTo>
                  <a:cubicBezTo>
                    <a:pt x="97805" y="0"/>
                    <a:pt x="97805" y="0"/>
                    <a:pt x="97805" y="0"/>
                  </a:cubicBezTo>
                  <a:lnTo>
                    <a:pt x="78623" y="0"/>
                  </a:lnTo>
                  <a:lnTo>
                    <a:pt x="68996" y="16629"/>
                  </a:lnTo>
                  <a:lnTo>
                    <a:pt x="68121" y="18379"/>
                  </a:lnTo>
                  <a:lnTo>
                    <a:pt x="219" y="120779"/>
                  </a:lnTo>
                  <a:lnTo>
                    <a:pt x="0" y="120779"/>
                  </a:lnTo>
                  <a:cubicBezTo>
                    <a:pt x="0" y="120779"/>
                    <a:pt x="0" y="120998"/>
                    <a:pt x="0" y="120998"/>
                  </a:cubicBezTo>
                  <a:lnTo>
                    <a:pt x="0" y="120998"/>
                  </a:lnTo>
                  <a:cubicBezTo>
                    <a:pt x="0" y="120998"/>
                    <a:pt x="146" y="121144"/>
                    <a:pt x="146" y="121144"/>
                  </a:cubicBezTo>
                  <a:lnTo>
                    <a:pt x="6272" y="141930"/>
                  </a:lnTo>
                  <a:lnTo>
                    <a:pt x="19473" y="164759"/>
                  </a:lnTo>
                  <a:lnTo>
                    <a:pt x="45511" y="164759"/>
                  </a:lnTo>
                  <a:lnTo>
                    <a:pt x="45511" y="165050"/>
                  </a:lnTo>
                  <a:cubicBezTo>
                    <a:pt x="45511" y="165050"/>
                    <a:pt x="45584" y="164904"/>
                    <a:pt x="45730" y="164759"/>
                  </a:cubicBezTo>
                  <a:lnTo>
                    <a:pt x="45876" y="164759"/>
                  </a:lnTo>
                  <a:lnTo>
                    <a:pt x="46167" y="164321"/>
                  </a:lnTo>
                  <a:cubicBezTo>
                    <a:pt x="50908" y="158997"/>
                    <a:pt x="79207" y="131428"/>
                    <a:pt x="79207" y="131428"/>
                  </a:cubicBezTo>
                  <a:lnTo>
                    <a:pt x="76289" y="128510"/>
                  </a:lnTo>
                  <a:lnTo>
                    <a:pt x="57618" y="139450"/>
                  </a:lnTo>
                  <a:lnTo>
                    <a:pt x="45876" y="119175"/>
                  </a:lnTo>
                  <a:lnTo>
                    <a:pt x="33550" y="119175"/>
                  </a:lnTo>
                  <a:lnTo>
                    <a:pt x="81322" y="33185"/>
                  </a:lnTo>
                  <a:lnTo>
                    <a:pt x="98024" y="33185"/>
                  </a:lnTo>
                  <a:lnTo>
                    <a:pt x="98024" y="33039"/>
                  </a:lnTo>
                  <a:cubicBezTo>
                    <a:pt x="98024" y="33039"/>
                    <a:pt x="123551" y="41937"/>
                    <a:pt x="123551" y="41937"/>
                  </a:cubicBezTo>
                  <a:lnTo>
                    <a:pt x="163519" y="71330"/>
                  </a:lnTo>
                  <a:lnTo>
                    <a:pt x="175845" y="40333"/>
                  </a:lnTo>
                  <a:lnTo>
                    <a:pt x="138065" y="24141"/>
                  </a:lnTo>
                  <a:close/>
                  <a:moveTo>
                    <a:pt x="38947" y="129021"/>
                  </a:moveTo>
                  <a:lnTo>
                    <a:pt x="46022" y="141347"/>
                  </a:lnTo>
                  <a:lnTo>
                    <a:pt x="38947" y="153673"/>
                  </a:lnTo>
                  <a:lnTo>
                    <a:pt x="24725" y="153673"/>
                  </a:lnTo>
                  <a:lnTo>
                    <a:pt x="17650" y="141347"/>
                  </a:lnTo>
                  <a:lnTo>
                    <a:pt x="24725" y="129021"/>
                  </a:lnTo>
                  <a:lnTo>
                    <a:pt x="38947" y="129021"/>
                  </a:lnTo>
                  <a:close/>
                  <a:moveTo>
                    <a:pt x="20130" y="118664"/>
                  </a:moveTo>
                  <a:lnTo>
                    <a:pt x="4084" y="120342"/>
                  </a:lnTo>
                  <a:lnTo>
                    <a:pt x="58274" y="38947"/>
                  </a:lnTo>
                  <a:lnTo>
                    <a:pt x="20130" y="118664"/>
                  </a:lnTo>
                  <a:close/>
                  <a:moveTo>
                    <a:pt x="92116" y="23558"/>
                  </a:moveTo>
                  <a:lnTo>
                    <a:pt x="84166" y="23558"/>
                  </a:lnTo>
                  <a:lnTo>
                    <a:pt x="80228" y="16702"/>
                  </a:lnTo>
                  <a:lnTo>
                    <a:pt x="84166" y="9846"/>
                  </a:lnTo>
                  <a:lnTo>
                    <a:pt x="92116" y="9846"/>
                  </a:lnTo>
                  <a:lnTo>
                    <a:pt x="96054" y="16702"/>
                  </a:lnTo>
                  <a:lnTo>
                    <a:pt x="92116" y="23558"/>
                  </a:lnTo>
                  <a:close/>
                  <a:moveTo>
                    <a:pt x="106484" y="15097"/>
                  </a:moveTo>
                  <a:lnTo>
                    <a:pt x="100795" y="5178"/>
                  </a:lnTo>
                  <a:lnTo>
                    <a:pt x="119685" y="13858"/>
                  </a:lnTo>
                  <a:lnTo>
                    <a:pt x="126614" y="19401"/>
                  </a:lnTo>
                  <a:lnTo>
                    <a:pt x="123332" y="18015"/>
                  </a:lnTo>
                  <a:lnTo>
                    <a:pt x="106484" y="15097"/>
                  </a:lnTo>
                  <a:close/>
                </a:path>
              </a:pathLst>
            </a:custGeom>
            <a:solidFill>
              <a:srgbClr val="3FAA48"/>
            </a:solidFill>
            <a:ln w="7233" cap="flat">
              <a:noFill/>
              <a:prstDash val="solid"/>
              <a:miter/>
            </a:ln>
          </p:spPr>
          <p:txBody>
            <a:bodyPr rtlCol="0" anchor="ctr"/>
            <a:lstStyle/>
            <a:p>
              <a:endParaRPr lang="en-US" dirty="0"/>
            </a:p>
          </p:txBody>
        </p:sp>
        <p:sp>
          <p:nvSpPr>
            <p:cNvPr id="252" name="Freeform: Shape 251">
              <a:extLst>
                <a:ext uri="{FF2B5EF4-FFF2-40B4-BE49-F238E27FC236}">
                  <a16:creationId xmlns:a16="http://schemas.microsoft.com/office/drawing/2014/main" id="{567150D7-0876-F6AC-C0A6-4D7B69FE5C81}"/>
                </a:ext>
              </a:extLst>
            </p:cNvPr>
            <p:cNvSpPr/>
            <p:nvPr/>
          </p:nvSpPr>
          <p:spPr>
            <a:xfrm>
              <a:off x="2502625" y="6101511"/>
              <a:ext cx="11158" cy="4376"/>
            </a:xfrm>
            <a:custGeom>
              <a:avLst/>
              <a:gdLst>
                <a:gd name="connsiteX0" fmla="*/ 0 w 11158"/>
                <a:gd name="connsiteY0" fmla="*/ 0 h 4376"/>
                <a:gd name="connsiteX1" fmla="*/ 11159 w 11158"/>
                <a:gd name="connsiteY1" fmla="*/ 0 h 4376"/>
                <a:gd name="connsiteX2" fmla="*/ 11159 w 11158"/>
                <a:gd name="connsiteY2" fmla="*/ 4376 h 4376"/>
                <a:gd name="connsiteX3" fmla="*/ 0 w 11158"/>
                <a:gd name="connsiteY3" fmla="*/ 4376 h 4376"/>
              </a:gdLst>
              <a:ahLst/>
              <a:cxnLst>
                <a:cxn ang="0">
                  <a:pos x="connsiteX0" y="connsiteY0"/>
                </a:cxn>
                <a:cxn ang="0">
                  <a:pos x="connsiteX1" y="connsiteY1"/>
                </a:cxn>
                <a:cxn ang="0">
                  <a:pos x="connsiteX2" y="connsiteY2"/>
                </a:cxn>
                <a:cxn ang="0">
                  <a:pos x="connsiteX3" y="connsiteY3"/>
                </a:cxn>
              </a:cxnLst>
              <a:rect l="l" t="t" r="r" b="b"/>
              <a:pathLst>
                <a:path w="11158" h="4376">
                  <a:moveTo>
                    <a:pt x="0" y="0"/>
                  </a:moveTo>
                  <a:lnTo>
                    <a:pt x="11159" y="0"/>
                  </a:lnTo>
                  <a:lnTo>
                    <a:pt x="11159" y="4376"/>
                  </a:lnTo>
                  <a:lnTo>
                    <a:pt x="0" y="4376"/>
                  </a:lnTo>
                  <a:close/>
                </a:path>
              </a:pathLst>
            </a:custGeom>
            <a:solidFill>
              <a:srgbClr val="3FAA48"/>
            </a:solidFill>
            <a:ln w="7233" cap="flat">
              <a:noFill/>
              <a:prstDash val="solid"/>
              <a:miter/>
            </a:ln>
          </p:spPr>
          <p:txBody>
            <a:bodyPr rtlCol="0" anchor="ctr"/>
            <a:lstStyle/>
            <a:p>
              <a:endParaRPr lang="en-US" dirty="0"/>
            </a:p>
          </p:txBody>
        </p:sp>
        <p:sp>
          <p:nvSpPr>
            <p:cNvPr id="253" name="Freeform: Shape 252">
              <a:extLst>
                <a:ext uri="{FF2B5EF4-FFF2-40B4-BE49-F238E27FC236}">
                  <a16:creationId xmlns:a16="http://schemas.microsoft.com/office/drawing/2014/main" id="{6B8147F5-626C-DCAF-35A4-FA5E0651AD67}"/>
                </a:ext>
              </a:extLst>
            </p:cNvPr>
            <p:cNvSpPr/>
            <p:nvPr/>
          </p:nvSpPr>
          <p:spPr>
            <a:xfrm>
              <a:off x="2488767" y="6101511"/>
              <a:ext cx="11158" cy="4376"/>
            </a:xfrm>
            <a:custGeom>
              <a:avLst/>
              <a:gdLst>
                <a:gd name="connsiteX0" fmla="*/ 0 w 11158"/>
                <a:gd name="connsiteY0" fmla="*/ 0 h 4376"/>
                <a:gd name="connsiteX1" fmla="*/ 11159 w 11158"/>
                <a:gd name="connsiteY1" fmla="*/ 0 h 4376"/>
                <a:gd name="connsiteX2" fmla="*/ 11159 w 11158"/>
                <a:gd name="connsiteY2" fmla="*/ 4376 h 4376"/>
                <a:gd name="connsiteX3" fmla="*/ 0 w 11158"/>
                <a:gd name="connsiteY3" fmla="*/ 4376 h 4376"/>
              </a:gdLst>
              <a:ahLst/>
              <a:cxnLst>
                <a:cxn ang="0">
                  <a:pos x="connsiteX0" y="connsiteY0"/>
                </a:cxn>
                <a:cxn ang="0">
                  <a:pos x="connsiteX1" y="connsiteY1"/>
                </a:cxn>
                <a:cxn ang="0">
                  <a:pos x="connsiteX2" y="connsiteY2"/>
                </a:cxn>
                <a:cxn ang="0">
                  <a:pos x="connsiteX3" y="connsiteY3"/>
                </a:cxn>
              </a:cxnLst>
              <a:rect l="l" t="t" r="r" b="b"/>
              <a:pathLst>
                <a:path w="11158" h="4376">
                  <a:moveTo>
                    <a:pt x="0" y="0"/>
                  </a:moveTo>
                  <a:lnTo>
                    <a:pt x="11159" y="0"/>
                  </a:lnTo>
                  <a:lnTo>
                    <a:pt x="11159" y="4376"/>
                  </a:lnTo>
                  <a:lnTo>
                    <a:pt x="0" y="4376"/>
                  </a:lnTo>
                  <a:close/>
                </a:path>
              </a:pathLst>
            </a:custGeom>
            <a:solidFill>
              <a:srgbClr val="3FAA48"/>
            </a:solidFill>
            <a:ln w="7233" cap="flat">
              <a:noFill/>
              <a:prstDash val="solid"/>
              <a:miter/>
            </a:ln>
          </p:spPr>
          <p:txBody>
            <a:bodyPr rtlCol="0" anchor="ctr"/>
            <a:lstStyle/>
            <a:p>
              <a:endParaRPr lang="en-US" dirty="0"/>
            </a:p>
          </p:txBody>
        </p:sp>
        <p:sp>
          <p:nvSpPr>
            <p:cNvPr id="254" name="Freeform: Shape 253">
              <a:extLst>
                <a:ext uri="{FF2B5EF4-FFF2-40B4-BE49-F238E27FC236}">
                  <a16:creationId xmlns:a16="http://schemas.microsoft.com/office/drawing/2014/main" id="{970B694A-2A97-3F21-623C-6AC21463EFF9}"/>
                </a:ext>
              </a:extLst>
            </p:cNvPr>
            <p:cNvSpPr/>
            <p:nvPr/>
          </p:nvSpPr>
          <p:spPr>
            <a:xfrm>
              <a:off x="2222630" y="6208360"/>
              <a:ext cx="159288" cy="17868"/>
            </a:xfrm>
            <a:custGeom>
              <a:avLst/>
              <a:gdLst>
                <a:gd name="connsiteX0" fmla="*/ 0 w 159288"/>
                <a:gd name="connsiteY0" fmla="*/ 0 h 17868"/>
                <a:gd name="connsiteX1" fmla="*/ 159288 w 159288"/>
                <a:gd name="connsiteY1" fmla="*/ 0 h 17868"/>
                <a:gd name="connsiteX2" fmla="*/ 159288 w 159288"/>
                <a:gd name="connsiteY2" fmla="*/ 17869 h 17868"/>
                <a:gd name="connsiteX3" fmla="*/ 0 w 159288"/>
                <a:gd name="connsiteY3" fmla="*/ 17869 h 17868"/>
              </a:gdLst>
              <a:ahLst/>
              <a:cxnLst>
                <a:cxn ang="0">
                  <a:pos x="connsiteX0" y="connsiteY0"/>
                </a:cxn>
                <a:cxn ang="0">
                  <a:pos x="connsiteX1" y="connsiteY1"/>
                </a:cxn>
                <a:cxn ang="0">
                  <a:pos x="connsiteX2" y="connsiteY2"/>
                </a:cxn>
                <a:cxn ang="0">
                  <a:pos x="connsiteX3" y="connsiteY3"/>
                </a:cxn>
              </a:cxnLst>
              <a:rect l="l" t="t" r="r" b="b"/>
              <a:pathLst>
                <a:path w="159288" h="17868">
                  <a:moveTo>
                    <a:pt x="0" y="0"/>
                  </a:moveTo>
                  <a:lnTo>
                    <a:pt x="159288" y="0"/>
                  </a:lnTo>
                  <a:lnTo>
                    <a:pt x="159288" y="17869"/>
                  </a:lnTo>
                  <a:lnTo>
                    <a:pt x="0" y="17869"/>
                  </a:lnTo>
                  <a:close/>
                </a:path>
              </a:pathLst>
            </a:custGeom>
            <a:solidFill>
              <a:srgbClr val="3FAA48"/>
            </a:solidFill>
            <a:ln w="7233" cap="flat">
              <a:noFill/>
              <a:prstDash val="solid"/>
              <a:miter/>
            </a:ln>
          </p:spPr>
          <p:txBody>
            <a:bodyPr rtlCol="0" anchor="ctr"/>
            <a:lstStyle/>
            <a:p>
              <a:endParaRPr lang="en-US" dirty="0"/>
            </a:p>
          </p:txBody>
        </p:sp>
      </p:grpSp>
      <p:sp>
        <p:nvSpPr>
          <p:cNvPr id="260" name="Text Placeholder 81">
            <a:extLst>
              <a:ext uri="{FF2B5EF4-FFF2-40B4-BE49-F238E27FC236}">
                <a16:creationId xmlns:a16="http://schemas.microsoft.com/office/drawing/2014/main" id="{CA1869A3-BA58-4516-D8FD-A0F0FC22613A}"/>
              </a:ext>
            </a:extLst>
          </p:cNvPr>
          <p:cNvSpPr txBox="1">
            <a:spLocks/>
          </p:cNvSpPr>
          <p:nvPr/>
        </p:nvSpPr>
        <p:spPr>
          <a:xfrm>
            <a:off x="565848" y="1498334"/>
            <a:ext cx="210312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Industrial</a:t>
            </a:r>
          </a:p>
        </p:txBody>
      </p:sp>
      <p:pic>
        <p:nvPicPr>
          <p:cNvPr id="265" name="Graphic 264">
            <a:extLst>
              <a:ext uri="{FF2B5EF4-FFF2-40B4-BE49-F238E27FC236}">
                <a16:creationId xmlns:a16="http://schemas.microsoft.com/office/drawing/2014/main" id="{AE61CAEE-6BDD-DB6F-7FC8-4C06C0043BD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6041" y="1849485"/>
            <a:ext cx="774700" cy="609600"/>
          </a:xfrm>
          <a:prstGeom prst="rect">
            <a:avLst/>
          </a:prstGeom>
        </p:spPr>
      </p:pic>
      <p:sp>
        <p:nvSpPr>
          <p:cNvPr id="259" name="Text Placeholder 81">
            <a:extLst>
              <a:ext uri="{FF2B5EF4-FFF2-40B4-BE49-F238E27FC236}">
                <a16:creationId xmlns:a16="http://schemas.microsoft.com/office/drawing/2014/main" id="{B6882660-43B9-2A92-60E7-C0853AFB0E1B}"/>
              </a:ext>
            </a:extLst>
          </p:cNvPr>
          <p:cNvSpPr txBox="1">
            <a:spLocks/>
          </p:cNvSpPr>
          <p:nvPr/>
        </p:nvSpPr>
        <p:spPr>
          <a:xfrm>
            <a:off x="4700752" y="1498334"/>
            <a:ext cx="1645920" cy="14630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Electronics &amp; High Tech</a:t>
            </a:r>
          </a:p>
        </p:txBody>
      </p:sp>
      <p:grpSp>
        <p:nvGrpSpPr>
          <p:cNvPr id="588" name="Group 587">
            <a:extLst>
              <a:ext uri="{FF2B5EF4-FFF2-40B4-BE49-F238E27FC236}">
                <a16:creationId xmlns:a16="http://schemas.microsoft.com/office/drawing/2014/main" id="{2E2BF9F8-594D-BAAA-B63B-37BEE43A169C}"/>
              </a:ext>
            </a:extLst>
          </p:cNvPr>
          <p:cNvGrpSpPr/>
          <p:nvPr/>
        </p:nvGrpSpPr>
        <p:grpSpPr>
          <a:xfrm>
            <a:off x="5136835" y="1849485"/>
            <a:ext cx="773755" cy="609600"/>
            <a:chOff x="3259840" y="1849485"/>
            <a:chExt cx="773755" cy="609600"/>
          </a:xfrm>
        </p:grpSpPr>
        <p:grpSp>
          <p:nvGrpSpPr>
            <p:cNvPr id="37" name="Graphic 265">
              <a:extLst>
                <a:ext uri="{FF2B5EF4-FFF2-40B4-BE49-F238E27FC236}">
                  <a16:creationId xmlns:a16="http://schemas.microsoft.com/office/drawing/2014/main" id="{44363A4C-78E5-96D3-D237-EED47FCCC6EC}"/>
                </a:ext>
              </a:extLst>
            </p:cNvPr>
            <p:cNvGrpSpPr/>
            <p:nvPr/>
          </p:nvGrpSpPr>
          <p:grpSpPr>
            <a:xfrm>
              <a:off x="3581057" y="1849485"/>
              <a:ext cx="452538" cy="609600"/>
              <a:chOff x="3581057" y="1849485"/>
              <a:chExt cx="452538" cy="609600"/>
            </a:xfrm>
          </p:grpSpPr>
          <p:sp>
            <p:nvSpPr>
              <p:cNvPr id="38" name="Freeform: Shape 37">
                <a:extLst>
                  <a:ext uri="{FF2B5EF4-FFF2-40B4-BE49-F238E27FC236}">
                    <a16:creationId xmlns:a16="http://schemas.microsoft.com/office/drawing/2014/main" id="{8E69780A-7C4C-723B-857F-06087128FB51}"/>
                  </a:ext>
                </a:extLst>
              </p:cNvPr>
              <p:cNvSpPr/>
              <p:nvPr/>
            </p:nvSpPr>
            <p:spPr>
              <a:xfrm>
                <a:off x="3581057" y="1849485"/>
                <a:ext cx="452538" cy="609600"/>
              </a:xfrm>
              <a:custGeom>
                <a:avLst/>
                <a:gdLst>
                  <a:gd name="connsiteX0" fmla="*/ 418527 w 452538"/>
                  <a:gd name="connsiteY0" fmla="*/ 0 h 609600"/>
                  <a:gd name="connsiteX1" fmla="*/ 34011 w 452538"/>
                  <a:gd name="connsiteY1" fmla="*/ 0 h 609600"/>
                  <a:gd name="connsiteX2" fmla="*/ 0 w 452538"/>
                  <a:gd name="connsiteY2" fmla="*/ 34290 h 609600"/>
                  <a:gd name="connsiteX3" fmla="*/ 0 w 452538"/>
                  <a:gd name="connsiteY3" fmla="*/ 142875 h 609600"/>
                  <a:gd name="connsiteX4" fmla="*/ 0 w 452538"/>
                  <a:gd name="connsiteY4" fmla="*/ 171450 h 609600"/>
                  <a:gd name="connsiteX5" fmla="*/ 0 w 452538"/>
                  <a:gd name="connsiteY5" fmla="*/ 287655 h 609600"/>
                  <a:gd name="connsiteX6" fmla="*/ 0 w 452538"/>
                  <a:gd name="connsiteY6" fmla="*/ 389573 h 609600"/>
                  <a:gd name="connsiteX7" fmla="*/ 0 w 452538"/>
                  <a:gd name="connsiteY7" fmla="*/ 445770 h 609600"/>
                  <a:gd name="connsiteX8" fmla="*/ 0 w 452538"/>
                  <a:gd name="connsiteY8" fmla="*/ 546735 h 609600"/>
                  <a:gd name="connsiteX9" fmla="*/ 0 w 452538"/>
                  <a:gd name="connsiteY9" fmla="*/ 575310 h 609600"/>
                  <a:gd name="connsiteX10" fmla="*/ 34011 w 452538"/>
                  <a:gd name="connsiteY10" fmla="*/ 609600 h 609600"/>
                  <a:gd name="connsiteX11" fmla="*/ 165332 w 452538"/>
                  <a:gd name="connsiteY11" fmla="*/ 609600 h 609600"/>
                  <a:gd name="connsiteX12" fmla="*/ 250360 w 452538"/>
                  <a:gd name="connsiteY12" fmla="*/ 609600 h 609600"/>
                  <a:gd name="connsiteX13" fmla="*/ 387350 w 452538"/>
                  <a:gd name="connsiteY13" fmla="*/ 609600 h 609600"/>
                  <a:gd name="connsiteX14" fmla="*/ 344836 w 452538"/>
                  <a:gd name="connsiteY14" fmla="*/ 566738 h 609600"/>
                  <a:gd name="connsiteX15" fmla="*/ 341057 w 452538"/>
                  <a:gd name="connsiteY15" fmla="*/ 566738 h 609600"/>
                  <a:gd name="connsiteX16" fmla="*/ 300432 w 452538"/>
                  <a:gd name="connsiteY16" fmla="*/ 553403 h 609600"/>
                  <a:gd name="connsiteX17" fmla="*/ 264532 w 452538"/>
                  <a:gd name="connsiteY17" fmla="*/ 553403 h 609600"/>
                  <a:gd name="connsiteX18" fmla="*/ 150216 w 452538"/>
                  <a:gd name="connsiteY18" fmla="*/ 553403 h 609600"/>
                  <a:gd name="connsiteX19" fmla="*/ 30232 w 452538"/>
                  <a:gd name="connsiteY19" fmla="*/ 553403 h 609600"/>
                  <a:gd name="connsiteX20" fmla="*/ 30232 w 452538"/>
                  <a:gd name="connsiteY20" fmla="*/ 546735 h 609600"/>
                  <a:gd name="connsiteX21" fmla="*/ 30232 w 452538"/>
                  <a:gd name="connsiteY21" fmla="*/ 445770 h 609600"/>
                  <a:gd name="connsiteX22" fmla="*/ 30232 w 452538"/>
                  <a:gd name="connsiteY22" fmla="*/ 389573 h 609600"/>
                  <a:gd name="connsiteX23" fmla="*/ 30232 w 452538"/>
                  <a:gd name="connsiteY23" fmla="*/ 286703 h 609600"/>
                  <a:gd name="connsiteX24" fmla="*/ 30232 w 452538"/>
                  <a:gd name="connsiteY24" fmla="*/ 171450 h 609600"/>
                  <a:gd name="connsiteX25" fmla="*/ 30232 w 452538"/>
                  <a:gd name="connsiteY25" fmla="*/ 142875 h 609600"/>
                  <a:gd name="connsiteX26" fmla="*/ 30232 w 452538"/>
                  <a:gd name="connsiteY26" fmla="*/ 79058 h 609600"/>
                  <a:gd name="connsiteX27" fmla="*/ 422306 w 452538"/>
                  <a:gd name="connsiteY27" fmla="*/ 79058 h 609600"/>
                  <a:gd name="connsiteX28" fmla="*/ 422306 w 452538"/>
                  <a:gd name="connsiteY28" fmla="*/ 513398 h 609600"/>
                  <a:gd name="connsiteX29" fmla="*/ 452538 w 452538"/>
                  <a:gd name="connsiteY29" fmla="*/ 543878 h 609600"/>
                  <a:gd name="connsiteX30" fmla="*/ 452538 w 452538"/>
                  <a:gd name="connsiteY30" fmla="*/ 34290 h 609600"/>
                  <a:gd name="connsiteX31" fmla="*/ 418527 w 452538"/>
                  <a:gd name="connsiteY31" fmla="*/ 0 h 609600"/>
                  <a:gd name="connsiteX32" fmla="*/ 258863 w 452538"/>
                  <a:gd name="connsiteY32" fmla="*/ 54293 h 609600"/>
                  <a:gd name="connsiteX33" fmla="*/ 194620 w 452538"/>
                  <a:gd name="connsiteY33" fmla="*/ 54293 h 609600"/>
                  <a:gd name="connsiteX34" fmla="*/ 194620 w 452538"/>
                  <a:gd name="connsiteY34" fmla="*/ 33338 h 609600"/>
                  <a:gd name="connsiteX35" fmla="*/ 258863 w 452538"/>
                  <a:gd name="connsiteY35" fmla="*/ 33338 h 609600"/>
                  <a:gd name="connsiteX36" fmla="*/ 258863 w 452538"/>
                  <a:gd name="connsiteY36" fmla="*/ 54293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52538" h="609600">
                    <a:moveTo>
                      <a:pt x="418527" y="0"/>
                    </a:moveTo>
                    <a:lnTo>
                      <a:pt x="34011" y="0"/>
                    </a:lnTo>
                    <a:cubicBezTo>
                      <a:pt x="15116" y="0"/>
                      <a:pt x="0" y="15240"/>
                      <a:pt x="0" y="34290"/>
                    </a:cubicBezTo>
                    <a:lnTo>
                      <a:pt x="0" y="142875"/>
                    </a:lnTo>
                    <a:lnTo>
                      <a:pt x="0" y="171450"/>
                    </a:lnTo>
                    <a:lnTo>
                      <a:pt x="0" y="287655"/>
                    </a:lnTo>
                    <a:lnTo>
                      <a:pt x="0" y="389573"/>
                    </a:lnTo>
                    <a:lnTo>
                      <a:pt x="0" y="445770"/>
                    </a:lnTo>
                    <a:lnTo>
                      <a:pt x="0" y="546735"/>
                    </a:lnTo>
                    <a:lnTo>
                      <a:pt x="0" y="575310"/>
                    </a:lnTo>
                    <a:cubicBezTo>
                      <a:pt x="0" y="594360"/>
                      <a:pt x="15116" y="609600"/>
                      <a:pt x="34011" y="609600"/>
                    </a:cubicBezTo>
                    <a:lnTo>
                      <a:pt x="165332" y="609600"/>
                    </a:lnTo>
                    <a:lnTo>
                      <a:pt x="250360" y="609600"/>
                    </a:lnTo>
                    <a:lnTo>
                      <a:pt x="387350" y="609600"/>
                    </a:lnTo>
                    <a:lnTo>
                      <a:pt x="344836" y="566738"/>
                    </a:lnTo>
                    <a:cubicBezTo>
                      <a:pt x="343891" y="566738"/>
                      <a:pt x="342002" y="566738"/>
                      <a:pt x="341057" y="566738"/>
                    </a:cubicBezTo>
                    <a:cubicBezTo>
                      <a:pt x="325941" y="566738"/>
                      <a:pt x="311770" y="561975"/>
                      <a:pt x="300432" y="553403"/>
                    </a:cubicBezTo>
                    <a:lnTo>
                      <a:pt x="264532" y="553403"/>
                    </a:lnTo>
                    <a:lnTo>
                      <a:pt x="150216" y="553403"/>
                    </a:lnTo>
                    <a:lnTo>
                      <a:pt x="30232" y="553403"/>
                    </a:lnTo>
                    <a:lnTo>
                      <a:pt x="30232" y="546735"/>
                    </a:lnTo>
                    <a:lnTo>
                      <a:pt x="30232" y="445770"/>
                    </a:lnTo>
                    <a:lnTo>
                      <a:pt x="30232" y="389573"/>
                    </a:lnTo>
                    <a:lnTo>
                      <a:pt x="30232" y="286703"/>
                    </a:lnTo>
                    <a:lnTo>
                      <a:pt x="30232" y="171450"/>
                    </a:lnTo>
                    <a:lnTo>
                      <a:pt x="30232" y="142875"/>
                    </a:lnTo>
                    <a:lnTo>
                      <a:pt x="30232" y="79058"/>
                    </a:lnTo>
                    <a:lnTo>
                      <a:pt x="422306" y="79058"/>
                    </a:lnTo>
                    <a:lnTo>
                      <a:pt x="422306" y="513398"/>
                    </a:lnTo>
                    <a:lnTo>
                      <a:pt x="452538" y="543878"/>
                    </a:lnTo>
                    <a:lnTo>
                      <a:pt x="452538" y="34290"/>
                    </a:lnTo>
                    <a:cubicBezTo>
                      <a:pt x="452538" y="15240"/>
                      <a:pt x="437422" y="0"/>
                      <a:pt x="418527" y="0"/>
                    </a:cubicBezTo>
                    <a:close/>
                    <a:moveTo>
                      <a:pt x="258863" y="54293"/>
                    </a:moveTo>
                    <a:lnTo>
                      <a:pt x="194620" y="54293"/>
                    </a:lnTo>
                    <a:lnTo>
                      <a:pt x="194620" y="33338"/>
                    </a:lnTo>
                    <a:lnTo>
                      <a:pt x="258863" y="33338"/>
                    </a:lnTo>
                    <a:lnTo>
                      <a:pt x="258863" y="54293"/>
                    </a:lnTo>
                    <a:close/>
                  </a:path>
                </a:pathLst>
              </a:custGeom>
              <a:solidFill>
                <a:srgbClr val="3D4647"/>
              </a:solidFill>
              <a:ln w="9409"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3C7B6928-CA41-D609-65B8-CF6078F5E2B7}"/>
                  </a:ext>
                </a:extLst>
              </p:cNvPr>
              <p:cNvSpPr/>
              <p:nvPr/>
            </p:nvSpPr>
            <p:spPr>
              <a:xfrm>
                <a:off x="3882902" y="2308590"/>
                <a:ext cx="150351" cy="150494"/>
              </a:xfrm>
              <a:custGeom>
                <a:avLst/>
                <a:gdLst>
                  <a:gd name="connsiteX0" fmla="*/ 145025 w 150351"/>
                  <a:gd name="connsiteY0" fmla="*/ 120968 h 150494"/>
                  <a:gd name="connsiteX1" fmla="*/ 144080 w 150351"/>
                  <a:gd name="connsiteY1" fmla="*/ 120015 h 150494"/>
                  <a:gd name="connsiteX2" fmla="*/ 143135 w 150351"/>
                  <a:gd name="connsiteY2" fmla="*/ 119063 h 150494"/>
                  <a:gd name="connsiteX3" fmla="*/ 119516 w 150351"/>
                  <a:gd name="connsiteY3" fmla="*/ 95250 h 150494"/>
                  <a:gd name="connsiteX4" fmla="*/ 105345 w 150351"/>
                  <a:gd name="connsiteY4" fmla="*/ 80963 h 150494"/>
                  <a:gd name="connsiteX5" fmla="*/ 91173 w 150351"/>
                  <a:gd name="connsiteY5" fmla="*/ 66675 h 150494"/>
                  <a:gd name="connsiteX6" fmla="*/ 86450 w 150351"/>
                  <a:gd name="connsiteY6" fmla="*/ 61913 h 150494"/>
                  <a:gd name="connsiteX7" fmla="*/ 79836 w 150351"/>
                  <a:gd name="connsiteY7" fmla="*/ 44768 h 150494"/>
                  <a:gd name="connsiteX8" fmla="*/ 68499 w 150351"/>
                  <a:gd name="connsiteY8" fmla="*/ 11430 h 150494"/>
                  <a:gd name="connsiteX9" fmla="*/ 40157 w 150351"/>
                  <a:gd name="connsiteY9" fmla="*/ 0 h 150494"/>
                  <a:gd name="connsiteX10" fmla="*/ 35433 w 150351"/>
                  <a:gd name="connsiteY10" fmla="*/ 0 h 150494"/>
                  <a:gd name="connsiteX11" fmla="*/ 55273 w 150351"/>
                  <a:gd name="connsiteY11" fmla="*/ 20002 h 150494"/>
                  <a:gd name="connsiteX12" fmla="*/ 47715 w 150351"/>
                  <a:gd name="connsiteY12" fmla="*/ 46672 h 150494"/>
                  <a:gd name="connsiteX13" fmla="*/ 20317 w 150351"/>
                  <a:gd name="connsiteY13" fmla="*/ 54293 h 150494"/>
                  <a:gd name="connsiteX14" fmla="*/ 477 w 150351"/>
                  <a:gd name="connsiteY14" fmla="*/ 34290 h 150494"/>
                  <a:gd name="connsiteX15" fmla="*/ 10869 w 150351"/>
                  <a:gd name="connsiteY15" fmla="*/ 66675 h 150494"/>
                  <a:gd name="connsiteX16" fmla="*/ 11814 w 150351"/>
                  <a:gd name="connsiteY16" fmla="*/ 68580 h 150494"/>
                  <a:gd name="connsiteX17" fmla="*/ 40157 w 150351"/>
                  <a:gd name="connsiteY17" fmla="*/ 80010 h 150494"/>
                  <a:gd name="connsiteX18" fmla="*/ 46770 w 150351"/>
                  <a:gd name="connsiteY18" fmla="*/ 79057 h 150494"/>
                  <a:gd name="connsiteX19" fmla="*/ 47715 w 150351"/>
                  <a:gd name="connsiteY19" fmla="*/ 79057 h 150494"/>
                  <a:gd name="connsiteX20" fmla="*/ 53383 w 150351"/>
                  <a:gd name="connsiteY20" fmla="*/ 80010 h 150494"/>
                  <a:gd name="connsiteX21" fmla="*/ 61886 w 150351"/>
                  <a:gd name="connsiteY21" fmla="*/ 85725 h 150494"/>
                  <a:gd name="connsiteX22" fmla="*/ 70389 w 150351"/>
                  <a:gd name="connsiteY22" fmla="*/ 94297 h 150494"/>
                  <a:gd name="connsiteX23" fmla="*/ 118571 w 150351"/>
                  <a:gd name="connsiteY23" fmla="*/ 142875 h 150494"/>
                  <a:gd name="connsiteX24" fmla="*/ 119516 w 150351"/>
                  <a:gd name="connsiteY24" fmla="*/ 143827 h 150494"/>
                  <a:gd name="connsiteX25" fmla="*/ 120461 w 150351"/>
                  <a:gd name="connsiteY25" fmla="*/ 144780 h 150494"/>
                  <a:gd name="connsiteX26" fmla="*/ 126129 w 150351"/>
                  <a:gd name="connsiteY26" fmla="*/ 148590 h 150494"/>
                  <a:gd name="connsiteX27" fmla="*/ 132743 w 150351"/>
                  <a:gd name="connsiteY27" fmla="*/ 150495 h 150494"/>
                  <a:gd name="connsiteX28" fmla="*/ 145025 w 150351"/>
                  <a:gd name="connsiteY28" fmla="*/ 145733 h 150494"/>
                  <a:gd name="connsiteX29" fmla="*/ 148804 w 150351"/>
                  <a:gd name="connsiteY29" fmla="*/ 126682 h 150494"/>
                  <a:gd name="connsiteX30" fmla="*/ 145025 w 150351"/>
                  <a:gd name="connsiteY30" fmla="*/ 120968 h 15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351" h="150494">
                    <a:moveTo>
                      <a:pt x="145025" y="120968"/>
                    </a:moveTo>
                    <a:cubicBezTo>
                      <a:pt x="145025" y="120968"/>
                      <a:pt x="144080" y="120015"/>
                      <a:pt x="144080" y="120015"/>
                    </a:cubicBezTo>
                    <a:cubicBezTo>
                      <a:pt x="144080" y="120015"/>
                      <a:pt x="144080" y="119063"/>
                      <a:pt x="143135" y="119063"/>
                    </a:cubicBezTo>
                    <a:lnTo>
                      <a:pt x="119516" y="95250"/>
                    </a:lnTo>
                    <a:lnTo>
                      <a:pt x="105345" y="80963"/>
                    </a:lnTo>
                    <a:lnTo>
                      <a:pt x="91173" y="66675"/>
                    </a:lnTo>
                    <a:lnTo>
                      <a:pt x="86450" y="61913"/>
                    </a:lnTo>
                    <a:cubicBezTo>
                      <a:pt x="78892" y="54293"/>
                      <a:pt x="78892" y="47625"/>
                      <a:pt x="79836" y="44768"/>
                    </a:cubicBezTo>
                    <a:cubicBezTo>
                      <a:pt x="81726" y="32385"/>
                      <a:pt x="77002" y="20002"/>
                      <a:pt x="68499" y="11430"/>
                    </a:cubicBezTo>
                    <a:cubicBezTo>
                      <a:pt x="60941" y="3810"/>
                      <a:pt x="50549" y="0"/>
                      <a:pt x="40157" y="0"/>
                    </a:cubicBezTo>
                    <a:cubicBezTo>
                      <a:pt x="38267" y="0"/>
                      <a:pt x="37322" y="0"/>
                      <a:pt x="35433" y="0"/>
                    </a:cubicBezTo>
                    <a:lnTo>
                      <a:pt x="55273" y="20002"/>
                    </a:lnTo>
                    <a:lnTo>
                      <a:pt x="47715" y="46672"/>
                    </a:lnTo>
                    <a:lnTo>
                      <a:pt x="20317" y="54293"/>
                    </a:lnTo>
                    <a:lnTo>
                      <a:pt x="477" y="34290"/>
                    </a:lnTo>
                    <a:cubicBezTo>
                      <a:pt x="-1413" y="45720"/>
                      <a:pt x="2366" y="57150"/>
                      <a:pt x="10869" y="66675"/>
                    </a:cubicBezTo>
                    <a:cubicBezTo>
                      <a:pt x="10869" y="67627"/>
                      <a:pt x="11814" y="67627"/>
                      <a:pt x="11814" y="68580"/>
                    </a:cubicBezTo>
                    <a:cubicBezTo>
                      <a:pt x="19372" y="76200"/>
                      <a:pt x="29764" y="80010"/>
                      <a:pt x="40157" y="80010"/>
                    </a:cubicBezTo>
                    <a:cubicBezTo>
                      <a:pt x="42046" y="80010"/>
                      <a:pt x="44880" y="80010"/>
                      <a:pt x="46770" y="79057"/>
                    </a:cubicBezTo>
                    <a:cubicBezTo>
                      <a:pt x="46770" y="79057"/>
                      <a:pt x="47715" y="79057"/>
                      <a:pt x="47715" y="79057"/>
                    </a:cubicBezTo>
                    <a:cubicBezTo>
                      <a:pt x="48659" y="79057"/>
                      <a:pt x="51494" y="79057"/>
                      <a:pt x="53383" y="80010"/>
                    </a:cubicBezTo>
                    <a:cubicBezTo>
                      <a:pt x="56217" y="80963"/>
                      <a:pt x="59052" y="82868"/>
                      <a:pt x="61886" y="85725"/>
                    </a:cubicBezTo>
                    <a:lnTo>
                      <a:pt x="70389" y="94297"/>
                    </a:lnTo>
                    <a:lnTo>
                      <a:pt x="118571" y="142875"/>
                    </a:lnTo>
                    <a:cubicBezTo>
                      <a:pt x="118571" y="142875"/>
                      <a:pt x="119516" y="143827"/>
                      <a:pt x="119516" y="143827"/>
                    </a:cubicBezTo>
                    <a:cubicBezTo>
                      <a:pt x="119516" y="143827"/>
                      <a:pt x="120461" y="144780"/>
                      <a:pt x="120461" y="144780"/>
                    </a:cubicBezTo>
                    <a:cubicBezTo>
                      <a:pt x="122350" y="146685"/>
                      <a:pt x="124240" y="147638"/>
                      <a:pt x="126129" y="148590"/>
                    </a:cubicBezTo>
                    <a:cubicBezTo>
                      <a:pt x="128019" y="149543"/>
                      <a:pt x="130853" y="150495"/>
                      <a:pt x="132743" y="150495"/>
                    </a:cubicBezTo>
                    <a:cubicBezTo>
                      <a:pt x="137466" y="150495"/>
                      <a:pt x="141246" y="148590"/>
                      <a:pt x="145025" y="145733"/>
                    </a:cubicBezTo>
                    <a:cubicBezTo>
                      <a:pt x="150693" y="140018"/>
                      <a:pt x="151638" y="132397"/>
                      <a:pt x="148804" y="126682"/>
                    </a:cubicBezTo>
                    <a:cubicBezTo>
                      <a:pt x="147859" y="123825"/>
                      <a:pt x="146914" y="121920"/>
                      <a:pt x="145025" y="120968"/>
                    </a:cubicBezTo>
                    <a:close/>
                  </a:path>
                </a:pathLst>
              </a:custGeom>
              <a:solidFill>
                <a:srgbClr val="3D4647"/>
              </a:solidFill>
              <a:ln w="9409"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E95F7940-8AE1-8DFD-AF2F-6515563C8F9A}"/>
                  </a:ext>
                </a:extLst>
              </p:cNvPr>
              <p:cNvSpPr/>
              <p:nvPr/>
            </p:nvSpPr>
            <p:spPr>
              <a:xfrm>
                <a:off x="3648134" y="2208577"/>
                <a:ext cx="261697" cy="19050"/>
              </a:xfrm>
              <a:custGeom>
                <a:avLst/>
                <a:gdLst>
                  <a:gd name="connsiteX0" fmla="*/ 0 w 261697"/>
                  <a:gd name="connsiteY0" fmla="*/ 0 h 19050"/>
                  <a:gd name="connsiteX1" fmla="*/ 261697 w 261697"/>
                  <a:gd name="connsiteY1" fmla="*/ 0 h 19050"/>
                  <a:gd name="connsiteX2" fmla="*/ 261697 w 261697"/>
                  <a:gd name="connsiteY2" fmla="*/ 19050 h 19050"/>
                  <a:gd name="connsiteX3" fmla="*/ 0 w 261697"/>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61697" h="19050">
                    <a:moveTo>
                      <a:pt x="0" y="0"/>
                    </a:moveTo>
                    <a:lnTo>
                      <a:pt x="261697" y="0"/>
                    </a:lnTo>
                    <a:lnTo>
                      <a:pt x="261697" y="19050"/>
                    </a:lnTo>
                    <a:lnTo>
                      <a:pt x="0" y="19050"/>
                    </a:lnTo>
                    <a:close/>
                  </a:path>
                </a:pathLst>
              </a:custGeom>
              <a:solidFill>
                <a:srgbClr val="40AA1D"/>
              </a:solidFill>
              <a:ln w="9409"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B5152409-E600-896F-53CE-E7EE4B52B058}"/>
                  </a:ext>
                </a:extLst>
              </p:cNvPr>
              <p:cNvSpPr/>
              <p:nvPr/>
            </p:nvSpPr>
            <p:spPr>
              <a:xfrm>
                <a:off x="3648134" y="2246677"/>
                <a:ext cx="261697" cy="19050"/>
              </a:xfrm>
              <a:custGeom>
                <a:avLst/>
                <a:gdLst>
                  <a:gd name="connsiteX0" fmla="*/ 0 w 261697"/>
                  <a:gd name="connsiteY0" fmla="*/ 0 h 19050"/>
                  <a:gd name="connsiteX1" fmla="*/ 261697 w 261697"/>
                  <a:gd name="connsiteY1" fmla="*/ 0 h 19050"/>
                  <a:gd name="connsiteX2" fmla="*/ 261697 w 261697"/>
                  <a:gd name="connsiteY2" fmla="*/ 19050 h 19050"/>
                  <a:gd name="connsiteX3" fmla="*/ 0 w 261697"/>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61697" h="19050">
                    <a:moveTo>
                      <a:pt x="0" y="0"/>
                    </a:moveTo>
                    <a:lnTo>
                      <a:pt x="261697" y="0"/>
                    </a:lnTo>
                    <a:lnTo>
                      <a:pt x="261697" y="19050"/>
                    </a:lnTo>
                    <a:lnTo>
                      <a:pt x="0" y="19050"/>
                    </a:lnTo>
                    <a:close/>
                  </a:path>
                </a:pathLst>
              </a:custGeom>
              <a:solidFill>
                <a:srgbClr val="40AA1D"/>
              </a:solidFill>
              <a:ln w="9409"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25EB514F-CE9B-A070-650A-B51962C4DA5C}"/>
                  </a:ext>
                </a:extLst>
              </p:cNvPr>
              <p:cNvSpPr/>
              <p:nvPr/>
            </p:nvSpPr>
            <p:spPr>
              <a:xfrm>
                <a:off x="3648134" y="2323830"/>
                <a:ext cx="151160" cy="19050"/>
              </a:xfrm>
              <a:custGeom>
                <a:avLst/>
                <a:gdLst>
                  <a:gd name="connsiteX0" fmla="*/ 0 w 151160"/>
                  <a:gd name="connsiteY0" fmla="*/ 0 h 19050"/>
                  <a:gd name="connsiteX1" fmla="*/ 151161 w 151160"/>
                  <a:gd name="connsiteY1" fmla="*/ 0 h 19050"/>
                  <a:gd name="connsiteX2" fmla="*/ 151161 w 151160"/>
                  <a:gd name="connsiteY2" fmla="*/ 19050 h 19050"/>
                  <a:gd name="connsiteX3" fmla="*/ 0 w 15116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51160" h="19050">
                    <a:moveTo>
                      <a:pt x="0" y="0"/>
                    </a:moveTo>
                    <a:lnTo>
                      <a:pt x="151161" y="0"/>
                    </a:lnTo>
                    <a:lnTo>
                      <a:pt x="151161" y="19050"/>
                    </a:lnTo>
                    <a:lnTo>
                      <a:pt x="0" y="19050"/>
                    </a:lnTo>
                    <a:close/>
                  </a:path>
                </a:pathLst>
              </a:custGeom>
              <a:solidFill>
                <a:srgbClr val="40AA1D"/>
              </a:solidFill>
              <a:ln w="9409"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6287C317-A17B-4EEF-30DC-41CB287AC175}"/>
                  </a:ext>
                </a:extLst>
              </p:cNvPr>
              <p:cNvSpPr/>
              <p:nvPr/>
            </p:nvSpPr>
            <p:spPr>
              <a:xfrm>
                <a:off x="3648134" y="2169525"/>
                <a:ext cx="151160" cy="19050"/>
              </a:xfrm>
              <a:custGeom>
                <a:avLst/>
                <a:gdLst>
                  <a:gd name="connsiteX0" fmla="*/ 0 w 151160"/>
                  <a:gd name="connsiteY0" fmla="*/ 0 h 19050"/>
                  <a:gd name="connsiteX1" fmla="*/ 151161 w 151160"/>
                  <a:gd name="connsiteY1" fmla="*/ 0 h 19050"/>
                  <a:gd name="connsiteX2" fmla="*/ 151161 w 151160"/>
                  <a:gd name="connsiteY2" fmla="*/ 19050 h 19050"/>
                  <a:gd name="connsiteX3" fmla="*/ 0 w 15116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51160" h="19050">
                    <a:moveTo>
                      <a:pt x="0" y="0"/>
                    </a:moveTo>
                    <a:lnTo>
                      <a:pt x="151161" y="0"/>
                    </a:lnTo>
                    <a:lnTo>
                      <a:pt x="151161" y="19050"/>
                    </a:lnTo>
                    <a:lnTo>
                      <a:pt x="0" y="19050"/>
                    </a:lnTo>
                    <a:close/>
                  </a:path>
                </a:pathLst>
              </a:custGeom>
              <a:solidFill>
                <a:srgbClr val="40AA1D"/>
              </a:solidFill>
              <a:ln w="9409"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2F3AE447-2034-CCAD-23A5-453033A53F77}"/>
                  </a:ext>
                </a:extLst>
              </p:cNvPr>
              <p:cNvSpPr/>
              <p:nvPr/>
            </p:nvSpPr>
            <p:spPr>
              <a:xfrm>
                <a:off x="3648134" y="2284777"/>
                <a:ext cx="196509" cy="19050"/>
              </a:xfrm>
              <a:custGeom>
                <a:avLst/>
                <a:gdLst>
                  <a:gd name="connsiteX0" fmla="*/ 0 w 196509"/>
                  <a:gd name="connsiteY0" fmla="*/ 0 h 19050"/>
                  <a:gd name="connsiteX1" fmla="*/ 196509 w 196509"/>
                  <a:gd name="connsiteY1" fmla="*/ 0 h 19050"/>
                  <a:gd name="connsiteX2" fmla="*/ 196509 w 196509"/>
                  <a:gd name="connsiteY2" fmla="*/ 19050 h 19050"/>
                  <a:gd name="connsiteX3" fmla="*/ 0 w 196509"/>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6509" h="19050">
                    <a:moveTo>
                      <a:pt x="0" y="0"/>
                    </a:moveTo>
                    <a:lnTo>
                      <a:pt x="196509" y="0"/>
                    </a:lnTo>
                    <a:lnTo>
                      <a:pt x="196509" y="19050"/>
                    </a:lnTo>
                    <a:lnTo>
                      <a:pt x="0" y="19050"/>
                    </a:lnTo>
                    <a:close/>
                  </a:path>
                </a:pathLst>
              </a:custGeom>
              <a:solidFill>
                <a:srgbClr val="40AA1D"/>
              </a:solidFill>
              <a:ln w="9409"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45F1F043-4F87-BD16-9581-061B6FAD963C}"/>
                  </a:ext>
                </a:extLst>
              </p:cNvPr>
              <p:cNvSpPr/>
              <p:nvPr/>
            </p:nvSpPr>
            <p:spPr>
              <a:xfrm>
                <a:off x="3847478" y="2048557"/>
                <a:ext cx="112425" cy="19050"/>
              </a:xfrm>
              <a:custGeom>
                <a:avLst/>
                <a:gdLst>
                  <a:gd name="connsiteX0" fmla="*/ 0 w 112425"/>
                  <a:gd name="connsiteY0" fmla="*/ 0 h 19050"/>
                  <a:gd name="connsiteX1" fmla="*/ 112426 w 112425"/>
                  <a:gd name="connsiteY1" fmla="*/ 0 h 19050"/>
                  <a:gd name="connsiteX2" fmla="*/ 112426 w 112425"/>
                  <a:gd name="connsiteY2" fmla="*/ 19050 h 19050"/>
                  <a:gd name="connsiteX3" fmla="*/ 0 w 1124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12425" h="19050">
                    <a:moveTo>
                      <a:pt x="0" y="0"/>
                    </a:moveTo>
                    <a:lnTo>
                      <a:pt x="112426" y="0"/>
                    </a:lnTo>
                    <a:lnTo>
                      <a:pt x="112426" y="19050"/>
                    </a:lnTo>
                    <a:lnTo>
                      <a:pt x="0" y="19050"/>
                    </a:lnTo>
                    <a:close/>
                  </a:path>
                </a:pathLst>
              </a:custGeom>
              <a:solidFill>
                <a:srgbClr val="40AA1D"/>
              </a:solidFill>
              <a:ln w="9409"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C51BF6E3-F48B-CE4F-0001-8763DE7E75A5}"/>
                  </a:ext>
                </a:extLst>
              </p:cNvPr>
              <p:cNvSpPr/>
              <p:nvPr/>
            </p:nvSpPr>
            <p:spPr>
              <a:xfrm>
                <a:off x="3847478" y="2009505"/>
                <a:ext cx="112425" cy="19050"/>
              </a:xfrm>
              <a:custGeom>
                <a:avLst/>
                <a:gdLst>
                  <a:gd name="connsiteX0" fmla="*/ 0 w 112425"/>
                  <a:gd name="connsiteY0" fmla="*/ 0 h 19050"/>
                  <a:gd name="connsiteX1" fmla="*/ 112426 w 112425"/>
                  <a:gd name="connsiteY1" fmla="*/ 0 h 19050"/>
                  <a:gd name="connsiteX2" fmla="*/ 112426 w 112425"/>
                  <a:gd name="connsiteY2" fmla="*/ 19050 h 19050"/>
                  <a:gd name="connsiteX3" fmla="*/ 0 w 1124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12425" h="19050">
                    <a:moveTo>
                      <a:pt x="0" y="0"/>
                    </a:moveTo>
                    <a:lnTo>
                      <a:pt x="112426" y="0"/>
                    </a:lnTo>
                    <a:lnTo>
                      <a:pt x="112426" y="19050"/>
                    </a:lnTo>
                    <a:lnTo>
                      <a:pt x="0" y="19050"/>
                    </a:lnTo>
                    <a:close/>
                  </a:path>
                </a:pathLst>
              </a:custGeom>
              <a:solidFill>
                <a:srgbClr val="40AA1D"/>
              </a:solidFill>
              <a:ln w="9409" cap="flat">
                <a:noFill/>
                <a:prstDash val="solid"/>
                <a:miter/>
              </a:ln>
            </p:spPr>
            <p:txBody>
              <a:bodyPr rtlCol="0" anchor="ctr"/>
              <a:lstStyle/>
              <a:p>
                <a:endParaRPr lang="en-US" dirty="0"/>
              </a:p>
            </p:txBody>
          </p:sp>
        </p:grpSp>
        <p:grpSp>
          <p:nvGrpSpPr>
            <p:cNvPr id="63" name="Graphic 265">
              <a:extLst>
                <a:ext uri="{FF2B5EF4-FFF2-40B4-BE49-F238E27FC236}">
                  <a16:creationId xmlns:a16="http://schemas.microsoft.com/office/drawing/2014/main" id="{4BCB4DEA-D627-D993-2B19-15C9D1823702}"/>
                </a:ext>
              </a:extLst>
            </p:cNvPr>
            <p:cNvGrpSpPr/>
            <p:nvPr/>
          </p:nvGrpSpPr>
          <p:grpSpPr>
            <a:xfrm>
              <a:off x="3649079" y="1978072"/>
              <a:ext cx="150216" cy="152400"/>
              <a:chOff x="3649079" y="1978072"/>
              <a:chExt cx="150216" cy="152400"/>
            </a:xfrm>
            <a:solidFill>
              <a:srgbClr val="40AA1D"/>
            </a:solidFill>
          </p:grpSpPr>
          <p:sp>
            <p:nvSpPr>
              <p:cNvPr id="576" name="Freeform: Shape 575">
                <a:extLst>
                  <a:ext uri="{FF2B5EF4-FFF2-40B4-BE49-F238E27FC236}">
                    <a16:creationId xmlns:a16="http://schemas.microsoft.com/office/drawing/2014/main" id="{CDD2E1C0-402D-FD0F-E29B-FB8A7B49A79D}"/>
                  </a:ext>
                </a:extLst>
              </p:cNvPr>
              <p:cNvSpPr/>
              <p:nvPr/>
            </p:nvSpPr>
            <p:spPr>
              <a:xfrm>
                <a:off x="3695372" y="2024744"/>
                <a:ext cx="58574" cy="59055"/>
              </a:xfrm>
              <a:custGeom>
                <a:avLst/>
                <a:gdLst>
                  <a:gd name="connsiteX0" fmla="*/ 4724 w 58574"/>
                  <a:gd name="connsiteY0" fmla="*/ 59055 h 59055"/>
                  <a:gd name="connsiteX1" fmla="*/ 53851 w 58574"/>
                  <a:gd name="connsiteY1" fmla="*/ 59055 h 59055"/>
                  <a:gd name="connsiteX2" fmla="*/ 58575 w 58574"/>
                  <a:gd name="connsiteY2" fmla="*/ 54293 h 59055"/>
                  <a:gd name="connsiteX3" fmla="*/ 58575 w 58574"/>
                  <a:gd name="connsiteY3" fmla="*/ 4763 h 59055"/>
                  <a:gd name="connsiteX4" fmla="*/ 53851 w 58574"/>
                  <a:gd name="connsiteY4" fmla="*/ 0 h 59055"/>
                  <a:gd name="connsiteX5" fmla="*/ 4724 w 58574"/>
                  <a:gd name="connsiteY5" fmla="*/ 0 h 59055"/>
                  <a:gd name="connsiteX6" fmla="*/ 0 w 58574"/>
                  <a:gd name="connsiteY6" fmla="*/ 4763 h 59055"/>
                  <a:gd name="connsiteX7" fmla="*/ 0 w 58574"/>
                  <a:gd name="connsiteY7" fmla="*/ 54293 h 59055"/>
                  <a:gd name="connsiteX8" fmla="*/ 4724 w 58574"/>
                  <a:gd name="connsiteY8" fmla="*/ 59055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574" h="59055">
                    <a:moveTo>
                      <a:pt x="4724" y="59055"/>
                    </a:moveTo>
                    <a:lnTo>
                      <a:pt x="53851" y="59055"/>
                    </a:lnTo>
                    <a:cubicBezTo>
                      <a:pt x="56685" y="59055"/>
                      <a:pt x="58575" y="57150"/>
                      <a:pt x="58575" y="54293"/>
                    </a:cubicBezTo>
                    <a:lnTo>
                      <a:pt x="58575" y="4763"/>
                    </a:lnTo>
                    <a:cubicBezTo>
                      <a:pt x="58575" y="1905"/>
                      <a:pt x="56685" y="0"/>
                      <a:pt x="53851" y="0"/>
                    </a:cubicBezTo>
                    <a:lnTo>
                      <a:pt x="4724" y="0"/>
                    </a:lnTo>
                    <a:cubicBezTo>
                      <a:pt x="1890" y="0"/>
                      <a:pt x="0" y="1905"/>
                      <a:pt x="0" y="4763"/>
                    </a:cubicBezTo>
                    <a:lnTo>
                      <a:pt x="0" y="54293"/>
                    </a:lnTo>
                    <a:cubicBezTo>
                      <a:pt x="0" y="57150"/>
                      <a:pt x="1890" y="59055"/>
                      <a:pt x="4724" y="59055"/>
                    </a:cubicBezTo>
                    <a:close/>
                  </a:path>
                </a:pathLst>
              </a:custGeom>
              <a:solidFill>
                <a:srgbClr val="40AA1D"/>
              </a:solidFill>
              <a:ln w="9409" cap="flat">
                <a:noFill/>
                <a:prstDash val="solid"/>
                <a:miter/>
              </a:ln>
            </p:spPr>
            <p:txBody>
              <a:bodyPr rtlCol="0" anchor="ctr"/>
              <a:lstStyle/>
              <a:p>
                <a:endParaRPr lang="en-US" dirty="0"/>
              </a:p>
            </p:txBody>
          </p:sp>
          <p:sp>
            <p:nvSpPr>
              <p:cNvPr id="577" name="Freeform: Shape 576">
                <a:extLst>
                  <a:ext uri="{FF2B5EF4-FFF2-40B4-BE49-F238E27FC236}">
                    <a16:creationId xmlns:a16="http://schemas.microsoft.com/office/drawing/2014/main" id="{FF429D4C-042E-3AA3-03B8-4F02DB513FC9}"/>
                  </a:ext>
                </a:extLst>
              </p:cNvPr>
              <p:cNvSpPr/>
              <p:nvPr/>
            </p:nvSpPr>
            <p:spPr>
              <a:xfrm>
                <a:off x="3649079" y="1978072"/>
                <a:ext cx="150216" cy="152400"/>
              </a:xfrm>
              <a:custGeom>
                <a:avLst/>
                <a:gdLst>
                  <a:gd name="connsiteX0" fmla="*/ 150216 w 150216"/>
                  <a:gd name="connsiteY0" fmla="*/ 60960 h 152400"/>
                  <a:gd name="connsiteX1" fmla="*/ 150216 w 150216"/>
                  <a:gd name="connsiteY1" fmla="*/ 51435 h 152400"/>
                  <a:gd name="connsiteX2" fmla="*/ 133211 w 150216"/>
                  <a:gd name="connsiteY2" fmla="*/ 51435 h 152400"/>
                  <a:gd name="connsiteX3" fmla="*/ 133211 w 150216"/>
                  <a:gd name="connsiteY3" fmla="*/ 26670 h 152400"/>
                  <a:gd name="connsiteX4" fmla="*/ 123763 w 150216"/>
                  <a:gd name="connsiteY4" fmla="*/ 17145 h 152400"/>
                  <a:gd name="connsiteX5" fmla="*/ 100144 w 150216"/>
                  <a:gd name="connsiteY5" fmla="*/ 17145 h 152400"/>
                  <a:gd name="connsiteX6" fmla="*/ 100144 w 150216"/>
                  <a:gd name="connsiteY6" fmla="*/ 0 h 152400"/>
                  <a:gd name="connsiteX7" fmla="*/ 90697 w 150216"/>
                  <a:gd name="connsiteY7" fmla="*/ 0 h 152400"/>
                  <a:gd name="connsiteX8" fmla="*/ 90697 w 150216"/>
                  <a:gd name="connsiteY8" fmla="*/ 17145 h 152400"/>
                  <a:gd name="connsiteX9" fmla="*/ 80304 w 150216"/>
                  <a:gd name="connsiteY9" fmla="*/ 17145 h 152400"/>
                  <a:gd name="connsiteX10" fmla="*/ 80304 w 150216"/>
                  <a:gd name="connsiteY10" fmla="*/ 0 h 152400"/>
                  <a:gd name="connsiteX11" fmla="*/ 70857 w 150216"/>
                  <a:gd name="connsiteY11" fmla="*/ 0 h 152400"/>
                  <a:gd name="connsiteX12" fmla="*/ 70857 w 150216"/>
                  <a:gd name="connsiteY12" fmla="*/ 17145 h 152400"/>
                  <a:gd name="connsiteX13" fmla="*/ 60464 w 150216"/>
                  <a:gd name="connsiteY13" fmla="*/ 17145 h 152400"/>
                  <a:gd name="connsiteX14" fmla="*/ 60464 w 150216"/>
                  <a:gd name="connsiteY14" fmla="*/ 0 h 152400"/>
                  <a:gd name="connsiteX15" fmla="*/ 51017 w 150216"/>
                  <a:gd name="connsiteY15" fmla="*/ 0 h 152400"/>
                  <a:gd name="connsiteX16" fmla="*/ 51017 w 150216"/>
                  <a:gd name="connsiteY16" fmla="*/ 17145 h 152400"/>
                  <a:gd name="connsiteX17" fmla="*/ 26453 w 150216"/>
                  <a:gd name="connsiteY17" fmla="*/ 17145 h 152400"/>
                  <a:gd name="connsiteX18" fmla="*/ 17006 w 150216"/>
                  <a:gd name="connsiteY18" fmla="*/ 26670 h 152400"/>
                  <a:gd name="connsiteX19" fmla="*/ 17006 w 150216"/>
                  <a:gd name="connsiteY19" fmla="*/ 51435 h 152400"/>
                  <a:gd name="connsiteX20" fmla="*/ 0 w 150216"/>
                  <a:gd name="connsiteY20" fmla="*/ 51435 h 152400"/>
                  <a:gd name="connsiteX21" fmla="*/ 0 w 150216"/>
                  <a:gd name="connsiteY21" fmla="*/ 60960 h 152400"/>
                  <a:gd name="connsiteX22" fmla="*/ 17006 w 150216"/>
                  <a:gd name="connsiteY22" fmla="*/ 60960 h 152400"/>
                  <a:gd name="connsiteX23" fmla="*/ 17006 w 150216"/>
                  <a:gd name="connsiteY23" fmla="*/ 71438 h 152400"/>
                  <a:gd name="connsiteX24" fmla="*/ 0 w 150216"/>
                  <a:gd name="connsiteY24" fmla="*/ 71438 h 152400"/>
                  <a:gd name="connsiteX25" fmla="*/ 0 w 150216"/>
                  <a:gd name="connsiteY25" fmla="*/ 80963 h 152400"/>
                  <a:gd name="connsiteX26" fmla="*/ 17006 w 150216"/>
                  <a:gd name="connsiteY26" fmla="*/ 80963 h 152400"/>
                  <a:gd name="connsiteX27" fmla="*/ 17006 w 150216"/>
                  <a:gd name="connsiteY27" fmla="*/ 91440 h 152400"/>
                  <a:gd name="connsiteX28" fmla="*/ 0 w 150216"/>
                  <a:gd name="connsiteY28" fmla="*/ 91440 h 152400"/>
                  <a:gd name="connsiteX29" fmla="*/ 0 w 150216"/>
                  <a:gd name="connsiteY29" fmla="*/ 100965 h 152400"/>
                  <a:gd name="connsiteX30" fmla="*/ 17006 w 150216"/>
                  <a:gd name="connsiteY30" fmla="*/ 100965 h 152400"/>
                  <a:gd name="connsiteX31" fmla="*/ 17006 w 150216"/>
                  <a:gd name="connsiteY31" fmla="*/ 125730 h 152400"/>
                  <a:gd name="connsiteX32" fmla="*/ 26453 w 150216"/>
                  <a:gd name="connsiteY32" fmla="*/ 135255 h 152400"/>
                  <a:gd name="connsiteX33" fmla="*/ 51017 w 150216"/>
                  <a:gd name="connsiteY33" fmla="*/ 135255 h 152400"/>
                  <a:gd name="connsiteX34" fmla="*/ 51017 w 150216"/>
                  <a:gd name="connsiteY34" fmla="*/ 152400 h 152400"/>
                  <a:gd name="connsiteX35" fmla="*/ 60464 w 150216"/>
                  <a:gd name="connsiteY35" fmla="*/ 152400 h 152400"/>
                  <a:gd name="connsiteX36" fmla="*/ 60464 w 150216"/>
                  <a:gd name="connsiteY36" fmla="*/ 135255 h 152400"/>
                  <a:gd name="connsiteX37" fmla="*/ 70857 w 150216"/>
                  <a:gd name="connsiteY37" fmla="*/ 135255 h 152400"/>
                  <a:gd name="connsiteX38" fmla="*/ 70857 w 150216"/>
                  <a:gd name="connsiteY38" fmla="*/ 152400 h 152400"/>
                  <a:gd name="connsiteX39" fmla="*/ 80304 w 150216"/>
                  <a:gd name="connsiteY39" fmla="*/ 152400 h 152400"/>
                  <a:gd name="connsiteX40" fmla="*/ 80304 w 150216"/>
                  <a:gd name="connsiteY40" fmla="*/ 135255 h 152400"/>
                  <a:gd name="connsiteX41" fmla="*/ 90697 w 150216"/>
                  <a:gd name="connsiteY41" fmla="*/ 135255 h 152400"/>
                  <a:gd name="connsiteX42" fmla="*/ 90697 w 150216"/>
                  <a:gd name="connsiteY42" fmla="*/ 152400 h 152400"/>
                  <a:gd name="connsiteX43" fmla="*/ 100144 w 150216"/>
                  <a:gd name="connsiteY43" fmla="*/ 152400 h 152400"/>
                  <a:gd name="connsiteX44" fmla="*/ 100144 w 150216"/>
                  <a:gd name="connsiteY44" fmla="*/ 135255 h 152400"/>
                  <a:gd name="connsiteX45" fmla="*/ 123763 w 150216"/>
                  <a:gd name="connsiteY45" fmla="*/ 135255 h 152400"/>
                  <a:gd name="connsiteX46" fmla="*/ 133211 w 150216"/>
                  <a:gd name="connsiteY46" fmla="*/ 125730 h 152400"/>
                  <a:gd name="connsiteX47" fmla="*/ 133211 w 150216"/>
                  <a:gd name="connsiteY47" fmla="*/ 100965 h 152400"/>
                  <a:gd name="connsiteX48" fmla="*/ 150216 w 150216"/>
                  <a:gd name="connsiteY48" fmla="*/ 100965 h 152400"/>
                  <a:gd name="connsiteX49" fmla="*/ 150216 w 150216"/>
                  <a:gd name="connsiteY49" fmla="*/ 91440 h 152400"/>
                  <a:gd name="connsiteX50" fmla="*/ 133211 w 150216"/>
                  <a:gd name="connsiteY50" fmla="*/ 91440 h 152400"/>
                  <a:gd name="connsiteX51" fmla="*/ 133211 w 150216"/>
                  <a:gd name="connsiteY51" fmla="*/ 80963 h 152400"/>
                  <a:gd name="connsiteX52" fmla="*/ 150216 w 150216"/>
                  <a:gd name="connsiteY52" fmla="*/ 80963 h 152400"/>
                  <a:gd name="connsiteX53" fmla="*/ 150216 w 150216"/>
                  <a:gd name="connsiteY53" fmla="*/ 71438 h 152400"/>
                  <a:gd name="connsiteX54" fmla="*/ 133211 w 150216"/>
                  <a:gd name="connsiteY54" fmla="*/ 71438 h 152400"/>
                  <a:gd name="connsiteX55" fmla="*/ 133211 w 150216"/>
                  <a:gd name="connsiteY55" fmla="*/ 60960 h 152400"/>
                  <a:gd name="connsiteX56" fmla="*/ 150216 w 150216"/>
                  <a:gd name="connsiteY56" fmla="*/ 60960 h 152400"/>
                  <a:gd name="connsiteX57" fmla="*/ 114315 w 150216"/>
                  <a:gd name="connsiteY57" fmla="*/ 116205 h 152400"/>
                  <a:gd name="connsiteX58" fmla="*/ 35901 w 150216"/>
                  <a:gd name="connsiteY58" fmla="*/ 116205 h 152400"/>
                  <a:gd name="connsiteX59" fmla="*/ 35901 w 150216"/>
                  <a:gd name="connsiteY59" fmla="*/ 36195 h 152400"/>
                  <a:gd name="connsiteX60" fmla="*/ 115260 w 150216"/>
                  <a:gd name="connsiteY60" fmla="*/ 36195 h 152400"/>
                  <a:gd name="connsiteX61" fmla="*/ 115260 w 150216"/>
                  <a:gd name="connsiteY61" fmla="*/ 11620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50216" h="152400">
                    <a:moveTo>
                      <a:pt x="150216" y="60960"/>
                    </a:moveTo>
                    <a:lnTo>
                      <a:pt x="150216" y="51435"/>
                    </a:lnTo>
                    <a:lnTo>
                      <a:pt x="133211" y="51435"/>
                    </a:lnTo>
                    <a:lnTo>
                      <a:pt x="133211" y="26670"/>
                    </a:lnTo>
                    <a:cubicBezTo>
                      <a:pt x="133211" y="20955"/>
                      <a:pt x="128487" y="17145"/>
                      <a:pt x="123763" y="17145"/>
                    </a:cubicBezTo>
                    <a:lnTo>
                      <a:pt x="100144" y="17145"/>
                    </a:lnTo>
                    <a:lnTo>
                      <a:pt x="100144" y="0"/>
                    </a:lnTo>
                    <a:lnTo>
                      <a:pt x="90697" y="0"/>
                    </a:lnTo>
                    <a:lnTo>
                      <a:pt x="90697" y="17145"/>
                    </a:lnTo>
                    <a:lnTo>
                      <a:pt x="80304" y="17145"/>
                    </a:lnTo>
                    <a:lnTo>
                      <a:pt x="80304" y="0"/>
                    </a:lnTo>
                    <a:lnTo>
                      <a:pt x="70857" y="0"/>
                    </a:lnTo>
                    <a:lnTo>
                      <a:pt x="70857" y="17145"/>
                    </a:lnTo>
                    <a:lnTo>
                      <a:pt x="60464" y="17145"/>
                    </a:lnTo>
                    <a:lnTo>
                      <a:pt x="60464" y="0"/>
                    </a:lnTo>
                    <a:lnTo>
                      <a:pt x="51017" y="0"/>
                    </a:lnTo>
                    <a:lnTo>
                      <a:pt x="51017" y="17145"/>
                    </a:lnTo>
                    <a:lnTo>
                      <a:pt x="26453" y="17145"/>
                    </a:lnTo>
                    <a:cubicBezTo>
                      <a:pt x="20785" y="17145"/>
                      <a:pt x="17006" y="21908"/>
                      <a:pt x="17006" y="26670"/>
                    </a:cubicBezTo>
                    <a:lnTo>
                      <a:pt x="17006" y="51435"/>
                    </a:lnTo>
                    <a:lnTo>
                      <a:pt x="0" y="51435"/>
                    </a:lnTo>
                    <a:lnTo>
                      <a:pt x="0" y="60960"/>
                    </a:lnTo>
                    <a:lnTo>
                      <a:pt x="17006" y="60960"/>
                    </a:lnTo>
                    <a:lnTo>
                      <a:pt x="17006" y="71438"/>
                    </a:lnTo>
                    <a:lnTo>
                      <a:pt x="0" y="71438"/>
                    </a:lnTo>
                    <a:lnTo>
                      <a:pt x="0" y="80963"/>
                    </a:lnTo>
                    <a:lnTo>
                      <a:pt x="17006" y="80963"/>
                    </a:lnTo>
                    <a:lnTo>
                      <a:pt x="17006" y="91440"/>
                    </a:lnTo>
                    <a:lnTo>
                      <a:pt x="0" y="91440"/>
                    </a:lnTo>
                    <a:lnTo>
                      <a:pt x="0" y="100965"/>
                    </a:lnTo>
                    <a:lnTo>
                      <a:pt x="17006" y="100965"/>
                    </a:lnTo>
                    <a:lnTo>
                      <a:pt x="17006" y="125730"/>
                    </a:lnTo>
                    <a:cubicBezTo>
                      <a:pt x="17006" y="131445"/>
                      <a:pt x="21729" y="135255"/>
                      <a:pt x="26453" y="135255"/>
                    </a:cubicBezTo>
                    <a:lnTo>
                      <a:pt x="51017" y="135255"/>
                    </a:lnTo>
                    <a:lnTo>
                      <a:pt x="51017" y="152400"/>
                    </a:lnTo>
                    <a:lnTo>
                      <a:pt x="60464" y="152400"/>
                    </a:lnTo>
                    <a:lnTo>
                      <a:pt x="60464" y="135255"/>
                    </a:lnTo>
                    <a:lnTo>
                      <a:pt x="70857" y="135255"/>
                    </a:lnTo>
                    <a:lnTo>
                      <a:pt x="70857" y="152400"/>
                    </a:lnTo>
                    <a:lnTo>
                      <a:pt x="80304" y="152400"/>
                    </a:lnTo>
                    <a:lnTo>
                      <a:pt x="80304" y="135255"/>
                    </a:lnTo>
                    <a:lnTo>
                      <a:pt x="90697" y="135255"/>
                    </a:lnTo>
                    <a:lnTo>
                      <a:pt x="90697" y="152400"/>
                    </a:lnTo>
                    <a:lnTo>
                      <a:pt x="100144" y="152400"/>
                    </a:lnTo>
                    <a:lnTo>
                      <a:pt x="100144" y="135255"/>
                    </a:lnTo>
                    <a:lnTo>
                      <a:pt x="123763" y="135255"/>
                    </a:lnTo>
                    <a:cubicBezTo>
                      <a:pt x="129432" y="135255"/>
                      <a:pt x="133211" y="130493"/>
                      <a:pt x="133211" y="125730"/>
                    </a:cubicBezTo>
                    <a:lnTo>
                      <a:pt x="133211" y="100965"/>
                    </a:lnTo>
                    <a:lnTo>
                      <a:pt x="150216" y="100965"/>
                    </a:lnTo>
                    <a:lnTo>
                      <a:pt x="150216" y="91440"/>
                    </a:lnTo>
                    <a:lnTo>
                      <a:pt x="133211" y="91440"/>
                    </a:lnTo>
                    <a:lnTo>
                      <a:pt x="133211" y="80963"/>
                    </a:lnTo>
                    <a:lnTo>
                      <a:pt x="150216" y="80963"/>
                    </a:lnTo>
                    <a:lnTo>
                      <a:pt x="150216" y="71438"/>
                    </a:lnTo>
                    <a:lnTo>
                      <a:pt x="133211" y="71438"/>
                    </a:lnTo>
                    <a:lnTo>
                      <a:pt x="133211" y="60960"/>
                    </a:lnTo>
                    <a:lnTo>
                      <a:pt x="150216" y="60960"/>
                    </a:lnTo>
                    <a:close/>
                    <a:moveTo>
                      <a:pt x="114315" y="116205"/>
                    </a:moveTo>
                    <a:lnTo>
                      <a:pt x="35901" y="116205"/>
                    </a:lnTo>
                    <a:lnTo>
                      <a:pt x="35901" y="36195"/>
                    </a:lnTo>
                    <a:lnTo>
                      <a:pt x="115260" y="36195"/>
                    </a:lnTo>
                    <a:lnTo>
                      <a:pt x="115260" y="116205"/>
                    </a:lnTo>
                    <a:close/>
                  </a:path>
                </a:pathLst>
              </a:custGeom>
              <a:solidFill>
                <a:srgbClr val="40AA1D"/>
              </a:solidFill>
              <a:ln w="9409" cap="flat">
                <a:noFill/>
                <a:prstDash val="solid"/>
                <a:miter/>
              </a:ln>
            </p:spPr>
            <p:txBody>
              <a:bodyPr rtlCol="0" anchor="ctr"/>
              <a:lstStyle/>
              <a:p>
                <a:endParaRPr lang="en-US" dirty="0"/>
              </a:p>
            </p:txBody>
          </p:sp>
        </p:grpSp>
        <p:sp>
          <p:nvSpPr>
            <p:cNvPr id="586" name="Freeform: Shape 585">
              <a:extLst>
                <a:ext uri="{FF2B5EF4-FFF2-40B4-BE49-F238E27FC236}">
                  <a16:creationId xmlns:a16="http://schemas.microsoft.com/office/drawing/2014/main" id="{D252FE18-2889-82D3-3D5B-6C57185F525A}"/>
                </a:ext>
              </a:extLst>
            </p:cNvPr>
            <p:cNvSpPr/>
            <p:nvPr/>
          </p:nvSpPr>
          <p:spPr>
            <a:xfrm>
              <a:off x="3464852" y="2059035"/>
              <a:ext cx="87862" cy="195262"/>
            </a:xfrm>
            <a:custGeom>
              <a:avLst/>
              <a:gdLst>
                <a:gd name="connsiteX0" fmla="*/ 87862 w 87862"/>
                <a:gd name="connsiteY0" fmla="*/ 77153 h 195262"/>
                <a:gd name="connsiteX1" fmla="*/ 87862 w 87862"/>
                <a:gd name="connsiteY1" fmla="*/ 0 h 195262"/>
                <a:gd name="connsiteX2" fmla="*/ 16061 w 87862"/>
                <a:gd name="connsiteY2" fmla="*/ 0 h 195262"/>
                <a:gd name="connsiteX3" fmla="*/ 0 w 87862"/>
                <a:gd name="connsiteY3" fmla="*/ 16193 h 195262"/>
                <a:gd name="connsiteX4" fmla="*/ 0 w 87862"/>
                <a:gd name="connsiteY4" fmla="*/ 179070 h 195262"/>
                <a:gd name="connsiteX5" fmla="*/ 16061 w 87862"/>
                <a:gd name="connsiteY5" fmla="*/ 195263 h 195262"/>
                <a:gd name="connsiteX6" fmla="*/ 87862 w 87862"/>
                <a:gd name="connsiteY6" fmla="*/ 195263 h 195262"/>
                <a:gd name="connsiteX7" fmla="*/ 87862 w 87862"/>
                <a:gd name="connsiteY7" fmla="*/ 178118 h 195262"/>
                <a:gd name="connsiteX8" fmla="*/ 87862 w 87862"/>
                <a:gd name="connsiteY8" fmla="*/ 77153 h 1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862" h="195262">
                  <a:moveTo>
                    <a:pt x="87862" y="77153"/>
                  </a:moveTo>
                  <a:lnTo>
                    <a:pt x="87862" y="0"/>
                  </a:lnTo>
                  <a:lnTo>
                    <a:pt x="16061" y="0"/>
                  </a:lnTo>
                  <a:cubicBezTo>
                    <a:pt x="7558" y="0"/>
                    <a:pt x="0" y="7620"/>
                    <a:pt x="0" y="16193"/>
                  </a:cubicBezTo>
                  <a:lnTo>
                    <a:pt x="0" y="179070"/>
                  </a:lnTo>
                  <a:cubicBezTo>
                    <a:pt x="0" y="187643"/>
                    <a:pt x="7558" y="195263"/>
                    <a:pt x="16061" y="195263"/>
                  </a:cubicBezTo>
                  <a:lnTo>
                    <a:pt x="87862" y="195263"/>
                  </a:lnTo>
                  <a:lnTo>
                    <a:pt x="87862" y="178118"/>
                  </a:lnTo>
                  <a:lnTo>
                    <a:pt x="87862" y="77153"/>
                  </a:lnTo>
                  <a:close/>
                </a:path>
              </a:pathLst>
            </a:custGeom>
            <a:solidFill>
              <a:srgbClr val="3D4647"/>
            </a:solidFill>
            <a:ln w="9409" cap="flat">
              <a:noFill/>
              <a:prstDash val="solid"/>
              <a:miter/>
            </a:ln>
          </p:spPr>
          <p:txBody>
            <a:bodyPr rtlCol="0" anchor="ctr"/>
            <a:lstStyle/>
            <a:p>
              <a:endParaRPr lang="en-US" dirty="0"/>
            </a:p>
          </p:txBody>
        </p:sp>
        <p:sp>
          <p:nvSpPr>
            <p:cNvPr id="587" name="Freeform: Shape 586">
              <a:extLst>
                <a:ext uri="{FF2B5EF4-FFF2-40B4-BE49-F238E27FC236}">
                  <a16:creationId xmlns:a16="http://schemas.microsoft.com/office/drawing/2014/main" id="{E33D70C2-E5B7-6D4E-7165-F4796CA2D855}"/>
                </a:ext>
              </a:extLst>
            </p:cNvPr>
            <p:cNvSpPr/>
            <p:nvPr/>
          </p:nvSpPr>
          <p:spPr>
            <a:xfrm>
              <a:off x="3259840" y="1849485"/>
              <a:ext cx="292874" cy="609600"/>
            </a:xfrm>
            <a:custGeom>
              <a:avLst/>
              <a:gdLst>
                <a:gd name="connsiteX0" fmla="*/ 163443 w 292874"/>
                <a:gd name="connsiteY0" fmla="*/ 164783 h 609600"/>
                <a:gd name="connsiteX1" fmla="*/ 292874 w 292874"/>
                <a:gd name="connsiteY1" fmla="*/ 164783 h 609600"/>
                <a:gd name="connsiteX2" fmla="*/ 292874 w 292874"/>
                <a:gd name="connsiteY2" fmla="*/ 107633 h 609600"/>
                <a:gd name="connsiteX3" fmla="*/ 262642 w 292874"/>
                <a:gd name="connsiteY3" fmla="*/ 107633 h 609600"/>
                <a:gd name="connsiteX4" fmla="*/ 262642 w 292874"/>
                <a:gd name="connsiteY4" fmla="*/ 0 h 609600"/>
                <a:gd name="connsiteX5" fmla="*/ 234300 w 292874"/>
                <a:gd name="connsiteY5" fmla="*/ 0 h 609600"/>
                <a:gd name="connsiteX6" fmla="*/ 234300 w 292874"/>
                <a:gd name="connsiteY6" fmla="*/ 107633 h 609600"/>
                <a:gd name="connsiteX7" fmla="*/ 209736 w 292874"/>
                <a:gd name="connsiteY7" fmla="*/ 107633 h 609600"/>
                <a:gd name="connsiteX8" fmla="*/ 209736 w 292874"/>
                <a:gd name="connsiteY8" fmla="*/ 51435 h 609600"/>
                <a:gd name="connsiteX9" fmla="*/ 181393 w 292874"/>
                <a:gd name="connsiteY9" fmla="*/ 51435 h 609600"/>
                <a:gd name="connsiteX10" fmla="*/ 181393 w 292874"/>
                <a:gd name="connsiteY10" fmla="*/ 107633 h 609600"/>
                <a:gd name="connsiteX11" fmla="*/ 162498 w 292874"/>
                <a:gd name="connsiteY11" fmla="*/ 107633 h 609600"/>
                <a:gd name="connsiteX12" fmla="*/ 107702 w 292874"/>
                <a:gd name="connsiteY12" fmla="*/ 162878 h 609600"/>
                <a:gd name="connsiteX13" fmla="*/ 107702 w 292874"/>
                <a:gd name="connsiteY13" fmla="*/ 181928 h 609600"/>
                <a:gd name="connsiteX14" fmla="*/ 51017 w 292874"/>
                <a:gd name="connsiteY14" fmla="*/ 181928 h 609600"/>
                <a:gd name="connsiteX15" fmla="*/ 51017 w 292874"/>
                <a:gd name="connsiteY15" fmla="*/ 210503 h 609600"/>
                <a:gd name="connsiteX16" fmla="*/ 106757 w 292874"/>
                <a:gd name="connsiteY16" fmla="*/ 210503 h 609600"/>
                <a:gd name="connsiteX17" fmla="*/ 106757 w 292874"/>
                <a:gd name="connsiteY17" fmla="*/ 238125 h 609600"/>
                <a:gd name="connsiteX18" fmla="*/ 0 w 292874"/>
                <a:gd name="connsiteY18" fmla="*/ 238125 h 609600"/>
                <a:gd name="connsiteX19" fmla="*/ 0 w 292874"/>
                <a:gd name="connsiteY19" fmla="*/ 266700 h 609600"/>
                <a:gd name="connsiteX20" fmla="*/ 106757 w 292874"/>
                <a:gd name="connsiteY20" fmla="*/ 266700 h 609600"/>
                <a:gd name="connsiteX21" fmla="*/ 106757 w 292874"/>
                <a:gd name="connsiteY21" fmla="*/ 292418 h 609600"/>
                <a:gd name="connsiteX22" fmla="*/ 51017 w 292874"/>
                <a:gd name="connsiteY22" fmla="*/ 292418 h 609600"/>
                <a:gd name="connsiteX23" fmla="*/ 51017 w 292874"/>
                <a:gd name="connsiteY23" fmla="*/ 320993 h 609600"/>
                <a:gd name="connsiteX24" fmla="*/ 106757 w 292874"/>
                <a:gd name="connsiteY24" fmla="*/ 320993 h 609600"/>
                <a:gd name="connsiteX25" fmla="*/ 106757 w 292874"/>
                <a:gd name="connsiteY25" fmla="*/ 347663 h 609600"/>
                <a:gd name="connsiteX26" fmla="*/ 0 w 292874"/>
                <a:gd name="connsiteY26" fmla="*/ 347663 h 609600"/>
                <a:gd name="connsiteX27" fmla="*/ 0 w 292874"/>
                <a:gd name="connsiteY27" fmla="*/ 376238 h 609600"/>
                <a:gd name="connsiteX28" fmla="*/ 106757 w 292874"/>
                <a:gd name="connsiteY28" fmla="*/ 376238 h 609600"/>
                <a:gd name="connsiteX29" fmla="*/ 106757 w 292874"/>
                <a:gd name="connsiteY29" fmla="*/ 401003 h 609600"/>
                <a:gd name="connsiteX30" fmla="*/ 51017 w 292874"/>
                <a:gd name="connsiteY30" fmla="*/ 401003 h 609600"/>
                <a:gd name="connsiteX31" fmla="*/ 51017 w 292874"/>
                <a:gd name="connsiteY31" fmla="*/ 429578 h 609600"/>
                <a:gd name="connsiteX32" fmla="*/ 106757 w 292874"/>
                <a:gd name="connsiteY32" fmla="*/ 429578 h 609600"/>
                <a:gd name="connsiteX33" fmla="*/ 106757 w 292874"/>
                <a:gd name="connsiteY33" fmla="*/ 444818 h 609600"/>
                <a:gd name="connsiteX34" fmla="*/ 161553 w 292874"/>
                <a:gd name="connsiteY34" fmla="*/ 500063 h 609600"/>
                <a:gd name="connsiteX35" fmla="*/ 179504 w 292874"/>
                <a:gd name="connsiteY35" fmla="*/ 500063 h 609600"/>
                <a:gd name="connsiteX36" fmla="*/ 179504 w 292874"/>
                <a:gd name="connsiteY36" fmla="*/ 556260 h 609600"/>
                <a:gd name="connsiteX37" fmla="*/ 207846 w 292874"/>
                <a:gd name="connsiteY37" fmla="*/ 556260 h 609600"/>
                <a:gd name="connsiteX38" fmla="*/ 207846 w 292874"/>
                <a:gd name="connsiteY38" fmla="*/ 500063 h 609600"/>
                <a:gd name="connsiteX39" fmla="*/ 235244 w 292874"/>
                <a:gd name="connsiteY39" fmla="*/ 500063 h 609600"/>
                <a:gd name="connsiteX40" fmla="*/ 235244 w 292874"/>
                <a:gd name="connsiteY40" fmla="*/ 609600 h 609600"/>
                <a:gd name="connsiteX41" fmla="*/ 263587 w 292874"/>
                <a:gd name="connsiteY41" fmla="*/ 609600 h 609600"/>
                <a:gd name="connsiteX42" fmla="*/ 263587 w 292874"/>
                <a:gd name="connsiteY42" fmla="*/ 501968 h 609600"/>
                <a:gd name="connsiteX43" fmla="*/ 292874 w 292874"/>
                <a:gd name="connsiteY43" fmla="*/ 501968 h 609600"/>
                <a:gd name="connsiteX44" fmla="*/ 292874 w 292874"/>
                <a:gd name="connsiteY44" fmla="*/ 445770 h 609600"/>
                <a:gd name="connsiteX45" fmla="*/ 292874 w 292874"/>
                <a:gd name="connsiteY45" fmla="*/ 444818 h 609600"/>
                <a:gd name="connsiteX46" fmla="*/ 163443 w 292874"/>
                <a:gd name="connsiteY46" fmla="*/ 444818 h 609600"/>
                <a:gd name="connsiteX47" fmla="*/ 163443 w 292874"/>
                <a:gd name="connsiteY47" fmla="*/ 164783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92874" h="609600">
                  <a:moveTo>
                    <a:pt x="163443" y="164783"/>
                  </a:moveTo>
                  <a:lnTo>
                    <a:pt x="292874" y="164783"/>
                  </a:lnTo>
                  <a:lnTo>
                    <a:pt x="292874" y="107633"/>
                  </a:lnTo>
                  <a:lnTo>
                    <a:pt x="262642" y="107633"/>
                  </a:lnTo>
                  <a:lnTo>
                    <a:pt x="262642" y="0"/>
                  </a:lnTo>
                  <a:lnTo>
                    <a:pt x="234300" y="0"/>
                  </a:lnTo>
                  <a:lnTo>
                    <a:pt x="234300" y="107633"/>
                  </a:lnTo>
                  <a:lnTo>
                    <a:pt x="209736" y="107633"/>
                  </a:lnTo>
                  <a:lnTo>
                    <a:pt x="209736" y="51435"/>
                  </a:lnTo>
                  <a:lnTo>
                    <a:pt x="181393" y="51435"/>
                  </a:lnTo>
                  <a:lnTo>
                    <a:pt x="181393" y="107633"/>
                  </a:lnTo>
                  <a:lnTo>
                    <a:pt x="162498" y="107633"/>
                  </a:lnTo>
                  <a:cubicBezTo>
                    <a:pt x="132266" y="107633"/>
                    <a:pt x="107702" y="132398"/>
                    <a:pt x="107702" y="162878"/>
                  </a:cubicBezTo>
                  <a:lnTo>
                    <a:pt x="107702" y="181928"/>
                  </a:lnTo>
                  <a:lnTo>
                    <a:pt x="51017" y="181928"/>
                  </a:lnTo>
                  <a:lnTo>
                    <a:pt x="51017" y="210503"/>
                  </a:lnTo>
                  <a:lnTo>
                    <a:pt x="106757" y="210503"/>
                  </a:lnTo>
                  <a:lnTo>
                    <a:pt x="106757" y="238125"/>
                  </a:lnTo>
                  <a:lnTo>
                    <a:pt x="0" y="238125"/>
                  </a:lnTo>
                  <a:lnTo>
                    <a:pt x="0" y="266700"/>
                  </a:lnTo>
                  <a:lnTo>
                    <a:pt x="106757" y="266700"/>
                  </a:lnTo>
                  <a:lnTo>
                    <a:pt x="106757" y="292418"/>
                  </a:lnTo>
                  <a:lnTo>
                    <a:pt x="51017" y="292418"/>
                  </a:lnTo>
                  <a:lnTo>
                    <a:pt x="51017" y="320993"/>
                  </a:lnTo>
                  <a:lnTo>
                    <a:pt x="106757" y="320993"/>
                  </a:lnTo>
                  <a:lnTo>
                    <a:pt x="106757" y="347663"/>
                  </a:lnTo>
                  <a:lnTo>
                    <a:pt x="0" y="347663"/>
                  </a:lnTo>
                  <a:lnTo>
                    <a:pt x="0" y="376238"/>
                  </a:lnTo>
                  <a:lnTo>
                    <a:pt x="106757" y="376238"/>
                  </a:lnTo>
                  <a:lnTo>
                    <a:pt x="106757" y="401003"/>
                  </a:lnTo>
                  <a:lnTo>
                    <a:pt x="51017" y="401003"/>
                  </a:lnTo>
                  <a:lnTo>
                    <a:pt x="51017" y="429578"/>
                  </a:lnTo>
                  <a:lnTo>
                    <a:pt x="106757" y="429578"/>
                  </a:lnTo>
                  <a:lnTo>
                    <a:pt x="106757" y="444818"/>
                  </a:lnTo>
                  <a:cubicBezTo>
                    <a:pt x="106757" y="475298"/>
                    <a:pt x="131321" y="500063"/>
                    <a:pt x="161553" y="500063"/>
                  </a:cubicBezTo>
                  <a:lnTo>
                    <a:pt x="179504" y="500063"/>
                  </a:lnTo>
                  <a:lnTo>
                    <a:pt x="179504" y="556260"/>
                  </a:lnTo>
                  <a:lnTo>
                    <a:pt x="207846" y="556260"/>
                  </a:lnTo>
                  <a:lnTo>
                    <a:pt x="207846" y="500063"/>
                  </a:lnTo>
                  <a:lnTo>
                    <a:pt x="235244" y="500063"/>
                  </a:lnTo>
                  <a:lnTo>
                    <a:pt x="235244" y="609600"/>
                  </a:lnTo>
                  <a:lnTo>
                    <a:pt x="263587" y="609600"/>
                  </a:lnTo>
                  <a:lnTo>
                    <a:pt x="263587" y="501968"/>
                  </a:lnTo>
                  <a:lnTo>
                    <a:pt x="292874" y="501968"/>
                  </a:lnTo>
                  <a:lnTo>
                    <a:pt x="292874" y="445770"/>
                  </a:lnTo>
                  <a:lnTo>
                    <a:pt x="292874" y="444818"/>
                  </a:lnTo>
                  <a:lnTo>
                    <a:pt x="163443" y="444818"/>
                  </a:lnTo>
                  <a:lnTo>
                    <a:pt x="163443" y="164783"/>
                  </a:lnTo>
                  <a:close/>
                </a:path>
              </a:pathLst>
            </a:custGeom>
            <a:solidFill>
              <a:srgbClr val="3D4647"/>
            </a:solidFill>
            <a:ln w="9409" cap="flat">
              <a:noFill/>
              <a:prstDash val="solid"/>
              <a:miter/>
            </a:ln>
          </p:spPr>
          <p:txBody>
            <a:bodyPr rtlCol="0" anchor="ctr"/>
            <a:lstStyle/>
            <a:p>
              <a:endParaRPr lang="en-US" dirty="0"/>
            </a:p>
          </p:txBody>
        </p:sp>
      </p:grpSp>
      <p:sp>
        <p:nvSpPr>
          <p:cNvPr id="256" name="Text Placeholder 81">
            <a:extLst>
              <a:ext uri="{FF2B5EF4-FFF2-40B4-BE49-F238E27FC236}">
                <a16:creationId xmlns:a16="http://schemas.microsoft.com/office/drawing/2014/main" id="{307A763F-931F-EE51-C66B-B996B66BEDCF}"/>
              </a:ext>
            </a:extLst>
          </p:cNvPr>
          <p:cNvSpPr txBox="1">
            <a:spLocks/>
          </p:cNvSpPr>
          <p:nvPr/>
        </p:nvSpPr>
        <p:spPr>
          <a:xfrm>
            <a:off x="9919335" y="1498334"/>
            <a:ext cx="1828800"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Energy</a:t>
            </a:r>
          </a:p>
        </p:txBody>
      </p:sp>
      <p:pic>
        <p:nvPicPr>
          <p:cNvPr id="262" name="Graphic 261">
            <a:extLst>
              <a:ext uri="{FF2B5EF4-FFF2-40B4-BE49-F238E27FC236}">
                <a16:creationId xmlns:a16="http://schemas.microsoft.com/office/drawing/2014/main" id="{29A70451-BB1A-3828-9673-D2F7E16D463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41845" y="1849485"/>
            <a:ext cx="774700" cy="609600"/>
          </a:xfrm>
          <a:prstGeom prst="rect">
            <a:avLst/>
          </a:prstGeom>
        </p:spPr>
      </p:pic>
      <p:pic>
        <p:nvPicPr>
          <p:cNvPr id="267" name="Graphic 266">
            <a:extLst>
              <a:ext uri="{FF2B5EF4-FFF2-40B4-BE49-F238E27FC236}">
                <a16:creationId xmlns:a16="http://schemas.microsoft.com/office/drawing/2014/main" id="{5C8E4456-EF37-5BC1-42FC-68C5CE63D22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919341" y="1849485"/>
            <a:ext cx="774700" cy="609600"/>
          </a:xfrm>
          <a:prstGeom prst="rect">
            <a:avLst/>
          </a:prstGeom>
        </p:spPr>
      </p:pic>
      <p:sp>
        <p:nvSpPr>
          <p:cNvPr id="30" name="object 60">
            <a:extLst>
              <a:ext uri="{FF2B5EF4-FFF2-40B4-BE49-F238E27FC236}">
                <a16:creationId xmlns:a16="http://schemas.microsoft.com/office/drawing/2014/main" id="{E2F84816-E6CD-6286-3BDC-DFC6A71CBB22}"/>
              </a:ext>
            </a:extLst>
          </p:cNvPr>
          <p:cNvSpPr txBox="1"/>
          <p:nvPr/>
        </p:nvSpPr>
        <p:spPr>
          <a:xfrm>
            <a:off x="505695" y="3041315"/>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aintenance Manager</a:t>
            </a:r>
            <a:endParaRPr dirty="0"/>
          </a:p>
        </p:txBody>
      </p:sp>
      <p:sp>
        <p:nvSpPr>
          <p:cNvPr id="35" name="object 9">
            <a:extLst>
              <a:ext uri="{FF2B5EF4-FFF2-40B4-BE49-F238E27FC236}">
                <a16:creationId xmlns:a16="http://schemas.microsoft.com/office/drawing/2014/main" id="{952A1D8B-9665-6AE6-FDFC-3A1570AE12B0}"/>
              </a:ext>
            </a:extLst>
          </p:cNvPr>
          <p:cNvSpPr txBox="1"/>
          <p:nvPr/>
        </p:nvSpPr>
        <p:spPr>
          <a:xfrm>
            <a:off x="3113856" y="3041315"/>
            <a:ext cx="137223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Field </a:t>
            </a:r>
            <a:br>
              <a:rPr lang="en-US" dirty="0"/>
            </a:br>
            <a:r>
              <a:rPr dirty="0"/>
              <a:t>Techni</a:t>
            </a:r>
            <a:r>
              <a:rPr lang="en-US" dirty="0"/>
              <a:t>cian</a:t>
            </a:r>
            <a:endParaRPr dirty="0"/>
          </a:p>
        </p:txBody>
      </p:sp>
      <p:pic>
        <p:nvPicPr>
          <p:cNvPr id="4" name="Graphic 3">
            <a:extLst>
              <a:ext uri="{FF2B5EF4-FFF2-40B4-BE49-F238E27FC236}">
                <a16:creationId xmlns:a16="http://schemas.microsoft.com/office/drawing/2014/main" id="{788BD33D-596B-FBB1-4C43-D20B82B7FFE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411375" y="3338626"/>
            <a:ext cx="781050" cy="781050"/>
          </a:xfrm>
          <a:prstGeom prst="rect">
            <a:avLst/>
          </a:prstGeom>
        </p:spPr>
      </p:pic>
      <p:sp>
        <p:nvSpPr>
          <p:cNvPr id="5" name="object 11">
            <a:extLst>
              <a:ext uri="{FF2B5EF4-FFF2-40B4-BE49-F238E27FC236}">
                <a16:creationId xmlns:a16="http://schemas.microsoft.com/office/drawing/2014/main" id="{A6AF22EE-C4FD-1954-EBC3-4F4437D8805A}"/>
              </a:ext>
            </a:extLst>
          </p:cNvPr>
          <p:cNvSpPr txBox="1"/>
          <p:nvPr/>
        </p:nvSpPr>
        <p:spPr>
          <a:xfrm>
            <a:off x="5477168" y="3110565"/>
            <a:ext cx="1617980" cy="138499"/>
          </a:xfrm>
          <a:prstGeom prst="rect">
            <a:avLst/>
          </a:prstGeom>
        </p:spPr>
        <p:txBody>
          <a:bodyPr vert="horz" wrap="square" lIns="0" tIns="0" rIns="0" bIns="0" rtlCol="0" anchor="b">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G</a:t>
            </a:r>
            <a:r>
              <a:rPr sz="1000" dirty="0"/>
              <a:t>ears</a:t>
            </a:r>
            <a:r>
              <a:rPr lang="en-US" sz="1000" dirty="0"/>
              <a:t> </a:t>
            </a:r>
            <a:endParaRPr sz="1000" dirty="0"/>
          </a:p>
        </p:txBody>
      </p:sp>
      <p:sp>
        <p:nvSpPr>
          <p:cNvPr id="6" name="object 45">
            <a:extLst>
              <a:ext uri="{FF2B5EF4-FFF2-40B4-BE49-F238E27FC236}">
                <a16:creationId xmlns:a16="http://schemas.microsoft.com/office/drawing/2014/main" id="{63073A38-430C-37CF-E7D7-C754644599BC}"/>
              </a:ext>
            </a:extLst>
          </p:cNvPr>
          <p:cNvSpPr txBox="1"/>
          <p:nvPr/>
        </p:nvSpPr>
        <p:spPr>
          <a:xfrm>
            <a:off x="9028613" y="3110565"/>
            <a:ext cx="1610360" cy="138499"/>
          </a:xfrm>
          <a:prstGeom prst="rect">
            <a:avLst/>
          </a:prstGeom>
        </p:spPr>
        <p:txBody>
          <a:bodyPr vert="horz" wrap="square" lIns="0" tIns="0" rIns="0" bIns="0" rtlCol="0" anchor="b">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G</a:t>
            </a:r>
            <a:r>
              <a:rPr sz="1000" dirty="0"/>
              <a:t>ear</a:t>
            </a:r>
            <a:r>
              <a:rPr lang="en-US" sz="1000" dirty="0"/>
              <a:t> </a:t>
            </a:r>
            <a:r>
              <a:rPr sz="1000" dirty="0"/>
              <a:t>settings</a:t>
            </a:r>
          </a:p>
        </p:txBody>
      </p:sp>
      <p:sp>
        <p:nvSpPr>
          <p:cNvPr id="7" name="object 19">
            <a:extLst>
              <a:ext uri="{FF2B5EF4-FFF2-40B4-BE49-F238E27FC236}">
                <a16:creationId xmlns:a16="http://schemas.microsoft.com/office/drawing/2014/main" id="{ADBFFE94-E8AD-4936-2AA3-20238CECC145}"/>
              </a:ext>
            </a:extLst>
          </p:cNvPr>
          <p:cNvSpPr txBox="1"/>
          <p:nvPr/>
        </p:nvSpPr>
        <p:spPr>
          <a:xfrm>
            <a:off x="10430204" y="3110565"/>
            <a:ext cx="1313180" cy="138499"/>
          </a:xfrm>
          <a:prstGeom prst="rect">
            <a:avLst/>
          </a:prstGeom>
        </p:spPr>
        <p:txBody>
          <a:bodyPr vert="horz" wrap="square" lIns="0" tIns="0" rIns="0" bIns="0" rtlCol="0" anchor="b">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W</a:t>
            </a:r>
            <a:r>
              <a:rPr sz="1000" dirty="0"/>
              <a:t>rench</a:t>
            </a:r>
            <a:r>
              <a:rPr lang="en-US" sz="1000" dirty="0"/>
              <a:t> </a:t>
            </a:r>
            <a:endParaRPr sz="1000" dirty="0"/>
          </a:p>
        </p:txBody>
      </p:sp>
      <p:pic>
        <p:nvPicPr>
          <p:cNvPr id="8" name="Graphic 7">
            <a:extLst>
              <a:ext uri="{FF2B5EF4-FFF2-40B4-BE49-F238E27FC236}">
                <a16:creationId xmlns:a16="http://schemas.microsoft.com/office/drawing/2014/main" id="{AA504DD7-41BA-C4BD-C64D-49751AF3F2A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781994" y="3424351"/>
            <a:ext cx="609600" cy="609600"/>
          </a:xfrm>
          <a:prstGeom prst="rect">
            <a:avLst/>
          </a:prstGeom>
        </p:spPr>
      </p:pic>
      <p:pic>
        <p:nvPicPr>
          <p:cNvPr id="9" name="Graphic 8">
            <a:extLst>
              <a:ext uri="{FF2B5EF4-FFF2-40B4-BE49-F238E27FC236}">
                <a16:creationId xmlns:a16="http://schemas.microsoft.com/office/drawing/2014/main" id="{8AEBD41B-D9CB-B78D-D845-9205C927A3C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106710" y="3422827"/>
            <a:ext cx="559374" cy="612648"/>
          </a:xfrm>
          <a:prstGeom prst="rect">
            <a:avLst/>
          </a:prstGeom>
        </p:spPr>
      </p:pic>
      <p:pic>
        <p:nvPicPr>
          <p:cNvPr id="11" name="Graphic 10">
            <a:extLst>
              <a:ext uri="{FF2B5EF4-FFF2-40B4-BE49-F238E27FC236}">
                <a16:creationId xmlns:a16="http://schemas.microsoft.com/office/drawing/2014/main" id="{53FCF181-CD51-A48D-890A-6A0BC8FABC0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660150" y="3424351"/>
            <a:ext cx="609600" cy="609600"/>
          </a:xfrm>
          <a:prstGeom prst="rect">
            <a:avLst/>
          </a:prstGeom>
        </p:spPr>
      </p:pic>
      <p:sp>
        <p:nvSpPr>
          <p:cNvPr id="12" name="Rectangle 11">
            <a:extLst>
              <a:ext uri="{FF2B5EF4-FFF2-40B4-BE49-F238E27FC236}">
                <a16:creationId xmlns:a16="http://schemas.microsoft.com/office/drawing/2014/main" id="{A7AC64D8-8FD7-C82F-9DA3-697E62F2F2DC}"/>
              </a:ext>
            </a:extLst>
          </p:cNvPr>
          <p:cNvSpPr/>
          <p:nvPr/>
        </p:nvSpPr>
        <p:spPr>
          <a:xfrm>
            <a:off x="501015" y="2723116"/>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Service</a:t>
            </a:r>
          </a:p>
        </p:txBody>
      </p:sp>
      <p:sp>
        <p:nvSpPr>
          <p:cNvPr id="18" name="object 36">
            <a:extLst>
              <a:ext uri="{FF2B5EF4-FFF2-40B4-BE49-F238E27FC236}">
                <a16:creationId xmlns:a16="http://schemas.microsoft.com/office/drawing/2014/main" id="{72585301-F039-BD5E-68DA-2AD893C0F23F}"/>
              </a:ext>
            </a:extLst>
          </p:cNvPr>
          <p:cNvSpPr txBox="1"/>
          <p:nvPr/>
        </p:nvSpPr>
        <p:spPr>
          <a:xfrm>
            <a:off x="1866495" y="3041315"/>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ervice Technician Remote</a:t>
            </a:r>
            <a:endParaRPr dirty="0"/>
          </a:p>
        </p:txBody>
      </p:sp>
      <p:pic>
        <p:nvPicPr>
          <p:cNvPr id="15" name="Graphic 14">
            <a:extLst>
              <a:ext uri="{FF2B5EF4-FFF2-40B4-BE49-F238E27FC236}">
                <a16:creationId xmlns:a16="http://schemas.microsoft.com/office/drawing/2014/main" id="{E087716C-BBD6-E008-02BB-B58C0304343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793572" y="3373156"/>
            <a:ext cx="711991" cy="711991"/>
          </a:xfrm>
          <a:prstGeom prst="rect">
            <a:avLst/>
          </a:prstGeom>
        </p:spPr>
      </p:pic>
      <p:sp>
        <p:nvSpPr>
          <p:cNvPr id="16" name="object 36">
            <a:extLst>
              <a:ext uri="{FF2B5EF4-FFF2-40B4-BE49-F238E27FC236}">
                <a16:creationId xmlns:a16="http://schemas.microsoft.com/office/drawing/2014/main" id="{9F364B0B-3676-5FB4-BFDD-F794C1ECD0D9}"/>
              </a:ext>
            </a:extLst>
          </p:cNvPr>
          <p:cNvSpPr txBox="1"/>
          <p:nvPr/>
        </p:nvSpPr>
        <p:spPr>
          <a:xfrm>
            <a:off x="4511247" y="3110565"/>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oolbox</a:t>
            </a:r>
            <a:endParaRPr dirty="0"/>
          </a:p>
        </p:txBody>
      </p:sp>
      <p:sp>
        <p:nvSpPr>
          <p:cNvPr id="2" name="Rectangle 1">
            <a:extLst>
              <a:ext uri="{FF2B5EF4-FFF2-40B4-BE49-F238E27FC236}">
                <a16:creationId xmlns:a16="http://schemas.microsoft.com/office/drawing/2014/main" id="{D5592CE5-21F7-6848-3DA9-9DBCCCD1B6F3}"/>
              </a:ext>
            </a:extLst>
          </p:cNvPr>
          <p:cNvSpPr/>
          <p:nvPr/>
        </p:nvSpPr>
        <p:spPr>
          <a:xfrm>
            <a:off x="501015" y="4327047"/>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Arbortext</a:t>
            </a:r>
          </a:p>
        </p:txBody>
      </p:sp>
      <p:sp>
        <p:nvSpPr>
          <p:cNvPr id="3" name="object 41">
            <a:extLst>
              <a:ext uri="{FF2B5EF4-FFF2-40B4-BE49-F238E27FC236}">
                <a16:creationId xmlns:a16="http://schemas.microsoft.com/office/drawing/2014/main" id="{67B1A623-538A-A9A4-28A1-A1C779D153A5}"/>
              </a:ext>
            </a:extLst>
          </p:cNvPr>
          <p:cNvSpPr txBox="1"/>
          <p:nvPr/>
        </p:nvSpPr>
        <p:spPr>
          <a:xfrm>
            <a:off x="7433470" y="4642152"/>
            <a:ext cx="91440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rint Composer</a:t>
            </a:r>
          </a:p>
        </p:txBody>
      </p:sp>
      <p:sp>
        <p:nvSpPr>
          <p:cNvPr id="17" name="object 11">
            <a:extLst>
              <a:ext uri="{FF2B5EF4-FFF2-40B4-BE49-F238E27FC236}">
                <a16:creationId xmlns:a16="http://schemas.microsoft.com/office/drawing/2014/main" id="{C7BD6603-3D1B-52BD-DD6B-C8B0460679D2}"/>
              </a:ext>
            </a:extLst>
          </p:cNvPr>
          <p:cNvSpPr txBox="1"/>
          <p:nvPr/>
        </p:nvSpPr>
        <p:spPr>
          <a:xfrm>
            <a:off x="3439812" y="4642152"/>
            <a:ext cx="66943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ditor</a:t>
            </a:r>
          </a:p>
        </p:txBody>
      </p:sp>
      <p:sp>
        <p:nvSpPr>
          <p:cNvPr id="585" name="Text Placeholder 81">
            <a:extLst>
              <a:ext uri="{FF2B5EF4-FFF2-40B4-BE49-F238E27FC236}">
                <a16:creationId xmlns:a16="http://schemas.microsoft.com/office/drawing/2014/main" id="{B5827200-0E54-0DF6-7414-F95B2031F776}"/>
              </a:ext>
            </a:extLst>
          </p:cNvPr>
          <p:cNvSpPr txBox="1">
            <a:spLocks/>
          </p:cNvSpPr>
          <p:nvPr/>
        </p:nvSpPr>
        <p:spPr>
          <a:xfrm>
            <a:off x="580797" y="4642152"/>
            <a:ext cx="92544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chitect</a:t>
            </a:r>
          </a:p>
        </p:txBody>
      </p:sp>
      <p:sp>
        <p:nvSpPr>
          <p:cNvPr id="13" name="Text Placeholder 81">
            <a:extLst>
              <a:ext uri="{FF2B5EF4-FFF2-40B4-BE49-F238E27FC236}">
                <a16:creationId xmlns:a16="http://schemas.microsoft.com/office/drawing/2014/main" id="{55AD8485-DEEE-B019-1082-91E41816487F}"/>
              </a:ext>
            </a:extLst>
          </p:cNvPr>
          <p:cNvSpPr txBox="1">
            <a:spLocks/>
          </p:cNvSpPr>
          <p:nvPr/>
        </p:nvSpPr>
        <p:spPr>
          <a:xfrm>
            <a:off x="1934864" y="4642152"/>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ntent Dev</a:t>
            </a:r>
          </a:p>
        </p:txBody>
      </p:sp>
      <p:sp>
        <p:nvSpPr>
          <p:cNvPr id="31" name="Text Placeholder 81">
            <a:extLst>
              <a:ext uri="{FF2B5EF4-FFF2-40B4-BE49-F238E27FC236}">
                <a16:creationId xmlns:a16="http://schemas.microsoft.com/office/drawing/2014/main" id="{C5270E85-CE00-CD8E-98CE-265FD680999D}"/>
              </a:ext>
            </a:extLst>
          </p:cNvPr>
          <p:cNvSpPr txBox="1">
            <a:spLocks/>
          </p:cNvSpPr>
          <p:nvPr/>
        </p:nvSpPr>
        <p:spPr>
          <a:xfrm>
            <a:off x="4642649" y="4642152"/>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ayout Dev</a:t>
            </a:r>
            <a:endParaRPr lang="en-US" dirty="0">
              <a:solidFill>
                <a:schemeClr val="accent5"/>
              </a:solidFill>
            </a:endParaRPr>
          </a:p>
        </p:txBody>
      </p:sp>
      <p:sp>
        <p:nvSpPr>
          <p:cNvPr id="29" name="Text Placeholder 81">
            <a:extLst>
              <a:ext uri="{FF2B5EF4-FFF2-40B4-BE49-F238E27FC236}">
                <a16:creationId xmlns:a16="http://schemas.microsoft.com/office/drawing/2014/main" id="{E7F3009C-25CF-6D3C-091C-286CDAE8D9E8}"/>
              </a:ext>
            </a:extLst>
          </p:cNvPr>
          <p:cNvSpPr txBox="1">
            <a:spLocks/>
          </p:cNvSpPr>
          <p:nvPr/>
        </p:nvSpPr>
        <p:spPr>
          <a:xfrm>
            <a:off x="6052347" y="4642152"/>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ayout Editor</a:t>
            </a:r>
          </a:p>
        </p:txBody>
      </p:sp>
      <p:sp>
        <p:nvSpPr>
          <p:cNvPr id="19" name="object 41">
            <a:extLst>
              <a:ext uri="{FF2B5EF4-FFF2-40B4-BE49-F238E27FC236}">
                <a16:creationId xmlns:a16="http://schemas.microsoft.com/office/drawing/2014/main" id="{0E60F5E4-682E-BE10-FED5-823251291BD3}"/>
              </a:ext>
            </a:extLst>
          </p:cNvPr>
          <p:cNvSpPr txBox="1"/>
          <p:nvPr/>
        </p:nvSpPr>
        <p:spPr>
          <a:xfrm>
            <a:off x="8709818" y="4642152"/>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ublishing</a:t>
            </a:r>
          </a:p>
        </p:txBody>
      </p:sp>
      <p:sp>
        <p:nvSpPr>
          <p:cNvPr id="21" name="object 41">
            <a:extLst>
              <a:ext uri="{FF2B5EF4-FFF2-40B4-BE49-F238E27FC236}">
                <a16:creationId xmlns:a16="http://schemas.microsoft.com/office/drawing/2014/main" id="{B366B6E3-ECBD-8FD1-3D2A-4F9889E52303}"/>
              </a:ext>
            </a:extLst>
          </p:cNvPr>
          <p:cNvSpPr txBox="1"/>
          <p:nvPr/>
        </p:nvSpPr>
        <p:spPr>
          <a:xfrm>
            <a:off x="10052844" y="4642152"/>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tyler</a:t>
            </a:r>
          </a:p>
        </p:txBody>
      </p:sp>
      <p:pic>
        <p:nvPicPr>
          <p:cNvPr id="22" name="Picture 21" descr="A green and black logo&#10;&#10;Description automatically generated">
            <a:extLst>
              <a:ext uri="{FF2B5EF4-FFF2-40B4-BE49-F238E27FC236}">
                <a16:creationId xmlns:a16="http://schemas.microsoft.com/office/drawing/2014/main" id="{D0C41D62-0D98-517B-A5D3-7D65999E5F69}"/>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84593" y="4933783"/>
            <a:ext cx="731520" cy="731520"/>
          </a:xfrm>
          <a:prstGeom prst="rect">
            <a:avLst/>
          </a:prstGeom>
        </p:spPr>
      </p:pic>
      <p:pic>
        <p:nvPicPr>
          <p:cNvPr id="23" name="Picture 22" descr="A hand and a paper&#10;&#10;Description automatically generated">
            <a:extLst>
              <a:ext uri="{FF2B5EF4-FFF2-40B4-BE49-F238E27FC236}">
                <a16:creationId xmlns:a16="http://schemas.microsoft.com/office/drawing/2014/main" id="{DE04FB6B-B04B-67C0-2505-7D7F6474992C}"/>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2032493" y="4933783"/>
            <a:ext cx="731520" cy="731520"/>
          </a:xfrm>
          <a:prstGeom prst="rect">
            <a:avLst/>
          </a:prstGeom>
        </p:spPr>
      </p:pic>
      <p:pic>
        <p:nvPicPr>
          <p:cNvPr id="25" name="Picture 24" descr="A computer screen with green and black text&#10;&#10;Description automatically generated">
            <a:extLst>
              <a:ext uri="{FF2B5EF4-FFF2-40B4-BE49-F238E27FC236}">
                <a16:creationId xmlns:a16="http://schemas.microsoft.com/office/drawing/2014/main" id="{EE1F9DFB-BDF1-18EB-1B0F-C2C07784F72C}"/>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4728293" y="4910923"/>
            <a:ext cx="777240" cy="777240"/>
          </a:xfrm>
          <a:prstGeom prst="rect">
            <a:avLst/>
          </a:prstGeom>
        </p:spPr>
      </p:pic>
      <p:pic>
        <p:nvPicPr>
          <p:cNvPr id="26" name="Picture 25" descr="A computer screen with a pencil and a green square&#10;&#10;Description automatically generated">
            <a:extLst>
              <a:ext uri="{FF2B5EF4-FFF2-40B4-BE49-F238E27FC236}">
                <a16:creationId xmlns:a16="http://schemas.microsoft.com/office/drawing/2014/main" id="{94DE35BE-528A-C2FF-6C77-8A17146E1C9E}"/>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121913" y="4910923"/>
            <a:ext cx="777240" cy="777240"/>
          </a:xfrm>
          <a:prstGeom prst="rect">
            <a:avLst/>
          </a:prstGeom>
        </p:spPr>
      </p:pic>
      <p:pic>
        <p:nvPicPr>
          <p:cNvPr id="27" name="Picture 26" descr="A black and green printer&#10;&#10;Description automatically generated">
            <a:extLst>
              <a:ext uri="{FF2B5EF4-FFF2-40B4-BE49-F238E27FC236}">
                <a16:creationId xmlns:a16="http://schemas.microsoft.com/office/drawing/2014/main" id="{75630C12-83C1-AE4B-B6D0-DB421762F55E}"/>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7515533" y="4933783"/>
            <a:ext cx="731520" cy="731520"/>
          </a:xfrm>
          <a:prstGeom prst="rect">
            <a:avLst/>
          </a:prstGeom>
        </p:spPr>
      </p:pic>
      <p:pic>
        <p:nvPicPr>
          <p:cNvPr id="28" name="Picture 27" descr="A green book with a gear on top of it&#10;&#10;Description automatically generated">
            <a:extLst>
              <a:ext uri="{FF2B5EF4-FFF2-40B4-BE49-F238E27FC236}">
                <a16:creationId xmlns:a16="http://schemas.microsoft.com/office/drawing/2014/main" id="{9347B21D-0EB5-6706-A868-FE79A4AF0861}"/>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8863433" y="4933783"/>
            <a:ext cx="731520" cy="731520"/>
          </a:xfrm>
          <a:prstGeom prst="rect">
            <a:avLst/>
          </a:prstGeom>
        </p:spPr>
      </p:pic>
      <p:pic>
        <p:nvPicPr>
          <p:cNvPr id="32" name="Picture 31" descr="A grey and green file with a gear&#10;&#10;Description automatically generated">
            <a:extLst>
              <a:ext uri="{FF2B5EF4-FFF2-40B4-BE49-F238E27FC236}">
                <a16:creationId xmlns:a16="http://schemas.microsoft.com/office/drawing/2014/main" id="{4B2829D7-496A-6BE8-B2BF-740DD24FB19B}"/>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211331" y="4933783"/>
            <a:ext cx="731520" cy="731520"/>
          </a:xfrm>
          <a:prstGeom prst="rect">
            <a:avLst/>
          </a:prstGeom>
        </p:spPr>
      </p:pic>
      <p:sp>
        <p:nvSpPr>
          <p:cNvPr id="34" name="object 11">
            <a:extLst>
              <a:ext uri="{FF2B5EF4-FFF2-40B4-BE49-F238E27FC236}">
                <a16:creationId xmlns:a16="http://schemas.microsoft.com/office/drawing/2014/main" id="{E167CCDC-7552-BB23-51E6-6A64A752266D}"/>
              </a:ext>
            </a:extLst>
          </p:cNvPr>
          <p:cNvSpPr txBox="1"/>
          <p:nvPr/>
        </p:nvSpPr>
        <p:spPr>
          <a:xfrm>
            <a:off x="6675473" y="3110565"/>
            <a:ext cx="1617980" cy="138499"/>
          </a:xfrm>
          <a:prstGeom prst="rect">
            <a:avLst/>
          </a:prstGeom>
        </p:spPr>
        <p:txBody>
          <a:bodyPr vert="horz" wrap="square" lIns="0" tIns="0" rIns="0" bIns="0" rtlCol="0" anchor="b">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G</a:t>
            </a:r>
            <a:r>
              <a:rPr sz="1000" dirty="0"/>
              <a:t>ear</a:t>
            </a:r>
            <a:r>
              <a:rPr lang="en-US" sz="1000" dirty="0"/>
              <a:t> Cycle </a:t>
            </a:r>
            <a:endParaRPr sz="1000" dirty="0"/>
          </a:p>
        </p:txBody>
      </p:sp>
      <p:grpSp>
        <p:nvGrpSpPr>
          <p:cNvPr id="584" name="Group 583">
            <a:extLst>
              <a:ext uri="{FF2B5EF4-FFF2-40B4-BE49-F238E27FC236}">
                <a16:creationId xmlns:a16="http://schemas.microsoft.com/office/drawing/2014/main" id="{9597CF0D-A0C2-FD72-0DEE-7BA727E8E738}"/>
              </a:ext>
            </a:extLst>
          </p:cNvPr>
          <p:cNvGrpSpPr/>
          <p:nvPr/>
        </p:nvGrpSpPr>
        <p:grpSpPr>
          <a:xfrm>
            <a:off x="704874" y="3367202"/>
            <a:ext cx="780308" cy="723899"/>
            <a:chOff x="704874" y="3584316"/>
            <a:chExt cx="780308" cy="723899"/>
          </a:xfrm>
        </p:grpSpPr>
        <p:grpSp>
          <p:nvGrpSpPr>
            <p:cNvPr id="42" name="Graphic 13">
              <a:extLst>
                <a:ext uri="{FF2B5EF4-FFF2-40B4-BE49-F238E27FC236}">
                  <a16:creationId xmlns:a16="http://schemas.microsoft.com/office/drawing/2014/main" id="{7A7BB135-20A8-5CEF-7DF6-8389B282467C}"/>
                </a:ext>
              </a:extLst>
            </p:cNvPr>
            <p:cNvGrpSpPr/>
            <p:nvPr/>
          </p:nvGrpSpPr>
          <p:grpSpPr>
            <a:xfrm>
              <a:off x="1199432" y="3584316"/>
              <a:ext cx="285750" cy="304800"/>
              <a:chOff x="1199432" y="3584316"/>
              <a:chExt cx="285750" cy="304800"/>
            </a:xfrm>
          </p:grpSpPr>
          <p:sp>
            <p:nvSpPr>
              <p:cNvPr id="43" name="Freeform: Shape 42">
                <a:extLst>
                  <a:ext uri="{FF2B5EF4-FFF2-40B4-BE49-F238E27FC236}">
                    <a16:creationId xmlns:a16="http://schemas.microsoft.com/office/drawing/2014/main" id="{AA77E242-6198-7FFF-37D2-5F72309EF41A}"/>
                  </a:ext>
                </a:extLst>
              </p:cNvPr>
              <p:cNvSpPr/>
              <p:nvPr/>
            </p:nvSpPr>
            <p:spPr>
              <a:xfrm>
                <a:off x="1199432" y="3584316"/>
                <a:ext cx="285750" cy="304800"/>
              </a:xfrm>
              <a:custGeom>
                <a:avLst/>
                <a:gdLst>
                  <a:gd name="connsiteX0" fmla="*/ 158115 w 285750"/>
                  <a:gd name="connsiteY0" fmla="*/ 19050 h 304800"/>
                  <a:gd name="connsiteX1" fmla="*/ 173355 w 285750"/>
                  <a:gd name="connsiteY1" fmla="*/ 50483 h 304800"/>
                  <a:gd name="connsiteX2" fmla="*/ 195263 w 285750"/>
                  <a:gd name="connsiteY2" fmla="*/ 60008 h 304800"/>
                  <a:gd name="connsiteX3" fmla="*/ 214313 w 285750"/>
                  <a:gd name="connsiteY3" fmla="*/ 74295 h 304800"/>
                  <a:gd name="connsiteX4" fmla="*/ 248602 w 285750"/>
                  <a:gd name="connsiteY4" fmla="*/ 72390 h 304800"/>
                  <a:gd name="connsiteX5" fmla="*/ 263842 w 285750"/>
                  <a:gd name="connsiteY5" fmla="*/ 99060 h 304800"/>
                  <a:gd name="connsiteX6" fmla="*/ 244792 w 285750"/>
                  <a:gd name="connsiteY6" fmla="*/ 127635 h 304800"/>
                  <a:gd name="connsiteX7" fmla="*/ 244792 w 285750"/>
                  <a:gd name="connsiteY7" fmla="*/ 176213 h 304800"/>
                  <a:gd name="connsiteX8" fmla="*/ 263842 w 285750"/>
                  <a:gd name="connsiteY8" fmla="*/ 204788 h 304800"/>
                  <a:gd name="connsiteX9" fmla="*/ 247650 w 285750"/>
                  <a:gd name="connsiteY9" fmla="*/ 232410 h 304800"/>
                  <a:gd name="connsiteX10" fmla="*/ 213360 w 285750"/>
                  <a:gd name="connsiteY10" fmla="*/ 230505 h 304800"/>
                  <a:gd name="connsiteX11" fmla="*/ 172402 w 285750"/>
                  <a:gd name="connsiteY11" fmla="*/ 254318 h 304800"/>
                  <a:gd name="connsiteX12" fmla="*/ 158115 w 285750"/>
                  <a:gd name="connsiteY12" fmla="*/ 285750 h 304800"/>
                  <a:gd name="connsiteX13" fmla="*/ 127635 w 285750"/>
                  <a:gd name="connsiteY13" fmla="*/ 285750 h 304800"/>
                  <a:gd name="connsiteX14" fmla="*/ 112395 w 285750"/>
                  <a:gd name="connsiteY14" fmla="*/ 255270 h 304800"/>
                  <a:gd name="connsiteX15" fmla="*/ 100013 w 285750"/>
                  <a:gd name="connsiteY15" fmla="*/ 273368 h 304800"/>
                  <a:gd name="connsiteX16" fmla="*/ 110490 w 285750"/>
                  <a:gd name="connsiteY16" fmla="*/ 294323 h 304800"/>
                  <a:gd name="connsiteX17" fmla="*/ 115252 w 285750"/>
                  <a:gd name="connsiteY17" fmla="*/ 304800 h 304800"/>
                  <a:gd name="connsiteX18" fmla="*/ 127635 w 285750"/>
                  <a:gd name="connsiteY18" fmla="*/ 304800 h 304800"/>
                  <a:gd name="connsiteX19" fmla="*/ 158115 w 285750"/>
                  <a:gd name="connsiteY19" fmla="*/ 304800 h 304800"/>
                  <a:gd name="connsiteX20" fmla="*/ 170498 w 285750"/>
                  <a:gd name="connsiteY20" fmla="*/ 304800 h 304800"/>
                  <a:gd name="connsiteX21" fmla="*/ 175260 w 285750"/>
                  <a:gd name="connsiteY21" fmla="*/ 294323 h 304800"/>
                  <a:gd name="connsiteX22" fmla="*/ 186690 w 285750"/>
                  <a:gd name="connsiteY22" fmla="*/ 270510 h 304800"/>
                  <a:gd name="connsiteX23" fmla="*/ 220980 w 285750"/>
                  <a:gd name="connsiteY23" fmla="*/ 250508 h 304800"/>
                  <a:gd name="connsiteX24" fmla="*/ 246698 w 285750"/>
                  <a:gd name="connsiteY24" fmla="*/ 252413 h 304800"/>
                  <a:gd name="connsiteX25" fmla="*/ 259080 w 285750"/>
                  <a:gd name="connsiteY25" fmla="*/ 253365 h 304800"/>
                  <a:gd name="connsiteX26" fmla="*/ 264795 w 285750"/>
                  <a:gd name="connsiteY26" fmla="*/ 242888 h 304800"/>
                  <a:gd name="connsiteX27" fmla="*/ 280035 w 285750"/>
                  <a:gd name="connsiteY27" fmla="*/ 216218 h 304800"/>
                  <a:gd name="connsiteX28" fmla="*/ 285750 w 285750"/>
                  <a:gd name="connsiteY28" fmla="*/ 205740 h 304800"/>
                  <a:gd name="connsiteX29" fmla="*/ 279083 w 285750"/>
                  <a:gd name="connsiteY29" fmla="*/ 196215 h 304800"/>
                  <a:gd name="connsiteX30" fmla="*/ 264795 w 285750"/>
                  <a:gd name="connsiteY30" fmla="*/ 173355 h 304800"/>
                  <a:gd name="connsiteX31" fmla="*/ 264795 w 285750"/>
                  <a:gd name="connsiteY31" fmla="*/ 133350 h 304800"/>
                  <a:gd name="connsiteX32" fmla="*/ 279083 w 285750"/>
                  <a:gd name="connsiteY32" fmla="*/ 110490 h 304800"/>
                  <a:gd name="connsiteX33" fmla="*/ 285750 w 285750"/>
                  <a:gd name="connsiteY33" fmla="*/ 100965 h 304800"/>
                  <a:gd name="connsiteX34" fmla="*/ 280035 w 285750"/>
                  <a:gd name="connsiteY34" fmla="*/ 90488 h 304800"/>
                  <a:gd name="connsiteX35" fmla="*/ 264795 w 285750"/>
                  <a:gd name="connsiteY35" fmla="*/ 63818 h 304800"/>
                  <a:gd name="connsiteX36" fmla="*/ 259080 w 285750"/>
                  <a:gd name="connsiteY36" fmla="*/ 53340 h 304800"/>
                  <a:gd name="connsiteX37" fmla="*/ 246698 w 285750"/>
                  <a:gd name="connsiteY37" fmla="*/ 54293 h 304800"/>
                  <a:gd name="connsiteX38" fmla="*/ 220980 w 285750"/>
                  <a:gd name="connsiteY38" fmla="*/ 56197 h 304800"/>
                  <a:gd name="connsiteX39" fmla="*/ 204788 w 285750"/>
                  <a:gd name="connsiteY39" fmla="*/ 44768 h 304800"/>
                  <a:gd name="connsiteX40" fmla="*/ 186690 w 285750"/>
                  <a:gd name="connsiteY40" fmla="*/ 36195 h 304800"/>
                  <a:gd name="connsiteX41" fmla="*/ 175260 w 285750"/>
                  <a:gd name="connsiteY41" fmla="*/ 12383 h 304800"/>
                  <a:gd name="connsiteX42" fmla="*/ 169545 w 285750"/>
                  <a:gd name="connsiteY42" fmla="*/ 0 h 304800"/>
                  <a:gd name="connsiteX43" fmla="*/ 169545 w 285750"/>
                  <a:gd name="connsiteY43" fmla="*/ 0 h 304800"/>
                  <a:gd name="connsiteX44" fmla="*/ 157163 w 285750"/>
                  <a:gd name="connsiteY44" fmla="*/ 0 h 304800"/>
                  <a:gd name="connsiteX45" fmla="*/ 126682 w 285750"/>
                  <a:gd name="connsiteY45" fmla="*/ 0 h 304800"/>
                  <a:gd name="connsiteX46" fmla="*/ 114300 w 285750"/>
                  <a:gd name="connsiteY46" fmla="*/ 0 h 304800"/>
                  <a:gd name="connsiteX47" fmla="*/ 109538 w 285750"/>
                  <a:gd name="connsiteY47" fmla="*/ 10477 h 304800"/>
                  <a:gd name="connsiteX48" fmla="*/ 98107 w 285750"/>
                  <a:gd name="connsiteY48" fmla="*/ 34290 h 304800"/>
                  <a:gd name="connsiteX49" fmla="*/ 63818 w 285750"/>
                  <a:gd name="connsiteY49" fmla="*/ 54293 h 304800"/>
                  <a:gd name="connsiteX50" fmla="*/ 38100 w 285750"/>
                  <a:gd name="connsiteY50" fmla="*/ 53340 h 304800"/>
                  <a:gd name="connsiteX51" fmla="*/ 25718 w 285750"/>
                  <a:gd name="connsiteY51" fmla="*/ 52388 h 304800"/>
                  <a:gd name="connsiteX52" fmla="*/ 20002 w 285750"/>
                  <a:gd name="connsiteY52" fmla="*/ 62865 h 304800"/>
                  <a:gd name="connsiteX53" fmla="*/ 4763 w 285750"/>
                  <a:gd name="connsiteY53" fmla="*/ 89535 h 304800"/>
                  <a:gd name="connsiteX54" fmla="*/ 0 w 285750"/>
                  <a:gd name="connsiteY54" fmla="*/ 100013 h 304800"/>
                  <a:gd name="connsiteX55" fmla="*/ 6668 w 285750"/>
                  <a:gd name="connsiteY55" fmla="*/ 109538 h 304800"/>
                  <a:gd name="connsiteX56" fmla="*/ 20955 w 285750"/>
                  <a:gd name="connsiteY56" fmla="*/ 132398 h 304800"/>
                  <a:gd name="connsiteX57" fmla="*/ 20955 w 285750"/>
                  <a:gd name="connsiteY57" fmla="*/ 172403 h 304800"/>
                  <a:gd name="connsiteX58" fmla="*/ 6668 w 285750"/>
                  <a:gd name="connsiteY58" fmla="*/ 195263 h 304800"/>
                  <a:gd name="connsiteX59" fmla="*/ 0 w 285750"/>
                  <a:gd name="connsiteY59" fmla="*/ 204788 h 304800"/>
                  <a:gd name="connsiteX60" fmla="*/ 5715 w 285750"/>
                  <a:gd name="connsiteY60" fmla="*/ 215265 h 304800"/>
                  <a:gd name="connsiteX61" fmla="*/ 20955 w 285750"/>
                  <a:gd name="connsiteY61" fmla="*/ 241935 h 304800"/>
                  <a:gd name="connsiteX62" fmla="*/ 26670 w 285750"/>
                  <a:gd name="connsiteY62" fmla="*/ 252413 h 304800"/>
                  <a:gd name="connsiteX63" fmla="*/ 39052 w 285750"/>
                  <a:gd name="connsiteY63" fmla="*/ 251460 h 304800"/>
                  <a:gd name="connsiteX64" fmla="*/ 50482 w 285750"/>
                  <a:gd name="connsiteY64" fmla="*/ 250508 h 304800"/>
                  <a:gd name="connsiteX65" fmla="*/ 63818 w 285750"/>
                  <a:gd name="connsiteY65" fmla="*/ 230505 h 304800"/>
                  <a:gd name="connsiteX66" fmla="*/ 38100 w 285750"/>
                  <a:gd name="connsiteY66" fmla="*/ 232410 h 304800"/>
                  <a:gd name="connsiteX67" fmla="*/ 22860 w 285750"/>
                  <a:gd name="connsiteY67" fmla="*/ 205740 h 304800"/>
                  <a:gd name="connsiteX68" fmla="*/ 41910 w 285750"/>
                  <a:gd name="connsiteY68" fmla="*/ 177165 h 304800"/>
                  <a:gd name="connsiteX69" fmla="*/ 41910 w 285750"/>
                  <a:gd name="connsiteY69" fmla="*/ 128588 h 304800"/>
                  <a:gd name="connsiteX70" fmla="*/ 22860 w 285750"/>
                  <a:gd name="connsiteY70" fmla="*/ 100013 h 304800"/>
                  <a:gd name="connsiteX71" fmla="*/ 38100 w 285750"/>
                  <a:gd name="connsiteY71" fmla="*/ 73343 h 304800"/>
                  <a:gd name="connsiteX72" fmla="*/ 72390 w 285750"/>
                  <a:gd name="connsiteY72" fmla="*/ 75248 h 304800"/>
                  <a:gd name="connsiteX73" fmla="*/ 113348 w 285750"/>
                  <a:gd name="connsiteY73" fmla="*/ 51435 h 304800"/>
                  <a:gd name="connsiteX74" fmla="*/ 127635 w 285750"/>
                  <a:gd name="connsiteY74" fmla="*/ 19050 h 304800"/>
                  <a:gd name="connsiteX75" fmla="*/ 158115 w 285750"/>
                  <a:gd name="connsiteY75" fmla="*/ 1905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85750" h="304800">
                    <a:moveTo>
                      <a:pt x="158115" y="19050"/>
                    </a:moveTo>
                    <a:lnTo>
                      <a:pt x="173355" y="50483"/>
                    </a:lnTo>
                    <a:cubicBezTo>
                      <a:pt x="180975" y="52388"/>
                      <a:pt x="188595" y="56197"/>
                      <a:pt x="195263" y="60008"/>
                    </a:cubicBezTo>
                    <a:cubicBezTo>
                      <a:pt x="201930" y="63818"/>
                      <a:pt x="208598" y="68580"/>
                      <a:pt x="214313" y="74295"/>
                    </a:cubicBezTo>
                    <a:lnTo>
                      <a:pt x="248602" y="72390"/>
                    </a:lnTo>
                    <a:lnTo>
                      <a:pt x="263842" y="99060"/>
                    </a:lnTo>
                    <a:lnTo>
                      <a:pt x="244792" y="127635"/>
                    </a:lnTo>
                    <a:cubicBezTo>
                      <a:pt x="248602" y="143828"/>
                      <a:pt x="248602" y="160020"/>
                      <a:pt x="244792" y="176213"/>
                    </a:cubicBezTo>
                    <a:lnTo>
                      <a:pt x="263842" y="204788"/>
                    </a:lnTo>
                    <a:lnTo>
                      <a:pt x="247650" y="232410"/>
                    </a:lnTo>
                    <a:lnTo>
                      <a:pt x="213360" y="230505"/>
                    </a:lnTo>
                    <a:cubicBezTo>
                      <a:pt x="201930" y="241935"/>
                      <a:pt x="187642" y="249555"/>
                      <a:pt x="172402" y="254318"/>
                    </a:cubicBezTo>
                    <a:lnTo>
                      <a:pt x="158115" y="285750"/>
                    </a:lnTo>
                    <a:lnTo>
                      <a:pt x="127635" y="285750"/>
                    </a:lnTo>
                    <a:lnTo>
                      <a:pt x="112395" y="255270"/>
                    </a:lnTo>
                    <a:lnTo>
                      <a:pt x="100013" y="273368"/>
                    </a:lnTo>
                    <a:lnTo>
                      <a:pt x="110490" y="294323"/>
                    </a:lnTo>
                    <a:lnTo>
                      <a:pt x="115252" y="304800"/>
                    </a:lnTo>
                    <a:lnTo>
                      <a:pt x="127635" y="304800"/>
                    </a:lnTo>
                    <a:lnTo>
                      <a:pt x="158115" y="304800"/>
                    </a:lnTo>
                    <a:lnTo>
                      <a:pt x="170498" y="304800"/>
                    </a:lnTo>
                    <a:lnTo>
                      <a:pt x="175260" y="294323"/>
                    </a:lnTo>
                    <a:lnTo>
                      <a:pt x="186690" y="270510"/>
                    </a:lnTo>
                    <a:cubicBezTo>
                      <a:pt x="199073" y="265748"/>
                      <a:pt x="210502" y="259080"/>
                      <a:pt x="220980" y="250508"/>
                    </a:cubicBezTo>
                    <a:lnTo>
                      <a:pt x="246698" y="252413"/>
                    </a:lnTo>
                    <a:lnTo>
                      <a:pt x="259080" y="253365"/>
                    </a:lnTo>
                    <a:lnTo>
                      <a:pt x="264795" y="242888"/>
                    </a:lnTo>
                    <a:lnTo>
                      <a:pt x="280035" y="216218"/>
                    </a:lnTo>
                    <a:lnTo>
                      <a:pt x="285750" y="205740"/>
                    </a:lnTo>
                    <a:lnTo>
                      <a:pt x="279083" y="196215"/>
                    </a:lnTo>
                    <a:lnTo>
                      <a:pt x="264795" y="173355"/>
                    </a:lnTo>
                    <a:cubicBezTo>
                      <a:pt x="266700" y="160020"/>
                      <a:pt x="266700" y="146685"/>
                      <a:pt x="264795" y="133350"/>
                    </a:cubicBezTo>
                    <a:lnTo>
                      <a:pt x="279083" y="110490"/>
                    </a:lnTo>
                    <a:lnTo>
                      <a:pt x="285750" y="100965"/>
                    </a:lnTo>
                    <a:lnTo>
                      <a:pt x="280035" y="90488"/>
                    </a:lnTo>
                    <a:lnTo>
                      <a:pt x="264795" y="63818"/>
                    </a:lnTo>
                    <a:lnTo>
                      <a:pt x="259080" y="53340"/>
                    </a:lnTo>
                    <a:lnTo>
                      <a:pt x="246698" y="54293"/>
                    </a:lnTo>
                    <a:lnTo>
                      <a:pt x="220980" y="56197"/>
                    </a:lnTo>
                    <a:cubicBezTo>
                      <a:pt x="216217" y="52388"/>
                      <a:pt x="210502" y="48578"/>
                      <a:pt x="204788" y="44768"/>
                    </a:cubicBezTo>
                    <a:cubicBezTo>
                      <a:pt x="199073" y="40958"/>
                      <a:pt x="193358" y="38100"/>
                      <a:pt x="186690" y="36195"/>
                    </a:cubicBezTo>
                    <a:lnTo>
                      <a:pt x="175260" y="12383"/>
                    </a:lnTo>
                    <a:lnTo>
                      <a:pt x="169545" y="0"/>
                    </a:lnTo>
                    <a:lnTo>
                      <a:pt x="169545" y="0"/>
                    </a:lnTo>
                    <a:lnTo>
                      <a:pt x="157163" y="0"/>
                    </a:lnTo>
                    <a:lnTo>
                      <a:pt x="126682" y="0"/>
                    </a:lnTo>
                    <a:lnTo>
                      <a:pt x="114300" y="0"/>
                    </a:lnTo>
                    <a:lnTo>
                      <a:pt x="109538" y="10477"/>
                    </a:lnTo>
                    <a:lnTo>
                      <a:pt x="98107" y="34290"/>
                    </a:lnTo>
                    <a:cubicBezTo>
                      <a:pt x="85725" y="39053"/>
                      <a:pt x="74295" y="45720"/>
                      <a:pt x="63818" y="54293"/>
                    </a:cubicBezTo>
                    <a:lnTo>
                      <a:pt x="38100" y="53340"/>
                    </a:lnTo>
                    <a:lnTo>
                      <a:pt x="25718" y="52388"/>
                    </a:lnTo>
                    <a:lnTo>
                      <a:pt x="20002" y="62865"/>
                    </a:lnTo>
                    <a:lnTo>
                      <a:pt x="4763" y="89535"/>
                    </a:lnTo>
                    <a:lnTo>
                      <a:pt x="0" y="100013"/>
                    </a:lnTo>
                    <a:lnTo>
                      <a:pt x="6668" y="109538"/>
                    </a:lnTo>
                    <a:lnTo>
                      <a:pt x="20955" y="132398"/>
                    </a:lnTo>
                    <a:cubicBezTo>
                      <a:pt x="19050" y="145733"/>
                      <a:pt x="19050" y="159068"/>
                      <a:pt x="20955" y="172403"/>
                    </a:cubicBezTo>
                    <a:lnTo>
                      <a:pt x="6668" y="195263"/>
                    </a:lnTo>
                    <a:lnTo>
                      <a:pt x="0" y="204788"/>
                    </a:lnTo>
                    <a:lnTo>
                      <a:pt x="5715" y="215265"/>
                    </a:lnTo>
                    <a:lnTo>
                      <a:pt x="20955" y="241935"/>
                    </a:lnTo>
                    <a:lnTo>
                      <a:pt x="26670" y="252413"/>
                    </a:lnTo>
                    <a:lnTo>
                      <a:pt x="39052" y="251460"/>
                    </a:lnTo>
                    <a:lnTo>
                      <a:pt x="50482" y="250508"/>
                    </a:lnTo>
                    <a:lnTo>
                      <a:pt x="63818" y="230505"/>
                    </a:lnTo>
                    <a:lnTo>
                      <a:pt x="38100" y="232410"/>
                    </a:lnTo>
                    <a:lnTo>
                      <a:pt x="22860" y="205740"/>
                    </a:lnTo>
                    <a:lnTo>
                      <a:pt x="41910" y="177165"/>
                    </a:lnTo>
                    <a:cubicBezTo>
                      <a:pt x="38100" y="160973"/>
                      <a:pt x="38100" y="144780"/>
                      <a:pt x="41910" y="128588"/>
                    </a:cubicBezTo>
                    <a:lnTo>
                      <a:pt x="22860" y="100013"/>
                    </a:lnTo>
                    <a:lnTo>
                      <a:pt x="38100" y="73343"/>
                    </a:lnTo>
                    <a:lnTo>
                      <a:pt x="72390" y="75248"/>
                    </a:lnTo>
                    <a:cubicBezTo>
                      <a:pt x="83820" y="63818"/>
                      <a:pt x="98107" y="56197"/>
                      <a:pt x="113348" y="51435"/>
                    </a:cubicBezTo>
                    <a:lnTo>
                      <a:pt x="127635" y="19050"/>
                    </a:lnTo>
                    <a:lnTo>
                      <a:pt x="158115" y="19050"/>
                    </a:lnTo>
                  </a:path>
                </a:pathLst>
              </a:custGeom>
              <a:solidFill>
                <a:srgbClr val="3D4647"/>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96F878AF-C847-F75A-F735-F26256D5EB1C}"/>
                  </a:ext>
                </a:extLst>
              </p:cNvPr>
              <p:cNvSpPr/>
              <p:nvPr/>
            </p:nvSpPr>
            <p:spPr>
              <a:xfrm>
                <a:off x="1260392" y="3656706"/>
                <a:ext cx="162033" cy="178117"/>
              </a:xfrm>
              <a:custGeom>
                <a:avLst/>
                <a:gdLst>
                  <a:gd name="connsiteX0" fmla="*/ 81915 w 162033"/>
                  <a:gd name="connsiteY0" fmla="*/ 19050 h 178117"/>
                  <a:gd name="connsiteX1" fmla="*/ 111442 w 162033"/>
                  <a:gd name="connsiteY1" fmla="*/ 27622 h 178117"/>
                  <a:gd name="connsiteX2" fmla="*/ 133350 w 162033"/>
                  <a:gd name="connsiteY2" fmla="*/ 110490 h 178117"/>
                  <a:gd name="connsiteX3" fmla="*/ 81915 w 162033"/>
                  <a:gd name="connsiteY3" fmla="*/ 140970 h 178117"/>
                  <a:gd name="connsiteX4" fmla="*/ 79057 w 162033"/>
                  <a:gd name="connsiteY4" fmla="*/ 140970 h 178117"/>
                  <a:gd name="connsiteX5" fmla="*/ 61913 w 162033"/>
                  <a:gd name="connsiteY5" fmla="*/ 168592 h 178117"/>
                  <a:gd name="connsiteX6" fmla="*/ 78105 w 162033"/>
                  <a:gd name="connsiteY6" fmla="*/ 178117 h 178117"/>
                  <a:gd name="connsiteX7" fmla="*/ 88582 w 162033"/>
                  <a:gd name="connsiteY7" fmla="*/ 162878 h 178117"/>
                  <a:gd name="connsiteX8" fmla="*/ 90488 w 162033"/>
                  <a:gd name="connsiteY8" fmla="*/ 159067 h 178117"/>
                  <a:gd name="connsiteX9" fmla="*/ 151448 w 162033"/>
                  <a:gd name="connsiteY9" fmla="*/ 119063 h 178117"/>
                  <a:gd name="connsiteX10" fmla="*/ 122873 w 162033"/>
                  <a:gd name="connsiteY10" fmla="*/ 10477 h 178117"/>
                  <a:gd name="connsiteX11" fmla="*/ 83820 w 162033"/>
                  <a:gd name="connsiteY11" fmla="*/ 0 h 178117"/>
                  <a:gd name="connsiteX12" fmla="*/ 83820 w 162033"/>
                  <a:gd name="connsiteY12" fmla="*/ 0 h 178117"/>
                  <a:gd name="connsiteX13" fmla="*/ 83820 w 162033"/>
                  <a:gd name="connsiteY13" fmla="*/ 0 h 178117"/>
                  <a:gd name="connsiteX14" fmla="*/ 15240 w 162033"/>
                  <a:gd name="connsiteY14" fmla="*/ 40005 h 178117"/>
                  <a:gd name="connsiteX15" fmla="*/ 11430 w 162033"/>
                  <a:gd name="connsiteY15" fmla="*/ 111442 h 178117"/>
                  <a:gd name="connsiteX16" fmla="*/ 10477 w 162033"/>
                  <a:gd name="connsiteY16" fmla="*/ 113348 h 178117"/>
                  <a:gd name="connsiteX17" fmla="*/ 0 w 162033"/>
                  <a:gd name="connsiteY17" fmla="*/ 129540 h 178117"/>
                  <a:gd name="connsiteX18" fmla="*/ 17145 w 162033"/>
                  <a:gd name="connsiteY18" fmla="*/ 140017 h 178117"/>
                  <a:gd name="connsiteX19" fmla="*/ 34290 w 162033"/>
                  <a:gd name="connsiteY19" fmla="*/ 112395 h 178117"/>
                  <a:gd name="connsiteX20" fmla="*/ 33338 w 162033"/>
                  <a:gd name="connsiteY20" fmla="*/ 49530 h 178117"/>
                  <a:gd name="connsiteX21" fmla="*/ 81915 w 162033"/>
                  <a:gd name="connsiteY21" fmla="*/ 19050 h 178117"/>
                  <a:gd name="connsiteX22" fmla="*/ 81915 w 162033"/>
                  <a:gd name="connsiteY22" fmla="*/ 19050 h 178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2033" h="178117">
                    <a:moveTo>
                      <a:pt x="81915" y="19050"/>
                    </a:moveTo>
                    <a:cubicBezTo>
                      <a:pt x="92392" y="19050"/>
                      <a:pt x="101917" y="21907"/>
                      <a:pt x="111442" y="27622"/>
                    </a:cubicBezTo>
                    <a:cubicBezTo>
                      <a:pt x="140017" y="44767"/>
                      <a:pt x="149542" y="81915"/>
                      <a:pt x="133350" y="110490"/>
                    </a:cubicBezTo>
                    <a:cubicBezTo>
                      <a:pt x="121920" y="129540"/>
                      <a:pt x="101917" y="140970"/>
                      <a:pt x="81915" y="140970"/>
                    </a:cubicBezTo>
                    <a:cubicBezTo>
                      <a:pt x="80963" y="140970"/>
                      <a:pt x="80010" y="140970"/>
                      <a:pt x="79057" y="140970"/>
                    </a:cubicBezTo>
                    <a:lnTo>
                      <a:pt x="61913" y="168592"/>
                    </a:lnTo>
                    <a:lnTo>
                      <a:pt x="78105" y="178117"/>
                    </a:lnTo>
                    <a:lnTo>
                      <a:pt x="88582" y="162878"/>
                    </a:lnTo>
                    <a:lnTo>
                      <a:pt x="90488" y="159067"/>
                    </a:lnTo>
                    <a:cubicBezTo>
                      <a:pt x="115252" y="156210"/>
                      <a:pt x="138113" y="141923"/>
                      <a:pt x="151448" y="119063"/>
                    </a:cubicBezTo>
                    <a:cubicBezTo>
                      <a:pt x="173355" y="80963"/>
                      <a:pt x="160020" y="32385"/>
                      <a:pt x="122873" y="10477"/>
                    </a:cubicBezTo>
                    <a:cubicBezTo>
                      <a:pt x="110490" y="3810"/>
                      <a:pt x="97155" y="0"/>
                      <a:pt x="83820" y="0"/>
                    </a:cubicBezTo>
                    <a:lnTo>
                      <a:pt x="83820" y="0"/>
                    </a:lnTo>
                    <a:lnTo>
                      <a:pt x="83820" y="0"/>
                    </a:lnTo>
                    <a:cubicBezTo>
                      <a:pt x="56197" y="0"/>
                      <a:pt x="29527" y="15240"/>
                      <a:pt x="15240" y="40005"/>
                    </a:cubicBezTo>
                    <a:cubicBezTo>
                      <a:pt x="2857" y="61913"/>
                      <a:pt x="1905" y="88582"/>
                      <a:pt x="11430" y="111442"/>
                    </a:cubicBezTo>
                    <a:lnTo>
                      <a:pt x="10477" y="113348"/>
                    </a:lnTo>
                    <a:lnTo>
                      <a:pt x="0" y="129540"/>
                    </a:lnTo>
                    <a:lnTo>
                      <a:pt x="17145" y="140017"/>
                    </a:lnTo>
                    <a:lnTo>
                      <a:pt x="34290" y="112395"/>
                    </a:lnTo>
                    <a:cubicBezTo>
                      <a:pt x="22860" y="94298"/>
                      <a:pt x="21907" y="69532"/>
                      <a:pt x="33338" y="49530"/>
                    </a:cubicBezTo>
                    <a:cubicBezTo>
                      <a:pt x="40957" y="29528"/>
                      <a:pt x="60960" y="19050"/>
                      <a:pt x="81915" y="19050"/>
                    </a:cubicBezTo>
                    <a:cubicBezTo>
                      <a:pt x="81915" y="19050"/>
                      <a:pt x="81915" y="19050"/>
                      <a:pt x="81915" y="19050"/>
                    </a:cubicBezTo>
                  </a:path>
                </a:pathLst>
              </a:custGeom>
              <a:solidFill>
                <a:srgbClr val="3D4647"/>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5FD16DA1-7FDA-78DC-0BE3-44FEAB71ACEC}"/>
                  </a:ext>
                </a:extLst>
              </p:cNvPr>
              <p:cNvSpPr/>
              <p:nvPr/>
            </p:nvSpPr>
            <p:spPr>
              <a:xfrm>
                <a:off x="1266318" y="3703378"/>
                <a:ext cx="113212" cy="146685"/>
              </a:xfrm>
              <a:custGeom>
                <a:avLst/>
                <a:gdLst>
                  <a:gd name="connsiteX0" fmla="*/ 67416 w 113212"/>
                  <a:gd name="connsiteY0" fmla="*/ 80010 h 146685"/>
                  <a:gd name="connsiteX1" fmla="*/ 79798 w 113212"/>
                  <a:gd name="connsiteY1" fmla="*/ 71438 h 146685"/>
                  <a:gd name="connsiteX2" fmla="*/ 107421 w 113212"/>
                  <a:gd name="connsiteY2" fmla="*/ 55245 h 146685"/>
                  <a:gd name="connsiteX3" fmla="*/ 111231 w 113212"/>
                  <a:gd name="connsiteY3" fmla="*/ 24765 h 146685"/>
                  <a:gd name="connsiteX4" fmla="*/ 97896 w 113212"/>
                  <a:gd name="connsiteY4" fmla="*/ 45720 h 146685"/>
                  <a:gd name="connsiteX5" fmla="*/ 72178 w 113212"/>
                  <a:gd name="connsiteY5" fmla="*/ 42863 h 146685"/>
                  <a:gd name="connsiteX6" fmla="*/ 61701 w 113212"/>
                  <a:gd name="connsiteY6" fmla="*/ 20003 h 146685"/>
                  <a:gd name="connsiteX7" fmla="*/ 75036 w 113212"/>
                  <a:gd name="connsiteY7" fmla="*/ 0 h 146685"/>
                  <a:gd name="connsiteX8" fmla="*/ 49318 w 113212"/>
                  <a:gd name="connsiteY8" fmla="*/ 15240 h 146685"/>
                  <a:gd name="connsiteX9" fmla="*/ 45508 w 113212"/>
                  <a:gd name="connsiteY9" fmla="*/ 45720 h 146685"/>
                  <a:gd name="connsiteX10" fmla="*/ 42651 w 113212"/>
                  <a:gd name="connsiteY10" fmla="*/ 61913 h 146685"/>
                  <a:gd name="connsiteX11" fmla="*/ 2646 w 113212"/>
                  <a:gd name="connsiteY11" fmla="*/ 122873 h 146685"/>
                  <a:gd name="connsiteX12" fmla="*/ 6456 w 113212"/>
                  <a:gd name="connsiteY12" fmla="*/ 143827 h 146685"/>
                  <a:gd name="connsiteX13" fmla="*/ 15028 w 113212"/>
                  <a:gd name="connsiteY13" fmla="*/ 146685 h 146685"/>
                  <a:gd name="connsiteX14" fmla="*/ 27411 w 113212"/>
                  <a:gd name="connsiteY14" fmla="*/ 140018 h 146685"/>
                  <a:gd name="connsiteX15" fmla="*/ 67416 w 113212"/>
                  <a:gd name="connsiteY15" fmla="*/ 80010 h 14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212" h="146685">
                    <a:moveTo>
                      <a:pt x="67416" y="80010"/>
                    </a:moveTo>
                    <a:cubicBezTo>
                      <a:pt x="71226" y="74295"/>
                      <a:pt x="77893" y="71438"/>
                      <a:pt x="79798" y="71438"/>
                    </a:cubicBezTo>
                    <a:cubicBezTo>
                      <a:pt x="90276" y="71438"/>
                      <a:pt x="100753" y="65723"/>
                      <a:pt x="107421" y="55245"/>
                    </a:cubicBezTo>
                    <a:cubicBezTo>
                      <a:pt x="113136" y="45720"/>
                      <a:pt x="115041" y="34290"/>
                      <a:pt x="111231" y="24765"/>
                    </a:cubicBezTo>
                    <a:lnTo>
                      <a:pt x="97896" y="45720"/>
                    </a:lnTo>
                    <a:lnTo>
                      <a:pt x="72178" y="42863"/>
                    </a:lnTo>
                    <a:lnTo>
                      <a:pt x="61701" y="20003"/>
                    </a:lnTo>
                    <a:lnTo>
                      <a:pt x="75036" y="0"/>
                    </a:lnTo>
                    <a:cubicBezTo>
                      <a:pt x="64558" y="953"/>
                      <a:pt x="55033" y="6668"/>
                      <a:pt x="49318" y="15240"/>
                    </a:cubicBezTo>
                    <a:cubicBezTo>
                      <a:pt x="43603" y="24765"/>
                      <a:pt x="41698" y="36195"/>
                      <a:pt x="45508" y="45720"/>
                    </a:cubicBezTo>
                    <a:cubicBezTo>
                      <a:pt x="46461" y="48578"/>
                      <a:pt x="48366" y="53340"/>
                      <a:pt x="42651" y="61913"/>
                    </a:cubicBezTo>
                    <a:cubicBezTo>
                      <a:pt x="42651" y="61913"/>
                      <a:pt x="3598" y="121920"/>
                      <a:pt x="2646" y="122873"/>
                    </a:cubicBezTo>
                    <a:cubicBezTo>
                      <a:pt x="-2117" y="129540"/>
                      <a:pt x="-212" y="139065"/>
                      <a:pt x="6456" y="143827"/>
                    </a:cubicBezTo>
                    <a:cubicBezTo>
                      <a:pt x="9313" y="145733"/>
                      <a:pt x="12171" y="146685"/>
                      <a:pt x="15028" y="146685"/>
                    </a:cubicBezTo>
                    <a:cubicBezTo>
                      <a:pt x="19791" y="146685"/>
                      <a:pt x="24553" y="143827"/>
                      <a:pt x="27411" y="140018"/>
                    </a:cubicBezTo>
                    <a:cubicBezTo>
                      <a:pt x="27411" y="140018"/>
                      <a:pt x="67416" y="80010"/>
                      <a:pt x="67416" y="80010"/>
                    </a:cubicBezTo>
                    <a:close/>
                  </a:path>
                </a:pathLst>
              </a:custGeom>
              <a:solidFill>
                <a:srgbClr val="40AA1D"/>
              </a:solidFill>
              <a:ln w="9525" cap="flat">
                <a:noFill/>
                <a:prstDash val="solid"/>
                <a:miter/>
              </a:ln>
            </p:spPr>
            <p:txBody>
              <a:bodyPr rtlCol="0" anchor="ctr"/>
              <a:lstStyle/>
              <a:p>
                <a:endParaRPr lang="en-US" dirty="0"/>
              </a:p>
            </p:txBody>
          </p:sp>
        </p:grpSp>
        <p:sp>
          <p:nvSpPr>
            <p:cNvPr id="578" name="Freeform: Shape 577">
              <a:extLst>
                <a:ext uri="{FF2B5EF4-FFF2-40B4-BE49-F238E27FC236}">
                  <a16:creationId xmlns:a16="http://schemas.microsoft.com/office/drawing/2014/main" id="{CD3CBF74-FE77-06D3-938C-2923898EB6DE}"/>
                </a:ext>
              </a:extLst>
            </p:cNvPr>
            <p:cNvSpPr/>
            <p:nvPr/>
          </p:nvSpPr>
          <p:spPr>
            <a:xfrm>
              <a:off x="866799" y="3730048"/>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579" name="Freeform: Shape 578">
              <a:extLst>
                <a:ext uri="{FF2B5EF4-FFF2-40B4-BE49-F238E27FC236}">
                  <a16:creationId xmlns:a16="http://schemas.microsoft.com/office/drawing/2014/main" id="{EC8709FD-245B-A6F8-EA05-7B1BC91E48C4}"/>
                </a:ext>
              </a:extLst>
            </p:cNvPr>
            <p:cNvSpPr/>
            <p:nvPr/>
          </p:nvSpPr>
          <p:spPr>
            <a:xfrm>
              <a:off x="704874" y="4087235"/>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pic>
        <p:nvPicPr>
          <p:cNvPr id="590" name="Graphic 589">
            <a:extLst>
              <a:ext uri="{FF2B5EF4-FFF2-40B4-BE49-F238E27FC236}">
                <a16:creationId xmlns:a16="http://schemas.microsoft.com/office/drawing/2014/main" id="{5B3DA230-EB1D-6937-23EE-7845123FD144}"/>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3439812" y="5016068"/>
            <a:ext cx="609600" cy="609600"/>
          </a:xfrm>
          <a:prstGeom prst="rect">
            <a:avLst/>
          </a:prstGeom>
        </p:spPr>
      </p:pic>
      <p:grpSp>
        <p:nvGrpSpPr>
          <p:cNvPr id="591" name="Group 590">
            <a:extLst>
              <a:ext uri="{FF2B5EF4-FFF2-40B4-BE49-F238E27FC236}">
                <a16:creationId xmlns:a16="http://schemas.microsoft.com/office/drawing/2014/main" id="{14A365F9-A901-9D92-B3D1-AD4F2683E138}"/>
              </a:ext>
            </a:extLst>
          </p:cNvPr>
          <p:cNvGrpSpPr/>
          <p:nvPr/>
        </p:nvGrpSpPr>
        <p:grpSpPr>
          <a:xfrm>
            <a:off x="8449403" y="3409277"/>
            <a:ext cx="609600" cy="639749"/>
            <a:chOff x="6393272" y="4609552"/>
            <a:chExt cx="740611" cy="777240"/>
          </a:xfrm>
        </p:grpSpPr>
        <p:grpSp>
          <p:nvGrpSpPr>
            <p:cNvPr id="14" name="Group 13">
              <a:extLst>
                <a:ext uri="{FF2B5EF4-FFF2-40B4-BE49-F238E27FC236}">
                  <a16:creationId xmlns:a16="http://schemas.microsoft.com/office/drawing/2014/main" id="{9F81AC5F-3E4B-5C68-457D-561BA7973A02}"/>
                </a:ext>
              </a:extLst>
            </p:cNvPr>
            <p:cNvGrpSpPr>
              <a:grpSpLocks noChangeAspect="1"/>
            </p:cNvGrpSpPr>
            <p:nvPr/>
          </p:nvGrpSpPr>
          <p:grpSpPr>
            <a:xfrm>
              <a:off x="6393272" y="4609552"/>
              <a:ext cx="740611" cy="777240"/>
              <a:chOff x="2202050" y="4696713"/>
              <a:chExt cx="527685" cy="553783"/>
            </a:xfrm>
          </p:grpSpPr>
          <p:sp>
            <p:nvSpPr>
              <p:cNvPr id="24" name="Freeform: Shape 23">
                <a:extLst>
                  <a:ext uri="{FF2B5EF4-FFF2-40B4-BE49-F238E27FC236}">
                    <a16:creationId xmlns:a16="http://schemas.microsoft.com/office/drawing/2014/main" id="{8D4B4143-6E1E-19FC-DBDF-8E1FF512122A}"/>
                  </a:ext>
                </a:extLst>
              </p:cNvPr>
              <p:cNvSpPr/>
              <p:nvPr/>
            </p:nvSpPr>
            <p:spPr>
              <a:xfrm>
                <a:off x="2213004" y="4696713"/>
                <a:ext cx="307276" cy="298704"/>
              </a:xfrm>
              <a:custGeom>
                <a:avLst/>
                <a:gdLst>
                  <a:gd name="connsiteX0" fmla="*/ 307086 w 307276"/>
                  <a:gd name="connsiteY0" fmla="*/ 66389 h 298704"/>
                  <a:gd name="connsiteX1" fmla="*/ 256604 w 307276"/>
                  <a:gd name="connsiteY1" fmla="*/ 0 h 298704"/>
                  <a:gd name="connsiteX2" fmla="*/ 250412 w 307276"/>
                  <a:gd name="connsiteY2" fmla="*/ 45815 h 298704"/>
                  <a:gd name="connsiteX3" fmla="*/ 102775 w 307276"/>
                  <a:gd name="connsiteY3" fmla="*/ 95726 h 298704"/>
                  <a:gd name="connsiteX4" fmla="*/ 2762 w 307276"/>
                  <a:gd name="connsiteY4" fmla="*/ 262414 h 298704"/>
                  <a:gd name="connsiteX5" fmla="*/ 0 w 307276"/>
                  <a:gd name="connsiteY5" fmla="*/ 298514 h 298704"/>
                  <a:gd name="connsiteX6" fmla="*/ 28575 w 307276"/>
                  <a:gd name="connsiteY6" fmla="*/ 298704 h 298704"/>
                  <a:gd name="connsiteX7" fmla="*/ 31051 w 307276"/>
                  <a:gd name="connsiteY7" fmla="*/ 266605 h 298704"/>
                  <a:gd name="connsiteX8" fmla="*/ 119825 w 307276"/>
                  <a:gd name="connsiteY8" fmla="*/ 118682 h 298704"/>
                  <a:gd name="connsiteX9" fmla="*/ 246602 w 307276"/>
                  <a:gd name="connsiteY9" fmla="*/ 74486 h 298704"/>
                  <a:gd name="connsiteX10" fmla="*/ 240887 w 307276"/>
                  <a:gd name="connsiteY10" fmla="*/ 116872 h 298704"/>
                  <a:gd name="connsiteX11" fmla="*/ 307277 w 307276"/>
                  <a:gd name="connsiteY11" fmla="*/ 66389 h 29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7276" h="298704">
                    <a:moveTo>
                      <a:pt x="307086" y="66389"/>
                    </a:moveTo>
                    <a:lnTo>
                      <a:pt x="256604" y="0"/>
                    </a:lnTo>
                    <a:lnTo>
                      <a:pt x="250412" y="45815"/>
                    </a:lnTo>
                    <a:cubicBezTo>
                      <a:pt x="197453" y="46387"/>
                      <a:pt x="146114" y="63532"/>
                      <a:pt x="102775" y="95726"/>
                    </a:cubicBezTo>
                    <a:cubicBezTo>
                      <a:pt x="48292" y="136112"/>
                      <a:pt x="12764" y="195263"/>
                      <a:pt x="2762" y="262414"/>
                    </a:cubicBezTo>
                    <a:cubicBezTo>
                      <a:pt x="952" y="274415"/>
                      <a:pt x="0" y="286512"/>
                      <a:pt x="0" y="298514"/>
                    </a:cubicBezTo>
                    <a:lnTo>
                      <a:pt x="28575" y="298704"/>
                    </a:lnTo>
                    <a:cubicBezTo>
                      <a:pt x="28575" y="288036"/>
                      <a:pt x="29432" y="277273"/>
                      <a:pt x="31051" y="266605"/>
                    </a:cubicBezTo>
                    <a:cubicBezTo>
                      <a:pt x="39910" y="207074"/>
                      <a:pt x="71437" y="154496"/>
                      <a:pt x="119825" y="118682"/>
                    </a:cubicBezTo>
                    <a:cubicBezTo>
                      <a:pt x="157163" y="91059"/>
                      <a:pt x="201073" y="75914"/>
                      <a:pt x="246602" y="74486"/>
                    </a:cubicBezTo>
                    <a:lnTo>
                      <a:pt x="240887" y="116872"/>
                    </a:lnTo>
                    <a:lnTo>
                      <a:pt x="307277" y="66389"/>
                    </a:lnTo>
                    <a:close/>
                  </a:path>
                </a:pathLst>
              </a:custGeom>
              <a:solidFill>
                <a:srgbClr val="3D4647"/>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B74649DB-B1A6-65F2-9B74-E627FD85948C}"/>
                  </a:ext>
                </a:extLst>
              </p:cNvPr>
              <p:cNvSpPr/>
              <p:nvPr/>
            </p:nvSpPr>
            <p:spPr>
              <a:xfrm>
                <a:off x="2576764" y="4774627"/>
                <a:ext cx="152971" cy="387953"/>
              </a:xfrm>
              <a:custGeom>
                <a:avLst/>
                <a:gdLst>
                  <a:gd name="connsiteX0" fmla="*/ 111823 w 152971"/>
                  <a:gd name="connsiteY0" fmla="*/ 345662 h 387953"/>
                  <a:gd name="connsiteX1" fmla="*/ 141351 w 152971"/>
                  <a:gd name="connsiteY1" fmla="*/ 259271 h 387953"/>
                  <a:gd name="connsiteX2" fmla="*/ 13906 w 152971"/>
                  <a:gd name="connsiteY2" fmla="*/ 0 h 387953"/>
                  <a:gd name="connsiteX3" fmla="*/ 0 w 152971"/>
                  <a:gd name="connsiteY3" fmla="*/ 24955 h 387953"/>
                  <a:gd name="connsiteX4" fmla="*/ 113062 w 152971"/>
                  <a:gd name="connsiteY4" fmla="*/ 255079 h 387953"/>
                  <a:gd name="connsiteX5" fmla="*/ 89725 w 152971"/>
                  <a:gd name="connsiteY5" fmla="*/ 326612 h 387953"/>
                  <a:gd name="connsiteX6" fmla="*/ 53340 w 152971"/>
                  <a:gd name="connsiteY6" fmla="*/ 295275 h 387953"/>
                  <a:gd name="connsiteX7" fmla="*/ 60293 w 152971"/>
                  <a:gd name="connsiteY7" fmla="*/ 387953 h 387953"/>
                  <a:gd name="connsiteX8" fmla="*/ 152971 w 152971"/>
                  <a:gd name="connsiteY8" fmla="*/ 381000 h 387953"/>
                  <a:gd name="connsiteX9" fmla="*/ 111823 w 152971"/>
                  <a:gd name="connsiteY9" fmla="*/ 345567 h 3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971" h="387953">
                    <a:moveTo>
                      <a:pt x="111823" y="345662"/>
                    </a:moveTo>
                    <a:cubicBezTo>
                      <a:pt x="126682" y="318992"/>
                      <a:pt x="136779" y="289846"/>
                      <a:pt x="141351" y="259271"/>
                    </a:cubicBezTo>
                    <a:cubicBezTo>
                      <a:pt x="156781" y="155353"/>
                      <a:pt x="105632" y="51149"/>
                      <a:pt x="13906" y="0"/>
                    </a:cubicBezTo>
                    <a:lnTo>
                      <a:pt x="0" y="24955"/>
                    </a:lnTo>
                    <a:cubicBezTo>
                      <a:pt x="81343" y="70390"/>
                      <a:pt x="126873" y="162878"/>
                      <a:pt x="113062" y="255079"/>
                    </a:cubicBezTo>
                    <a:cubicBezTo>
                      <a:pt x="109347" y="280225"/>
                      <a:pt x="101346" y="304419"/>
                      <a:pt x="89725" y="326612"/>
                    </a:cubicBezTo>
                    <a:lnTo>
                      <a:pt x="53340" y="295275"/>
                    </a:lnTo>
                    <a:lnTo>
                      <a:pt x="60293" y="387953"/>
                    </a:lnTo>
                    <a:lnTo>
                      <a:pt x="152971" y="381000"/>
                    </a:lnTo>
                    <a:lnTo>
                      <a:pt x="111823" y="345567"/>
                    </a:lnTo>
                    <a:close/>
                  </a:path>
                </a:pathLst>
              </a:custGeom>
              <a:solidFill>
                <a:srgbClr val="3D4647"/>
              </a:solidFill>
              <a:ln w="9525" cap="flat">
                <a:noFill/>
                <a:prstDash val="solid"/>
                <a:miter/>
              </a:ln>
            </p:spPr>
            <p:txBody>
              <a:bodyPr rtlCol="0" anchor="ctr"/>
              <a:lstStyle/>
              <a:p>
                <a:endParaRPr lang="en-US" dirty="0"/>
              </a:p>
            </p:txBody>
          </p:sp>
          <p:sp>
            <p:nvSpPr>
              <p:cNvPr id="580" name="Freeform: Shape 579">
                <a:extLst>
                  <a:ext uri="{FF2B5EF4-FFF2-40B4-BE49-F238E27FC236}">
                    <a16:creationId xmlns:a16="http://schemas.microsoft.com/office/drawing/2014/main" id="{EEEC9666-BD35-8089-BA18-06E39C9847A5}"/>
                  </a:ext>
                </a:extLst>
              </p:cNvPr>
              <p:cNvSpPr/>
              <p:nvPr/>
            </p:nvSpPr>
            <p:spPr>
              <a:xfrm>
                <a:off x="2202050" y="5062949"/>
                <a:ext cx="397382" cy="187547"/>
              </a:xfrm>
              <a:custGeom>
                <a:avLst/>
                <a:gdLst>
                  <a:gd name="connsiteX0" fmla="*/ 382429 w 397382"/>
                  <a:gd name="connsiteY0" fmla="*/ 125825 h 187547"/>
                  <a:gd name="connsiteX1" fmla="*/ 231553 w 397382"/>
                  <a:gd name="connsiteY1" fmla="*/ 156496 h 187547"/>
                  <a:gd name="connsiteX2" fmla="*/ 72771 w 397382"/>
                  <a:gd name="connsiteY2" fmla="*/ 51530 h 187547"/>
                  <a:gd name="connsiteX3" fmla="*/ 116014 w 397382"/>
                  <a:gd name="connsiteY3" fmla="*/ 32766 h 187547"/>
                  <a:gd name="connsiteX4" fmla="*/ 32766 w 397382"/>
                  <a:gd name="connsiteY4" fmla="*/ 0 h 187547"/>
                  <a:gd name="connsiteX5" fmla="*/ 0 w 397382"/>
                  <a:gd name="connsiteY5" fmla="*/ 83248 h 187547"/>
                  <a:gd name="connsiteX6" fmla="*/ 46387 w 397382"/>
                  <a:gd name="connsiteY6" fmla="*/ 63055 h 187547"/>
                  <a:gd name="connsiteX7" fmla="*/ 227362 w 397382"/>
                  <a:gd name="connsiteY7" fmla="*/ 184785 h 187547"/>
                  <a:gd name="connsiteX8" fmla="*/ 264700 w 397382"/>
                  <a:gd name="connsiteY8" fmla="*/ 187547 h 187547"/>
                  <a:gd name="connsiteX9" fmla="*/ 397383 w 397382"/>
                  <a:gd name="connsiteY9" fmla="*/ 150209 h 187547"/>
                  <a:gd name="connsiteX10" fmla="*/ 382429 w 397382"/>
                  <a:gd name="connsiteY10" fmla="*/ 125825 h 187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7382" h="187547">
                    <a:moveTo>
                      <a:pt x="382429" y="125825"/>
                    </a:moveTo>
                    <a:cubicBezTo>
                      <a:pt x="337471" y="153448"/>
                      <a:pt x="283845" y="164306"/>
                      <a:pt x="231553" y="156496"/>
                    </a:cubicBezTo>
                    <a:cubicBezTo>
                      <a:pt x="165164" y="146590"/>
                      <a:pt x="107347" y="107632"/>
                      <a:pt x="72771" y="51530"/>
                    </a:cubicBezTo>
                    <a:lnTo>
                      <a:pt x="116014" y="32766"/>
                    </a:lnTo>
                    <a:lnTo>
                      <a:pt x="32766" y="0"/>
                    </a:lnTo>
                    <a:lnTo>
                      <a:pt x="0" y="83248"/>
                    </a:lnTo>
                    <a:lnTo>
                      <a:pt x="46387" y="63055"/>
                    </a:lnTo>
                    <a:cubicBezTo>
                      <a:pt x="85058" y="128016"/>
                      <a:pt x="151162" y="173450"/>
                      <a:pt x="227362" y="184785"/>
                    </a:cubicBezTo>
                    <a:cubicBezTo>
                      <a:pt x="239744" y="186595"/>
                      <a:pt x="252222" y="187547"/>
                      <a:pt x="264700" y="187547"/>
                    </a:cubicBezTo>
                    <a:cubicBezTo>
                      <a:pt x="311277" y="187547"/>
                      <a:pt x="357378" y="174689"/>
                      <a:pt x="397383" y="150209"/>
                    </a:cubicBezTo>
                    <a:lnTo>
                      <a:pt x="382429" y="125825"/>
                    </a:lnTo>
                    <a:close/>
                  </a:path>
                </a:pathLst>
              </a:custGeom>
              <a:solidFill>
                <a:srgbClr val="3D4647"/>
              </a:solidFill>
              <a:ln w="9525" cap="flat">
                <a:noFill/>
                <a:prstDash val="solid"/>
                <a:miter/>
              </a:ln>
            </p:spPr>
            <p:txBody>
              <a:bodyPr rtlCol="0" anchor="ctr"/>
              <a:lstStyle/>
              <a:p>
                <a:endParaRPr lang="en-US" dirty="0"/>
              </a:p>
            </p:txBody>
          </p:sp>
        </p:grpSp>
        <p:grpSp>
          <p:nvGrpSpPr>
            <p:cNvPr id="581" name="Group 580">
              <a:extLst>
                <a:ext uri="{FF2B5EF4-FFF2-40B4-BE49-F238E27FC236}">
                  <a16:creationId xmlns:a16="http://schemas.microsoft.com/office/drawing/2014/main" id="{B2B61662-835E-4A9A-5776-4F57E4DE9BB6}"/>
                </a:ext>
              </a:extLst>
            </p:cNvPr>
            <p:cNvGrpSpPr/>
            <p:nvPr/>
          </p:nvGrpSpPr>
          <p:grpSpPr>
            <a:xfrm>
              <a:off x="6573563" y="4809251"/>
              <a:ext cx="422241" cy="465158"/>
              <a:chOff x="927625" y="4866281"/>
              <a:chExt cx="517480" cy="570075"/>
            </a:xfrm>
          </p:grpSpPr>
          <p:sp>
            <p:nvSpPr>
              <p:cNvPr id="582" name="Freeform: Shape 581">
                <a:extLst>
                  <a:ext uri="{FF2B5EF4-FFF2-40B4-BE49-F238E27FC236}">
                    <a16:creationId xmlns:a16="http://schemas.microsoft.com/office/drawing/2014/main" id="{E3233AC1-5ADB-B479-1205-31A9E042BAA4}"/>
                  </a:ext>
                </a:extLst>
              </p:cNvPr>
              <p:cNvSpPr/>
              <p:nvPr/>
            </p:nvSpPr>
            <p:spPr>
              <a:xfrm>
                <a:off x="927625" y="4930170"/>
                <a:ext cx="153828" cy="152875"/>
              </a:xfrm>
              <a:custGeom>
                <a:avLst/>
                <a:gdLst>
                  <a:gd name="connsiteX0" fmla="*/ 28575 w 153828"/>
                  <a:gd name="connsiteY0" fmla="*/ 139922 h 152876"/>
                  <a:gd name="connsiteX1" fmla="*/ 54007 w 153828"/>
                  <a:gd name="connsiteY1" fmla="*/ 152876 h 152876"/>
                  <a:gd name="connsiteX2" fmla="*/ 67818 w 153828"/>
                  <a:gd name="connsiteY2" fmla="*/ 134112 h 152876"/>
                  <a:gd name="connsiteX3" fmla="*/ 92869 w 153828"/>
                  <a:gd name="connsiteY3" fmla="*/ 132779 h 152876"/>
                  <a:gd name="connsiteX4" fmla="*/ 108776 w 153828"/>
                  <a:gd name="connsiteY4" fmla="*/ 150019 h 152876"/>
                  <a:gd name="connsiteX5" fmla="*/ 132778 w 153828"/>
                  <a:gd name="connsiteY5" fmla="*/ 134493 h 152876"/>
                  <a:gd name="connsiteX6" fmla="*/ 123444 w 153828"/>
                  <a:gd name="connsiteY6" fmla="*/ 113348 h 152876"/>
                  <a:gd name="connsiteX7" fmla="*/ 134302 w 153828"/>
                  <a:gd name="connsiteY7" fmla="*/ 90678 h 152876"/>
                  <a:gd name="connsiteX8" fmla="*/ 153829 w 153828"/>
                  <a:gd name="connsiteY8" fmla="*/ 86392 h 152876"/>
                  <a:gd name="connsiteX9" fmla="*/ 152305 w 153828"/>
                  <a:gd name="connsiteY9" fmla="*/ 57817 h 152876"/>
                  <a:gd name="connsiteX10" fmla="*/ 132398 w 153828"/>
                  <a:gd name="connsiteY10" fmla="*/ 55531 h 152876"/>
                  <a:gd name="connsiteX11" fmla="*/ 118300 w 153828"/>
                  <a:gd name="connsiteY11" fmla="*/ 33814 h 152876"/>
                  <a:gd name="connsiteX12" fmla="*/ 124968 w 153828"/>
                  <a:gd name="connsiteY12" fmla="*/ 12954 h 152876"/>
                  <a:gd name="connsiteX13" fmla="*/ 99536 w 153828"/>
                  <a:gd name="connsiteY13" fmla="*/ 0 h 152876"/>
                  <a:gd name="connsiteX14" fmla="*/ 86392 w 153828"/>
                  <a:gd name="connsiteY14" fmla="*/ 17717 h 152876"/>
                  <a:gd name="connsiteX15" fmla="*/ 60960 w 153828"/>
                  <a:gd name="connsiteY15" fmla="*/ 19050 h 152876"/>
                  <a:gd name="connsiteX16" fmla="*/ 45339 w 153828"/>
                  <a:gd name="connsiteY16" fmla="*/ 1905 h 152876"/>
                  <a:gd name="connsiteX17" fmla="*/ 21336 w 153828"/>
                  <a:gd name="connsiteY17" fmla="*/ 17431 h 152876"/>
                  <a:gd name="connsiteX18" fmla="*/ 30766 w 153828"/>
                  <a:gd name="connsiteY18" fmla="*/ 39053 h 152876"/>
                  <a:gd name="connsiteX19" fmla="*/ 19431 w 153828"/>
                  <a:gd name="connsiteY19" fmla="*/ 61246 h 152876"/>
                  <a:gd name="connsiteX20" fmla="*/ 0 w 153828"/>
                  <a:gd name="connsiteY20" fmla="*/ 65627 h 152876"/>
                  <a:gd name="connsiteX21" fmla="*/ 1524 w 153828"/>
                  <a:gd name="connsiteY21" fmla="*/ 94202 h 152876"/>
                  <a:gd name="connsiteX22" fmla="*/ 21241 w 153828"/>
                  <a:gd name="connsiteY22" fmla="*/ 96393 h 152876"/>
                  <a:gd name="connsiteX23" fmla="*/ 35052 w 153828"/>
                  <a:gd name="connsiteY23" fmla="*/ 117729 h 152876"/>
                  <a:gd name="connsiteX24" fmla="*/ 28480 w 153828"/>
                  <a:gd name="connsiteY24" fmla="*/ 139827 h 152876"/>
                  <a:gd name="connsiteX25" fmla="*/ 53435 w 153828"/>
                  <a:gd name="connsiteY25" fmla="*/ 91440 h 152876"/>
                  <a:gd name="connsiteX26" fmla="*/ 48958 w 153828"/>
                  <a:gd name="connsiteY26" fmla="*/ 73628 h 152876"/>
                  <a:gd name="connsiteX27" fmla="*/ 56197 w 153828"/>
                  <a:gd name="connsiteY27" fmla="*/ 56769 h 152876"/>
                  <a:gd name="connsiteX28" fmla="*/ 72200 w 153828"/>
                  <a:gd name="connsiteY28" fmla="*/ 47816 h 152876"/>
                  <a:gd name="connsiteX29" fmla="*/ 90392 w 153828"/>
                  <a:gd name="connsiteY29" fmla="*/ 50483 h 152876"/>
                  <a:gd name="connsiteX30" fmla="*/ 103251 w 153828"/>
                  <a:gd name="connsiteY30" fmla="*/ 63627 h 152876"/>
                  <a:gd name="connsiteX31" fmla="*/ 105442 w 153828"/>
                  <a:gd name="connsiteY31" fmla="*/ 81915 h 152876"/>
                  <a:gd name="connsiteX32" fmla="*/ 96012 w 153828"/>
                  <a:gd name="connsiteY32" fmla="*/ 97727 h 152876"/>
                  <a:gd name="connsiteX33" fmla="*/ 78962 w 153828"/>
                  <a:gd name="connsiteY33" fmla="*/ 104585 h 152876"/>
                  <a:gd name="connsiteX34" fmla="*/ 64484 w 153828"/>
                  <a:gd name="connsiteY34" fmla="*/ 101632 h 152876"/>
                  <a:gd name="connsiteX35" fmla="*/ 53435 w 153828"/>
                  <a:gd name="connsiteY35" fmla="*/ 91821 h 152876"/>
                  <a:gd name="connsiteX36" fmla="*/ 53435 w 153828"/>
                  <a:gd name="connsiteY36" fmla="*/ 91631 h 15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3828" h="152876">
                    <a:moveTo>
                      <a:pt x="28575" y="139922"/>
                    </a:moveTo>
                    <a:lnTo>
                      <a:pt x="54007" y="152876"/>
                    </a:lnTo>
                    <a:lnTo>
                      <a:pt x="67818" y="134112"/>
                    </a:lnTo>
                    <a:lnTo>
                      <a:pt x="92869" y="132779"/>
                    </a:lnTo>
                    <a:lnTo>
                      <a:pt x="108776" y="150019"/>
                    </a:lnTo>
                    <a:lnTo>
                      <a:pt x="132778" y="134493"/>
                    </a:lnTo>
                    <a:lnTo>
                      <a:pt x="123444" y="113348"/>
                    </a:lnTo>
                    <a:lnTo>
                      <a:pt x="134302" y="90678"/>
                    </a:lnTo>
                    <a:lnTo>
                      <a:pt x="153829" y="86392"/>
                    </a:lnTo>
                    <a:lnTo>
                      <a:pt x="152305" y="57817"/>
                    </a:lnTo>
                    <a:lnTo>
                      <a:pt x="132398" y="55531"/>
                    </a:lnTo>
                    <a:lnTo>
                      <a:pt x="118300" y="33814"/>
                    </a:lnTo>
                    <a:lnTo>
                      <a:pt x="124968" y="12954"/>
                    </a:lnTo>
                    <a:lnTo>
                      <a:pt x="99536" y="0"/>
                    </a:lnTo>
                    <a:lnTo>
                      <a:pt x="86392" y="17717"/>
                    </a:lnTo>
                    <a:lnTo>
                      <a:pt x="60960" y="19050"/>
                    </a:lnTo>
                    <a:lnTo>
                      <a:pt x="45339" y="1905"/>
                    </a:lnTo>
                    <a:lnTo>
                      <a:pt x="21336" y="17431"/>
                    </a:lnTo>
                    <a:lnTo>
                      <a:pt x="30766" y="39053"/>
                    </a:lnTo>
                    <a:lnTo>
                      <a:pt x="19431" y="61246"/>
                    </a:lnTo>
                    <a:lnTo>
                      <a:pt x="0" y="65627"/>
                    </a:lnTo>
                    <a:lnTo>
                      <a:pt x="1524" y="94202"/>
                    </a:lnTo>
                    <a:lnTo>
                      <a:pt x="21241" y="96393"/>
                    </a:lnTo>
                    <a:lnTo>
                      <a:pt x="35052" y="117729"/>
                    </a:lnTo>
                    <a:lnTo>
                      <a:pt x="28480" y="139827"/>
                    </a:lnTo>
                    <a:close/>
                    <a:moveTo>
                      <a:pt x="53435" y="91440"/>
                    </a:moveTo>
                    <a:cubicBezTo>
                      <a:pt x="50006" y="86201"/>
                      <a:pt x="48387" y="79915"/>
                      <a:pt x="48958" y="73628"/>
                    </a:cubicBezTo>
                    <a:cubicBezTo>
                      <a:pt x="49435" y="67342"/>
                      <a:pt x="52006" y="61436"/>
                      <a:pt x="56197" y="56769"/>
                    </a:cubicBezTo>
                    <a:cubicBezTo>
                      <a:pt x="60389" y="52102"/>
                      <a:pt x="66008" y="48959"/>
                      <a:pt x="72200" y="47816"/>
                    </a:cubicBezTo>
                    <a:cubicBezTo>
                      <a:pt x="78391" y="46672"/>
                      <a:pt x="84773" y="47625"/>
                      <a:pt x="90392" y="50483"/>
                    </a:cubicBezTo>
                    <a:cubicBezTo>
                      <a:pt x="96012" y="53340"/>
                      <a:pt x="100489" y="58007"/>
                      <a:pt x="103251" y="63627"/>
                    </a:cubicBezTo>
                    <a:cubicBezTo>
                      <a:pt x="105918" y="69342"/>
                      <a:pt x="106680" y="75724"/>
                      <a:pt x="105442" y="81915"/>
                    </a:cubicBezTo>
                    <a:cubicBezTo>
                      <a:pt x="104108" y="88106"/>
                      <a:pt x="100870" y="93631"/>
                      <a:pt x="96012" y="97727"/>
                    </a:cubicBezTo>
                    <a:cubicBezTo>
                      <a:pt x="91250" y="101822"/>
                      <a:pt x="85249" y="104204"/>
                      <a:pt x="78962" y="104585"/>
                    </a:cubicBezTo>
                    <a:cubicBezTo>
                      <a:pt x="74009" y="104870"/>
                      <a:pt x="68961" y="103823"/>
                      <a:pt x="64484" y="101632"/>
                    </a:cubicBezTo>
                    <a:cubicBezTo>
                      <a:pt x="60007" y="99441"/>
                      <a:pt x="56197" y="96012"/>
                      <a:pt x="53435" y="91821"/>
                    </a:cubicBezTo>
                    <a:lnTo>
                      <a:pt x="53435" y="91631"/>
                    </a:lnTo>
                    <a:close/>
                  </a:path>
                </a:pathLst>
              </a:custGeom>
              <a:solidFill>
                <a:schemeClr val="bg2"/>
              </a:solidFill>
              <a:ln w="0" cap="flat">
                <a:solidFill>
                  <a:schemeClr val="accent1"/>
                </a:solidFill>
                <a:prstDash val="solid"/>
                <a:miter/>
              </a:ln>
            </p:spPr>
            <p:txBody>
              <a:bodyPr rtlCol="0" anchor="ctr"/>
              <a:lstStyle/>
              <a:p>
                <a:endParaRPr lang="en-US" dirty="0"/>
              </a:p>
            </p:txBody>
          </p:sp>
          <p:sp>
            <p:nvSpPr>
              <p:cNvPr id="583" name="Freeform: Shape 582">
                <a:extLst>
                  <a:ext uri="{FF2B5EF4-FFF2-40B4-BE49-F238E27FC236}">
                    <a16:creationId xmlns:a16="http://schemas.microsoft.com/office/drawing/2014/main" id="{7B283B9A-C9A5-7AD9-9AD2-1CF598C1597A}"/>
                  </a:ext>
                </a:extLst>
              </p:cNvPr>
              <p:cNvSpPr/>
              <p:nvPr/>
            </p:nvSpPr>
            <p:spPr>
              <a:xfrm>
                <a:off x="1143448" y="4866281"/>
                <a:ext cx="301657" cy="303942"/>
              </a:xfrm>
              <a:custGeom>
                <a:avLst/>
                <a:gdLst>
                  <a:gd name="connsiteX0" fmla="*/ 273177 w 301656"/>
                  <a:gd name="connsiteY0" fmla="*/ 255079 h 303942"/>
                  <a:gd name="connsiteX1" fmla="*/ 301657 w 301656"/>
                  <a:gd name="connsiteY1" fmla="*/ 205645 h 303942"/>
                  <a:gd name="connsiteX2" fmla="*/ 265748 w 301656"/>
                  <a:gd name="connsiteY2" fmla="*/ 176212 h 303942"/>
                  <a:gd name="connsiteX3" fmla="*/ 265748 w 301656"/>
                  <a:gd name="connsiteY3" fmla="*/ 126206 h 303942"/>
                  <a:gd name="connsiteX4" fmla="*/ 301657 w 301656"/>
                  <a:gd name="connsiteY4" fmla="*/ 96393 h 303942"/>
                  <a:gd name="connsiteX5" fmla="*/ 273177 w 301656"/>
                  <a:gd name="connsiteY5" fmla="*/ 46958 h 303942"/>
                  <a:gd name="connsiteX6" fmla="*/ 230029 w 301656"/>
                  <a:gd name="connsiteY6" fmla="*/ 63341 h 303942"/>
                  <a:gd name="connsiteX7" fmla="*/ 185928 w 301656"/>
                  <a:gd name="connsiteY7" fmla="*/ 39338 h 303942"/>
                  <a:gd name="connsiteX8" fmla="*/ 179451 w 301656"/>
                  <a:gd name="connsiteY8" fmla="*/ 0 h 303942"/>
                  <a:gd name="connsiteX9" fmla="*/ 122396 w 301656"/>
                  <a:gd name="connsiteY9" fmla="*/ 0 h 303942"/>
                  <a:gd name="connsiteX10" fmla="*/ 115729 w 301656"/>
                  <a:gd name="connsiteY10" fmla="*/ 39338 h 303942"/>
                  <a:gd name="connsiteX11" fmla="*/ 71056 w 301656"/>
                  <a:gd name="connsiteY11" fmla="*/ 65151 h 303942"/>
                  <a:gd name="connsiteX12" fmla="*/ 30194 w 301656"/>
                  <a:gd name="connsiteY12" fmla="*/ 49721 h 303942"/>
                  <a:gd name="connsiteX13" fmla="*/ 1715 w 301656"/>
                  <a:gd name="connsiteY13" fmla="*/ 99155 h 303942"/>
                  <a:gd name="connsiteX14" fmla="*/ 35719 w 301656"/>
                  <a:gd name="connsiteY14" fmla="*/ 127063 h 303942"/>
                  <a:gd name="connsiteX15" fmla="*/ 35719 w 301656"/>
                  <a:gd name="connsiteY15" fmla="*/ 177832 h 303942"/>
                  <a:gd name="connsiteX16" fmla="*/ 0 w 301656"/>
                  <a:gd name="connsiteY16" fmla="*/ 207074 h 303942"/>
                  <a:gd name="connsiteX17" fmla="*/ 28480 w 301656"/>
                  <a:gd name="connsiteY17" fmla="*/ 256508 h 303942"/>
                  <a:gd name="connsiteX18" fmla="*/ 72581 w 301656"/>
                  <a:gd name="connsiteY18" fmla="*/ 239935 h 303942"/>
                  <a:gd name="connsiteX19" fmla="*/ 115729 w 301656"/>
                  <a:gd name="connsiteY19" fmla="*/ 264795 h 303942"/>
                  <a:gd name="connsiteX20" fmla="*/ 122396 w 301656"/>
                  <a:gd name="connsiteY20" fmla="*/ 303943 h 303942"/>
                  <a:gd name="connsiteX21" fmla="*/ 179451 w 301656"/>
                  <a:gd name="connsiteY21" fmla="*/ 303943 h 303942"/>
                  <a:gd name="connsiteX22" fmla="*/ 185928 w 301656"/>
                  <a:gd name="connsiteY22" fmla="*/ 264795 h 303942"/>
                  <a:gd name="connsiteX23" fmla="*/ 229838 w 301656"/>
                  <a:gd name="connsiteY23" fmla="*/ 239554 h 303942"/>
                  <a:gd name="connsiteX24" fmla="*/ 273177 w 301656"/>
                  <a:gd name="connsiteY24" fmla="*/ 254984 h 303942"/>
                  <a:gd name="connsiteX25" fmla="*/ 179070 w 301656"/>
                  <a:gd name="connsiteY25" fmla="*/ 200501 h 303942"/>
                  <a:gd name="connsiteX26" fmla="*/ 143066 w 301656"/>
                  <a:gd name="connsiteY26" fmla="*/ 207645 h 303942"/>
                  <a:gd name="connsiteX27" fmla="*/ 110204 w 301656"/>
                  <a:gd name="connsiteY27" fmla="*/ 191453 h 303942"/>
                  <a:gd name="connsiteX28" fmla="*/ 94012 w 301656"/>
                  <a:gd name="connsiteY28" fmla="*/ 158591 h 303942"/>
                  <a:gd name="connsiteX29" fmla="*/ 101156 w 301656"/>
                  <a:gd name="connsiteY29" fmla="*/ 122587 h 303942"/>
                  <a:gd name="connsiteX30" fmla="*/ 128683 w 301656"/>
                  <a:gd name="connsiteY30" fmla="*/ 98393 h 303942"/>
                  <a:gd name="connsiteX31" fmla="*/ 165259 w 301656"/>
                  <a:gd name="connsiteY31" fmla="*/ 96012 h 303942"/>
                  <a:gd name="connsiteX32" fmla="*/ 195739 w 301656"/>
                  <a:gd name="connsiteY32" fmla="*/ 116396 h 303942"/>
                  <a:gd name="connsiteX33" fmla="*/ 207550 w 301656"/>
                  <a:gd name="connsiteY33" fmla="*/ 151067 h 303942"/>
                  <a:gd name="connsiteX34" fmla="*/ 200120 w 301656"/>
                  <a:gd name="connsiteY34" fmla="*/ 179546 h 303942"/>
                  <a:gd name="connsiteX35" fmla="*/ 179451 w 301656"/>
                  <a:gd name="connsiteY35" fmla="*/ 200501 h 303942"/>
                  <a:gd name="connsiteX36" fmla="*/ 179070 w 301656"/>
                  <a:gd name="connsiteY36" fmla="*/ 200501 h 30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01656" h="303942">
                    <a:moveTo>
                      <a:pt x="273177" y="255079"/>
                    </a:moveTo>
                    <a:lnTo>
                      <a:pt x="301657" y="205645"/>
                    </a:lnTo>
                    <a:lnTo>
                      <a:pt x="265748" y="176212"/>
                    </a:lnTo>
                    <a:lnTo>
                      <a:pt x="265748" y="126206"/>
                    </a:lnTo>
                    <a:lnTo>
                      <a:pt x="301657" y="96393"/>
                    </a:lnTo>
                    <a:lnTo>
                      <a:pt x="273177" y="46958"/>
                    </a:lnTo>
                    <a:lnTo>
                      <a:pt x="230029" y="63341"/>
                    </a:lnTo>
                    <a:lnTo>
                      <a:pt x="185928" y="39338"/>
                    </a:lnTo>
                    <a:lnTo>
                      <a:pt x="179451" y="0"/>
                    </a:lnTo>
                    <a:lnTo>
                      <a:pt x="122396" y="0"/>
                    </a:lnTo>
                    <a:lnTo>
                      <a:pt x="115729" y="39338"/>
                    </a:lnTo>
                    <a:lnTo>
                      <a:pt x="71056" y="65151"/>
                    </a:lnTo>
                    <a:lnTo>
                      <a:pt x="30194" y="49721"/>
                    </a:lnTo>
                    <a:lnTo>
                      <a:pt x="1715" y="99155"/>
                    </a:lnTo>
                    <a:lnTo>
                      <a:pt x="35719" y="127063"/>
                    </a:lnTo>
                    <a:lnTo>
                      <a:pt x="35719" y="177832"/>
                    </a:lnTo>
                    <a:lnTo>
                      <a:pt x="0" y="207074"/>
                    </a:lnTo>
                    <a:lnTo>
                      <a:pt x="28480" y="256508"/>
                    </a:lnTo>
                    <a:lnTo>
                      <a:pt x="72581" y="239935"/>
                    </a:lnTo>
                    <a:lnTo>
                      <a:pt x="115729" y="264795"/>
                    </a:lnTo>
                    <a:lnTo>
                      <a:pt x="122396" y="303943"/>
                    </a:lnTo>
                    <a:lnTo>
                      <a:pt x="179451" y="303943"/>
                    </a:lnTo>
                    <a:lnTo>
                      <a:pt x="185928" y="264795"/>
                    </a:lnTo>
                    <a:lnTo>
                      <a:pt x="229838" y="239554"/>
                    </a:lnTo>
                    <a:lnTo>
                      <a:pt x="273177" y="254984"/>
                    </a:lnTo>
                    <a:close/>
                    <a:moveTo>
                      <a:pt x="179070" y="200501"/>
                    </a:moveTo>
                    <a:cubicBezTo>
                      <a:pt x="168212" y="206788"/>
                      <a:pt x="155543" y="209264"/>
                      <a:pt x="143066" y="207645"/>
                    </a:cubicBezTo>
                    <a:cubicBezTo>
                      <a:pt x="130588" y="206026"/>
                      <a:pt x="119063" y="200311"/>
                      <a:pt x="110204" y="191453"/>
                    </a:cubicBezTo>
                    <a:cubicBezTo>
                      <a:pt x="101346" y="182594"/>
                      <a:pt x="95631" y="170974"/>
                      <a:pt x="94012" y="158591"/>
                    </a:cubicBezTo>
                    <a:cubicBezTo>
                      <a:pt x="92393" y="146114"/>
                      <a:pt x="94869" y="133541"/>
                      <a:pt x="101156" y="122587"/>
                    </a:cubicBezTo>
                    <a:cubicBezTo>
                      <a:pt x="107442" y="111728"/>
                      <a:pt x="117157" y="103251"/>
                      <a:pt x="128683" y="98393"/>
                    </a:cubicBezTo>
                    <a:cubicBezTo>
                      <a:pt x="140303" y="93631"/>
                      <a:pt x="153162" y="92773"/>
                      <a:pt x="165259" y="96012"/>
                    </a:cubicBezTo>
                    <a:cubicBezTo>
                      <a:pt x="177356" y="99250"/>
                      <a:pt x="188119" y="106394"/>
                      <a:pt x="195739" y="116396"/>
                    </a:cubicBezTo>
                    <a:cubicBezTo>
                      <a:pt x="203359" y="126397"/>
                      <a:pt x="207550" y="138589"/>
                      <a:pt x="207550" y="151067"/>
                    </a:cubicBezTo>
                    <a:cubicBezTo>
                      <a:pt x="207550" y="161068"/>
                      <a:pt x="204978" y="170879"/>
                      <a:pt x="200120" y="179546"/>
                    </a:cubicBezTo>
                    <a:cubicBezTo>
                      <a:pt x="195263" y="188214"/>
                      <a:pt x="188024" y="195453"/>
                      <a:pt x="179451" y="200501"/>
                    </a:cubicBezTo>
                    <a:lnTo>
                      <a:pt x="179070" y="200501"/>
                    </a:lnTo>
                    <a:close/>
                  </a:path>
                </a:pathLst>
              </a:custGeom>
              <a:solidFill>
                <a:srgbClr val="3D4647"/>
              </a:solidFill>
              <a:ln w="0" cap="flat">
                <a:noFill/>
                <a:prstDash val="solid"/>
                <a:miter/>
              </a:ln>
            </p:spPr>
            <p:txBody>
              <a:bodyPr rtlCol="0" anchor="ctr"/>
              <a:lstStyle/>
              <a:p>
                <a:endParaRPr lang="en-US" dirty="0"/>
              </a:p>
            </p:txBody>
          </p:sp>
          <p:sp>
            <p:nvSpPr>
              <p:cNvPr id="589" name="Freeform: Shape 588">
                <a:extLst>
                  <a:ext uri="{FF2B5EF4-FFF2-40B4-BE49-F238E27FC236}">
                    <a16:creationId xmlns:a16="http://schemas.microsoft.com/office/drawing/2014/main" id="{D7BDC0D1-1290-2517-0E20-0987E3E4A7DC}"/>
                  </a:ext>
                </a:extLst>
              </p:cNvPr>
              <p:cNvSpPr/>
              <p:nvPr/>
            </p:nvSpPr>
            <p:spPr>
              <a:xfrm>
                <a:off x="939209" y="5119367"/>
                <a:ext cx="321468" cy="316989"/>
              </a:xfrm>
              <a:custGeom>
                <a:avLst/>
                <a:gdLst>
                  <a:gd name="connsiteX0" fmla="*/ 174308 w 321468"/>
                  <a:gd name="connsiteY0" fmla="*/ 316992 h 316991"/>
                  <a:gd name="connsiteX1" fmla="*/ 229457 w 321468"/>
                  <a:gd name="connsiteY1" fmla="*/ 302228 h 316991"/>
                  <a:gd name="connsiteX2" fmla="*/ 224885 w 321468"/>
                  <a:gd name="connsiteY2" fmla="*/ 255937 h 316991"/>
                  <a:gd name="connsiteX3" fmla="*/ 260223 w 321468"/>
                  <a:gd name="connsiteY3" fmla="*/ 220599 h 316991"/>
                  <a:gd name="connsiteX4" fmla="*/ 306705 w 321468"/>
                  <a:gd name="connsiteY4" fmla="*/ 224885 h 316991"/>
                  <a:gd name="connsiteX5" fmla="*/ 321469 w 321468"/>
                  <a:gd name="connsiteY5" fmla="*/ 169736 h 316991"/>
                  <a:gd name="connsiteX6" fmla="*/ 279368 w 321468"/>
                  <a:gd name="connsiteY6" fmla="*/ 150781 h 316991"/>
                  <a:gd name="connsiteX7" fmla="*/ 265081 w 321468"/>
                  <a:gd name="connsiteY7" fmla="*/ 102680 h 316991"/>
                  <a:gd name="connsiteX8" fmla="*/ 288322 w 321468"/>
                  <a:gd name="connsiteY8" fmla="*/ 70295 h 316991"/>
                  <a:gd name="connsiteX9" fmla="*/ 248031 w 321468"/>
                  <a:gd name="connsiteY9" fmla="*/ 30004 h 316991"/>
                  <a:gd name="connsiteX10" fmla="*/ 215455 w 321468"/>
                  <a:gd name="connsiteY10" fmla="*/ 53150 h 316991"/>
                  <a:gd name="connsiteX11" fmla="*/ 165545 w 321468"/>
                  <a:gd name="connsiteY11" fmla="*/ 39815 h 316991"/>
                  <a:gd name="connsiteX12" fmla="*/ 147542 w 321468"/>
                  <a:gd name="connsiteY12" fmla="*/ 0 h 316991"/>
                  <a:gd name="connsiteX13" fmla="*/ 92393 w 321468"/>
                  <a:gd name="connsiteY13" fmla="*/ 14764 h 316991"/>
                  <a:gd name="connsiteX14" fmla="*/ 96679 w 321468"/>
                  <a:gd name="connsiteY14" fmla="*/ 58579 h 316991"/>
                  <a:gd name="connsiteX15" fmla="*/ 60769 w 321468"/>
                  <a:gd name="connsiteY15" fmla="*/ 94488 h 316991"/>
                  <a:gd name="connsiteX16" fmla="*/ 14764 w 321468"/>
                  <a:gd name="connsiteY16" fmla="*/ 89916 h 316991"/>
                  <a:gd name="connsiteX17" fmla="*/ 0 w 321468"/>
                  <a:gd name="connsiteY17" fmla="*/ 145066 h 316991"/>
                  <a:gd name="connsiteX18" fmla="*/ 42863 w 321468"/>
                  <a:gd name="connsiteY18" fmla="*/ 164592 h 316991"/>
                  <a:gd name="connsiteX19" fmla="*/ 55817 w 321468"/>
                  <a:gd name="connsiteY19" fmla="*/ 212693 h 316991"/>
                  <a:gd name="connsiteX20" fmla="*/ 32861 w 321468"/>
                  <a:gd name="connsiteY20" fmla="*/ 245078 h 316991"/>
                  <a:gd name="connsiteX21" fmla="*/ 73152 w 321468"/>
                  <a:gd name="connsiteY21" fmla="*/ 285369 h 316991"/>
                  <a:gd name="connsiteX22" fmla="*/ 105442 w 321468"/>
                  <a:gd name="connsiteY22" fmla="*/ 262223 h 316991"/>
                  <a:gd name="connsiteX23" fmla="*/ 154400 w 321468"/>
                  <a:gd name="connsiteY23" fmla="*/ 275368 h 316991"/>
                  <a:gd name="connsiteX24" fmla="*/ 174117 w 321468"/>
                  <a:gd name="connsiteY24" fmla="*/ 316897 h 316991"/>
                  <a:gd name="connsiteX25" fmla="*/ 146304 w 321468"/>
                  <a:gd name="connsiteY25" fmla="*/ 211836 h 316991"/>
                  <a:gd name="connsiteX26" fmla="*/ 115824 w 321468"/>
                  <a:gd name="connsiteY26" fmla="*/ 191453 h 316991"/>
                  <a:gd name="connsiteX27" fmla="*/ 104013 w 321468"/>
                  <a:gd name="connsiteY27" fmla="*/ 156781 h 316991"/>
                  <a:gd name="connsiteX28" fmla="*/ 115824 w 321468"/>
                  <a:gd name="connsiteY28" fmla="*/ 122015 h 316991"/>
                  <a:gd name="connsiteX29" fmla="*/ 146304 w 321468"/>
                  <a:gd name="connsiteY29" fmla="*/ 101632 h 316991"/>
                  <a:gd name="connsiteX30" fmla="*/ 182880 w 321468"/>
                  <a:gd name="connsiteY30" fmla="*/ 104013 h 316991"/>
                  <a:gd name="connsiteX31" fmla="*/ 210502 w 321468"/>
                  <a:gd name="connsiteY31" fmla="*/ 128206 h 316991"/>
                  <a:gd name="connsiteX32" fmla="*/ 217646 w 321468"/>
                  <a:gd name="connsiteY32" fmla="*/ 164116 h 316991"/>
                  <a:gd name="connsiteX33" fmla="*/ 201454 w 321468"/>
                  <a:gd name="connsiteY33" fmla="*/ 196977 h 316991"/>
                  <a:gd name="connsiteX34" fmla="*/ 176022 w 321468"/>
                  <a:gd name="connsiteY34" fmla="*/ 211836 h 316991"/>
                  <a:gd name="connsiteX35" fmla="*/ 146590 w 321468"/>
                  <a:gd name="connsiteY35" fmla="*/ 212027 h 316991"/>
                  <a:gd name="connsiteX36" fmla="*/ 146304 w 321468"/>
                  <a:gd name="connsiteY36" fmla="*/ 211741 h 316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21468" h="316991">
                    <a:moveTo>
                      <a:pt x="174308" y="316992"/>
                    </a:moveTo>
                    <a:lnTo>
                      <a:pt x="229457" y="302228"/>
                    </a:lnTo>
                    <a:lnTo>
                      <a:pt x="224885" y="255937"/>
                    </a:lnTo>
                    <a:lnTo>
                      <a:pt x="260223" y="220599"/>
                    </a:lnTo>
                    <a:lnTo>
                      <a:pt x="306705" y="224885"/>
                    </a:lnTo>
                    <a:lnTo>
                      <a:pt x="321469" y="169736"/>
                    </a:lnTo>
                    <a:lnTo>
                      <a:pt x="279368" y="150781"/>
                    </a:lnTo>
                    <a:lnTo>
                      <a:pt x="265081" y="102680"/>
                    </a:lnTo>
                    <a:lnTo>
                      <a:pt x="288322" y="70295"/>
                    </a:lnTo>
                    <a:lnTo>
                      <a:pt x="248031" y="30004"/>
                    </a:lnTo>
                    <a:lnTo>
                      <a:pt x="215455" y="53150"/>
                    </a:lnTo>
                    <a:lnTo>
                      <a:pt x="165545" y="39815"/>
                    </a:lnTo>
                    <a:lnTo>
                      <a:pt x="147542" y="0"/>
                    </a:lnTo>
                    <a:lnTo>
                      <a:pt x="92393" y="14764"/>
                    </a:lnTo>
                    <a:lnTo>
                      <a:pt x="96679" y="58579"/>
                    </a:lnTo>
                    <a:lnTo>
                      <a:pt x="60769" y="94488"/>
                    </a:lnTo>
                    <a:lnTo>
                      <a:pt x="14764" y="89916"/>
                    </a:lnTo>
                    <a:lnTo>
                      <a:pt x="0" y="145066"/>
                    </a:lnTo>
                    <a:lnTo>
                      <a:pt x="42863" y="164592"/>
                    </a:lnTo>
                    <a:lnTo>
                      <a:pt x="55817" y="212693"/>
                    </a:lnTo>
                    <a:lnTo>
                      <a:pt x="32861" y="245078"/>
                    </a:lnTo>
                    <a:lnTo>
                      <a:pt x="73152" y="285369"/>
                    </a:lnTo>
                    <a:lnTo>
                      <a:pt x="105442" y="262223"/>
                    </a:lnTo>
                    <a:lnTo>
                      <a:pt x="154400" y="275368"/>
                    </a:lnTo>
                    <a:lnTo>
                      <a:pt x="174117" y="316897"/>
                    </a:lnTo>
                    <a:close/>
                    <a:moveTo>
                      <a:pt x="146304" y="211836"/>
                    </a:moveTo>
                    <a:cubicBezTo>
                      <a:pt x="134207" y="208598"/>
                      <a:pt x="123444" y="201454"/>
                      <a:pt x="115824" y="191453"/>
                    </a:cubicBezTo>
                    <a:cubicBezTo>
                      <a:pt x="108204" y="181451"/>
                      <a:pt x="104013" y="169259"/>
                      <a:pt x="104013" y="156781"/>
                    </a:cubicBezTo>
                    <a:cubicBezTo>
                      <a:pt x="104013" y="144209"/>
                      <a:pt x="108109" y="132017"/>
                      <a:pt x="115824" y="122015"/>
                    </a:cubicBezTo>
                    <a:cubicBezTo>
                      <a:pt x="123444" y="112014"/>
                      <a:pt x="134207" y="104870"/>
                      <a:pt x="146304" y="101632"/>
                    </a:cubicBezTo>
                    <a:cubicBezTo>
                      <a:pt x="158401" y="98393"/>
                      <a:pt x="171260" y="99251"/>
                      <a:pt x="182880" y="104013"/>
                    </a:cubicBezTo>
                    <a:cubicBezTo>
                      <a:pt x="194500" y="108776"/>
                      <a:pt x="204216" y="117348"/>
                      <a:pt x="210502" y="128206"/>
                    </a:cubicBezTo>
                    <a:cubicBezTo>
                      <a:pt x="216789" y="139065"/>
                      <a:pt x="219266" y="151733"/>
                      <a:pt x="217646" y="164116"/>
                    </a:cubicBezTo>
                    <a:cubicBezTo>
                      <a:pt x="216027" y="176594"/>
                      <a:pt x="210312" y="188119"/>
                      <a:pt x="201454" y="196977"/>
                    </a:cubicBezTo>
                    <a:cubicBezTo>
                      <a:pt x="194405" y="204026"/>
                      <a:pt x="185642" y="209169"/>
                      <a:pt x="176022" y="211836"/>
                    </a:cubicBezTo>
                    <a:cubicBezTo>
                      <a:pt x="166402" y="214503"/>
                      <a:pt x="156210" y="214503"/>
                      <a:pt x="146590" y="212027"/>
                    </a:cubicBezTo>
                    <a:lnTo>
                      <a:pt x="146304" y="211741"/>
                    </a:lnTo>
                    <a:close/>
                  </a:path>
                </a:pathLst>
              </a:custGeom>
              <a:noFill/>
              <a:ln w="12700" cap="flat">
                <a:solidFill>
                  <a:schemeClr val="accent1"/>
                </a:solidFill>
                <a:prstDash val="solid"/>
                <a:miter/>
              </a:ln>
            </p:spPr>
            <p:txBody>
              <a:bodyPr rtlCol="0" anchor="ctr"/>
              <a:lstStyle/>
              <a:p>
                <a:endParaRPr lang="en-US" dirty="0"/>
              </a:p>
            </p:txBody>
          </p:sp>
        </p:grpSp>
      </p:grpSp>
      <p:sp>
        <p:nvSpPr>
          <p:cNvPr id="592" name="Text Placeholder 81">
            <a:extLst>
              <a:ext uri="{FF2B5EF4-FFF2-40B4-BE49-F238E27FC236}">
                <a16:creationId xmlns:a16="http://schemas.microsoft.com/office/drawing/2014/main" id="{D5002795-8219-4328-9548-5037E4047B1F}"/>
              </a:ext>
            </a:extLst>
          </p:cNvPr>
          <p:cNvSpPr txBox="1">
            <a:spLocks/>
          </p:cNvSpPr>
          <p:nvPr/>
        </p:nvSpPr>
        <p:spPr>
          <a:xfrm>
            <a:off x="8198901" y="3110565"/>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orkflow</a:t>
            </a:r>
          </a:p>
        </p:txBody>
      </p:sp>
      <p:pic>
        <p:nvPicPr>
          <p:cNvPr id="593" name="Graphic 592">
            <a:extLst>
              <a:ext uri="{FF2B5EF4-FFF2-40B4-BE49-F238E27FC236}">
                <a16:creationId xmlns:a16="http://schemas.microsoft.com/office/drawing/2014/main" id="{91AB40A7-6627-CFBB-1B47-05576E78507C}"/>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7267230" y="3424351"/>
            <a:ext cx="610076" cy="640080"/>
          </a:xfrm>
          <a:prstGeom prst="rect">
            <a:avLst/>
          </a:prstGeom>
        </p:spPr>
      </p:pic>
    </p:spTree>
    <p:extLst>
      <p:ext uri="{BB962C8B-B14F-4D97-AF65-F5344CB8AC3E}">
        <p14:creationId xmlns:p14="http://schemas.microsoft.com/office/powerpoint/2010/main" val="3120908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82C035B-7D97-3A9B-A476-0E18CE99FD7A}"/>
              </a:ext>
            </a:extLst>
          </p:cNvPr>
          <p:cNvSpPr>
            <a:spLocks noGrp="1"/>
          </p:cNvSpPr>
          <p:nvPr>
            <p:ph type="title"/>
          </p:nvPr>
        </p:nvSpPr>
        <p:spPr>
          <a:xfrm>
            <a:off x="490760" y="547539"/>
            <a:ext cx="10789920" cy="369332"/>
          </a:xfrm>
        </p:spPr>
        <p:txBody>
          <a:bodyPr/>
          <a:lstStyle/>
          <a:p>
            <a:r>
              <a:rPr lang="en-US" dirty="0"/>
              <a:t>PTC Icons</a:t>
            </a:r>
          </a:p>
        </p:txBody>
      </p:sp>
      <p:sp>
        <p:nvSpPr>
          <p:cNvPr id="235" name="Rectangle 234">
            <a:extLst>
              <a:ext uri="{FF2B5EF4-FFF2-40B4-BE49-F238E27FC236}">
                <a16:creationId xmlns:a16="http://schemas.microsoft.com/office/drawing/2014/main" id="{A398D13D-ACA1-59B3-62D5-38388846AE9F}"/>
              </a:ext>
            </a:extLst>
          </p:cNvPr>
          <p:cNvSpPr/>
          <p:nvPr/>
        </p:nvSpPr>
        <p:spPr>
          <a:xfrm>
            <a:off x="501015" y="1193595"/>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Asset System of Record (General – PLM)</a:t>
            </a:r>
          </a:p>
        </p:txBody>
      </p:sp>
      <p:pic>
        <p:nvPicPr>
          <p:cNvPr id="581" name="Graphic 580">
            <a:extLst>
              <a:ext uri="{FF2B5EF4-FFF2-40B4-BE49-F238E27FC236}">
                <a16:creationId xmlns:a16="http://schemas.microsoft.com/office/drawing/2014/main" id="{FEB08209-551B-E282-9D31-3595BC18E6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71016" y="1848011"/>
            <a:ext cx="781050" cy="609600"/>
          </a:xfrm>
          <a:prstGeom prst="rect">
            <a:avLst/>
          </a:prstGeom>
        </p:spPr>
      </p:pic>
      <p:pic>
        <p:nvPicPr>
          <p:cNvPr id="589" name="Graphic 588">
            <a:extLst>
              <a:ext uri="{FF2B5EF4-FFF2-40B4-BE49-F238E27FC236}">
                <a16:creationId xmlns:a16="http://schemas.microsoft.com/office/drawing/2014/main" id="{2FE31591-0CBB-3AA4-20BF-C858687DCA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33735" y="1848011"/>
            <a:ext cx="781050" cy="609600"/>
          </a:xfrm>
          <a:prstGeom prst="rect">
            <a:avLst/>
          </a:prstGeom>
        </p:spPr>
      </p:pic>
      <p:pic>
        <p:nvPicPr>
          <p:cNvPr id="592" name="Graphic 591">
            <a:extLst>
              <a:ext uri="{FF2B5EF4-FFF2-40B4-BE49-F238E27FC236}">
                <a16:creationId xmlns:a16="http://schemas.microsoft.com/office/drawing/2014/main" id="{3BDD854F-0232-27D5-F336-A66E732890C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31222" y="1848011"/>
            <a:ext cx="781050" cy="609600"/>
          </a:xfrm>
          <a:prstGeom prst="rect">
            <a:avLst/>
          </a:prstGeom>
        </p:spPr>
      </p:pic>
      <p:pic>
        <p:nvPicPr>
          <p:cNvPr id="594" name="Graphic 593">
            <a:extLst>
              <a:ext uri="{FF2B5EF4-FFF2-40B4-BE49-F238E27FC236}">
                <a16:creationId xmlns:a16="http://schemas.microsoft.com/office/drawing/2014/main" id="{016825FF-2C66-77E1-D48A-82EF90AC479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12917" y="1848011"/>
            <a:ext cx="781050" cy="609600"/>
          </a:xfrm>
          <a:prstGeom prst="rect">
            <a:avLst/>
          </a:prstGeom>
        </p:spPr>
      </p:pic>
      <p:pic>
        <p:nvPicPr>
          <p:cNvPr id="596" name="Graphic 595">
            <a:extLst>
              <a:ext uri="{FF2B5EF4-FFF2-40B4-BE49-F238E27FC236}">
                <a16:creationId xmlns:a16="http://schemas.microsoft.com/office/drawing/2014/main" id="{DFB77D92-420C-688F-92D7-49D1D99CBF9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33187" y="1848011"/>
            <a:ext cx="781050" cy="609600"/>
          </a:xfrm>
          <a:prstGeom prst="rect">
            <a:avLst/>
          </a:prstGeom>
        </p:spPr>
      </p:pic>
      <p:pic>
        <p:nvPicPr>
          <p:cNvPr id="598" name="Graphic 597">
            <a:extLst>
              <a:ext uri="{FF2B5EF4-FFF2-40B4-BE49-F238E27FC236}">
                <a16:creationId xmlns:a16="http://schemas.microsoft.com/office/drawing/2014/main" id="{57908393-BBEC-EC46-C9EE-457F79F3E97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63834" y="1848011"/>
            <a:ext cx="781050" cy="609600"/>
          </a:xfrm>
          <a:prstGeom prst="rect">
            <a:avLst/>
          </a:prstGeom>
        </p:spPr>
      </p:pic>
      <p:pic>
        <p:nvPicPr>
          <p:cNvPr id="600" name="Graphic 599">
            <a:extLst>
              <a:ext uri="{FF2B5EF4-FFF2-40B4-BE49-F238E27FC236}">
                <a16:creationId xmlns:a16="http://schemas.microsoft.com/office/drawing/2014/main" id="{25917BCD-5198-7265-07C0-3D5C0B36DCE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294335" y="1848011"/>
            <a:ext cx="781050" cy="609600"/>
          </a:xfrm>
          <a:prstGeom prst="rect">
            <a:avLst/>
          </a:prstGeom>
        </p:spPr>
      </p:pic>
      <p:pic>
        <p:nvPicPr>
          <p:cNvPr id="3" name="Graphic 2">
            <a:extLst>
              <a:ext uri="{FF2B5EF4-FFF2-40B4-BE49-F238E27FC236}">
                <a16:creationId xmlns:a16="http://schemas.microsoft.com/office/drawing/2014/main" id="{A7DC5C7B-C711-6C3F-DDCE-BCEE6046680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651239" y="1848011"/>
            <a:ext cx="971550" cy="609600"/>
          </a:xfrm>
          <a:prstGeom prst="rect">
            <a:avLst/>
          </a:prstGeom>
        </p:spPr>
      </p:pic>
      <p:sp>
        <p:nvSpPr>
          <p:cNvPr id="26" name="Text Placeholder 81">
            <a:extLst>
              <a:ext uri="{FF2B5EF4-FFF2-40B4-BE49-F238E27FC236}">
                <a16:creationId xmlns:a16="http://schemas.microsoft.com/office/drawing/2014/main" id="{CFDD8505-DB30-CBC8-F2EB-1C82FE0611C9}"/>
              </a:ext>
            </a:extLst>
          </p:cNvPr>
          <p:cNvSpPr txBox="1">
            <a:spLocks/>
          </p:cNvSpPr>
          <p:nvPr/>
        </p:nvSpPr>
        <p:spPr>
          <a:xfrm>
            <a:off x="8378456" y="1498334"/>
            <a:ext cx="1049972"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Automotive</a:t>
            </a:r>
          </a:p>
        </p:txBody>
      </p:sp>
      <p:sp>
        <p:nvSpPr>
          <p:cNvPr id="27" name="Text Placeholder 81">
            <a:extLst>
              <a:ext uri="{FF2B5EF4-FFF2-40B4-BE49-F238E27FC236}">
                <a16:creationId xmlns:a16="http://schemas.microsoft.com/office/drawing/2014/main" id="{44CD0491-7D3C-D48F-3763-57E2A0D4C955}"/>
              </a:ext>
            </a:extLst>
          </p:cNvPr>
          <p:cNvSpPr txBox="1">
            <a:spLocks/>
          </p:cNvSpPr>
          <p:nvPr/>
        </p:nvSpPr>
        <p:spPr>
          <a:xfrm>
            <a:off x="6836555" y="1498334"/>
            <a:ext cx="1049972"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MedTech</a:t>
            </a:r>
          </a:p>
        </p:txBody>
      </p:sp>
      <p:sp>
        <p:nvSpPr>
          <p:cNvPr id="28" name="Text Placeholder 81">
            <a:extLst>
              <a:ext uri="{FF2B5EF4-FFF2-40B4-BE49-F238E27FC236}">
                <a16:creationId xmlns:a16="http://schemas.microsoft.com/office/drawing/2014/main" id="{568A7746-3F5C-56EA-842F-77AC4BAF15E8}"/>
              </a:ext>
            </a:extLst>
          </p:cNvPr>
          <p:cNvSpPr txBox="1">
            <a:spLocks/>
          </p:cNvSpPr>
          <p:nvPr/>
        </p:nvSpPr>
        <p:spPr>
          <a:xfrm>
            <a:off x="3159874" y="1498334"/>
            <a:ext cx="1049972"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FA&amp;D</a:t>
            </a:r>
          </a:p>
        </p:txBody>
      </p:sp>
      <p:sp>
        <p:nvSpPr>
          <p:cNvPr id="29" name="Text Placeholder 81">
            <a:extLst>
              <a:ext uri="{FF2B5EF4-FFF2-40B4-BE49-F238E27FC236}">
                <a16:creationId xmlns:a16="http://schemas.microsoft.com/office/drawing/2014/main" id="{BE4A4C2C-E3A3-7799-4259-4363839545CF}"/>
              </a:ext>
            </a:extLst>
          </p:cNvPr>
          <p:cNvSpPr txBox="1">
            <a:spLocks/>
          </p:cNvSpPr>
          <p:nvPr/>
        </p:nvSpPr>
        <p:spPr>
          <a:xfrm>
            <a:off x="5130290" y="1498334"/>
            <a:ext cx="210312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Industrial</a:t>
            </a:r>
          </a:p>
        </p:txBody>
      </p:sp>
      <p:sp>
        <p:nvSpPr>
          <p:cNvPr id="30" name="Text Placeholder 81">
            <a:extLst>
              <a:ext uri="{FF2B5EF4-FFF2-40B4-BE49-F238E27FC236}">
                <a16:creationId xmlns:a16="http://schemas.microsoft.com/office/drawing/2014/main" id="{0ECC0BFA-2BF7-CB9A-6278-82DC8E70C0BD}"/>
              </a:ext>
            </a:extLst>
          </p:cNvPr>
          <p:cNvSpPr txBox="1">
            <a:spLocks/>
          </p:cNvSpPr>
          <p:nvPr/>
        </p:nvSpPr>
        <p:spPr>
          <a:xfrm>
            <a:off x="4700752" y="1498334"/>
            <a:ext cx="1645920" cy="14630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Electronics &amp; High Tech</a:t>
            </a:r>
          </a:p>
        </p:txBody>
      </p:sp>
      <p:sp>
        <p:nvSpPr>
          <p:cNvPr id="31" name="Text Placeholder 81">
            <a:extLst>
              <a:ext uri="{FF2B5EF4-FFF2-40B4-BE49-F238E27FC236}">
                <a16:creationId xmlns:a16="http://schemas.microsoft.com/office/drawing/2014/main" id="{20E104B4-74BB-A9D4-08B5-9D422E540137}"/>
              </a:ext>
            </a:extLst>
          </p:cNvPr>
          <p:cNvSpPr txBox="1">
            <a:spLocks/>
          </p:cNvSpPr>
          <p:nvPr/>
        </p:nvSpPr>
        <p:spPr>
          <a:xfrm>
            <a:off x="9919335" y="1498334"/>
            <a:ext cx="1828800"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Energy</a:t>
            </a:r>
          </a:p>
        </p:txBody>
      </p:sp>
      <p:sp>
        <p:nvSpPr>
          <p:cNvPr id="46" name="Text Placeholder 81">
            <a:extLst>
              <a:ext uri="{FF2B5EF4-FFF2-40B4-BE49-F238E27FC236}">
                <a16:creationId xmlns:a16="http://schemas.microsoft.com/office/drawing/2014/main" id="{1BA76B07-2D8D-1779-A259-DD82926BF6F4}"/>
              </a:ext>
            </a:extLst>
          </p:cNvPr>
          <p:cNvSpPr txBox="1">
            <a:spLocks/>
          </p:cNvSpPr>
          <p:nvPr/>
        </p:nvSpPr>
        <p:spPr>
          <a:xfrm>
            <a:off x="590707" y="1498334"/>
            <a:ext cx="210312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Industrial</a:t>
            </a:r>
          </a:p>
        </p:txBody>
      </p:sp>
      <p:grpSp>
        <p:nvGrpSpPr>
          <p:cNvPr id="2" name="Group 1">
            <a:extLst>
              <a:ext uri="{FF2B5EF4-FFF2-40B4-BE49-F238E27FC236}">
                <a16:creationId xmlns:a16="http://schemas.microsoft.com/office/drawing/2014/main" id="{FCE77B3B-47EC-841B-0A8E-087F42320D0D}"/>
              </a:ext>
            </a:extLst>
          </p:cNvPr>
          <p:cNvGrpSpPr/>
          <p:nvPr/>
        </p:nvGrpSpPr>
        <p:grpSpPr>
          <a:xfrm>
            <a:off x="7620411" y="3232714"/>
            <a:ext cx="629554" cy="660690"/>
            <a:chOff x="7620411" y="3700309"/>
            <a:chExt cx="629554" cy="660690"/>
          </a:xfrm>
        </p:grpSpPr>
        <p:grpSp>
          <p:nvGrpSpPr>
            <p:cNvPr id="4" name="Group 3">
              <a:extLst>
                <a:ext uri="{FF2B5EF4-FFF2-40B4-BE49-F238E27FC236}">
                  <a16:creationId xmlns:a16="http://schemas.microsoft.com/office/drawing/2014/main" id="{AB1DA450-1ACD-4390-0929-6F336263D9A3}"/>
                </a:ext>
              </a:extLst>
            </p:cNvPr>
            <p:cNvGrpSpPr/>
            <p:nvPr/>
          </p:nvGrpSpPr>
          <p:grpSpPr>
            <a:xfrm>
              <a:off x="7718049" y="3902158"/>
              <a:ext cx="218911" cy="246880"/>
              <a:chOff x="9720347" y="3544802"/>
              <a:chExt cx="534923" cy="603266"/>
            </a:xfrm>
            <a:solidFill>
              <a:schemeClr val="tx1"/>
            </a:solidFill>
          </p:grpSpPr>
          <p:sp>
            <p:nvSpPr>
              <p:cNvPr id="34" name="Freeform: Shape 33">
                <a:extLst>
                  <a:ext uri="{FF2B5EF4-FFF2-40B4-BE49-F238E27FC236}">
                    <a16:creationId xmlns:a16="http://schemas.microsoft.com/office/drawing/2014/main" id="{05FB76FB-C336-7F46-34F7-78E404386457}"/>
                  </a:ext>
                </a:extLst>
              </p:cNvPr>
              <p:cNvSpPr/>
              <p:nvPr/>
            </p:nvSpPr>
            <p:spPr>
              <a:xfrm>
                <a:off x="10102680" y="3820265"/>
                <a:ext cx="152590" cy="196976"/>
              </a:xfrm>
              <a:custGeom>
                <a:avLst/>
                <a:gdLst>
                  <a:gd name="connsiteX0" fmla="*/ 12573 w 152590"/>
                  <a:gd name="connsiteY0" fmla="*/ 0 h 196976"/>
                  <a:gd name="connsiteX1" fmla="*/ 0 w 152590"/>
                  <a:gd name="connsiteY1" fmla="*/ 48292 h 196976"/>
                  <a:gd name="connsiteX2" fmla="*/ 57436 w 152590"/>
                  <a:gd name="connsiteY2" fmla="*/ 196977 h 196976"/>
                  <a:gd name="connsiteX3" fmla="*/ 152591 w 152590"/>
                  <a:gd name="connsiteY3" fmla="*/ 0 h 196976"/>
                  <a:gd name="connsiteX4" fmla="*/ 12668 w 152590"/>
                  <a:gd name="connsiteY4" fmla="*/ 0 h 196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590" h="196976">
                    <a:moveTo>
                      <a:pt x="12573" y="0"/>
                    </a:moveTo>
                    <a:cubicBezTo>
                      <a:pt x="11525" y="17240"/>
                      <a:pt x="7144" y="33528"/>
                      <a:pt x="0" y="48292"/>
                    </a:cubicBezTo>
                    <a:lnTo>
                      <a:pt x="57436" y="196977"/>
                    </a:lnTo>
                    <a:cubicBezTo>
                      <a:pt x="113824" y="149447"/>
                      <a:pt x="150305" y="78962"/>
                      <a:pt x="152591" y="0"/>
                    </a:cubicBezTo>
                    <a:lnTo>
                      <a:pt x="12668" y="0"/>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D152F885-3415-C4EC-2FF0-B4055FF6F211}"/>
                  </a:ext>
                </a:extLst>
              </p:cNvPr>
              <p:cNvSpPr/>
              <p:nvPr/>
            </p:nvSpPr>
            <p:spPr>
              <a:xfrm>
                <a:off x="9720347" y="3820265"/>
                <a:ext cx="153543" cy="198120"/>
              </a:xfrm>
              <a:custGeom>
                <a:avLst/>
                <a:gdLst>
                  <a:gd name="connsiteX0" fmla="*/ 0 w 153543"/>
                  <a:gd name="connsiteY0" fmla="*/ 0 h 198120"/>
                  <a:gd name="connsiteX1" fmla="*/ 96393 w 153543"/>
                  <a:gd name="connsiteY1" fmla="*/ 198120 h 198120"/>
                  <a:gd name="connsiteX2" fmla="*/ 153543 w 153543"/>
                  <a:gd name="connsiteY2" fmla="*/ 50292 h 198120"/>
                  <a:gd name="connsiteX3" fmla="*/ 140018 w 153543"/>
                  <a:gd name="connsiteY3" fmla="*/ 0 h 198120"/>
                  <a:gd name="connsiteX4" fmla="*/ 0 w 153543"/>
                  <a:gd name="connsiteY4" fmla="*/ 0 h 198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543" h="198120">
                    <a:moveTo>
                      <a:pt x="0" y="0"/>
                    </a:moveTo>
                    <a:cubicBezTo>
                      <a:pt x="2286" y="79629"/>
                      <a:pt x="39243" y="150590"/>
                      <a:pt x="96393" y="198120"/>
                    </a:cubicBezTo>
                    <a:lnTo>
                      <a:pt x="153543" y="50292"/>
                    </a:lnTo>
                    <a:cubicBezTo>
                      <a:pt x="145733" y="35052"/>
                      <a:pt x="141065" y="18002"/>
                      <a:pt x="140018" y="0"/>
                    </a:cubicBezTo>
                    <a:lnTo>
                      <a:pt x="0" y="0"/>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0B4555AC-E00D-2E9C-BA0C-4A3F22CFFE13}"/>
                  </a:ext>
                </a:extLst>
              </p:cNvPr>
              <p:cNvSpPr/>
              <p:nvPr/>
            </p:nvSpPr>
            <p:spPr>
              <a:xfrm>
                <a:off x="9835409" y="3854840"/>
                <a:ext cx="308038" cy="195071"/>
              </a:xfrm>
              <a:custGeom>
                <a:avLst/>
                <a:gdLst>
                  <a:gd name="connsiteX0" fmla="*/ 210217 w 308038"/>
                  <a:gd name="connsiteY0" fmla="*/ 28575 h 195071"/>
                  <a:gd name="connsiteX1" fmla="*/ 265843 w 308038"/>
                  <a:gd name="connsiteY1" fmla="*/ 166497 h 195071"/>
                  <a:gd name="connsiteX2" fmla="*/ 42482 w 308038"/>
                  <a:gd name="connsiteY2" fmla="*/ 166497 h 195071"/>
                  <a:gd name="connsiteX3" fmla="*/ 98108 w 308038"/>
                  <a:gd name="connsiteY3" fmla="*/ 28575 h 195071"/>
                  <a:gd name="connsiteX4" fmla="*/ 210121 w 308038"/>
                  <a:gd name="connsiteY4" fmla="*/ 28575 h 195071"/>
                  <a:gd name="connsiteX5" fmla="*/ 229362 w 308038"/>
                  <a:gd name="connsiteY5" fmla="*/ 0 h 195071"/>
                  <a:gd name="connsiteX6" fmla="*/ 78772 w 308038"/>
                  <a:gd name="connsiteY6" fmla="*/ 0 h 195071"/>
                  <a:gd name="connsiteX7" fmla="*/ 0 w 308038"/>
                  <a:gd name="connsiteY7" fmla="*/ 195072 h 195071"/>
                  <a:gd name="connsiteX8" fmla="*/ 308039 w 308038"/>
                  <a:gd name="connsiteY8" fmla="*/ 195072 h 195071"/>
                  <a:gd name="connsiteX9" fmla="*/ 229267 w 308038"/>
                  <a:gd name="connsiteY9" fmla="*/ 0 h 195071"/>
                  <a:gd name="connsiteX10" fmla="*/ 229267 w 308038"/>
                  <a:gd name="connsiteY10" fmla="*/ 0 h 19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8038" h="195071">
                    <a:moveTo>
                      <a:pt x="210217" y="28575"/>
                    </a:moveTo>
                    <a:lnTo>
                      <a:pt x="265843" y="166497"/>
                    </a:lnTo>
                    <a:lnTo>
                      <a:pt x="42482" y="166497"/>
                    </a:lnTo>
                    <a:lnTo>
                      <a:pt x="98108" y="28575"/>
                    </a:lnTo>
                    <a:lnTo>
                      <a:pt x="210121" y="28575"/>
                    </a:lnTo>
                    <a:moveTo>
                      <a:pt x="229362" y="0"/>
                    </a:moveTo>
                    <a:lnTo>
                      <a:pt x="78772" y="0"/>
                    </a:lnTo>
                    <a:lnTo>
                      <a:pt x="0" y="195072"/>
                    </a:lnTo>
                    <a:lnTo>
                      <a:pt x="308039" y="195072"/>
                    </a:lnTo>
                    <a:lnTo>
                      <a:pt x="229267" y="0"/>
                    </a:lnTo>
                    <a:lnTo>
                      <a:pt x="229267" y="0"/>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ADA1F02E-FE06-1768-BE59-A7289581299B}"/>
                  </a:ext>
                </a:extLst>
              </p:cNvPr>
              <p:cNvSpPr/>
              <p:nvPr/>
            </p:nvSpPr>
            <p:spPr>
              <a:xfrm>
                <a:off x="9721013" y="3544802"/>
                <a:ext cx="533590" cy="246888"/>
              </a:xfrm>
              <a:custGeom>
                <a:avLst/>
                <a:gdLst>
                  <a:gd name="connsiteX0" fmla="*/ 266795 w 533590"/>
                  <a:gd name="connsiteY0" fmla="*/ 0 h 246888"/>
                  <a:gd name="connsiteX1" fmla="*/ 0 w 533590"/>
                  <a:gd name="connsiteY1" fmla="*/ 246888 h 246888"/>
                  <a:gd name="connsiteX2" fmla="*/ 140684 w 533590"/>
                  <a:gd name="connsiteY2" fmla="*/ 246888 h 246888"/>
                  <a:gd name="connsiteX3" fmla="*/ 266795 w 533590"/>
                  <a:gd name="connsiteY3" fmla="*/ 139732 h 246888"/>
                  <a:gd name="connsiteX4" fmla="*/ 392906 w 533590"/>
                  <a:gd name="connsiteY4" fmla="*/ 246888 h 246888"/>
                  <a:gd name="connsiteX5" fmla="*/ 533591 w 533590"/>
                  <a:gd name="connsiteY5" fmla="*/ 246888 h 246888"/>
                  <a:gd name="connsiteX6" fmla="*/ 266795 w 533590"/>
                  <a:gd name="connsiteY6" fmla="*/ 0 h 246888"/>
                  <a:gd name="connsiteX7" fmla="*/ 302609 w 533590"/>
                  <a:gd name="connsiteY7" fmla="*/ 98584 h 246888"/>
                  <a:gd name="connsiteX8" fmla="*/ 231077 w 533590"/>
                  <a:gd name="connsiteY8" fmla="*/ 98584 h 246888"/>
                  <a:gd name="connsiteX9" fmla="*/ 231077 w 533590"/>
                  <a:gd name="connsiteY9" fmla="*/ 45148 h 246888"/>
                  <a:gd name="connsiteX10" fmla="*/ 302609 w 533590"/>
                  <a:gd name="connsiteY10" fmla="*/ 45148 h 246888"/>
                  <a:gd name="connsiteX11" fmla="*/ 302609 w 533590"/>
                  <a:gd name="connsiteY11" fmla="*/ 98584 h 246888"/>
                  <a:gd name="connsiteX12" fmla="*/ 414623 w 533590"/>
                  <a:gd name="connsiteY12" fmla="*/ 149924 h 246888"/>
                  <a:gd name="connsiteX13" fmla="*/ 396430 w 533590"/>
                  <a:gd name="connsiteY13" fmla="*/ 131731 h 246888"/>
                  <a:gd name="connsiteX14" fmla="*/ 414623 w 533590"/>
                  <a:gd name="connsiteY14" fmla="*/ 113538 h 246888"/>
                  <a:gd name="connsiteX15" fmla="*/ 432816 w 533590"/>
                  <a:gd name="connsiteY15" fmla="*/ 131731 h 246888"/>
                  <a:gd name="connsiteX16" fmla="*/ 414623 w 533590"/>
                  <a:gd name="connsiteY16" fmla="*/ 149924 h 246888"/>
                  <a:gd name="connsiteX17" fmla="*/ 448818 w 533590"/>
                  <a:gd name="connsiteY17" fmla="*/ 199739 h 246888"/>
                  <a:gd name="connsiteX18" fmla="*/ 430625 w 533590"/>
                  <a:gd name="connsiteY18" fmla="*/ 181547 h 246888"/>
                  <a:gd name="connsiteX19" fmla="*/ 448818 w 533590"/>
                  <a:gd name="connsiteY19" fmla="*/ 163354 h 246888"/>
                  <a:gd name="connsiteX20" fmla="*/ 467011 w 533590"/>
                  <a:gd name="connsiteY20" fmla="*/ 181547 h 246888"/>
                  <a:gd name="connsiteX21" fmla="*/ 448818 w 533590"/>
                  <a:gd name="connsiteY21" fmla="*/ 199739 h 24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3590" h="246888">
                    <a:moveTo>
                      <a:pt x="266795" y="0"/>
                    </a:moveTo>
                    <a:cubicBezTo>
                      <a:pt x="125921" y="0"/>
                      <a:pt x="10573" y="108776"/>
                      <a:pt x="0" y="246888"/>
                    </a:cubicBezTo>
                    <a:lnTo>
                      <a:pt x="140684" y="246888"/>
                    </a:lnTo>
                    <a:cubicBezTo>
                      <a:pt x="150686" y="186119"/>
                      <a:pt x="203264" y="139732"/>
                      <a:pt x="266795" y="139732"/>
                    </a:cubicBezTo>
                    <a:cubicBezTo>
                      <a:pt x="330327" y="139732"/>
                      <a:pt x="383000" y="186119"/>
                      <a:pt x="392906" y="246888"/>
                    </a:cubicBezTo>
                    <a:lnTo>
                      <a:pt x="533591" y="246888"/>
                    </a:lnTo>
                    <a:cubicBezTo>
                      <a:pt x="522923" y="108776"/>
                      <a:pt x="407575" y="0"/>
                      <a:pt x="266795" y="0"/>
                    </a:cubicBezTo>
                    <a:close/>
                    <a:moveTo>
                      <a:pt x="302609" y="98584"/>
                    </a:moveTo>
                    <a:lnTo>
                      <a:pt x="231077" y="98584"/>
                    </a:lnTo>
                    <a:lnTo>
                      <a:pt x="231077" y="45148"/>
                    </a:lnTo>
                    <a:lnTo>
                      <a:pt x="302609" y="45148"/>
                    </a:lnTo>
                    <a:lnTo>
                      <a:pt x="302609" y="98584"/>
                    </a:lnTo>
                    <a:close/>
                    <a:moveTo>
                      <a:pt x="414623" y="149924"/>
                    </a:moveTo>
                    <a:cubicBezTo>
                      <a:pt x="404527" y="149924"/>
                      <a:pt x="396430" y="141732"/>
                      <a:pt x="396430" y="131731"/>
                    </a:cubicBezTo>
                    <a:cubicBezTo>
                      <a:pt x="396430" y="121730"/>
                      <a:pt x="404622" y="113538"/>
                      <a:pt x="414623" y="113538"/>
                    </a:cubicBezTo>
                    <a:cubicBezTo>
                      <a:pt x="424625" y="113538"/>
                      <a:pt x="432816" y="121730"/>
                      <a:pt x="432816" y="131731"/>
                    </a:cubicBezTo>
                    <a:cubicBezTo>
                      <a:pt x="432816" y="141732"/>
                      <a:pt x="424625" y="149924"/>
                      <a:pt x="414623" y="149924"/>
                    </a:cubicBezTo>
                    <a:close/>
                    <a:moveTo>
                      <a:pt x="448818" y="199739"/>
                    </a:moveTo>
                    <a:cubicBezTo>
                      <a:pt x="438722" y="199739"/>
                      <a:pt x="430625" y="191548"/>
                      <a:pt x="430625" y="181547"/>
                    </a:cubicBezTo>
                    <a:cubicBezTo>
                      <a:pt x="430625" y="171545"/>
                      <a:pt x="438817" y="163354"/>
                      <a:pt x="448818" y="163354"/>
                    </a:cubicBezTo>
                    <a:cubicBezTo>
                      <a:pt x="458819" y="163354"/>
                      <a:pt x="467011" y="171545"/>
                      <a:pt x="467011" y="181547"/>
                    </a:cubicBezTo>
                    <a:cubicBezTo>
                      <a:pt x="467011" y="191548"/>
                      <a:pt x="458819" y="199739"/>
                      <a:pt x="448818" y="199739"/>
                    </a:cubicBez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D6C85EE5-E063-130D-B78B-F9E847CC92B9}"/>
                  </a:ext>
                </a:extLst>
              </p:cNvPr>
              <p:cNvSpPr/>
              <p:nvPr/>
            </p:nvSpPr>
            <p:spPr>
              <a:xfrm>
                <a:off x="9835408" y="4050008"/>
                <a:ext cx="308038" cy="98060"/>
              </a:xfrm>
              <a:custGeom>
                <a:avLst/>
                <a:gdLst>
                  <a:gd name="connsiteX0" fmla="*/ 0 w 308038"/>
                  <a:gd name="connsiteY0" fmla="*/ 0 h 98060"/>
                  <a:gd name="connsiteX1" fmla="*/ 26247 w 308038"/>
                  <a:gd name="connsiteY1" fmla="*/ 0 h 98060"/>
                  <a:gd name="connsiteX2" fmla="*/ 26247 w 308038"/>
                  <a:gd name="connsiteY2" fmla="*/ 71694 h 98060"/>
                  <a:gd name="connsiteX3" fmla="*/ 281792 w 308038"/>
                  <a:gd name="connsiteY3" fmla="*/ 71694 h 98060"/>
                  <a:gd name="connsiteX4" fmla="*/ 281792 w 308038"/>
                  <a:gd name="connsiteY4" fmla="*/ 0 h 98060"/>
                  <a:gd name="connsiteX5" fmla="*/ 308038 w 308038"/>
                  <a:gd name="connsiteY5" fmla="*/ 0 h 98060"/>
                  <a:gd name="connsiteX6" fmla="*/ 308038 w 308038"/>
                  <a:gd name="connsiteY6" fmla="*/ 98060 h 98060"/>
                  <a:gd name="connsiteX7" fmla="*/ 0 w 308038"/>
                  <a:gd name="connsiteY7" fmla="*/ 98060 h 98060"/>
                  <a:gd name="connsiteX8" fmla="*/ 0 w 308038"/>
                  <a:gd name="connsiteY8" fmla="*/ 0 h 9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038" h="98060">
                    <a:moveTo>
                      <a:pt x="0" y="0"/>
                    </a:moveTo>
                    <a:lnTo>
                      <a:pt x="26247" y="0"/>
                    </a:lnTo>
                    <a:lnTo>
                      <a:pt x="26247" y="71694"/>
                    </a:lnTo>
                    <a:lnTo>
                      <a:pt x="281792" y="71694"/>
                    </a:lnTo>
                    <a:lnTo>
                      <a:pt x="281792" y="0"/>
                    </a:lnTo>
                    <a:lnTo>
                      <a:pt x="308038" y="0"/>
                    </a:lnTo>
                    <a:lnTo>
                      <a:pt x="308038" y="98060"/>
                    </a:lnTo>
                    <a:lnTo>
                      <a:pt x="0" y="98060"/>
                    </a:lnTo>
                    <a:lnTo>
                      <a:pt x="0" y="0"/>
                    </a:lnTo>
                    <a:close/>
                  </a:path>
                </a:pathLst>
              </a:custGeom>
              <a:grpFill/>
              <a:ln w="28575" cap="flat">
                <a:noFill/>
                <a:prstDash val="solid"/>
                <a:miter/>
              </a:ln>
            </p:spPr>
            <p:txBody>
              <a:bodyPr rtlCol="0" anchor="ctr"/>
              <a:lstStyle/>
              <a:p>
                <a:endParaRPr lang="en-US" dirty="0"/>
              </a:p>
            </p:txBody>
          </p:sp>
        </p:grpSp>
        <p:grpSp>
          <p:nvGrpSpPr>
            <p:cNvPr id="5" name="Group 4">
              <a:extLst>
                <a:ext uri="{FF2B5EF4-FFF2-40B4-BE49-F238E27FC236}">
                  <a16:creationId xmlns:a16="http://schemas.microsoft.com/office/drawing/2014/main" id="{6EF8EF2A-5E3C-B388-FC41-5A7978D92687}"/>
                </a:ext>
              </a:extLst>
            </p:cNvPr>
            <p:cNvGrpSpPr/>
            <p:nvPr/>
          </p:nvGrpSpPr>
          <p:grpSpPr>
            <a:xfrm>
              <a:off x="7620411" y="3700309"/>
              <a:ext cx="629554" cy="660690"/>
              <a:chOff x="10139489" y="3676422"/>
              <a:chExt cx="527685" cy="553783"/>
            </a:xfrm>
            <a:solidFill>
              <a:schemeClr val="bg2"/>
            </a:solidFill>
          </p:grpSpPr>
          <p:sp>
            <p:nvSpPr>
              <p:cNvPr id="24" name="Freeform: Shape 23">
                <a:extLst>
                  <a:ext uri="{FF2B5EF4-FFF2-40B4-BE49-F238E27FC236}">
                    <a16:creationId xmlns:a16="http://schemas.microsoft.com/office/drawing/2014/main" id="{C1239A92-D48D-F9BA-F114-775A5D114457}"/>
                  </a:ext>
                </a:extLst>
              </p:cNvPr>
              <p:cNvSpPr/>
              <p:nvPr/>
            </p:nvSpPr>
            <p:spPr>
              <a:xfrm>
                <a:off x="10150443" y="3676422"/>
                <a:ext cx="307276" cy="298704"/>
              </a:xfrm>
              <a:custGeom>
                <a:avLst/>
                <a:gdLst>
                  <a:gd name="connsiteX0" fmla="*/ 307086 w 307276"/>
                  <a:gd name="connsiteY0" fmla="*/ 66389 h 298704"/>
                  <a:gd name="connsiteX1" fmla="*/ 256604 w 307276"/>
                  <a:gd name="connsiteY1" fmla="*/ 0 h 298704"/>
                  <a:gd name="connsiteX2" fmla="*/ 250412 w 307276"/>
                  <a:gd name="connsiteY2" fmla="*/ 45815 h 298704"/>
                  <a:gd name="connsiteX3" fmla="*/ 102775 w 307276"/>
                  <a:gd name="connsiteY3" fmla="*/ 95726 h 298704"/>
                  <a:gd name="connsiteX4" fmla="*/ 2762 w 307276"/>
                  <a:gd name="connsiteY4" fmla="*/ 262414 h 298704"/>
                  <a:gd name="connsiteX5" fmla="*/ 0 w 307276"/>
                  <a:gd name="connsiteY5" fmla="*/ 298514 h 298704"/>
                  <a:gd name="connsiteX6" fmla="*/ 28575 w 307276"/>
                  <a:gd name="connsiteY6" fmla="*/ 298704 h 298704"/>
                  <a:gd name="connsiteX7" fmla="*/ 31051 w 307276"/>
                  <a:gd name="connsiteY7" fmla="*/ 266605 h 298704"/>
                  <a:gd name="connsiteX8" fmla="*/ 119825 w 307276"/>
                  <a:gd name="connsiteY8" fmla="*/ 118682 h 298704"/>
                  <a:gd name="connsiteX9" fmla="*/ 246602 w 307276"/>
                  <a:gd name="connsiteY9" fmla="*/ 74486 h 298704"/>
                  <a:gd name="connsiteX10" fmla="*/ 240887 w 307276"/>
                  <a:gd name="connsiteY10" fmla="*/ 116872 h 298704"/>
                  <a:gd name="connsiteX11" fmla="*/ 307277 w 307276"/>
                  <a:gd name="connsiteY11" fmla="*/ 66389 h 29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7276" h="298704">
                    <a:moveTo>
                      <a:pt x="307086" y="66389"/>
                    </a:moveTo>
                    <a:lnTo>
                      <a:pt x="256604" y="0"/>
                    </a:lnTo>
                    <a:lnTo>
                      <a:pt x="250412" y="45815"/>
                    </a:lnTo>
                    <a:cubicBezTo>
                      <a:pt x="197453" y="46387"/>
                      <a:pt x="146114" y="63532"/>
                      <a:pt x="102775" y="95726"/>
                    </a:cubicBezTo>
                    <a:cubicBezTo>
                      <a:pt x="48292" y="136112"/>
                      <a:pt x="12764" y="195263"/>
                      <a:pt x="2762" y="262414"/>
                    </a:cubicBezTo>
                    <a:cubicBezTo>
                      <a:pt x="952" y="274415"/>
                      <a:pt x="0" y="286512"/>
                      <a:pt x="0" y="298514"/>
                    </a:cubicBezTo>
                    <a:lnTo>
                      <a:pt x="28575" y="298704"/>
                    </a:lnTo>
                    <a:cubicBezTo>
                      <a:pt x="28575" y="288036"/>
                      <a:pt x="29432" y="277273"/>
                      <a:pt x="31051" y="266605"/>
                    </a:cubicBezTo>
                    <a:cubicBezTo>
                      <a:pt x="39910" y="207074"/>
                      <a:pt x="71437" y="154496"/>
                      <a:pt x="119825" y="118682"/>
                    </a:cubicBezTo>
                    <a:cubicBezTo>
                      <a:pt x="157163" y="91059"/>
                      <a:pt x="201073" y="75914"/>
                      <a:pt x="246602" y="74486"/>
                    </a:cubicBezTo>
                    <a:lnTo>
                      <a:pt x="240887" y="116872"/>
                    </a:lnTo>
                    <a:lnTo>
                      <a:pt x="307277" y="66389"/>
                    </a:lnTo>
                    <a:close/>
                  </a:path>
                </a:pathLst>
              </a:custGeom>
              <a:solidFill>
                <a:schemeClr val="tx1"/>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0052382F-6FF3-1379-5A8D-E3FA517E3A11}"/>
                  </a:ext>
                </a:extLst>
              </p:cNvPr>
              <p:cNvSpPr/>
              <p:nvPr/>
            </p:nvSpPr>
            <p:spPr>
              <a:xfrm>
                <a:off x="10514203" y="3754336"/>
                <a:ext cx="152971" cy="387953"/>
              </a:xfrm>
              <a:custGeom>
                <a:avLst/>
                <a:gdLst>
                  <a:gd name="connsiteX0" fmla="*/ 111823 w 152971"/>
                  <a:gd name="connsiteY0" fmla="*/ 345662 h 387953"/>
                  <a:gd name="connsiteX1" fmla="*/ 141351 w 152971"/>
                  <a:gd name="connsiteY1" fmla="*/ 259271 h 387953"/>
                  <a:gd name="connsiteX2" fmla="*/ 13906 w 152971"/>
                  <a:gd name="connsiteY2" fmla="*/ 0 h 387953"/>
                  <a:gd name="connsiteX3" fmla="*/ 0 w 152971"/>
                  <a:gd name="connsiteY3" fmla="*/ 24955 h 387953"/>
                  <a:gd name="connsiteX4" fmla="*/ 113062 w 152971"/>
                  <a:gd name="connsiteY4" fmla="*/ 255079 h 387953"/>
                  <a:gd name="connsiteX5" fmla="*/ 89725 w 152971"/>
                  <a:gd name="connsiteY5" fmla="*/ 326612 h 387953"/>
                  <a:gd name="connsiteX6" fmla="*/ 53340 w 152971"/>
                  <a:gd name="connsiteY6" fmla="*/ 295275 h 387953"/>
                  <a:gd name="connsiteX7" fmla="*/ 60293 w 152971"/>
                  <a:gd name="connsiteY7" fmla="*/ 387953 h 387953"/>
                  <a:gd name="connsiteX8" fmla="*/ 152971 w 152971"/>
                  <a:gd name="connsiteY8" fmla="*/ 381000 h 387953"/>
                  <a:gd name="connsiteX9" fmla="*/ 111823 w 152971"/>
                  <a:gd name="connsiteY9" fmla="*/ 345567 h 3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971" h="387953">
                    <a:moveTo>
                      <a:pt x="111823" y="345662"/>
                    </a:moveTo>
                    <a:cubicBezTo>
                      <a:pt x="126682" y="318992"/>
                      <a:pt x="136779" y="289846"/>
                      <a:pt x="141351" y="259271"/>
                    </a:cubicBezTo>
                    <a:cubicBezTo>
                      <a:pt x="156781" y="155353"/>
                      <a:pt x="105632" y="51149"/>
                      <a:pt x="13906" y="0"/>
                    </a:cubicBezTo>
                    <a:lnTo>
                      <a:pt x="0" y="24955"/>
                    </a:lnTo>
                    <a:cubicBezTo>
                      <a:pt x="81343" y="70390"/>
                      <a:pt x="126873" y="162878"/>
                      <a:pt x="113062" y="255079"/>
                    </a:cubicBezTo>
                    <a:cubicBezTo>
                      <a:pt x="109347" y="280225"/>
                      <a:pt x="101346" y="304419"/>
                      <a:pt x="89725" y="326612"/>
                    </a:cubicBezTo>
                    <a:lnTo>
                      <a:pt x="53340" y="295275"/>
                    </a:lnTo>
                    <a:lnTo>
                      <a:pt x="60293" y="387953"/>
                    </a:lnTo>
                    <a:lnTo>
                      <a:pt x="152971" y="381000"/>
                    </a:lnTo>
                    <a:lnTo>
                      <a:pt x="111823" y="345567"/>
                    </a:lnTo>
                    <a:close/>
                  </a:path>
                </a:pathLst>
              </a:custGeom>
              <a:solidFill>
                <a:schemeClr val="tx1"/>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21697435-17AA-9BD9-620F-50DEDDC90AD6}"/>
                  </a:ext>
                </a:extLst>
              </p:cNvPr>
              <p:cNvSpPr/>
              <p:nvPr/>
            </p:nvSpPr>
            <p:spPr>
              <a:xfrm>
                <a:off x="10139489" y="4042658"/>
                <a:ext cx="397382" cy="187547"/>
              </a:xfrm>
              <a:custGeom>
                <a:avLst/>
                <a:gdLst>
                  <a:gd name="connsiteX0" fmla="*/ 382429 w 397382"/>
                  <a:gd name="connsiteY0" fmla="*/ 125825 h 187547"/>
                  <a:gd name="connsiteX1" fmla="*/ 231553 w 397382"/>
                  <a:gd name="connsiteY1" fmla="*/ 156496 h 187547"/>
                  <a:gd name="connsiteX2" fmla="*/ 72771 w 397382"/>
                  <a:gd name="connsiteY2" fmla="*/ 51530 h 187547"/>
                  <a:gd name="connsiteX3" fmla="*/ 116014 w 397382"/>
                  <a:gd name="connsiteY3" fmla="*/ 32766 h 187547"/>
                  <a:gd name="connsiteX4" fmla="*/ 32766 w 397382"/>
                  <a:gd name="connsiteY4" fmla="*/ 0 h 187547"/>
                  <a:gd name="connsiteX5" fmla="*/ 0 w 397382"/>
                  <a:gd name="connsiteY5" fmla="*/ 83248 h 187547"/>
                  <a:gd name="connsiteX6" fmla="*/ 46387 w 397382"/>
                  <a:gd name="connsiteY6" fmla="*/ 63055 h 187547"/>
                  <a:gd name="connsiteX7" fmla="*/ 227362 w 397382"/>
                  <a:gd name="connsiteY7" fmla="*/ 184785 h 187547"/>
                  <a:gd name="connsiteX8" fmla="*/ 264700 w 397382"/>
                  <a:gd name="connsiteY8" fmla="*/ 187547 h 187547"/>
                  <a:gd name="connsiteX9" fmla="*/ 397383 w 397382"/>
                  <a:gd name="connsiteY9" fmla="*/ 150209 h 187547"/>
                  <a:gd name="connsiteX10" fmla="*/ 382429 w 397382"/>
                  <a:gd name="connsiteY10" fmla="*/ 125825 h 187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7382" h="187547">
                    <a:moveTo>
                      <a:pt x="382429" y="125825"/>
                    </a:moveTo>
                    <a:cubicBezTo>
                      <a:pt x="337471" y="153448"/>
                      <a:pt x="283845" y="164306"/>
                      <a:pt x="231553" y="156496"/>
                    </a:cubicBezTo>
                    <a:cubicBezTo>
                      <a:pt x="165164" y="146590"/>
                      <a:pt x="107347" y="107632"/>
                      <a:pt x="72771" y="51530"/>
                    </a:cubicBezTo>
                    <a:lnTo>
                      <a:pt x="116014" y="32766"/>
                    </a:lnTo>
                    <a:lnTo>
                      <a:pt x="32766" y="0"/>
                    </a:lnTo>
                    <a:lnTo>
                      <a:pt x="0" y="83248"/>
                    </a:lnTo>
                    <a:lnTo>
                      <a:pt x="46387" y="63055"/>
                    </a:lnTo>
                    <a:cubicBezTo>
                      <a:pt x="85058" y="128016"/>
                      <a:pt x="151162" y="173450"/>
                      <a:pt x="227362" y="184785"/>
                    </a:cubicBezTo>
                    <a:cubicBezTo>
                      <a:pt x="239744" y="186595"/>
                      <a:pt x="252222" y="187547"/>
                      <a:pt x="264700" y="187547"/>
                    </a:cubicBezTo>
                    <a:cubicBezTo>
                      <a:pt x="311277" y="187547"/>
                      <a:pt x="357378" y="174689"/>
                      <a:pt x="397383" y="150209"/>
                    </a:cubicBezTo>
                    <a:lnTo>
                      <a:pt x="382429" y="125825"/>
                    </a:lnTo>
                    <a:close/>
                  </a:path>
                </a:pathLst>
              </a:custGeom>
              <a:solidFill>
                <a:schemeClr val="tx1"/>
              </a:solidFill>
              <a:ln w="9525" cap="flat">
                <a:noFill/>
                <a:prstDash val="solid"/>
                <a:miter/>
              </a:ln>
            </p:spPr>
            <p:txBody>
              <a:bodyPr rtlCol="0" anchor="ctr"/>
              <a:lstStyle/>
              <a:p>
                <a:endParaRPr lang="en-US" dirty="0"/>
              </a:p>
            </p:txBody>
          </p:sp>
        </p:grpSp>
        <p:grpSp>
          <p:nvGrpSpPr>
            <p:cNvPr id="6" name="Graphic 608">
              <a:extLst>
                <a:ext uri="{FF2B5EF4-FFF2-40B4-BE49-F238E27FC236}">
                  <a16:creationId xmlns:a16="http://schemas.microsoft.com/office/drawing/2014/main" id="{6F19531A-29A4-3426-69E1-6EAF875CBD5D}"/>
                </a:ext>
              </a:extLst>
            </p:cNvPr>
            <p:cNvGrpSpPr/>
            <p:nvPr/>
          </p:nvGrpSpPr>
          <p:grpSpPr>
            <a:xfrm>
              <a:off x="7964232" y="3863256"/>
              <a:ext cx="185475" cy="334797"/>
              <a:chOff x="6357310" y="4926862"/>
              <a:chExt cx="337184" cy="608647"/>
            </a:xfrm>
            <a:solidFill>
              <a:schemeClr val="tx1"/>
            </a:solidFill>
          </p:grpSpPr>
          <p:sp>
            <p:nvSpPr>
              <p:cNvPr id="7" name="Freeform: Shape 6">
                <a:extLst>
                  <a:ext uri="{FF2B5EF4-FFF2-40B4-BE49-F238E27FC236}">
                    <a16:creationId xmlns:a16="http://schemas.microsoft.com/office/drawing/2014/main" id="{8050AFAB-9550-8346-DF9E-0AE0D58DEC3B}"/>
                  </a:ext>
                </a:extLst>
              </p:cNvPr>
              <p:cNvSpPr/>
              <p:nvPr/>
            </p:nvSpPr>
            <p:spPr>
              <a:xfrm>
                <a:off x="6358263" y="5337390"/>
                <a:ext cx="167639" cy="198119"/>
              </a:xfrm>
              <a:custGeom>
                <a:avLst/>
                <a:gdLst>
                  <a:gd name="connsiteX0" fmla="*/ 158115 w 167639"/>
                  <a:gd name="connsiteY0" fmla="*/ 129540 h 198119"/>
                  <a:gd name="connsiteX1" fmla="*/ 143827 w 167639"/>
                  <a:gd name="connsiteY1" fmla="*/ 104775 h 198119"/>
                  <a:gd name="connsiteX2" fmla="*/ 135255 w 167639"/>
                  <a:gd name="connsiteY2" fmla="*/ 90488 h 198119"/>
                  <a:gd name="connsiteX3" fmla="*/ 119063 w 167639"/>
                  <a:gd name="connsiteY3" fmla="*/ 90488 h 198119"/>
                  <a:gd name="connsiteX4" fmla="*/ 119063 w 167639"/>
                  <a:gd name="connsiteY4" fmla="*/ 57150 h 198119"/>
                  <a:gd name="connsiteX5" fmla="*/ 0 w 167639"/>
                  <a:gd name="connsiteY5" fmla="*/ 0 h 198119"/>
                  <a:gd name="connsiteX6" fmla="*/ 0 w 167639"/>
                  <a:gd name="connsiteY6" fmla="*/ 33338 h 198119"/>
                  <a:gd name="connsiteX7" fmla="*/ 90488 w 167639"/>
                  <a:gd name="connsiteY7" fmla="*/ 76200 h 198119"/>
                  <a:gd name="connsiteX8" fmla="*/ 90488 w 167639"/>
                  <a:gd name="connsiteY8" fmla="*/ 91440 h 198119"/>
                  <a:gd name="connsiteX9" fmla="*/ 73342 w 167639"/>
                  <a:gd name="connsiteY9" fmla="*/ 91440 h 198119"/>
                  <a:gd name="connsiteX10" fmla="*/ 64770 w 167639"/>
                  <a:gd name="connsiteY10" fmla="*/ 105727 h 198119"/>
                  <a:gd name="connsiteX11" fmla="*/ 50482 w 167639"/>
                  <a:gd name="connsiteY11" fmla="*/ 130493 h 198119"/>
                  <a:gd name="connsiteX12" fmla="*/ 41910 w 167639"/>
                  <a:gd name="connsiteY12" fmla="*/ 144780 h 198119"/>
                  <a:gd name="connsiteX13" fmla="*/ 50482 w 167639"/>
                  <a:gd name="connsiteY13" fmla="*/ 159068 h 198119"/>
                  <a:gd name="connsiteX14" fmla="*/ 64770 w 167639"/>
                  <a:gd name="connsiteY14" fmla="*/ 183833 h 198119"/>
                  <a:gd name="connsiteX15" fmla="*/ 73342 w 167639"/>
                  <a:gd name="connsiteY15" fmla="*/ 198120 h 198119"/>
                  <a:gd name="connsiteX16" fmla="*/ 136208 w 167639"/>
                  <a:gd name="connsiteY16" fmla="*/ 198120 h 198119"/>
                  <a:gd name="connsiteX17" fmla="*/ 144780 w 167639"/>
                  <a:gd name="connsiteY17" fmla="*/ 183833 h 198119"/>
                  <a:gd name="connsiteX18" fmla="*/ 159067 w 167639"/>
                  <a:gd name="connsiteY18" fmla="*/ 159068 h 198119"/>
                  <a:gd name="connsiteX19" fmla="*/ 167640 w 167639"/>
                  <a:gd name="connsiteY19" fmla="*/ 144780 h 198119"/>
                  <a:gd name="connsiteX20" fmla="*/ 159067 w 167639"/>
                  <a:gd name="connsiteY20" fmla="*/ 130493 h 198119"/>
                  <a:gd name="connsiteX21" fmla="*/ 118110 w 167639"/>
                  <a:gd name="connsiteY21" fmla="*/ 168593 h 198119"/>
                  <a:gd name="connsiteX22" fmla="*/ 89535 w 167639"/>
                  <a:gd name="connsiteY22" fmla="*/ 168593 h 198119"/>
                  <a:gd name="connsiteX23" fmla="*/ 75247 w 167639"/>
                  <a:gd name="connsiteY23" fmla="*/ 143827 h 198119"/>
                  <a:gd name="connsiteX24" fmla="*/ 89535 w 167639"/>
                  <a:gd name="connsiteY24" fmla="*/ 119063 h 198119"/>
                  <a:gd name="connsiteX25" fmla="*/ 118110 w 167639"/>
                  <a:gd name="connsiteY25" fmla="*/ 119063 h 198119"/>
                  <a:gd name="connsiteX26" fmla="*/ 132397 w 167639"/>
                  <a:gd name="connsiteY26" fmla="*/ 143827 h 198119"/>
                  <a:gd name="connsiteX27" fmla="*/ 118110 w 167639"/>
                  <a:gd name="connsiteY27" fmla="*/ 168593 h 19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7639" h="198119">
                    <a:moveTo>
                      <a:pt x="158115" y="129540"/>
                    </a:moveTo>
                    <a:lnTo>
                      <a:pt x="143827" y="104775"/>
                    </a:lnTo>
                    <a:lnTo>
                      <a:pt x="135255" y="90488"/>
                    </a:lnTo>
                    <a:lnTo>
                      <a:pt x="119063" y="90488"/>
                    </a:lnTo>
                    <a:lnTo>
                      <a:pt x="119063" y="57150"/>
                    </a:lnTo>
                    <a:lnTo>
                      <a:pt x="0" y="0"/>
                    </a:lnTo>
                    <a:lnTo>
                      <a:pt x="0" y="33338"/>
                    </a:lnTo>
                    <a:lnTo>
                      <a:pt x="90488" y="76200"/>
                    </a:lnTo>
                    <a:lnTo>
                      <a:pt x="90488" y="91440"/>
                    </a:lnTo>
                    <a:lnTo>
                      <a:pt x="73342" y="91440"/>
                    </a:lnTo>
                    <a:lnTo>
                      <a:pt x="64770" y="105727"/>
                    </a:lnTo>
                    <a:lnTo>
                      <a:pt x="50482" y="130493"/>
                    </a:lnTo>
                    <a:lnTo>
                      <a:pt x="41910" y="144780"/>
                    </a:lnTo>
                    <a:lnTo>
                      <a:pt x="50482" y="159068"/>
                    </a:lnTo>
                    <a:lnTo>
                      <a:pt x="64770" y="183833"/>
                    </a:lnTo>
                    <a:lnTo>
                      <a:pt x="73342" y="198120"/>
                    </a:lnTo>
                    <a:lnTo>
                      <a:pt x="136208" y="198120"/>
                    </a:lnTo>
                    <a:lnTo>
                      <a:pt x="144780" y="183833"/>
                    </a:lnTo>
                    <a:lnTo>
                      <a:pt x="159067" y="159068"/>
                    </a:lnTo>
                    <a:lnTo>
                      <a:pt x="167640" y="144780"/>
                    </a:lnTo>
                    <a:lnTo>
                      <a:pt x="159067" y="130493"/>
                    </a:lnTo>
                    <a:close/>
                    <a:moveTo>
                      <a:pt x="118110" y="168593"/>
                    </a:moveTo>
                    <a:lnTo>
                      <a:pt x="89535" y="168593"/>
                    </a:lnTo>
                    <a:lnTo>
                      <a:pt x="75247" y="143827"/>
                    </a:lnTo>
                    <a:lnTo>
                      <a:pt x="89535" y="119063"/>
                    </a:lnTo>
                    <a:lnTo>
                      <a:pt x="118110" y="119063"/>
                    </a:lnTo>
                    <a:lnTo>
                      <a:pt x="132397" y="143827"/>
                    </a:lnTo>
                    <a:lnTo>
                      <a:pt x="118110" y="168593"/>
                    </a:lnTo>
                    <a:close/>
                  </a:path>
                </a:pathLst>
              </a:custGeom>
              <a:solidFill>
                <a:schemeClr val="bg2"/>
              </a:solidFill>
              <a:ln w="0"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345A117C-D310-0FED-5178-8BC1D58244C4}"/>
                  </a:ext>
                </a:extLst>
              </p:cNvPr>
              <p:cNvSpPr/>
              <p:nvPr/>
            </p:nvSpPr>
            <p:spPr>
              <a:xfrm>
                <a:off x="6357310" y="5272620"/>
                <a:ext cx="336232" cy="148589"/>
              </a:xfrm>
              <a:custGeom>
                <a:avLst/>
                <a:gdLst>
                  <a:gd name="connsiteX0" fmla="*/ 327660 w 336232"/>
                  <a:gd name="connsiteY0" fmla="*/ 80010 h 148589"/>
                  <a:gd name="connsiteX1" fmla="*/ 313372 w 336232"/>
                  <a:gd name="connsiteY1" fmla="*/ 55245 h 148589"/>
                  <a:gd name="connsiteX2" fmla="*/ 304800 w 336232"/>
                  <a:gd name="connsiteY2" fmla="*/ 40957 h 148589"/>
                  <a:gd name="connsiteX3" fmla="*/ 241935 w 336232"/>
                  <a:gd name="connsiteY3" fmla="*/ 40957 h 148589"/>
                  <a:gd name="connsiteX4" fmla="*/ 233363 w 336232"/>
                  <a:gd name="connsiteY4" fmla="*/ 55245 h 148589"/>
                  <a:gd name="connsiteX5" fmla="*/ 219075 w 336232"/>
                  <a:gd name="connsiteY5" fmla="*/ 80010 h 148589"/>
                  <a:gd name="connsiteX6" fmla="*/ 162878 w 336232"/>
                  <a:gd name="connsiteY6" fmla="*/ 80010 h 148589"/>
                  <a:gd name="connsiteX7" fmla="*/ 0 w 336232"/>
                  <a:gd name="connsiteY7" fmla="*/ 0 h 148589"/>
                  <a:gd name="connsiteX8" fmla="*/ 0 w 336232"/>
                  <a:gd name="connsiteY8" fmla="*/ 33338 h 148589"/>
                  <a:gd name="connsiteX9" fmla="*/ 156210 w 336232"/>
                  <a:gd name="connsiteY9" fmla="*/ 109538 h 148589"/>
                  <a:gd name="connsiteX10" fmla="*/ 219075 w 336232"/>
                  <a:gd name="connsiteY10" fmla="*/ 109538 h 148589"/>
                  <a:gd name="connsiteX11" fmla="*/ 233363 w 336232"/>
                  <a:gd name="connsiteY11" fmla="*/ 134302 h 148589"/>
                  <a:gd name="connsiteX12" fmla="*/ 241935 w 336232"/>
                  <a:gd name="connsiteY12" fmla="*/ 148590 h 148589"/>
                  <a:gd name="connsiteX13" fmla="*/ 304800 w 336232"/>
                  <a:gd name="connsiteY13" fmla="*/ 148590 h 148589"/>
                  <a:gd name="connsiteX14" fmla="*/ 313372 w 336232"/>
                  <a:gd name="connsiteY14" fmla="*/ 134302 h 148589"/>
                  <a:gd name="connsiteX15" fmla="*/ 327660 w 336232"/>
                  <a:gd name="connsiteY15" fmla="*/ 109538 h 148589"/>
                  <a:gd name="connsiteX16" fmla="*/ 336233 w 336232"/>
                  <a:gd name="connsiteY16" fmla="*/ 95250 h 148589"/>
                  <a:gd name="connsiteX17" fmla="*/ 327660 w 336232"/>
                  <a:gd name="connsiteY17" fmla="*/ 80963 h 148589"/>
                  <a:gd name="connsiteX18" fmla="*/ 287655 w 336232"/>
                  <a:gd name="connsiteY18" fmla="*/ 119063 h 148589"/>
                  <a:gd name="connsiteX19" fmla="*/ 259080 w 336232"/>
                  <a:gd name="connsiteY19" fmla="*/ 119063 h 148589"/>
                  <a:gd name="connsiteX20" fmla="*/ 244793 w 336232"/>
                  <a:gd name="connsiteY20" fmla="*/ 94297 h 148589"/>
                  <a:gd name="connsiteX21" fmla="*/ 259080 w 336232"/>
                  <a:gd name="connsiteY21" fmla="*/ 69532 h 148589"/>
                  <a:gd name="connsiteX22" fmla="*/ 287655 w 336232"/>
                  <a:gd name="connsiteY22" fmla="*/ 69532 h 148589"/>
                  <a:gd name="connsiteX23" fmla="*/ 301943 w 336232"/>
                  <a:gd name="connsiteY23" fmla="*/ 94297 h 148589"/>
                  <a:gd name="connsiteX24" fmla="*/ 287655 w 336232"/>
                  <a:gd name="connsiteY24" fmla="*/ 119063 h 14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36232" h="148589">
                    <a:moveTo>
                      <a:pt x="327660" y="80010"/>
                    </a:moveTo>
                    <a:lnTo>
                      <a:pt x="313372" y="55245"/>
                    </a:lnTo>
                    <a:lnTo>
                      <a:pt x="304800" y="40957"/>
                    </a:lnTo>
                    <a:lnTo>
                      <a:pt x="241935" y="40957"/>
                    </a:lnTo>
                    <a:lnTo>
                      <a:pt x="233363" y="55245"/>
                    </a:lnTo>
                    <a:lnTo>
                      <a:pt x="219075" y="80010"/>
                    </a:lnTo>
                    <a:lnTo>
                      <a:pt x="162878" y="80010"/>
                    </a:lnTo>
                    <a:lnTo>
                      <a:pt x="0" y="0"/>
                    </a:lnTo>
                    <a:lnTo>
                      <a:pt x="0" y="33338"/>
                    </a:lnTo>
                    <a:lnTo>
                      <a:pt x="156210" y="109538"/>
                    </a:lnTo>
                    <a:lnTo>
                      <a:pt x="219075" y="109538"/>
                    </a:lnTo>
                    <a:cubicBezTo>
                      <a:pt x="219075" y="109538"/>
                      <a:pt x="233363" y="134302"/>
                      <a:pt x="233363" y="134302"/>
                    </a:cubicBezTo>
                    <a:lnTo>
                      <a:pt x="241935" y="148590"/>
                    </a:lnTo>
                    <a:lnTo>
                      <a:pt x="304800" y="148590"/>
                    </a:lnTo>
                    <a:lnTo>
                      <a:pt x="313372" y="134302"/>
                    </a:lnTo>
                    <a:lnTo>
                      <a:pt x="327660" y="109538"/>
                    </a:lnTo>
                    <a:lnTo>
                      <a:pt x="336233" y="95250"/>
                    </a:lnTo>
                    <a:lnTo>
                      <a:pt x="327660" y="80963"/>
                    </a:lnTo>
                    <a:close/>
                    <a:moveTo>
                      <a:pt x="287655" y="119063"/>
                    </a:moveTo>
                    <a:lnTo>
                      <a:pt x="259080" y="119063"/>
                    </a:lnTo>
                    <a:lnTo>
                      <a:pt x="244793" y="94297"/>
                    </a:lnTo>
                    <a:lnTo>
                      <a:pt x="259080" y="69532"/>
                    </a:lnTo>
                    <a:lnTo>
                      <a:pt x="287655" y="69532"/>
                    </a:lnTo>
                    <a:lnTo>
                      <a:pt x="301943" y="94297"/>
                    </a:lnTo>
                    <a:lnTo>
                      <a:pt x="287655" y="119063"/>
                    </a:lnTo>
                    <a:close/>
                  </a:path>
                </a:pathLst>
              </a:custGeom>
              <a:solidFill>
                <a:schemeClr val="bg2"/>
              </a:solidFill>
              <a:ln w="0"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82926E72-65D7-8AD8-46B2-D04454BE2871}"/>
                  </a:ext>
                </a:extLst>
              </p:cNvPr>
              <p:cNvSpPr/>
              <p:nvPr/>
            </p:nvSpPr>
            <p:spPr>
              <a:xfrm>
                <a:off x="6357310" y="4926862"/>
                <a:ext cx="166687" cy="197167"/>
              </a:xfrm>
              <a:custGeom>
                <a:avLst/>
                <a:gdLst>
                  <a:gd name="connsiteX0" fmla="*/ 159068 w 166687"/>
                  <a:gd name="connsiteY0" fmla="*/ 39053 h 197167"/>
                  <a:gd name="connsiteX1" fmla="*/ 144780 w 166687"/>
                  <a:gd name="connsiteY1" fmla="*/ 14288 h 197167"/>
                  <a:gd name="connsiteX2" fmla="*/ 136208 w 166687"/>
                  <a:gd name="connsiteY2" fmla="*/ 0 h 197167"/>
                  <a:gd name="connsiteX3" fmla="*/ 73343 w 166687"/>
                  <a:gd name="connsiteY3" fmla="*/ 0 h 197167"/>
                  <a:gd name="connsiteX4" fmla="*/ 64770 w 166687"/>
                  <a:gd name="connsiteY4" fmla="*/ 14288 h 197167"/>
                  <a:gd name="connsiteX5" fmla="*/ 50482 w 166687"/>
                  <a:gd name="connsiteY5" fmla="*/ 39053 h 197167"/>
                  <a:gd name="connsiteX6" fmla="*/ 41910 w 166687"/>
                  <a:gd name="connsiteY6" fmla="*/ 53340 h 197167"/>
                  <a:gd name="connsiteX7" fmla="*/ 50482 w 166687"/>
                  <a:gd name="connsiteY7" fmla="*/ 67628 h 197167"/>
                  <a:gd name="connsiteX8" fmla="*/ 64770 w 166687"/>
                  <a:gd name="connsiteY8" fmla="*/ 92393 h 197167"/>
                  <a:gd name="connsiteX9" fmla="*/ 73343 w 166687"/>
                  <a:gd name="connsiteY9" fmla="*/ 106680 h 197167"/>
                  <a:gd name="connsiteX10" fmla="*/ 90488 w 166687"/>
                  <a:gd name="connsiteY10" fmla="*/ 106680 h 197167"/>
                  <a:gd name="connsiteX11" fmla="*/ 90488 w 166687"/>
                  <a:gd name="connsiteY11" fmla="*/ 121920 h 197167"/>
                  <a:gd name="connsiteX12" fmla="*/ 0 w 166687"/>
                  <a:gd name="connsiteY12" fmla="*/ 164783 h 197167"/>
                  <a:gd name="connsiteX13" fmla="*/ 0 w 166687"/>
                  <a:gd name="connsiteY13" fmla="*/ 197168 h 197167"/>
                  <a:gd name="connsiteX14" fmla="*/ 119063 w 166687"/>
                  <a:gd name="connsiteY14" fmla="*/ 140018 h 197167"/>
                  <a:gd name="connsiteX15" fmla="*/ 119063 w 166687"/>
                  <a:gd name="connsiteY15" fmla="*/ 106680 h 197167"/>
                  <a:gd name="connsiteX16" fmla="*/ 135255 w 166687"/>
                  <a:gd name="connsiteY16" fmla="*/ 106680 h 197167"/>
                  <a:gd name="connsiteX17" fmla="*/ 143828 w 166687"/>
                  <a:gd name="connsiteY17" fmla="*/ 92393 h 197167"/>
                  <a:gd name="connsiteX18" fmla="*/ 158115 w 166687"/>
                  <a:gd name="connsiteY18" fmla="*/ 67628 h 197167"/>
                  <a:gd name="connsiteX19" fmla="*/ 166688 w 166687"/>
                  <a:gd name="connsiteY19" fmla="*/ 53340 h 197167"/>
                  <a:gd name="connsiteX20" fmla="*/ 158115 w 166687"/>
                  <a:gd name="connsiteY20" fmla="*/ 39053 h 197167"/>
                  <a:gd name="connsiteX21" fmla="*/ 119063 w 166687"/>
                  <a:gd name="connsiteY21" fmla="*/ 78105 h 197167"/>
                  <a:gd name="connsiteX22" fmla="*/ 90488 w 166687"/>
                  <a:gd name="connsiteY22" fmla="*/ 78105 h 197167"/>
                  <a:gd name="connsiteX23" fmla="*/ 76200 w 166687"/>
                  <a:gd name="connsiteY23" fmla="*/ 53340 h 197167"/>
                  <a:gd name="connsiteX24" fmla="*/ 90488 w 166687"/>
                  <a:gd name="connsiteY24" fmla="*/ 28575 h 197167"/>
                  <a:gd name="connsiteX25" fmla="*/ 119063 w 166687"/>
                  <a:gd name="connsiteY25" fmla="*/ 28575 h 197167"/>
                  <a:gd name="connsiteX26" fmla="*/ 133350 w 166687"/>
                  <a:gd name="connsiteY26" fmla="*/ 53340 h 197167"/>
                  <a:gd name="connsiteX27" fmla="*/ 119063 w 166687"/>
                  <a:gd name="connsiteY27" fmla="*/ 78105 h 19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6687" h="197167">
                    <a:moveTo>
                      <a:pt x="159068" y="39053"/>
                    </a:moveTo>
                    <a:lnTo>
                      <a:pt x="144780" y="14288"/>
                    </a:lnTo>
                    <a:lnTo>
                      <a:pt x="136208" y="0"/>
                    </a:lnTo>
                    <a:lnTo>
                      <a:pt x="73343" y="0"/>
                    </a:lnTo>
                    <a:lnTo>
                      <a:pt x="64770" y="14288"/>
                    </a:lnTo>
                    <a:lnTo>
                      <a:pt x="50482" y="39053"/>
                    </a:lnTo>
                    <a:lnTo>
                      <a:pt x="41910" y="53340"/>
                    </a:lnTo>
                    <a:lnTo>
                      <a:pt x="50482" y="67628"/>
                    </a:lnTo>
                    <a:lnTo>
                      <a:pt x="64770" y="92393"/>
                    </a:lnTo>
                    <a:lnTo>
                      <a:pt x="73343" y="106680"/>
                    </a:lnTo>
                    <a:lnTo>
                      <a:pt x="90488" y="106680"/>
                    </a:lnTo>
                    <a:lnTo>
                      <a:pt x="90488" y="121920"/>
                    </a:lnTo>
                    <a:lnTo>
                      <a:pt x="0" y="164783"/>
                    </a:lnTo>
                    <a:lnTo>
                      <a:pt x="0" y="197168"/>
                    </a:lnTo>
                    <a:lnTo>
                      <a:pt x="119063" y="140018"/>
                    </a:lnTo>
                    <a:lnTo>
                      <a:pt x="119063" y="106680"/>
                    </a:lnTo>
                    <a:lnTo>
                      <a:pt x="135255" y="106680"/>
                    </a:lnTo>
                    <a:lnTo>
                      <a:pt x="143828" y="92393"/>
                    </a:lnTo>
                    <a:lnTo>
                      <a:pt x="158115" y="67628"/>
                    </a:lnTo>
                    <a:lnTo>
                      <a:pt x="166688" y="53340"/>
                    </a:lnTo>
                    <a:lnTo>
                      <a:pt x="158115" y="39053"/>
                    </a:lnTo>
                    <a:close/>
                    <a:moveTo>
                      <a:pt x="119063" y="78105"/>
                    </a:moveTo>
                    <a:lnTo>
                      <a:pt x="90488" y="78105"/>
                    </a:lnTo>
                    <a:lnTo>
                      <a:pt x="76200" y="53340"/>
                    </a:lnTo>
                    <a:lnTo>
                      <a:pt x="90488" y="28575"/>
                    </a:lnTo>
                    <a:lnTo>
                      <a:pt x="119063" y="28575"/>
                    </a:lnTo>
                    <a:lnTo>
                      <a:pt x="133350" y="53340"/>
                    </a:lnTo>
                    <a:lnTo>
                      <a:pt x="119063" y="78105"/>
                    </a:lnTo>
                    <a:close/>
                  </a:path>
                </a:pathLst>
              </a:custGeom>
              <a:solidFill>
                <a:schemeClr val="bg2"/>
              </a:solidFill>
              <a:ln w="0"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14C78F96-CBCA-95C9-BB43-CC55CDB277FF}"/>
                  </a:ext>
                </a:extLst>
              </p:cNvPr>
              <p:cNvSpPr/>
              <p:nvPr/>
            </p:nvSpPr>
            <p:spPr>
              <a:xfrm>
                <a:off x="6358263" y="5041162"/>
                <a:ext cx="336232" cy="147637"/>
              </a:xfrm>
              <a:custGeom>
                <a:avLst/>
                <a:gdLst>
                  <a:gd name="connsiteX0" fmla="*/ 326707 w 336232"/>
                  <a:gd name="connsiteY0" fmla="*/ 39053 h 147637"/>
                  <a:gd name="connsiteX1" fmla="*/ 312420 w 336232"/>
                  <a:gd name="connsiteY1" fmla="*/ 14288 h 147637"/>
                  <a:gd name="connsiteX2" fmla="*/ 303848 w 336232"/>
                  <a:gd name="connsiteY2" fmla="*/ 0 h 147637"/>
                  <a:gd name="connsiteX3" fmla="*/ 240983 w 336232"/>
                  <a:gd name="connsiteY3" fmla="*/ 0 h 147637"/>
                  <a:gd name="connsiteX4" fmla="*/ 232410 w 336232"/>
                  <a:gd name="connsiteY4" fmla="*/ 14288 h 147637"/>
                  <a:gd name="connsiteX5" fmla="*/ 218122 w 336232"/>
                  <a:gd name="connsiteY5" fmla="*/ 39053 h 147637"/>
                  <a:gd name="connsiteX6" fmla="*/ 155258 w 336232"/>
                  <a:gd name="connsiteY6" fmla="*/ 39053 h 147637"/>
                  <a:gd name="connsiteX7" fmla="*/ 0 w 336232"/>
                  <a:gd name="connsiteY7" fmla="*/ 115253 h 147637"/>
                  <a:gd name="connsiteX8" fmla="*/ 0 w 336232"/>
                  <a:gd name="connsiteY8" fmla="*/ 115253 h 147637"/>
                  <a:gd name="connsiteX9" fmla="*/ 0 w 336232"/>
                  <a:gd name="connsiteY9" fmla="*/ 147638 h 147637"/>
                  <a:gd name="connsiteX10" fmla="*/ 162877 w 336232"/>
                  <a:gd name="connsiteY10" fmla="*/ 68580 h 147637"/>
                  <a:gd name="connsiteX11" fmla="*/ 219075 w 336232"/>
                  <a:gd name="connsiteY11" fmla="*/ 68580 h 147637"/>
                  <a:gd name="connsiteX12" fmla="*/ 233363 w 336232"/>
                  <a:gd name="connsiteY12" fmla="*/ 93345 h 147637"/>
                  <a:gd name="connsiteX13" fmla="*/ 241935 w 336232"/>
                  <a:gd name="connsiteY13" fmla="*/ 107632 h 147637"/>
                  <a:gd name="connsiteX14" fmla="*/ 304800 w 336232"/>
                  <a:gd name="connsiteY14" fmla="*/ 107632 h 147637"/>
                  <a:gd name="connsiteX15" fmla="*/ 313373 w 336232"/>
                  <a:gd name="connsiteY15" fmla="*/ 93345 h 147637"/>
                  <a:gd name="connsiteX16" fmla="*/ 327660 w 336232"/>
                  <a:gd name="connsiteY16" fmla="*/ 68580 h 147637"/>
                  <a:gd name="connsiteX17" fmla="*/ 336232 w 336232"/>
                  <a:gd name="connsiteY17" fmla="*/ 54292 h 147637"/>
                  <a:gd name="connsiteX18" fmla="*/ 327660 w 336232"/>
                  <a:gd name="connsiteY18" fmla="*/ 40005 h 147637"/>
                  <a:gd name="connsiteX19" fmla="*/ 286703 w 336232"/>
                  <a:gd name="connsiteY19" fmla="*/ 78105 h 147637"/>
                  <a:gd name="connsiteX20" fmla="*/ 258127 w 336232"/>
                  <a:gd name="connsiteY20" fmla="*/ 78105 h 147637"/>
                  <a:gd name="connsiteX21" fmla="*/ 243840 w 336232"/>
                  <a:gd name="connsiteY21" fmla="*/ 53340 h 147637"/>
                  <a:gd name="connsiteX22" fmla="*/ 258127 w 336232"/>
                  <a:gd name="connsiteY22" fmla="*/ 28575 h 147637"/>
                  <a:gd name="connsiteX23" fmla="*/ 286703 w 336232"/>
                  <a:gd name="connsiteY23" fmla="*/ 28575 h 147637"/>
                  <a:gd name="connsiteX24" fmla="*/ 300990 w 336232"/>
                  <a:gd name="connsiteY24" fmla="*/ 53340 h 147637"/>
                  <a:gd name="connsiteX25" fmla="*/ 286703 w 336232"/>
                  <a:gd name="connsiteY25" fmla="*/ 78105 h 147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6232" h="147637">
                    <a:moveTo>
                      <a:pt x="326707" y="39053"/>
                    </a:moveTo>
                    <a:lnTo>
                      <a:pt x="312420" y="14288"/>
                    </a:lnTo>
                    <a:lnTo>
                      <a:pt x="303848" y="0"/>
                    </a:lnTo>
                    <a:lnTo>
                      <a:pt x="240983" y="0"/>
                    </a:lnTo>
                    <a:lnTo>
                      <a:pt x="232410" y="14288"/>
                    </a:lnTo>
                    <a:lnTo>
                      <a:pt x="218122" y="39053"/>
                    </a:lnTo>
                    <a:lnTo>
                      <a:pt x="155258" y="39053"/>
                    </a:lnTo>
                    <a:lnTo>
                      <a:pt x="0" y="115253"/>
                    </a:lnTo>
                    <a:lnTo>
                      <a:pt x="0" y="115253"/>
                    </a:lnTo>
                    <a:lnTo>
                      <a:pt x="0" y="147638"/>
                    </a:lnTo>
                    <a:lnTo>
                      <a:pt x="162877" y="68580"/>
                    </a:lnTo>
                    <a:lnTo>
                      <a:pt x="219075" y="68580"/>
                    </a:lnTo>
                    <a:cubicBezTo>
                      <a:pt x="219075" y="68580"/>
                      <a:pt x="233363" y="93345"/>
                      <a:pt x="233363" y="93345"/>
                    </a:cubicBezTo>
                    <a:lnTo>
                      <a:pt x="241935" y="107632"/>
                    </a:lnTo>
                    <a:lnTo>
                      <a:pt x="304800" y="107632"/>
                    </a:lnTo>
                    <a:lnTo>
                      <a:pt x="313373" y="93345"/>
                    </a:lnTo>
                    <a:lnTo>
                      <a:pt x="327660" y="68580"/>
                    </a:lnTo>
                    <a:lnTo>
                      <a:pt x="336232" y="54292"/>
                    </a:lnTo>
                    <a:lnTo>
                      <a:pt x="327660" y="40005"/>
                    </a:lnTo>
                    <a:close/>
                    <a:moveTo>
                      <a:pt x="286703" y="78105"/>
                    </a:moveTo>
                    <a:lnTo>
                      <a:pt x="258127" y="78105"/>
                    </a:lnTo>
                    <a:lnTo>
                      <a:pt x="243840" y="53340"/>
                    </a:lnTo>
                    <a:lnTo>
                      <a:pt x="258127" y="28575"/>
                    </a:lnTo>
                    <a:lnTo>
                      <a:pt x="286703" y="28575"/>
                    </a:lnTo>
                    <a:lnTo>
                      <a:pt x="300990" y="53340"/>
                    </a:lnTo>
                    <a:lnTo>
                      <a:pt x="286703" y="78105"/>
                    </a:lnTo>
                    <a:close/>
                  </a:path>
                </a:pathLst>
              </a:custGeom>
              <a:solidFill>
                <a:schemeClr val="bg2"/>
              </a:solidFill>
              <a:ln w="0"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0443392A-D96A-B7CB-7B49-58FF77B01D8A}"/>
                  </a:ext>
                </a:extLst>
              </p:cNvPr>
              <p:cNvSpPr/>
              <p:nvPr/>
            </p:nvSpPr>
            <p:spPr>
              <a:xfrm>
                <a:off x="6358263" y="5178322"/>
                <a:ext cx="253364" cy="107632"/>
              </a:xfrm>
              <a:custGeom>
                <a:avLst/>
                <a:gdLst>
                  <a:gd name="connsiteX0" fmla="*/ 244792 w 253364"/>
                  <a:gd name="connsiteY0" fmla="*/ 39053 h 107632"/>
                  <a:gd name="connsiteX1" fmla="*/ 230505 w 253364"/>
                  <a:gd name="connsiteY1" fmla="*/ 14288 h 107632"/>
                  <a:gd name="connsiteX2" fmla="*/ 221933 w 253364"/>
                  <a:gd name="connsiteY2" fmla="*/ 0 h 107632"/>
                  <a:gd name="connsiteX3" fmla="*/ 159067 w 253364"/>
                  <a:gd name="connsiteY3" fmla="*/ 0 h 107632"/>
                  <a:gd name="connsiteX4" fmla="*/ 150495 w 253364"/>
                  <a:gd name="connsiteY4" fmla="*/ 14288 h 107632"/>
                  <a:gd name="connsiteX5" fmla="*/ 136208 w 253364"/>
                  <a:gd name="connsiteY5" fmla="*/ 39053 h 107632"/>
                  <a:gd name="connsiteX6" fmla="*/ 136208 w 253364"/>
                  <a:gd name="connsiteY6" fmla="*/ 39053 h 107632"/>
                  <a:gd name="connsiteX7" fmla="*/ 0 w 253364"/>
                  <a:gd name="connsiteY7" fmla="*/ 39053 h 107632"/>
                  <a:gd name="connsiteX8" fmla="*/ 0 w 253364"/>
                  <a:gd name="connsiteY8" fmla="*/ 68580 h 107632"/>
                  <a:gd name="connsiteX9" fmla="*/ 136208 w 253364"/>
                  <a:gd name="connsiteY9" fmla="*/ 68580 h 107632"/>
                  <a:gd name="connsiteX10" fmla="*/ 150495 w 253364"/>
                  <a:gd name="connsiteY10" fmla="*/ 93345 h 107632"/>
                  <a:gd name="connsiteX11" fmla="*/ 159067 w 253364"/>
                  <a:gd name="connsiteY11" fmla="*/ 107632 h 107632"/>
                  <a:gd name="connsiteX12" fmla="*/ 221933 w 253364"/>
                  <a:gd name="connsiteY12" fmla="*/ 107632 h 107632"/>
                  <a:gd name="connsiteX13" fmla="*/ 230505 w 253364"/>
                  <a:gd name="connsiteY13" fmla="*/ 93345 h 107632"/>
                  <a:gd name="connsiteX14" fmla="*/ 244792 w 253364"/>
                  <a:gd name="connsiteY14" fmla="*/ 68580 h 107632"/>
                  <a:gd name="connsiteX15" fmla="*/ 253365 w 253364"/>
                  <a:gd name="connsiteY15" fmla="*/ 54293 h 107632"/>
                  <a:gd name="connsiteX16" fmla="*/ 244792 w 253364"/>
                  <a:gd name="connsiteY16" fmla="*/ 40005 h 107632"/>
                  <a:gd name="connsiteX17" fmla="*/ 204788 w 253364"/>
                  <a:gd name="connsiteY17" fmla="*/ 78105 h 107632"/>
                  <a:gd name="connsiteX18" fmla="*/ 176213 w 253364"/>
                  <a:gd name="connsiteY18" fmla="*/ 78105 h 107632"/>
                  <a:gd name="connsiteX19" fmla="*/ 161925 w 253364"/>
                  <a:gd name="connsiteY19" fmla="*/ 53340 h 107632"/>
                  <a:gd name="connsiteX20" fmla="*/ 176213 w 253364"/>
                  <a:gd name="connsiteY20" fmla="*/ 28575 h 107632"/>
                  <a:gd name="connsiteX21" fmla="*/ 204788 w 253364"/>
                  <a:gd name="connsiteY21" fmla="*/ 28575 h 107632"/>
                  <a:gd name="connsiteX22" fmla="*/ 219075 w 253364"/>
                  <a:gd name="connsiteY22" fmla="*/ 53340 h 107632"/>
                  <a:gd name="connsiteX23" fmla="*/ 204788 w 253364"/>
                  <a:gd name="connsiteY23" fmla="*/ 78105 h 10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3364" h="107632">
                    <a:moveTo>
                      <a:pt x="244792" y="39053"/>
                    </a:moveTo>
                    <a:lnTo>
                      <a:pt x="230505" y="14288"/>
                    </a:lnTo>
                    <a:lnTo>
                      <a:pt x="221933" y="0"/>
                    </a:lnTo>
                    <a:lnTo>
                      <a:pt x="159067" y="0"/>
                    </a:lnTo>
                    <a:lnTo>
                      <a:pt x="150495" y="14288"/>
                    </a:lnTo>
                    <a:lnTo>
                      <a:pt x="136208" y="39053"/>
                    </a:lnTo>
                    <a:lnTo>
                      <a:pt x="136208" y="39053"/>
                    </a:lnTo>
                    <a:cubicBezTo>
                      <a:pt x="136208" y="39053"/>
                      <a:pt x="0" y="39053"/>
                      <a:pt x="0" y="39053"/>
                    </a:cubicBezTo>
                    <a:lnTo>
                      <a:pt x="0" y="68580"/>
                    </a:lnTo>
                    <a:lnTo>
                      <a:pt x="136208" y="68580"/>
                    </a:lnTo>
                    <a:lnTo>
                      <a:pt x="150495" y="93345"/>
                    </a:lnTo>
                    <a:lnTo>
                      <a:pt x="159067" y="107632"/>
                    </a:lnTo>
                    <a:lnTo>
                      <a:pt x="221933" y="107632"/>
                    </a:lnTo>
                    <a:lnTo>
                      <a:pt x="230505" y="93345"/>
                    </a:lnTo>
                    <a:lnTo>
                      <a:pt x="244792" y="68580"/>
                    </a:lnTo>
                    <a:lnTo>
                      <a:pt x="253365" y="54293"/>
                    </a:lnTo>
                    <a:lnTo>
                      <a:pt x="244792" y="40005"/>
                    </a:lnTo>
                    <a:close/>
                    <a:moveTo>
                      <a:pt x="204788" y="78105"/>
                    </a:moveTo>
                    <a:lnTo>
                      <a:pt x="176213" y="78105"/>
                    </a:lnTo>
                    <a:lnTo>
                      <a:pt x="161925" y="53340"/>
                    </a:lnTo>
                    <a:lnTo>
                      <a:pt x="176213" y="28575"/>
                    </a:lnTo>
                    <a:lnTo>
                      <a:pt x="204788" y="28575"/>
                    </a:lnTo>
                    <a:lnTo>
                      <a:pt x="219075" y="53340"/>
                    </a:lnTo>
                    <a:lnTo>
                      <a:pt x="204788" y="78105"/>
                    </a:lnTo>
                    <a:close/>
                  </a:path>
                </a:pathLst>
              </a:custGeom>
              <a:solidFill>
                <a:schemeClr val="bg2"/>
              </a:solidFill>
              <a:ln w="0" cap="flat">
                <a:noFill/>
                <a:prstDash val="solid"/>
                <a:miter/>
              </a:ln>
            </p:spPr>
            <p:txBody>
              <a:bodyPr rtlCol="0" anchor="ctr"/>
              <a:lstStyle/>
              <a:p>
                <a:endParaRPr lang="en-US" dirty="0"/>
              </a:p>
            </p:txBody>
          </p:sp>
        </p:grpSp>
      </p:grpSp>
      <p:sp>
        <p:nvSpPr>
          <p:cNvPr id="41" name="Rectangle 40">
            <a:extLst>
              <a:ext uri="{FF2B5EF4-FFF2-40B4-BE49-F238E27FC236}">
                <a16:creationId xmlns:a16="http://schemas.microsoft.com/office/drawing/2014/main" id="{0B46C939-6875-5F0C-B354-967850701218}"/>
              </a:ext>
            </a:extLst>
          </p:cNvPr>
          <p:cNvSpPr/>
          <p:nvPr/>
        </p:nvSpPr>
        <p:spPr>
          <a:xfrm>
            <a:off x="501015" y="2706203"/>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Intelligent Product Life Cycle</a:t>
            </a:r>
          </a:p>
        </p:txBody>
      </p:sp>
      <p:sp>
        <p:nvSpPr>
          <p:cNvPr id="42" name="Text Placeholder 81">
            <a:extLst>
              <a:ext uri="{FF2B5EF4-FFF2-40B4-BE49-F238E27FC236}">
                <a16:creationId xmlns:a16="http://schemas.microsoft.com/office/drawing/2014/main" id="{2724737C-E019-F1F4-5F9E-EC49E4E6126E}"/>
              </a:ext>
            </a:extLst>
          </p:cNvPr>
          <p:cNvSpPr txBox="1">
            <a:spLocks/>
          </p:cNvSpPr>
          <p:nvPr/>
        </p:nvSpPr>
        <p:spPr>
          <a:xfrm>
            <a:off x="8664769" y="3037913"/>
            <a:ext cx="1049972"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Automotive</a:t>
            </a:r>
          </a:p>
        </p:txBody>
      </p:sp>
      <p:sp>
        <p:nvSpPr>
          <p:cNvPr id="43" name="Text Placeholder 81">
            <a:extLst>
              <a:ext uri="{FF2B5EF4-FFF2-40B4-BE49-F238E27FC236}">
                <a16:creationId xmlns:a16="http://schemas.microsoft.com/office/drawing/2014/main" id="{B7A19FEB-4BA3-0207-3B80-DF2ADA55ADE7}"/>
              </a:ext>
            </a:extLst>
          </p:cNvPr>
          <p:cNvSpPr txBox="1">
            <a:spLocks/>
          </p:cNvSpPr>
          <p:nvPr/>
        </p:nvSpPr>
        <p:spPr>
          <a:xfrm>
            <a:off x="7410202" y="3037913"/>
            <a:ext cx="1049972"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MedTech</a:t>
            </a:r>
          </a:p>
        </p:txBody>
      </p:sp>
      <p:sp>
        <p:nvSpPr>
          <p:cNvPr id="44" name="Text Placeholder 81">
            <a:extLst>
              <a:ext uri="{FF2B5EF4-FFF2-40B4-BE49-F238E27FC236}">
                <a16:creationId xmlns:a16="http://schemas.microsoft.com/office/drawing/2014/main" id="{2C029A5F-3FC0-3191-6609-EF4943F6D8D2}"/>
              </a:ext>
            </a:extLst>
          </p:cNvPr>
          <p:cNvSpPr txBox="1">
            <a:spLocks/>
          </p:cNvSpPr>
          <p:nvPr/>
        </p:nvSpPr>
        <p:spPr>
          <a:xfrm>
            <a:off x="4305120" y="3037913"/>
            <a:ext cx="1049972"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FA&amp;D</a:t>
            </a:r>
          </a:p>
        </p:txBody>
      </p:sp>
      <p:sp>
        <p:nvSpPr>
          <p:cNvPr id="45" name="Text Placeholder 81">
            <a:extLst>
              <a:ext uri="{FF2B5EF4-FFF2-40B4-BE49-F238E27FC236}">
                <a16:creationId xmlns:a16="http://schemas.microsoft.com/office/drawing/2014/main" id="{5B779E17-616F-E5A6-9B2A-9B836932AE6A}"/>
              </a:ext>
            </a:extLst>
          </p:cNvPr>
          <p:cNvSpPr txBox="1">
            <a:spLocks/>
          </p:cNvSpPr>
          <p:nvPr/>
        </p:nvSpPr>
        <p:spPr>
          <a:xfrm>
            <a:off x="1997405" y="3041376"/>
            <a:ext cx="210312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Industrial</a:t>
            </a:r>
          </a:p>
        </p:txBody>
      </p:sp>
      <p:sp>
        <p:nvSpPr>
          <p:cNvPr id="48" name="Text Placeholder 81">
            <a:extLst>
              <a:ext uri="{FF2B5EF4-FFF2-40B4-BE49-F238E27FC236}">
                <a16:creationId xmlns:a16="http://schemas.microsoft.com/office/drawing/2014/main" id="{D891EC98-B0B9-E59A-F008-9914D740D6A4}"/>
              </a:ext>
            </a:extLst>
          </p:cNvPr>
          <p:cNvSpPr txBox="1">
            <a:spLocks/>
          </p:cNvSpPr>
          <p:nvPr/>
        </p:nvSpPr>
        <p:spPr>
          <a:xfrm>
            <a:off x="5559687" y="3037473"/>
            <a:ext cx="1645920" cy="14630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Electronics &amp; High Tech</a:t>
            </a:r>
          </a:p>
        </p:txBody>
      </p:sp>
      <p:sp>
        <p:nvSpPr>
          <p:cNvPr id="49" name="Text Placeholder 81">
            <a:extLst>
              <a:ext uri="{FF2B5EF4-FFF2-40B4-BE49-F238E27FC236}">
                <a16:creationId xmlns:a16="http://schemas.microsoft.com/office/drawing/2014/main" id="{7FB0B75A-6418-4183-3944-21747B7AB256}"/>
              </a:ext>
            </a:extLst>
          </p:cNvPr>
          <p:cNvSpPr txBox="1">
            <a:spLocks/>
          </p:cNvSpPr>
          <p:nvPr/>
        </p:nvSpPr>
        <p:spPr>
          <a:xfrm>
            <a:off x="9919335" y="3037913"/>
            <a:ext cx="1828800"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Energy</a:t>
            </a:r>
          </a:p>
        </p:txBody>
      </p:sp>
      <p:sp>
        <p:nvSpPr>
          <p:cNvPr id="50" name="Text Placeholder 81">
            <a:extLst>
              <a:ext uri="{FF2B5EF4-FFF2-40B4-BE49-F238E27FC236}">
                <a16:creationId xmlns:a16="http://schemas.microsoft.com/office/drawing/2014/main" id="{BA4CC562-E935-7BBC-870C-6B5B20549CD0}"/>
              </a:ext>
            </a:extLst>
          </p:cNvPr>
          <p:cNvSpPr txBox="1">
            <a:spLocks/>
          </p:cNvSpPr>
          <p:nvPr/>
        </p:nvSpPr>
        <p:spPr>
          <a:xfrm>
            <a:off x="512650" y="3037473"/>
            <a:ext cx="1280160" cy="14630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Product (General)</a:t>
            </a:r>
          </a:p>
        </p:txBody>
      </p:sp>
      <p:grpSp>
        <p:nvGrpSpPr>
          <p:cNvPr id="51" name="Group 50">
            <a:extLst>
              <a:ext uri="{FF2B5EF4-FFF2-40B4-BE49-F238E27FC236}">
                <a16:creationId xmlns:a16="http://schemas.microsoft.com/office/drawing/2014/main" id="{ABA7164C-2B7E-4D63-D4E3-54826DD93153}"/>
              </a:ext>
            </a:extLst>
          </p:cNvPr>
          <p:cNvGrpSpPr/>
          <p:nvPr/>
        </p:nvGrpSpPr>
        <p:grpSpPr>
          <a:xfrm>
            <a:off x="8899338" y="3232714"/>
            <a:ext cx="628433" cy="658368"/>
            <a:chOff x="8899338" y="3700309"/>
            <a:chExt cx="628433" cy="658368"/>
          </a:xfrm>
        </p:grpSpPr>
        <p:sp>
          <p:nvSpPr>
            <p:cNvPr id="52" name="Freeform: Shape 51">
              <a:extLst>
                <a:ext uri="{FF2B5EF4-FFF2-40B4-BE49-F238E27FC236}">
                  <a16:creationId xmlns:a16="http://schemas.microsoft.com/office/drawing/2014/main" id="{57268698-87C3-CF39-94C2-07FD000D56EF}"/>
                </a:ext>
              </a:extLst>
            </p:cNvPr>
            <p:cNvSpPr>
              <a:spLocks noChangeAspect="1"/>
            </p:cNvSpPr>
            <p:nvPr/>
          </p:nvSpPr>
          <p:spPr>
            <a:xfrm>
              <a:off x="8989029" y="3942944"/>
              <a:ext cx="236309" cy="177760"/>
            </a:xfrm>
            <a:custGeom>
              <a:avLst/>
              <a:gdLst>
                <a:gd name="connsiteX0" fmla="*/ 2667 w 181070"/>
                <a:gd name="connsiteY0" fmla="*/ 101917 h 136207"/>
                <a:gd name="connsiteX1" fmla="*/ 0 w 181070"/>
                <a:gd name="connsiteY1" fmla="*/ 104585 h 136207"/>
                <a:gd name="connsiteX2" fmla="*/ 0 w 181070"/>
                <a:gd name="connsiteY2" fmla="*/ 114205 h 136207"/>
                <a:gd name="connsiteX3" fmla="*/ 2667 w 181070"/>
                <a:gd name="connsiteY3" fmla="*/ 116872 h 136207"/>
                <a:gd name="connsiteX4" fmla="*/ 9716 w 181070"/>
                <a:gd name="connsiteY4" fmla="*/ 116872 h 136207"/>
                <a:gd name="connsiteX5" fmla="*/ 9620 w 181070"/>
                <a:gd name="connsiteY5" fmla="*/ 117538 h 136207"/>
                <a:gd name="connsiteX6" fmla="*/ 9620 w 181070"/>
                <a:gd name="connsiteY6" fmla="*/ 129540 h 136207"/>
                <a:gd name="connsiteX7" fmla="*/ 16288 w 181070"/>
                <a:gd name="connsiteY7" fmla="*/ 136208 h 136207"/>
                <a:gd name="connsiteX8" fmla="*/ 29147 w 181070"/>
                <a:gd name="connsiteY8" fmla="*/ 136208 h 136207"/>
                <a:gd name="connsiteX9" fmla="*/ 35814 w 181070"/>
                <a:gd name="connsiteY9" fmla="*/ 129540 h 136207"/>
                <a:gd name="connsiteX10" fmla="*/ 35814 w 181070"/>
                <a:gd name="connsiteY10" fmla="*/ 117538 h 136207"/>
                <a:gd name="connsiteX11" fmla="*/ 35719 w 181070"/>
                <a:gd name="connsiteY11" fmla="*/ 116872 h 136207"/>
                <a:gd name="connsiteX12" fmla="*/ 145066 w 181070"/>
                <a:gd name="connsiteY12" fmla="*/ 116872 h 136207"/>
                <a:gd name="connsiteX13" fmla="*/ 144971 w 181070"/>
                <a:gd name="connsiteY13" fmla="*/ 117538 h 136207"/>
                <a:gd name="connsiteX14" fmla="*/ 144971 w 181070"/>
                <a:gd name="connsiteY14" fmla="*/ 129540 h 136207"/>
                <a:gd name="connsiteX15" fmla="*/ 151638 w 181070"/>
                <a:gd name="connsiteY15" fmla="*/ 136208 h 136207"/>
                <a:gd name="connsiteX16" fmla="*/ 164497 w 181070"/>
                <a:gd name="connsiteY16" fmla="*/ 136208 h 136207"/>
                <a:gd name="connsiteX17" fmla="*/ 171164 w 181070"/>
                <a:gd name="connsiteY17" fmla="*/ 129540 h 136207"/>
                <a:gd name="connsiteX18" fmla="*/ 171164 w 181070"/>
                <a:gd name="connsiteY18" fmla="*/ 117538 h 136207"/>
                <a:gd name="connsiteX19" fmla="*/ 171069 w 181070"/>
                <a:gd name="connsiteY19" fmla="*/ 116872 h 136207"/>
                <a:gd name="connsiteX20" fmla="*/ 178403 w 181070"/>
                <a:gd name="connsiteY20" fmla="*/ 116872 h 136207"/>
                <a:gd name="connsiteX21" fmla="*/ 181070 w 181070"/>
                <a:gd name="connsiteY21" fmla="*/ 114205 h 136207"/>
                <a:gd name="connsiteX22" fmla="*/ 181070 w 181070"/>
                <a:gd name="connsiteY22" fmla="*/ 104585 h 136207"/>
                <a:gd name="connsiteX23" fmla="*/ 178403 w 181070"/>
                <a:gd name="connsiteY23" fmla="*/ 101917 h 136207"/>
                <a:gd name="connsiteX24" fmla="*/ 178022 w 181070"/>
                <a:gd name="connsiteY24" fmla="*/ 101917 h 136207"/>
                <a:gd name="connsiteX25" fmla="*/ 178022 w 181070"/>
                <a:gd name="connsiteY25" fmla="*/ 78772 h 136207"/>
                <a:gd name="connsiteX26" fmla="*/ 174212 w 181070"/>
                <a:gd name="connsiteY26" fmla="*/ 66104 h 136207"/>
                <a:gd name="connsiteX27" fmla="*/ 169450 w 181070"/>
                <a:gd name="connsiteY27" fmla="*/ 60865 h 136207"/>
                <a:gd name="connsiteX28" fmla="*/ 180785 w 181070"/>
                <a:gd name="connsiteY28" fmla="*/ 53150 h 136207"/>
                <a:gd name="connsiteX29" fmla="*/ 164592 w 181070"/>
                <a:gd name="connsiteY29" fmla="*/ 41815 h 136207"/>
                <a:gd name="connsiteX30" fmla="*/ 161354 w 181070"/>
                <a:gd name="connsiteY30" fmla="*/ 46387 h 136207"/>
                <a:gd name="connsiteX31" fmla="*/ 145637 w 181070"/>
                <a:gd name="connsiteY31" fmla="*/ 7906 h 136207"/>
                <a:gd name="connsiteX32" fmla="*/ 135446 w 181070"/>
                <a:gd name="connsiteY32" fmla="*/ 0 h 136207"/>
                <a:gd name="connsiteX33" fmla="*/ 45244 w 181070"/>
                <a:gd name="connsiteY33" fmla="*/ 0 h 136207"/>
                <a:gd name="connsiteX34" fmla="*/ 35052 w 181070"/>
                <a:gd name="connsiteY34" fmla="*/ 7906 h 136207"/>
                <a:gd name="connsiteX35" fmla="*/ 19622 w 181070"/>
                <a:gd name="connsiteY35" fmla="*/ 45720 h 136207"/>
                <a:gd name="connsiteX36" fmla="*/ 16478 w 181070"/>
                <a:gd name="connsiteY36" fmla="*/ 41815 h 136207"/>
                <a:gd name="connsiteX37" fmla="*/ 286 w 181070"/>
                <a:gd name="connsiteY37" fmla="*/ 53150 h 136207"/>
                <a:gd name="connsiteX38" fmla="*/ 11144 w 181070"/>
                <a:gd name="connsiteY38" fmla="*/ 60960 h 136207"/>
                <a:gd name="connsiteX39" fmla="*/ 6477 w 181070"/>
                <a:gd name="connsiteY39" fmla="*/ 66104 h 136207"/>
                <a:gd name="connsiteX40" fmla="*/ 2667 w 181070"/>
                <a:gd name="connsiteY40" fmla="*/ 78772 h 136207"/>
                <a:gd name="connsiteX41" fmla="*/ 2667 w 181070"/>
                <a:gd name="connsiteY41" fmla="*/ 101917 h 136207"/>
                <a:gd name="connsiteX42" fmla="*/ 2667 w 181070"/>
                <a:gd name="connsiteY42" fmla="*/ 101917 h 136207"/>
                <a:gd name="connsiteX43" fmla="*/ 148400 w 181070"/>
                <a:gd name="connsiteY43" fmla="*/ 74866 h 136207"/>
                <a:gd name="connsiteX44" fmla="*/ 159734 w 181070"/>
                <a:gd name="connsiteY44" fmla="*/ 86201 h 136207"/>
                <a:gd name="connsiteX45" fmla="*/ 148400 w 181070"/>
                <a:gd name="connsiteY45" fmla="*/ 97536 h 136207"/>
                <a:gd name="connsiteX46" fmla="*/ 137065 w 181070"/>
                <a:gd name="connsiteY46" fmla="*/ 86201 h 136207"/>
                <a:gd name="connsiteX47" fmla="*/ 148400 w 181070"/>
                <a:gd name="connsiteY47" fmla="*/ 74866 h 136207"/>
                <a:gd name="connsiteX48" fmla="*/ 51245 w 181070"/>
                <a:gd name="connsiteY48" fmla="*/ 30480 h 136207"/>
                <a:gd name="connsiteX49" fmla="*/ 58198 w 181070"/>
                <a:gd name="connsiteY49" fmla="*/ 24765 h 136207"/>
                <a:gd name="connsiteX50" fmla="*/ 122968 w 181070"/>
                <a:gd name="connsiteY50" fmla="*/ 24765 h 136207"/>
                <a:gd name="connsiteX51" fmla="*/ 129921 w 181070"/>
                <a:gd name="connsiteY51" fmla="*/ 30480 h 136207"/>
                <a:gd name="connsiteX52" fmla="*/ 138684 w 181070"/>
                <a:gd name="connsiteY52" fmla="*/ 53626 h 136207"/>
                <a:gd name="connsiteX53" fmla="*/ 42291 w 181070"/>
                <a:gd name="connsiteY53" fmla="*/ 53626 h 136207"/>
                <a:gd name="connsiteX54" fmla="*/ 51149 w 181070"/>
                <a:gd name="connsiteY54" fmla="*/ 30480 h 136207"/>
                <a:gd name="connsiteX55" fmla="*/ 32385 w 181070"/>
                <a:gd name="connsiteY55" fmla="*/ 74866 h 136207"/>
                <a:gd name="connsiteX56" fmla="*/ 43720 w 181070"/>
                <a:gd name="connsiteY56" fmla="*/ 86201 h 136207"/>
                <a:gd name="connsiteX57" fmla="*/ 32385 w 181070"/>
                <a:gd name="connsiteY57" fmla="*/ 97536 h 136207"/>
                <a:gd name="connsiteX58" fmla="*/ 21050 w 181070"/>
                <a:gd name="connsiteY58" fmla="*/ 86201 h 136207"/>
                <a:gd name="connsiteX59" fmla="*/ 32385 w 181070"/>
                <a:gd name="connsiteY59" fmla="*/ 74866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81070" h="136207">
                  <a:moveTo>
                    <a:pt x="2667" y="101917"/>
                  </a:moveTo>
                  <a:cubicBezTo>
                    <a:pt x="1238" y="101917"/>
                    <a:pt x="0" y="103156"/>
                    <a:pt x="0" y="104585"/>
                  </a:cubicBezTo>
                  <a:lnTo>
                    <a:pt x="0" y="114205"/>
                  </a:lnTo>
                  <a:cubicBezTo>
                    <a:pt x="0" y="115634"/>
                    <a:pt x="1238" y="116872"/>
                    <a:pt x="2667" y="116872"/>
                  </a:cubicBezTo>
                  <a:lnTo>
                    <a:pt x="9716" y="116872"/>
                  </a:lnTo>
                  <a:cubicBezTo>
                    <a:pt x="9716" y="116872"/>
                    <a:pt x="9620" y="117348"/>
                    <a:pt x="9620" y="117538"/>
                  </a:cubicBezTo>
                  <a:lnTo>
                    <a:pt x="9620" y="129540"/>
                  </a:lnTo>
                  <a:cubicBezTo>
                    <a:pt x="9620" y="133255"/>
                    <a:pt x="12668" y="136208"/>
                    <a:pt x="16288" y="136208"/>
                  </a:cubicBezTo>
                  <a:lnTo>
                    <a:pt x="29147" y="136208"/>
                  </a:lnTo>
                  <a:cubicBezTo>
                    <a:pt x="32861" y="136208"/>
                    <a:pt x="35814" y="133160"/>
                    <a:pt x="35814" y="129540"/>
                  </a:cubicBezTo>
                  <a:lnTo>
                    <a:pt x="35814" y="117538"/>
                  </a:lnTo>
                  <a:cubicBezTo>
                    <a:pt x="35814" y="117538"/>
                    <a:pt x="35719" y="117062"/>
                    <a:pt x="35719" y="116872"/>
                  </a:cubicBezTo>
                  <a:lnTo>
                    <a:pt x="145066" y="116872"/>
                  </a:lnTo>
                  <a:cubicBezTo>
                    <a:pt x="145066" y="116872"/>
                    <a:pt x="144971" y="117348"/>
                    <a:pt x="144971" y="117538"/>
                  </a:cubicBezTo>
                  <a:lnTo>
                    <a:pt x="144971" y="129540"/>
                  </a:lnTo>
                  <a:cubicBezTo>
                    <a:pt x="144971" y="133255"/>
                    <a:pt x="148019" y="136208"/>
                    <a:pt x="151638" y="136208"/>
                  </a:cubicBezTo>
                  <a:lnTo>
                    <a:pt x="164497" y="136208"/>
                  </a:lnTo>
                  <a:cubicBezTo>
                    <a:pt x="168212" y="136208"/>
                    <a:pt x="171164" y="133160"/>
                    <a:pt x="171164" y="129540"/>
                  </a:cubicBezTo>
                  <a:lnTo>
                    <a:pt x="171164" y="117538"/>
                  </a:lnTo>
                  <a:cubicBezTo>
                    <a:pt x="171164" y="117538"/>
                    <a:pt x="171069" y="117062"/>
                    <a:pt x="171069" y="116872"/>
                  </a:cubicBezTo>
                  <a:lnTo>
                    <a:pt x="178403" y="116872"/>
                  </a:lnTo>
                  <a:cubicBezTo>
                    <a:pt x="179832" y="116872"/>
                    <a:pt x="181070" y="115634"/>
                    <a:pt x="181070" y="114205"/>
                  </a:cubicBezTo>
                  <a:lnTo>
                    <a:pt x="181070" y="104585"/>
                  </a:lnTo>
                  <a:cubicBezTo>
                    <a:pt x="181070" y="103156"/>
                    <a:pt x="179832" y="101917"/>
                    <a:pt x="178403" y="101917"/>
                  </a:cubicBezTo>
                  <a:lnTo>
                    <a:pt x="178022" y="101917"/>
                  </a:lnTo>
                  <a:lnTo>
                    <a:pt x="178022" y="78772"/>
                  </a:lnTo>
                  <a:cubicBezTo>
                    <a:pt x="178022" y="78772"/>
                    <a:pt x="179832" y="69913"/>
                    <a:pt x="174212" y="66104"/>
                  </a:cubicBezTo>
                  <a:cubicBezTo>
                    <a:pt x="172784" y="65151"/>
                    <a:pt x="171164" y="63246"/>
                    <a:pt x="169450" y="60865"/>
                  </a:cubicBezTo>
                  <a:cubicBezTo>
                    <a:pt x="171926" y="61436"/>
                    <a:pt x="180308" y="62675"/>
                    <a:pt x="180785" y="53150"/>
                  </a:cubicBezTo>
                  <a:cubicBezTo>
                    <a:pt x="181166" y="44767"/>
                    <a:pt x="169164" y="39624"/>
                    <a:pt x="164592" y="41815"/>
                  </a:cubicBezTo>
                  <a:cubicBezTo>
                    <a:pt x="162211" y="42958"/>
                    <a:pt x="161544" y="44767"/>
                    <a:pt x="161354" y="46387"/>
                  </a:cubicBezTo>
                  <a:cubicBezTo>
                    <a:pt x="153162" y="29337"/>
                    <a:pt x="145637" y="7906"/>
                    <a:pt x="145637" y="7906"/>
                  </a:cubicBezTo>
                  <a:cubicBezTo>
                    <a:pt x="145637" y="7906"/>
                    <a:pt x="143447" y="0"/>
                    <a:pt x="135446" y="0"/>
                  </a:cubicBezTo>
                  <a:lnTo>
                    <a:pt x="45244" y="0"/>
                  </a:lnTo>
                  <a:cubicBezTo>
                    <a:pt x="37338" y="0"/>
                    <a:pt x="35052" y="7906"/>
                    <a:pt x="35052" y="7906"/>
                  </a:cubicBezTo>
                  <a:cubicBezTo>
                    <a:pt x="35052" y="7906"/>
                    <a:pt x="27718" y="28766"/>
                    <a:pt x="19622" y="45720"/>
                  </a:cubicBezTo>
                  <a:cubicBezTo>
                    <a:pt x="19336" y="44291"/>
                    <a:pt x="18479" y="42767"/>
                    <a:pt x="16478" y="41815"/>
                  </a:cubicBezTo>
                  <a:cubicBezTo>
                    <a:pt x="11906" y="39624"/>
                    <a:pt x="-95" y="44672"/>
                    <a:pt x="286" y="53150"/>
                  </a:cubicBezTo>
                  <a:cubicBezTo>
                    <a:pt x="667" y="62198"/>
                    <a:pt x="8287" y="61531"/>
                    <a:pt x="11144" y="60960"/>
                  </a:cubicBezTo>
                  <a:cubicBezTo>
                    <a:pt x="9525" y="63246"/>
                    <a:pt x="7906" y="65056"/>
                    <a:pt x="6477" y="66104"/>
                  </a:cubicBezTo>
                  <a:cubicBezTo>
                    <a:pt x="857" y="69913"/>
                    <a:pt x="2667" y="78772"/>
                    <a:pt x="2667" y="78772"/>
                  </a:cubicBezTo>
                  <a:lnTo>
                    <a:pt x="2667" y="101917"/>
                  </a:lnTo>
                  <a:lnTo>
                    <a:pt x="2667" y="101917"/>
                  </a:lnTo>
                  <a:close/>
                  <a:moveTo>
                    <a:pt x="148400" y="74866"/>
                  </a:moveTo>
                  <a:cubicBezTo>
                    <a:pt x="154686" y="74866"/>
                    <a:pt x="159734" y="79915"/>
                    <a:pt x="159734" y="86201"/>
                  </a:cubicBezTo>
                  <a:cubicBezTo>
                    <a:pt x="159734" y="92488"/>
                    <a:pt x="154686" y="97536"/>
                    <a:pt x="148400" y="97536"/>
                  </a:cubicBezTo>
                  <a:cubicBezTo>
                    <a:pt x="142113" y="97536"/>
                    <a:pt x="137065" y="92488"/>
                    <a:pt x="137065" y="86201"/>
                  </a:cubicBezTo>
                  <a:cubicBezTo>
                    <a:pt x="137065" y="79915"/>
                    <a:pt x="142113" y="74866"/>
                    <a:pt x="148400" y="74866"/>
                  </a:cubicBezTo>
                  <a:close/>
                  <a:moveTo>
                    <a:pt x="51245" y="30480"/>
                  </a:moveTo>
                  <a:cubicBezTo>
                    <a:pt x="51245" y="30480"/>
                    <a:pt x="52769" y="24765"/>
                    <a:pt x="58198" y="24765"/>
                  </a:cubicBezTo>
                  <a:lnTo>
                    <a:pt x="122968" y="24765"/>
                  </a:lnTo>
                  <a:cubicBezTo>
                    <a:pt x="128397" y="24765"/>
                    <a:pt x="129921" y="30480"/>
                    <a:pt x="129921" y="30480"/>
                  </a:cubicBezTo>
                  <a:cubicBezTo>
                    <a:pt x="129921" y="30480"/>
                    <a:pt x="133922" y="42386"/>
                    <a:pt x="138684" y="53626"/>
                  </a:cubicBezTo>
                  <a:lnTo>
                    <a:pt x="42291" y="53626"/>
                  </a:lnTo>
                  <a:cubicBezTo>
                    <a:pt x="47149" y="42577"/>
                    <a:pt x="51149" y="30480"/>
                    <a:pt x="51149" y="30480"/>
                  </a:cubicBezTo>
                  <a:close/>
                  <a:moveTo>
                    <a:pt x="32385" y="74866"/>
                  </a:moveTo>
                  <a:cubicBezTo>
                    <a:pt x="38672" y="74866"/>
                    <a:pt x="43720" y="79915"/>
                    <a:pt x="43720" y="86201"/>
                  </a:cubicBezTo>
                  <a:cubicBezTo>
                    <a:pt x="43720" y="92488"/>
                    <a:pt x="38672" y="97536"/>
                    <a:pt x="32385" y="97536"/>
                  </a:cubicBezTo>
                  <a:cubicBezTo>
                    <a:pt x="26099" y="97536"/>
                    <a:pt x="21050" y="92488"/>
                    <a:pt x="21050" y="86201"/>
                  </a:cubicBezTo>
                  <a:cubicBezTo>
                    <a:pt x="21050" y="79915"/>
                    <a:pt x="26099" y="74866"/>
                    <a:pt x="32385" y="74866"/>
                  </a:cubicBezTo>
                  <a:close/>
                </a:path>
              </a:pathLst>
            </a:custGeom>
            <a:solidFill>
              <a:srgbClr val="3D4647"/>
            </a:solidFill>
            <a:ln w="9525"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C41ECDCB-AC56-71C0-502D-70AB2C1C2AC2}"/>
                </a:ext>
              </a:extLst>
            </p:cNvPr>
            <p:cNvSpPr/>
            <p:nvPr/>
          </p:nvSpPr>
          <p:spPr>
            <a:xfrm>
              <a:off x="8912299" y="3700309"/>
              <a:ext cx="366114" cy="355108"/>
            </a:xfrm>
            <a:custGeom>
              <a:avLst/>
              <a:gdLst>
                <a:gd name="connsiteX0" fmla="*/ 338614 w 338994"/>
                <a:gd name="connsiteY0" fmla="*/ 73057 h 328803"/>
                <a:gd name="connsiteX1" fmla="*/ 282988 w 338994"/>
                <a:gd name="connsiteY1" fmla="*/ 0 h 328803"/>
                <a:gd name="connsiteX2" fmla="*/ 276130 w 338994"/>
                <a:gd name="connsiteY2" fmla="*/ 50387 h 328803"/>
                <a:gd name="connsiteX3" fmla="*/ 113348 w 338994"/>
                <a:gd name="connsiteY3" fmla="*/ 105347 h 328803"/>
                <a:gd name="connsiteX4" fmla="*/ 3048 w 338994"/>
                <a:gd name="connsiteY4" fmla="*/ 288893 h 328803"/>
                <a:gd name="connsiteX5" fmla="*/ 0 w 338994"/>
                <a:gd name="connsiteY5" fmla="*/ 328613 h 328803"/>
                <a:gd name="connsiteX6" fmla="*/ 31528 w 338994"/>
                <a:gd name="connsiteY6" fmla="*/ 328803 h 328803"/>
                <a:gd name="connsiteX7" fmla="*/ 34290 w 338994"/>
                <a:gd name="connsiteY7" fmla="*/ 293465 h 328803"/>
                <a:gd name="connsiteX8" fmla="*/ 132207 w 338994"/>
                <a:gd name="connsiteY8" fmla="*/ 130588 h 328803"/>
                <a:gd name="connsiteX9" fmla="*/ 272034 w 338994"/>
                <a:gd name="connsiteY9" fmla="*/ 81915 h 328803"/>
                <a:gd name="connsiteX10" fmla="*/ 265748 w 338994"/>
                <a:gd name="connsiteY10" fmla="*/ 128588 h 328803"/>
                <a:gd name="connsiteX11" fmla="*/ 338995 w 338994"/>
                <a:gd name="connsiteY11" fmla="*/ 73057 h 328803"/>
                <a:gd name="connsiteX12" fmla="*/ 338804 w 338994"/>
                <a:gd name="connsiteY12" fmla="*/ 73057 h 32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8994" h="328803">
                  <a:moveTo>
                    <a:pt x="338614" y="73057"/>
                  </a:moveTo>
                  <a:lnTo>
                    <a:pt x="282988" y="0"/>
                  </a:lnTo>
                  <a:lnTo>
                    <a:pt x="276130" y="50387"/>
                  </a:lnTo>
                  <a:cubicBezTo>
                    <a:pt x="217742" y="51054"/>
                    <a:pt x="161068" y="69914"/>
                    <a:pt x="113348" y="105347"/>
                  </a:cubicBezTo>
                  <a:cubicBezTo>
                    <a:pt x="53245" y="149828"/>
                    <a:pt x="14097" y="214979"/>
                    <a:pt x="3048" y="288893"/>
                  </a:cubicBezTo>
                  <a:cubicBezTo>
                    <a:pt x="1048" y="302133"/>
                    <a:pt x="0" y="315468"/>
                    <a:pt x="0" y="328613"/>
                  </a:cubicBezTo>
                  <a:lnTo>
                    <a:pt x="31528" y="328803"/>
                  </a:lnTo>
                  <a:cubicBezTo>
                    <a:pt x="31528" y="317087"/>
                    <a:pt x="32480" y="305181"/>
                    <a:pt x="34290" y="293465"/>
                  </a:cubicBezTo>
                  <a:cubicBezTo>
                    <a:pt x="44101" y="227933"/>
                    <a:pt x="78867" y="170021"/>
                    <a:pt x="132207" y="130588"/>
                  </a:cubicBezTo>
                  <a:cubicBezTo>
                    <a:pt x="173355" y="100203"/>
                    <a:pt x="221837" y="83534"/>
                    <a:pt x="272034" y="81915"/>
                  </a:cubicBezTo>
                  <a:lnTo>
                    <a:pt x="265748" y="128588"/>
                  </a:lnTo>
                  <a:lnTo>
                    <a:pt x="338995" y="73057"/>
                  </a:lnTo>
                  <a:lnTo>
                    <a:pt x="338804" y="73057"/>
                  </a:lnTo>
                  <a:close/>
                </a:path>
              </a:pathLst>
            </a:custGeom>
            <a:solidFill>
              <a:srgbClr val="3D4647"/>
            </a:solidFill>
            <a:ln w="9525"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74555330-2FD3-2DE3-CF0F-EC08F38E68DB}"/>
                </a:ext>
              </a:extLst>
            </p:cNvPr>
            <p:cNvSpPr/>
            <p:nvPr/>
          </p:nvSpPr>
          <p:spPr>
            <a:xfrm>
              <a:off x="9345486" y="3792995"/>
              <a:ext cx="182285" cy="461269"/>
            </a:xfrm>
            <a:custGeom>
              <a:avLst/>
              <a:gdLst>
                <a:gd name="connsiteX0" fmla="*/ 123349 w 168782"/>
                <a:gd name="connsiteY0" fmla="*/ 380429 h 427100"/>
                <a:gd name="connsiteX1" fmla="*/ 155924 w 168782"/>
                <a:gd name="connsiteY1" fmla="*/ 285369 h 427100"/>
                <a:gd name="connsiteX2" fmla="*/ 15335 w 168782"/>
                <a:gd name="connsiteY2" fmla="*/ 0 h 427100"/>
                <a:gd name="connsiteX3" fmla="*/ 0 w 168782"/>
                <a:gd name="connsiteY3" fmla="*/ 27432 h 427100"/>
                <a:gd name="connsiteX4" fmla="*/ 124682 w 168782"/>
                <a:gd name="connsiteY4" fmla="*/ 280797 h 427100"/>
                <a:gd name="connsiteX5" fmla="*/ 98965 w 168782"/>
                <a:gd name="connsiteY5" fmla="*/ 359569 h 427100"/>
                <a:gd name="connsiteX6" fmla="*/ 58865 w 168782"/>
                <a:gd name="connsiteY6" fmla="*/ 325088 h 427100"/>
                <a:gd name="connsiteX7" fmla="*/ 66580 w 168782"/>
                <a:gd name="connsiteY7" fmla="*/ 427101 h 427100"/>
                <a:gd name="connsiteX8" fmla="*/ 168783 w 168782"/>
                <a:gd name="connsiteY8" fmla="*/ 419481 h 427100"/>
                <a:gd name="connsiteX9" fmla="*/ 123444 w 168782"/>
                <a:gd name="connsiteY9" fmla="*/ 380524 h 427100"/>
                <a:gd name="connsiteX10" fmla="*/ 123444 w 168782"/>
                <a:gd name="connsiteY10" fmla="*/ 380524 h 4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782" h="427100">
                  <a:moveTo>
                    <a:pt x="123349" y="380429"/>
                  </a:moveTo>
                  <a:cubicBezTo>
                    <a:pt x="139732" y="351092"/>
                    <a:pt x="150876" y="318992"/>
                    <a:pt x="155924" y="285369"/>
                  </a:cubicBezTo>
                  <a:cubicBezTo>
                    <a:pt x="172974" y="170974"/>
                    <a:pt x="116491" y="56293"/>
                    <a:pt x="15335" y="0"/>
                  </a:cubicBezTo>
                  <a:lnTo>
                    <a:pt x="0" y="27432"/>
                  </a:lnTo>
                  <a:cubicBezTo>
                    <a:pt x="89725" y="77438"/>
                    <a:pt x="139922" y="179261"/>
                    <a:pt x="124682" y="280797"/>
                  </a:cubicBezTo>
                  <a:cubicBezTo>
                    <a:pt x="120587" y="308515"/>
                    <a:pt x="111728" y="335090"/>
                    <a:pt x="98965" y="359569"/>
                  </a:cubicBezTo>
                  <a:lnTo>
                    <a:pt x="58865" y="325088"/>
                  </a:lnTo>
                  <a:lnTo>
                    <a:pt x="66580" y="427101"/>
                  </a:lnTo>
                  <a:lnTo>
                    <a:pt x="168783" y="419481"/>
                  </a:lnTo>
                  <a:lnTo>
                    <a:pt x="123444" y="380524"/>
                  </a:lnTo>
                  <a:lnTo>
                    <a:pt x="123444" y="380524"/>
                  </a:lnTo>
                  <a:close/>
                </a:path>
              </a:pathLst>
            </a:custGeom>
            <a:solidFill>
              <a:srgbClr val="3D4647"/>
            </a:solidFill>
            <a:ln w="9525"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1179F3A8-CCF7-2F87-E5A1-7DB260B221E4}"/>
                </a:ext>
              </a:extLst>
            </p:cNvPr>
            <p:cNvSpPr/>
            <p:nvPr/>
          </p:nvSpPr>
          <p:spPr>
            <a:xfrm>
              <a:off x="8899338" y="4135654"/>
              <a:ext cx="473202" cy="223023"/>
            </a:xfrm>
            <a:custGeom>
              <a:avLst/>
              <a:gdLst>
                <a:gd name="connsiteX0" fmla="*/ 421672 w 438149"/>
                <a:gd name="connsiteY0" fmla="*/ 138589 h 206502"/>
                <a:gd name="connsiteX1" fmla="*/ 255270 w 438149"/>
                <a:gd name="connsiteY1" fmla="*/ 172307 h 206502"/>
                <a:gd name="connsiteX2" fmla="*/ 80201 w 438149"/>
                <a:gd name="connsiteY2" fmla="*/ 56769 h 206502"/>
                <a:gd name="connsiteX3" fmla="*/ 127921 w 438149"/>
                <a:gd name="connsiteY3" fmla="*/ 36100 h 206502"/>
                <a:gd name="connsiteX4" fmla="*/ 36100 w 438149"/>
                <a:gd name="connsiteY4" fmla="*/ 0 h 206502"/>
                <a:gd name="connsiteX5" fmla="*/ 0 w 438149"/>
                <a:gd name="connsiteY5" fmla="*/ 91630 h 206502"/>
                <a:gd name="connsiteX6" fmla="*/ 51149 w 438149"/>
                <a:gd name="connsiteY6" fmla="*/ 69437 h 206502"/>
                <a:gd name="connsiteX7" fmla="*/ 250698 w 438149"/>
                <a:gd name="connsiteY7" fmla="*/ 203454 h 206502"/>
                <a:gd name="connsiteX8" fmla="*/ 291846 w 438149"/>
                <a:gd name="connsiteY8" fmla="*/ 206502 h 206502"/>
                <a:gd name="connsiteX9" fmla="*/ 438150 w 438149"/>
                <a:gd name="connsiteY9" fmla="*/ 165354 h 206502"/>
                <a:gd name="connsiteX10" fmla="*/ 421672 w 438149"/>
                <a:gd name="connsiteY10" fmla="*/ 138494 h 206502"/>
                <a:gd name="connsiteX11" fmla="*/ 421672 w 438149"/>
                <a:gd name="connsiteY11" fmla="*/ 138494 h 20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8149" h="206502">
                  <a:moveTo>
                    <a:pt x="421672" y="138589"/>
                  </a:moveTo>
                  <a:cubicBezTo>
                    <a:pt x="372047" y="168974"/>
                    <a:pt x="312992" y="180975"/>
                    <a:pt x="255270" y="172307"/>
                  </a:cubicBezTo>
                  <a:cubicBezTo>
                    <a:pt x="182023" y="161449"/>
                    <a:pt x="118301" y="118491"/>
                    <a:pt x="80201" y="56769"/>
                  </a:cubicBezTo>
                  <a:lnTo>
                    <a:pt x="127921" y="36100"/>
                  </a:lnTo>
                  <a:lnTo>
                    <a:pt x="36100" y="0"/>
                  </a:lnTo>
                  <a:lnTo>
                    <a:pt x="0" y="91630"/>
                  </a:lnTo>
                  <a:lnTo>
                    <a:pt x="51149" y="69437"/>
                  </a:lnTo>
                  <a:cubicBezTo>
                    <a:pt x="93821" y="140970"/>
                    <a:pt x="166688" y="190976"/>
                    <a:pt x="250698" y="203454"/>
                  </a:cubicBezTo>
                  <a:cubicBezTo>
                    <a:pt x="264319" y="205454"/>
                    <a:pt x="278130" y="206502"/>
                    <a:pt x="291846" y="206502"/>
                  </a:cubicBezTo>
                  <a:cubicBezTo>
                    <a:pt x="343186" y="206502"/>
                    <a:pt x="394049" y="192310"/>
                    <a:pt x="438150" y="165354"/>
                  </a:cubicBezTo>
                  <a:lnTo>
                    <a:pt x="421672" y="138494"/>
                  </a:lnTo>
                  <a:lnTo>
                    <a:pt x="421672" y="138494"/>
                  </a:lnTo>
                  <a:close/>
                </a:path>
              </a:pathLst>
            </a:custGeom>
            <a:solidFill>
              <a:srgbClr val="3D4647"/>
            </a:solidFill>
            <a:ln w="9525" cap="flat">
              <a:noFill/>
              <a:prstDash val="solid"/>
              <a:miter/>
            </a:ln>
          </p:spPr>
          <p:txBody>
            <a:bodyPr rtlCol="0" anchor="ctr"/>
            <a:lstStyle/>
            <a:p>
              <a:endParaRPr lang="en-US" dirty="0"/>
            </a:p>
          </p:txBody>
        </p:sp>
        <p:grpSp>
          <p:nvGrpSpPr>
            <p:cNvPr id="56" name="Group 55">
              <a:extLst>
                <a:ext uri="{FF2B5EF4-FFF2-40B4-BE49-F238E27FC236}">
                  <a16:creationId xmlns:a16="http://schemas.microsoft.com/office/drawing/2014/main" id="{F561A1F8-A2C0-4584-3217-E78EF06832C0}"/>
                </a:ext>
              </a:extLst>
            </p:cNvPr>
            <p:cNvGrpSpPr/>
            <p:nvPr/>
          </p:nvGrpSpPr>
          <p:grpSpPr>
            <a:xfrm>
              <a:off x="9239701" y="3854202"/>
              <a:ext cx="190721" cy="331035"/>
              <a:chOff x="9190422" y="3887017"/>
              <a:chExt cx="176593" cy="306513"/>
            </a:xfrm>
          </p:grpSpPr>
          <p:sp>
            <p:nvSpPr>
              <p:cNvPr id="57" name="Freeform: Shape 56">
                <a:extLst>
                  <a:ext uri="{FF2B5EF4-FFF2-40B4-BE49-F238E27FC236}">
                    <a16:creationId xmlns:a16="http://schemas.microsoft.com/office/drawing/2014/main" id="{C12197CF-6FAD-CF5D-A7C7-49846E654DC3}"/>
                  </a:ext>
                </a:extLst>
              </p:cNvPr>
              <p:cNvSpPr/>
              <p:nvPr/>
            </p:nvSpPr>
            <p:spPr>
              <a:xfrm>
                <a:off x="9190517" y="4097233"/>
                <a:ext cx="75342" cy="96297"/>
              </a:xfrm>
              <a:custGeom>
                <a:avLst/>
                <a:gdLst>
                  <a:gd name="connsiteX0" fmla="*/ 63532 w 75342"/>
                  <a:gd name="connsiteY0" fmla="*/ 48863 h 96297"/>
                  <a:gd name="connsiteX1" fmla="*/ 59150 w 75342"/>
                  <a:gd name="connsiteY1" fmla="*/ 41529 h 96297"/>
                  <a:gd name="connsiteX2" fmla="*/ 51340 w 75342"/>
                  <a:gd name="connsiteY2" fmla="*/ 41529 h 96297"/>
                  <a:gd name="connsiteX3" fmla="*/ 51340 w 75342"/>
                  <a:gd name="connsiteY3" fmla="*/ 24479 h 96297"/>
                  <a:gd name="connsiteX4" fmla="*/ 0 w 75342"/>
                  <a:gd name="connsiteY4" fmla="*/ 0 h 96297"/>
                  <a:gd name="connsiteX5" fmla="*/ 0 w 75342"/>
                  <a:gd name="connsiteY5" fmla="*/ 16288 h 96297"/>
                  <a:gd name="connsiteX6" fmla="*/ 36671 w 75342"/>
                  <a:gd name="connsiteY6" fmla="*/ 33814 h 96297"/>
                  <a:gd name="connsiteX7" fmla="*/ 36671 w 75342"/>
                  <a:gd name="connsiteY7" fmla="*/ 41624 h 96297"/>
                  <a:gd name="connsiteX8" fmla="*/ 27908 w 75342"/>
                  <a:gd name="connsiteY8" fmla="*/ 41624 h 96297"/>
                  <a:gd name="connsiteX9" fmla="*/ 23527 w 75342"/>
                  <a:gd name="connsiteY9" fmla="*/ 48958 h 96297"/>
                  <a:gd name="connsiteX10" fmla="*/ 16192 w 75342"/>
                  <a:gd name="connsiteY10" fmla="*/ 61627 h 96297"/>
                  <a:gd name="connsiteX11" fmla="*/ 11811 w 75342"/>
                  <a:gd name="connsiteY11" fmla="*/ 68961 h 96297"/>
                  <a:gd name="connsiteX12" fmla="*/ 16192 w 75342"/>
                  <a:gd name="connsiteY12" fmla="*/ 76295 h 96297"/>
                  <a:gd name="connsiteX13" fmla="*/ 23527 w 75342"/>
                  <a:gd name="connsiteY13" fmla="*/ 88964 h 96297"/>
                  <a:gd name="connsiteX14" fmla="*/ 27908 w 75342"/>
                  <a:gd name="connsiteY14" fmla="*/ 96298 h 96297"/>
                  <a:gd name="connsiteX15" fmla="*/ 59245 w 75342"/>
                  <a:gd name="connsiteY15" fmla="*/ 96298 h 96297"/>
                  <a:gd name="connsiteX16" fmla="*/ 63627 w 75342"/>
                  <a:gd name="connsiteY16" fmla="*/ 88964 h 96297"/>
                  <a:gd name="connsiteX17" fmla="*/ 70961 w 75342"/>
                  <a:gd name="connsiteY17" fmla="*/ 76295 h 96297"/>
                  <a:gd name="connsiteX18" fmla="*/ 75343 w 75342"/>
                  <a:gd name="connsiteY18" fmla="*/ 68961 h 96297"/>
                  <a:gd name="connsiteX19" fmla="*/ 70961 w 75342"/>
                  <a:gd name="connsiteY19" fmla="*/ 61627 h 96297"/>
                  <a:gd name="connsiteX20" fmla="*/ 63627 w 75342"/>
                  <a:gd name="connsiteY20" fmla="*/ 48958 h 96297"/>
                  <a:gd name="connsiteX21" fmla="*/ 50863 w 75342"/>
                  <a:gd name="connsiteY21" fmla="*/ 81534 h 96297"/>
                  <a:gd name="connsiteX22" fmla="*/ 36195 w 75342"/>
                  <a:gd name="connsiteY22" fmla="*/ 81534 h 96297"/>
                  <a:gd name="connsiteX23" fmla="*/ 28861 w 75342"/>
                  <a:gd name="connsiteY23" fmla="*/ 68866 h 96297"/>
                  <a:gd name="connsiteX24" fmla="*/ 36195 w 75342"/>
                  <a:gd name="connsiteY24" fmla="*/ 56197 h 96297"/>
                  <a:gd name="connsiteX25" fmla="*/ 50863 w 75342"/>
                  <a:gd name="connsiteY25" fmla="*/ 56197 h 96297"/>
                  <a:gd name="connsiteX26" fmla="*/ 58198 w 75342"/>
                  <a:gd name="connsiteY26" fmla="*/ 68866 h 96297"/>
                  <a:gd name="connsiteX27" fmla="*/ 50863 w 75342"/>
                  <a:gd name="connsiteY27" fmla="*/ 81534 h 96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5342" h="96297">
                    <a:moveTo>
                      <a:pt x="63532" y="48863"/>
                    </a:moveTo>
                    <a:lnTo>
                      <a:pt x="59150" y="41529"/>
                    </a:lnTo>
                    <a:lnTo>
                      <a:pt x="51340" y="41529"/>
                    </a:lnTo>
                    <a:lnTo>
                      <a:pt x="51340" y="24479"/>
                    </a:lnTo>
                    <a:lnTo>
                      <a:pt x="0" y="0"/>
                    </a:lnTo>
                    <a:lnTo>
                      <a:pt x="0" y="16288"/>
                    </a:lnTo>
                    <a:lnTo>
                      <a:pt x="36671" y="33814"/>
                    </a:lnTo>
                    <a:lnTo>
                      <a:pt x="36671" y="41624"/>
                    </a:lnTo>
                    <a:lnTo>
                      <a:pt x="27908" y="41624"/>
                    </a:lnTo>
                    <a:lnTo>
                      <a:pt x="23527" y="48958"/>
                    </a:lnTo>
                    <a:lnTo>
                      <a:pt x="16192" y="61627"/>
                    </a:lnTo>
                    <a:lnTo>
                      <a:pt x="11811" y="68961"/>
                    </a:lnTo>
                    <a:lnTo>
                      <a:pt x="16192" y="76295"/>
                    </a:lnTo>
                    <a:lnTo>
                      <a:pt x="23527" y="88964"/>
                    </a:lnTo>
                    <a:lnTo>
                      <a:pt x="27908" y="96298"/>
                    </a:lnTo>
                    <a:lnTo>
                      <a:pt x="59245" y="96298"/>
                    </a:lnTo>
                    <a:lnTo>
                      <a:pt x="63627" y="88964"/>
                    </a:lnTo>
                    <a:lnTo>
                      <a:pt x="70961" y="76295"/>
                    </a:lnTo>
                    <a:lnTo>
                      <a:pt x="75343" y="68961"/>
                    </a:lnTo>
                    <a:lnTo>
                      <a:pt x="70961" y="61627"/>
                    </a:lnTo>
                    <a:lnTo>
                      <a:pt x="63627" y="48958"/>
                    </a:lnTo>
                    <a:close/>
                    <a:moveTo>
                      <a:pt x="50863" y="81534"/>
                    </a:moveTo>
                    <a:lnTo>
                      <a:pt x="36195" y="81534"/>
                    </a:lnTo>
                    <a:lnTo>
                      <a:pt x="28861" y="68866"/>
                    </a:lnTo>
                    <a:lnTo>
                      <a:pt x="36195" y="56197"/>
                    </a:lnTo>
                    <a:lnTo>
                      <a:pt x="50863" y="56197"/>
                    </a:lnTo>
                    <a:lnTo>
                      <a:pt x="58198" y="68866"/>
                    </a:lnTo>
                    <a:lnTo>
                      <a:pt x="50863" y="81534"/>
                    </a:lnTo>
                    <a:close/>
                  </a:path>
                </a:pathLst>
              </a:custGeom>
              <a:solidFill>
                <a:srgbClr val="40AA1D"/>
              </a:solidFill>
              <a:ln w="9525"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9F69E6C5-A525-BC96-A520-CA7E4A2AB175}"/>
                  </a:ext>
                </a:extLst>
              </p:cNvPr>
              <p:cNvSpPr/>
              <p:nvPr/>
            </p:nvSpPr>
            <p:spPr>
              <a:xfrm>
                <a:off x="9190517" y="3944547"/>
                <a:ext cx="176498" cy="70294"/>
              </a:xfrm>
              <a:custGeom>
                <a:avLst/>
                <a:gdLst>
                  <a:gd name="connsiteX0" fmla="*/ 0 w 176498"/>
                  <a:gd name="connsiteY0" fmla="*/ 54007 h 70294"/>
                  <a:gd name="connsiteX1" fmla="*/ 0 w 176498"/>
                  <a:gd name="connsiteY1" fmla="*/ 70295 h 70294"/>
                  <a:gd name="connsiteX2" fmla="*/ 73342 w 176498"/>
                  <a:gd name="connsiteY2" fmla="*/ 34671 h 70294"/>
                  <a:gd name="connsiteX3" fmla="*/ 117824 w 176498"/>
                  <a:gd name="connsiteY3" fmla="*/ 34671 h 70294"/>
                  <a:gd name="connsiteX4" fmla="*/ 125159 w 176498"/>
                  <a:gd name="connsiteY4" fmla="*/ 47339 h 70294"/>
                  <a:gd name="connsiteX5" fmla="*/ 129540 w 176498"/>
                  <a:gd name="connsiteY5" fmla="*/ 54674 h 70294"/>
                  <a:gd name="connsiteX6" fmla="*/ 160877 w 176498"/>
                  <a:gd name="connsiteY6" fmla="*/ 54674 h 70294"/>
                  <a:gd name="connsiteX7" fmla="*/ 165259 w 176498"/>
                  <a:gd name="connsiteY7" fmla="*/ 47339 h 70294"/>
                  <a:gd name="connsiteX8" fmla="*/ 172593 w 176498"/>
                  <a:gd name="connsiteY8" fmla="*/ 34671 h 70294"/>
                  <a:gd name="connsiteX9" fmla="*/ 176498 w 176498"/>
                  <a:gd name="connsiteY9" fmla="*/ 27337 h 70294"/>
                  <a:gd name="connsiteX10" fmla="*/ 172593 w 176498"/>
                  <a:gd name="connsiteY10" fmla="*/ 20003 h 70294"/>
                  <a:gd name="connsiteX11" fmla="*/ 165259 w 176498"/>
                  <a:gd name="connsiteY11" fmla="*/ 7334 h 70294"/>
                  <a:gd name="connsiteX12" fmla="*/ 160877 w 176498"/>
                  <a:gd name="connsiteY12" fmla="*/ 0 h 70294"/>
                  <a:gd name="connsiteX13" fmla="*/ 129540 w 176498"/>
                  <a:gd name="connsiteY13" fmla="*/ 0 h 70294"/>
                  <a:gd name="connsiteX14" fmla="*/ 125159 w 176498"/>
                  <a:gd name="connsiteY14" fmla="*/ 7334 h 70294"/>
                  <a:gd name="connsiteX15" fmla="*/ 117824 w 176498"/>
                  <a:gd name="connsiteY15" fmla="*/ 20003 h 70294"/>
                  <a:gd name="connsiteX16" fmla="*/ 69913 w 176498"/>
                  <a:gd name="connsiteY16" fmla="*/ 20003 h 70294"/>
                  <a:gd name="connsiteX17" fmla="*/ 0 w 176498"/>
                  <a:gd name="connsiteY17" fmla="*/ 54007 h 70294"/>
                  <a:gd name="connsiteX18" fmla="*/ 137922 w 176498"/>
                  <a:gd name="connsiteY18" fmla="*/ 14573 h 70294"/>
                  <a:gd name="connsiteX19" fmla="*/ 152590 w 176498"/>
                  <a:gd name="connsiteY19" fmla="*/ 14573 h 70294"/>
                  <a:gd name="connsiteX20" fmla="*/ 159925 w 176498"/>
                  <a:gd name="connsiteY20" fmla="*/ 27242 h 70294"/>
                  <a:gd name="connsiteX21" fmla="*/ 152590 w 176498"/>
                  <a:gd name="connsiteY21" fmla="*/ 39434 h 70294"/>
                  <a:gd name="connsiteX22" fmla="*/ 137922 w 176498"/>
                  <a:gd name="connsiteY22" fmla="*/ 39434 h 70294"/>
                  <a:gd name="connsiteX23" fmla="*/ 130588 w 176498"/>
                  <a:gd name="connsiteY23" fmla="*/ 27242 h 70294"/>
                  <a:gd name="connsiteX24" fmla="*/ 137922 w 176498"/>
                  <a:gd name="connsiteY24" fmla="*/ 1457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6498" h="70294">
                    <a:moveTo>
                      <a:pt x="0" y="54007"/>
                    </a:moveTo>
                    <a:lnTo>
                      <a:pt x="0" y="70295"/>
                    </a:lnTo>
                    <a:lnTo>
                      <a:pt x="73342" y="34671"/>
                    </a:lnTo>
                    <a:lnTo>
                      <a:pt x="117824" y="34671"/>
                    </a:lnTo>
                    <a:lnTo>
                      <a:pt x="125159" y="47339"/>
                    </a:lnTo>
                    <a:lnTo>
                      <a:pt x="129540" y="54674"/>
                    </a:lnTo>
                    <a:lnTo>
                      <a:pt x="160877" y="54674"/>
                    </a:lnTo>
                    <a:lnTo>
                      <a:pt x="165259" y="47339"/>
                    </a:lnTo>
                    <a:lnTo>
                      <a:pt x="172593" y="34671"/>
                    </a:lnTo>
                    <a:lnTo>
                      <a:pt x="176498" y="27337"/>
                    </a:lnTo>
                    <a:lnTo>
                      <a:pt x="172593" y="20003"/>
                    </a:lnTo>
                    <a:lnTo>
                      <a:pt x="165259" y="7334"/>
                    </a:lnTo>
                    <a:lnTo>
                      <a:pt x="160877" y="0"/>
                    </a:lnTo>
                    <a:lnTo>
                      <a:pt x="129540" y="0"/>
                    </a:lnTo>
                    <a:lnTo>
                      <a:pt x="125159" y="7334"/>
                    </a:lnTo>
                    <a:lnTo>
                      <a:pt x="117824" y="20003"/>
                    </a:lnTo>
                    <a:lnTo>
                      <a:pt x="69913" y="20003"/>
                    </a:lnTo>
                    <a:lnTo>
                      <a:pt x="0" y="54007"/>
                    </a:lnTo>
                    <a:close/>
                    <a:moveTo>
                      <a:pt x="137922" y="14573"/>
                    </a:moveTo>
                    <a:lnTo>
                      <a:pt x="152590" y="14573"/>
                    </a:lnTo>
                    <a:lnTo>
                      <a:pt x="159925" y="27242"/>
                    </a:lnTo>
                    <a:lnTo>
                      <a:pt x="152590" y="39434"/>
                    </a:lnTo>
                    <a:lnTo>
                      <a:pt x="137922" y="39434"/>
                    </a:lnTo>
                    <a:lnTo>
                      <a:pt x="130588" y="27242"/>
                    </a:lnTo>
                    <a:lnTo>
                      <a:pt x="137922" y="14573"/>
                    </a:lnTo>
                    <a:close/>
                  </a:path>
                </a:pathLst>
              </a:custGeom>
              <a:solidFill>
                <a:srgbClr val="40AA1D"/>
              </a:solidFill>
              <a:ln w="9525"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F34A6B96-48A9-19DD-9A4B-0B51740A128D}"/>
                  </a:ext>
                </a:extLst>
              </p:cNvPr>
              <p:cNvSpPr/>
              <p:nvPr/>
            </p:nvSpPr>
            <p:spPr>
              <a:xfrm>
                <a:off x="9190517" y="4065706"/>
                <a:ext cx="176498" cy="70104"/>
              </a:xfrm>
              <a:custGeom>
                <a:avLst/>
                <a:gdLst>
                  <a:gd name="connsiteX0" fmla="*/ 165259 w 176498"/>
                  <a:gd name="connsiteY0" fmla="*/ 23241 h 70104"/>
                  <a:gd name="connsiteX1" fmla="*/ 160877 w 176498"/>
                  <a:gd name="connsiteY1" fmla="*/ 15907 h 70104"/>
                  <a:gd name="connsiteX2" fmla="*/ 129540 w 176498"/>
                  <a:gd name="connsiteY2" fmla="*/ 15907 h 70104"/>
                  <a:gd name="connsiteX3" fmla="*/ 125159 w 176498"/>
                  <a:gd name="connsiteY3" fmla="*/ 23241 h 70104"/>
                  <a:gd name="connsiteX4" fmla="*/ 117824 w 176498"/>
                  <a:gd name="connsiteY4" fmla="*/ 35433 h 70104"/>
                  <a:gd name="connsiteX5" fmla="*/ 72866 w 176498"/>
                  <a:gd name="connsiteY5" fmla="*/ 35433 h 70104"/>
                  <a:gd name="connsiteX6" fmla="*/ 0 w 176498"/>
                  <a:gd name="connsiteY6" fmla="*/ 0 h 70104"/>
                  <a:gd name="connsiteX7" fmla="*/ 0 w 176498"/>
                  <a:gd name="connsiteY7" fmla="*/ 16288 h 70104"/>
                  <a:gd name="connsiteX8" fmla="*/ 69437 w 176498"/>
                  <a:gd name="connsiteY8" fmla="*/ 50101 h 70104"/>
                  <a:gd name="connsiteX9" fmla="*/ 117824 w 176498"/>
                  <a:gd name="connsiteY9" fmla="*/ 50101 h 70104"/>
                  <a:gd name="connsiteX10" fmla="*/ 125159 w 176498"/>
                  <a:gd name="connsiteY10" fmla="*/ 62770 h 70104"/>
                  <a:gd name="connsiteX11" fmla="*/ 129540 w 176498"/>
                  <a:gd name="connsiteY11" fmla="*/ 70104 h 70104"/>
                  <a:gd name="connsiteX12" fmla="*/ 160877 w 176498"/>
                  <a:gd name="connsiteY12" fmla="*/ 70104 h 70104"/>
                  <a:gd name="connsiteX13" fmla="*/ 165259 w 176498"/>
                  <a:gd name="connsiteY13" fmla="*/ 62770 h 70104"/>
                  <a:gd name="connsiteX14" fmla="*/ 172593 w 176498"/>
                  <a:gd name="connsiteY14" fmla="*/ 50101 h 70104"/>
                  <a:gd name="connsiteX15" fmla="*/ 176498 w 176498"/>
                  <a:gd name="connsiteY15" fmla="*/ 42767 h 70104"/>
                  <a:gd name="connsiteX16" fmla="*/ 172593 w 176498"/>
                  <a:gd name="connsiteY16" fmla="*/ 35433 h 70104"/>
                  <a:gd name="connsiteX17" fmla="*/ 165259 w 176498"/>
                  <a:gd name="connsiteY17" fmla="*/ 23241 h 70104"/>
                  <a:gd name="connsiteX18" fmla="*/ 152590 w 176498"/>
                  <a:gd name="connsiteY18" fmla="*/ 55531 h 70104"/>
                  <a:gd name="connsiteX19" fmla="*/ 137922 w 176498"/>
                  <a:gd name="connsiteY19" fmla="*/ 55531 h 70104"/>
                  <a:gd name="connsiteX20" fmla="*/ 130588 w 176498"/>
                  <a:gd name="connsiteY20" fmla="*/ 42863 h 70104"/>
                  <a:gd name="connsiteX21" fmla="*/ 137922 w 176498"/>
                  <a:gd name="connsiteY21" fmla="*/ 30194 h 70104"/>
                  <a:gd name="connsiteX22" fmla="*/ 152590 w 176498"/>
                  <a:gd name="connsiteY22" fmla="*/ 30194 h 70104"/>
                  <a:gd name="connsiteX23" fmla="*/ 159925 w 176498"/>
                  <a:gd name="connsiteY23" fmla="*/ 42863 h 70104"/>
                  <a:gd name="connsiteX24" fmla="*/ 152590 w 176498"/>
                  <a:gd name="connsiteY24" fmla="*/ 55531 h 70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6498" h="70104">
                    <a:moveTo>
                      <a:pt x="165259" y="23241"/>
                    </a:moveTo>
                    <a:lnTo>
                      <a:pt x="160877" y="15907"/>
                    </a:lnTo>
                    <a:lnTo>
                      <a:pt x="129540" y="15907"/>
                    </a:lnTo>
                    <a:lnTo>
                      <a:pt x="125159" y="23241"/>
                    </a:lnTo>
                    <a:lnTo>
                      <a:pt x="117824" y="35433"/>
                    </a:lnTo>
                    <a:lnTo>
                      <a:pt x="72866" y="35433"/>
                    </a:lnTo>
                    <a:lnTo>
                      <a:pt x="0" y="0"/>
                    </a:lnTo>
                    <a:lnTo>
                      <a:pt x="0" y="16288"/>
                    </a:lnTo>
                    <a:lnTo>
                      <a:pt x="69437" y="50101"/>
                    </a:lnTo>
                    <a:lnTo>
                      <a:pt x="117824" y="50101"/>
                    </a:lnTo>
                    <a:lnTo>
                      <a:pt x="125159" y="62770"/>
                    </a:lnTo>
                    <a:lnTo>
                      <a:pt x="129540" y="70104"/>
                    </a:lnTo>
                    <a:lnTo>
                      <a:pt x="160877" y="70104"/>
                    </a:lnTo>
                    <a:lnTo>
                      <a:pt x="165259" y="62770"/>
                    </a:lnTo>
                    <a:lnTo>
                      <a:pt x="172593" y="50101"/>
                    </a:lnTo>
                    <a:lnTo>
                      <a:pt x="176498" y="42767"/>
                    </a:lnTo>
                    <a:lnTo>
                      <a:pt x="172593" y="35433"/>
                    </a:lnTo>
                    <a:lnTo>
                      <a:pt x="165259" y="23241"/>
                    </a:lnTo>
                    <a:close/>
                    <a:moveTo>
                      <a:pt x="152590" y="55531"/>
                    </a:moveTo>
                    <a:lnTo>
                      <a:pt x="137922" y="55531"/>
                    </a:lnTo>
                    <a:lnTo>
                      <a:pt x="130588" y="42863"/>
                    </a:lnTo>
                    <a:lnTo>
                      <a:pt x="137922" y="30194"/>
                    </a:lnTo>
                    <a:lnTo>
                      <a:pt x="152590" y="30194"/>
                    </a:lnTo>
                    <a:lnTo>
                      <a:pt x="159925" y="42863"/>
                    </a:lnTo>
                    <a:lnTo>
                      <a:pt x="152590" y="55531"/>
                    </a:lnTo>
                    <a:close/>
                  </a:path>
                </a:pathLst>
              </a:custGeom>
              <a:solidFill>
                <a:srgbClr val="40AA1D"/>
              </a:solidFill>
              <a:ln w="9525" cap="flat">
                <a:no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F2D62BF6-3388-C00E-1C92-FFD90E66DAFB}"/>
                  </a:ext>
                </a:extLst>
              </p:cNvPr>
              <p:cNvSpPr/>
              <p:nvPr/>
            </p:nvSpPr>
            <p:spPr>
              <a:xfrm>
                <a:off x="9190422" y="3887017"/>
                <a:ext cx="75247" cy="96202"/>
              </a:xfrm>
              <a:custGeom>
                <a:avLst/>
                <a:gdLst>
                  <a:gd name="connsiteX0" fmla="*/ 23527 w 75247"/>
                  <a:gd name="connsiteY0" fmla="*/ 47244 h 96202"/>
                  <a:gd name="connsiteX1" fmla="*/ 27908 w 75247"/>
                  <a:gd name="connsiteY1" fmla="*/ 54578 h 96202"/>
                  <a:gd name="connsiteX2" fmla="*/ 36671 w 75247"/>
                  <a:gd name="connsiteY2" fmla="*/ 54578 h 96202"/>
                  <a:gd name="connsiteX3" fmla="*/ 36671 w 75247"/>
                  <a:gd name="connsiteY3" fmla="*/ 62389 h 96202"/>
                  <a:gd name="connsiteX4" fmla="*/ 0 w 75247"/>
                  <a:gd name="connsiteY4" fmla="*/ 79915 h 96202"/>
                  <a:gd name="connsiteX5" fmla="*/ 0 w 75247"/>
                  <a:gd name="connsiteY5" fmla="*/ 96203 h 96202"/>
                  <a:gd name="connsiteX6" fmla="*/ 51340 w 75247"/>
                  <a:gd name="connsiteY6" fmla="*/ 71723 h 96202"/>
                  <a:gd name="connsiteX7" fmla="*/ 51340 w 75247"/>
                  <a:gd name="connsiteY7" fmla="*/ 54673 h 96202"/>
                  <a:gd name="connsiteX8" fmla="*/ 59150 w 75247"/>
                  <a:gd name="connsiteY8" fmla="*/ 54673 h 96202"/>
                  <a:gd name="connsiteX9" fmla="*/ 63532 w 75247"/>
                  <a:gd name="connsiteY9" fmla="*/ 47339 h 96202"/>
                  <a:gd name="connsiteX10" fmla="*/ 70866 w 75247"/>
                  <a:gd name="connsiteY10" fmla="*/ 34671 h 96202"/>
                  <a:gd name="connsiteX11" fmla="*/ 75248 w 75247"/>
                  <a:gd name="connsiteY11" fmla="*/ 27337 h 96202"/>
                  <a:gd name="connsiteX12" fmla="*/ 70866 w 75247"/>
                  <a:gd name="connsiteY12" fmla="*/ 20003 h 96202"/>
                  <a:gd name="connsiteX13" fmla="*/ 63532 w 75247"/>
                  <a:gd name="connsiteY13" fmla="*/ 7334 h 96202"/>
                  <a:gd name="connsiteX14" fmla="*/ 59150 w 75247"/>
                  <a:gd name="connsiteY14" fmla="*/ 0 h 96202"/>
                  <a:gd name="connsiteX15" fmla="*/ 27813 w 75247"/>
                  <a:gd name="connsiteY15" fmla="*/ 0 h 96202"/>
                  <a:gd name="connsiteX16" fmla="*/ 23431 w 75247"/>
                  <a:gd name="connsiteY16" fmla="*/ 7334 h 96202"/>
                  <a:gd name="connsiteX17" fmla="*/ 16097 w 75247"/>
                  <a:gd name="connsiteY17" fmla="*/ 20003 h 96202"/>
                  <a:gd name="connsiteX18" fmla="*/ 11716 w 75247"/>
                  <a:gd name="connsiteY18" fmla="*/ 27337 h 96202"/>
                  <a:gd name="connsiteX19" fmla="*/ 16097 w 75247"/>
                  <a:gd name="connsiteY19" fmla="*/ 34671 h 96202"/>
                  <a:gd name="connsiteX20" fmla="*/ 23431 w 75247"/>
                  <a:gd name="connsiteY20" fmla="*/ 47339 h 96202"/>
                  <a:gd name="connsiteX21" fmla="*/ 36290 w 75247"/>
                  <a:gd name="connsiteY21" fmla="*/ 14573 h 96202"/>
                  <a:gd name="connsiteX22" fmla="*/ 50959 w 75247"/>
                  <a:gd name="connsiteY22" fmla="*/ 14573 h 96202"/>
                  <a:gd name="connsiteX23" fmla="*/ 58293 w 75247"/>
                  <a:gd name="connsiteY23" fmla="*/ 27242 h 96202"/>
                  <a:gd name="connsiteX24" fmla="*/ 50959 w 75247"/>
                  <a:gd name="connsiteY24" fmla="*/ 39910 h 96202"/>
                  <a:gd name="connsiteX25" fmla="*/ 36290 w 75247"/>
                  <a:gd name="connsiteY25" fmla="*/ 39910 h 96202"/>
                  <a:gd name="connsiteX26" fmla="*/ 28956 w 75247"/>
                  <a:gd name="connsiteY26" fmla="*/ 27242 h 96202"/>
                  <a:gd name="connsiteX27" fmla="*/ 36290 w 75247"/>
                  <a:gd name="connsiteY27" fmla="*/ 14573 h 9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5247" h="96202">
                    <a:moveTo>
                      <a:pt x="23527" y="47244"/>
                    </a:moveTo>
                    <a:lnTo>
                      <a:pt x="27908" y="54578"/>
                    </a:lnTo>
                    <a:lnTo>
                      <a:pt x="36671" y="54578"/>
                    </a:lnTo>
                    <a:lnTo>
                      <a:pt x="36671" y="62389"/>
                    </a:lnTo>
                    <a:lnTo>
                      <a:pt x="0" y="79915"/>
                    </a:lnTo>
                    <a:lnTo>
                      <a:pt x="0" y="96203"/>
                    </a:lnTo>
                    <a:lnTo>
                      <a:pt x="51340" y="71723"/>
                    </a:lnTo>
                    <a:lnTo>
                      <a:pt x="51340" y="54673"/>
                    </a:lnTo>
                    <a:lnTo>
                      <a:pt x="59150" y="54673"/>
                    </a:lnTo>
                    <a:lnTo>
                      <a:pt x="63532" y="47339"/>
                    </a:lnTo>
                    <a:lnTo>
                      <a:pt x="70866" y="34671"/>
                    </a:lnTo>
                    <a:lnTo>
                      <a:pt x="75248" y="27337"/>
                    </a:lnTo>
                    <a:lnTo>
                      <a:pt x="70866" y="20003"/>
                    </a:lnTo>
                    <a:lnTo>
                      <a:pt x="63532" y="7334"/>
                    </a:lnTo>
                    <a:lnTo>
                      <a:pt x="59150" y="0"/>
                    </a:lnTo>
                    <a:lnTo>
                      <a:pt x="27813" y="0"/>
                    </a:lnTo>
                    <a:lnTo>
                      <a:pt x="23431" y="7334"/>
                    </a:lnTo>
                    <a:lnTo>
                      <a:pt x="16097" y="20003"/>
                    </a:lnTo>
                    <a:lnTo>
                      <a:pt x="11716" y="27337"/>
                    </a:lnTo>
                    <a:lnTo>
                      <a:pt x="16097" y="34671"/>
                    </a:lnTo>
                    <a:lnTo>
                      <a:pt x="23431" y="47339"/>
                    </a:lnTo>
                    <a:close/>
                    <a:moveTo>
                      <a:pt x="36290" y="14573"/>
                    </a:moveTo>
                    <a:lnTo>
                      <a:pt x="50959" y="14573"/>
                    </a:lnTo>
                    <a:lnTo>
                      <a:pt x="58293" y="27242"/>
                    </a:lnTo>
                    <a:lnTo>
                      <a:pt x="50959" y="39910"/>
                    </a:lnTo>
                    <a:lnTo>
                      <a:pt x="36290" y="39910"/>
                    </a:lnTo>
                    <a:lnTo>
                      <a:pt x="28956" y="27242"/>
                    </a:lnTo>
                    <a:lnTo>
                      <a:pt x="36290" y="14573"/>
                    </a:lnTo>
                    <a:close/>
                  </a:path>
                </a:pathLst>
              </a:custGeom>
              <a:solidFill>
                <a:srgbClr val="40AA1D"/>
              </a:solidFill>
              <a:ln w="9525"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F80D5C63-A5E4-E512-B997-34BA3FF9CBC2}"/>
                  </a:ext>
                </a:extLst>
              </p:cNvPr>
              <p:cNvSpPr/>
              <p:nvPr/>
            </p:nvSpPr>
            <p:spPr>
              <a:xfrm>
                <a:off x="9190517" y="4013318"/>
                <a:ext cx="119252" cy="54673"/>
              </a:xfrm>
              <a:custGeom>
                <a:avLst/>
                <a:gdLst>
                  <a:gd name="connsiteX0" fmla="*/ 67437 w 119252"/>
                  <a:gd name="connsiteY0" fmla="*/ 47339 h 54673"/>
                  <a:gd name="connsiteX1" fmla="*/ 71818 w 119252"/>
                  <a:gd name="connsiteY1" fmla="*/ 54673 h 54673"/>
                  <a:gd name="connsiteX2" fmla="*/ 103156 w 119252"/>
                  <a:gd name="connsiteY2" fmla="*/ 54673 h 54673"/>
                  <a:gd name="connsiteX3" fmla="*/ 107537 w 119252"/>
                  <a:gd name="connsiteY3" fmla="*/ 47339 h 54673"/>
                  <a:gd name="connsiteX4" fmla="*/ 114871 w 119252"/>
                  <a:gd name="connsiteY4" fmla="*/ 34671 h 54673"/>
                  <a:gd name="connsiteX5" fmla="*/ 119253 w 119252"/>
                  <a:gd name="connsiteY5" fmla="*/ 27337 h 54673"/>
                  <a:gd name="connsiteX6" fmla="*/ 114395 w 119252"/>
                  <a:gd name="connsiteY6" fmla="*/ 20002 h 54673"/>
                  <a:gd name="connsiteX7" fmla="*/ 107061 w 119252"/>
                  <a:gd name="connsiteY7" fmla="*/ 7334 h 54673"/>
                  <a:gd name="connsiteX8" fmla="*/ 103156 w 119252"/>
                  <a:gd name="connsiteY8" fmla="*/ 0 h 54673"/>
                  <a:gd name="connsiteX9" fmla="*/ 71818 w 119252"/>
                  <a:gd name="connsiteY9" fmla="*/ 0 h 54673"/>
                  <a:gd name="connsiteX10" fmla="*/ 67437 w 119252"/>
                  <a:gd name="connsiteY10" fmla="*/ 7334 h 54673"/>
                  <a:gd name="connsiteX11" fmla="*/ 60103 w 119252"/>
                  <a:gd name="connsiteY11" fmla="*/ 20002 h 54673"/>
                  <a:gd name="connsiteX12" fmla="*/ 0 w 119252"/>
                  <a:gd name="connsiteY12" fmla="*/ 20002 h 54673"/>
                  <a:gd name="connsiteX13" fmla="*/ 0 w 119252"/>
                  <a:gd name="connsiteY13" fmla="*/ 34671 h 54673"/>
                  <a:gd name="connsiteX14" fmla="*/ 60103 w 119252"/>
                  <a:gd name="connsiteY14" fmla="*/ 34671 h 54673"/>
                  <a:gd name="connsiteX15" fmla="*/ 67437 w 119252"/>
                  <a:gd name="connsiteY15" fmla="*/ 47339 h 54673"/>
                  <a:gd name="connsiteX16" fmla="*/ 79724 w 119252"/>
                  <a:gd name="connsiteY16" fmla="*/ 14668 h 54673"/>
                  <a:gd name="connsiteX17" fmla="*/ 94393 w 119252"/>
                  <a:gd name="connsiteY17" fmla="*/ 14668 h 54673"/>
                  <a:gd name="connsiteX18" fmla="*/ 101727 w 119252"/>
                  <a:gd name="connsiteY18" fmla="*/ 27337 h 54673"/>
                  <a:gd name="connsiteX19" fmla="*/ 94393 w 119252"/>
                  <a:gd name="connsiteY19" fmla="*/ 40005 h 54673"/>
                  <a:gd name="connsiteX20" fmla="*/ 79724 w 119252"/>
                  <a:gd name="connsiteY20" fmla="*/ 40005 h 54673"/>
                  <a:gd name="connsiteX21" fmla="*/ 72390 w 119252"/>
                  <a:gd name="connsiteY21" fmla="*/ 27337 h 54673"/>
                  <a:gd name="connsiteX22" fmla="*/ 79724 w 119252"/>
                  <a:gd name="connsiteY22" fmla="*/ 14668 h 5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9252" h="54673">
                    <a:moveTo>
                      <a:pt x="67437" y="47339"/>
                    </a:moveTo>
                    <a:lnTo>
                      <a:pt x="71818" y="54673"/>
                    </a:lnTo>
                    <a:lnTo>
                      <a:pt x="103156" y="54673"/>
                    </a:lnTo>
                    <a:lnTo>
                      <a:pt x="107537" y="47339"/>
                    </a:lnTo>
                    <a:lnTo>
                      <a:pt x="114871" y="34671"/>
                    </a:lnTo>
                    <a:lnTo>
                      <a:pt x="119253" y="27337"/>
                    </a:lnTo>
                    <a:lnTo>
                      <a:pt x="114395" y="20002"/>
                    </a:lnTo>
                    <a:lnTo>
                      <a:pt x="107061" y="7334"/>
                    </a:lnTo>
                    <a:lnTo>
                      <a:pt x="103156" y="0"/>
                    </a:lnTo>
                    <a:lnTo>
                      <a:pt x="71818" y="0"/>
                    </a:lnTo>
                    <a:lnTo>
                      <a:pt x="67437" y="7334"/>
                    </a:lnTo>
                    <a:lnTo>
                      <a:pt x="60103" y="20002"/>
                    </a:lnTo>
                    <a:lnTo>
                      <a:pt x="0" y="20002"/>
                    </a:lnTo>
                    <a:lnTo>
                      <a:pt x="0" y="34671"/>
                    </a:lnTo>
                    <a:lnTo>
                      <a:pt x="60103" y="34671"/>
                    </a:lnTo>
                    <a:lnTo>
                      <a:pt x="67437" y="47339"/>
                    </a:lnTo>
                    <a:close/>
                    <a:moveTo>
                      <a:pt x="79724" y="14668"/>
                    </a:moveTo>
                    <a:lnTo>
                      <a:pt x="94393" y="14668"/>
                    </a:lnTo>
                    <a:lnTo>
                      <a:pt x="101727" y="27337"/>
                    </a:lnTo>
                    <a:lnTo>
                      <a:pt x="94393" y="40005"/>
                    </a:lnTo>
                    <a:lnTo>
                      <a:pt x="79724" y="40005"/>
                    </a:lnTo>
                    <a:lnTo>
                      <a:pt x="72390" y="27337"/>
                    </a:lnTo>
                    <a:lnTo>
                      <a:pt x="79724" y="14668"/>
                    </a:lnTo>
                    <a:close/>
                  </a:path>
                </a:pathLst>
              </a:custGeom>
              <a:solidFill>
                <a:srgbClr val="40AA1D"/>
              </a:solidFill>
              <a:ln w="9525" cap="flat">
                <a:noFill/>
                <a:prstDash val="solid"/>
                <a:miter/>
              </a:ln>
            </p:spPr>
            <p:txBody>
              <a:bodyPr rtlCol="0" anchor="ctr"/>
              <a:lstStyle/>
              <a:p>
                <a:endParaRPr lang="en-US" dirty="0"/>
              </a:p>
            </p:txBody>
          </p:sp>
        </p:grpSp>
      </p:grpSp>
      <p:grpSp>
        <p:nvGrpSpPr>
          <p:cNvPr id="62" name="Group 61">
            <a:extLst>
              <a:ext uri="{FF2B5EF4-FFF2-40B4-BE49-F238E27FC236}">
                <a16:creationId xmlns:a16="http://schemas.microsoft.com/office/drawing/2014/main" id="{C8B27F02-E939-ABDF-FF14-4D6144566BA6}"/>
              </a:ext>
            </a:extLst>
          </p:cNvPr>
          <p:cNvGrpSpPr/>
          <p:nvPr/>
        </p:nvGrpSpPr>
        <p:grpSpPr>
          <a:xfrm>
            <a:off x="10087892" y="3232714"/>
            <a:ext cx="628433" cy="658368"/>
            <a:chOff x="10087892" y="3700309"/>
            <a:chExt cx="628433" cy="658368"/>
          </a:xfrm>
        </p:grpSpPr>
        <p:grpSp>
          <p:nvGrpSpPr>
            <p:cNvPr id="63" name="Graphic 4">
              <a:extLst>
                <a:ext uri="{FF2B5EF4-FFF2-40B4-BE49-F238E27FC236}">
                  <a16:creationId xmlns:a16="http://schemas.microsoft.com/office/drawing/2014/main" id="{AA72E1A9-B513-CBA0-0671-D06B2D634A0E}"/>
                </a:ext>
              </a:extLst>
            </p:cNvPr>
            <p:cNvGrpSpPr/>
            <p:nvPr/>
          </p:nvGrpSpPr>
          <p:grpSpPr>
            <a:xfrm>
              <a:off x="10087892" y="3700309"/>
              <a:ext cx="628433" cy="658368"/>
              <a:chOff x="10087892" y="3725854"/>
              <a:chExt cx="581882" cy="609600"/>
            </a:xfrm>
            <a:solidFill>
              <a:srgbClr val="3D4647"/>
            </a:solidFill>
          </p:grpSpPr>
          <p:sp>
            <p:nvSpPr>
              <p:cNvPr id="584" name="Freeform: Shape 583">
                <a:extLst>
                  <a:ext uri="{FF2B5EF4-FFF2-40B4-BE49-F238E27FC236}">
                    <a16:creationId xmlns:a16="http://schemas.microsoft.com/office/drawing/2014/main" id="{F9EEE025-0E0E-B933-FDD0-81D9267EFF05}"/>
                  </a:ext>
                </a:extLst>
              </p:cNvPr>
              <p:cNvSpPr/>
              <p:nvPr/>
            </p:nvSpPr>
            <p:spPr>
              <a:xfrm>
                <a:off x="10099893" y="3725854"/>
                <a:ext cx="338994" cy="328803"/>
              </a:xfrm>
              <a:custGeom>
                <a:avLst/>
                <a:gdLst>
                  <a:gd name="connsiteX0" fmla="*/ 338614 w 338994"/>
                  <a:gd name="connsiteY0" fmla="*/ 73057 h 328803"/>
                  <a:gd name="connsiteX1" fmla="*/ 282988 w 338994"/>
                  <a:gd name="connsiteY1" fmla="*/ 0 h 328803"/>
                  <a:gd name="connsiteX2" fmla="*/ 276130 w 338994"/>
                  <a:gd name="connsiteY2" fmla="*/ 50387 h 328803"/>
                  <a:gd name="connsiteX3" fmla="*/ 113348 w 338994"/>
                  <a:gd name="connsiteY3" fmla="*/ 105347 h 328803"/>
                  <a:gd name="connsiteX4" fmla="*/ 3048 w 338994"/>
                  <a:gd name="connsiteY4" fmla="*/ 288893 h 328803"/>
                  <a:gd name="connsiteX5" fmla="*/ 0 w 338994"/>
                  <a:gd name="connsiteY5" fmla="*/ 328613 h 328803"/>
                  <a:gd name="connsiteX6" fmla="*/ 31528 w 338994"/>
                  <a:gd name="connsiteY6" fmla="*/ 328803 h 328803"/>
                  <a:gd name="connsiteX7" fmla="*/ 34290 w 338994"/>
                  <a:gd name="connsiteY7" fmla="*/ 293465 h 328803"/>
                  <a:gd name="connsiteX8" fmla="*/ 132207 w 338994"/>
                  <a:gd name="connsiteY8" fmla="*/ 130588 h 328803"/>
                  <a:gd name="connsiteX9" fmla="*/ 272034 w 338994"/>
                  <a:gd name="connsiteY9" fmla="*/ 81915 h 328803"/>
                  <a:gd name="connsiteX10" fmla="*/ 265748 w 338994"/>
                  <a:gd name="connsiteY10" fmla="*/ 128588 h 328803"/>
                  <a:gd name="connsiteX11" fmla="*/ 338995 w 338994"/>
                  <a:gd name="connsiteY11" fmla="*/ 73057 h 328803"/>
                  <a:gd name="connsiteX12" fmla="*/ 338804 w 338994"/>
                  <a:gd name="connsiteY12" fmla="*/ 73057 h 32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8994" h="328803">
                    <a:moveTo>
                      <a:pt x="338614" y="73057"/>
                    </a:moveTo>
                    <a:lnTo>
                      <a:pt x="282988" y="0"/>
                    </a:lnTo>
                    <a:lnTo>
                      <a:pt x="276130" y="50387"/>
                    </a:lnTo>
                    <a:cubicBezTo>
                      <a:pt x="217742" y="51054"/>
                      <a:pt x="161068" y="69914"/>
                      <a:pt x="113348" y="105347"/>
                    </a:cubicBezTo>
                    <a:cubicBezTo>
                      <a:pt x="53245" y="149828"/>
                      <a:pt x="14097" y="214979"/>
                      <a:pt x="3048" y="288893"/>
                    </a:cubicBezTo>
                    <a:cubicBezTo>
                      <a:pt x="1048" y="302133"/>
                      <a:pt x="0" y="315468"/>
                      <a:pt x="0" y="328613"/>
                    </a:cubicBezTo>
                    <a:lnTo>
                      <a:pt x="31528" y="328803"/>
                    </a:lnTo>
                    <a:cubicBezTo>
                      <a:pt x="31528" y="317087"/>
                      <a:pt x="32480" y="305181"/>
                      <a:pt x="34290" y="293465"/>
                    </a:cubicBezTo>
                    <a:cubicBezTo>
                      <a:pt x="44101" y="227933"/>
                      <a:pt x="78867" y="170021"/>
                      <a:pt x="132207" y="130588"/>
                    </a:cubicBezTo>
                    <a:cubicBezTo>
                      <a:pt x="173355" y="100203"/>
                      <a:pt x="221837" y="83534"/>
                      <a:pt x="272034" y="81915"/>
                    </a:cubicBezTo>
                    <a:lnTo>
                      <a:pt x="265748" y="128588"/>
                    </a:lnTo>
                    <a:lnTo>
                      <a:pt x="338995" y="73057"/>
                    </a:lnTo>
                    <a:lnTo>
                      <a:pt x="338804" y="73057"/>
                    </a:lnTo>
                    <a:close/>
                  </a:path>
                </a:pathLst>
              </a:custGeom>
              <a:solidFill>
                <a:srgbClr val="3D4647"/>
              </a:solidFill>
              <a:ln w="9525" cap="flat">
                <a:noFill/>
                <a:prstDash val="solid"/>
                <a:miter/>
              </a:ln>
            </p:spPr>
            <p:txBody>
              <a:bodyPr rtlCol="0" anchor="ctr"/>
              <a:lstStyle/>
              <a:p>
                <a:endParaRPr lang="en-US" dirty="0"/>
              </a:p>
            </p:txBody>
          </p:sp>
          <p:sp>
            <p:nvSpPr>
              <p:cNvPr id="585" name="Freeform: Shape 584">
                <a:extLst>
                  <a:ext uri="{FF2B5EF4-FFF2-40B4-BE49-F238E27FC236}">
                    <a16:creationId xmlns:a16="http://schemas.microsoft.com/office/drawing/2014/main" id="{EBB23AB1-58FD-C5C4-9F94-A33F4CC0C451}"/>
                  </a:ext>
                </a:extLst>
              </p:cNvPr>
              <p:cNvSpPr/>
              <p:nvPr/>
            </p:nvSpPr>
            <p:spPr>
              <a:xfrm>
                <a:off x="10500991" y="3811674"/>
                <a:ext cx="168782" cy="427100"/>
              </a:xfrm>
              <a:custGeom>
                <a:avLst/>
                <a:gdLst>
                  <a:gd name="connsiteX0" fmla="*/ 123349 w 168782"/>
                  <a:gd name="connsiteY0" fmla="*/ 380429 h 427100"/>
                  <a:gd name="connsiteX1" fmla="*/ 155924 w 168782"/>
                  <a:gd name="connsiteY1" fmla="*/ 285369 h 427100"/>
                  <a:gd name="connsiteX2" fmla="*/ 15335 w 168782"/>
                  <a:gd name="connsiteY2" fmla="*/ 0 h 427100"/>
                  <a:gd name="connsiteX3" fmla="*/ 0 w 168782"/>
                  <a:gd name="connsiteY3" fmla="*/ 27432 h 427100"/>
                  <a:gd name="connsiteX4" fmla="*/ 124682 w 168782"/>
                  <a:gd name="connsiteY4" fmla="*/ 280797 h 427100"/>
                  <a:gd name="connsiteX5" fmla="*/ 98965 w 168782"/>
                  <a:gd name="connsiteY5" fmla="*/ 359569 h 427100"/>
                  <a:gd name="connsiteX6" fmla="*/ 58865 w 168782"/>
                  <a:gd name="connsiteY6" fmla="*/ 325088 h 427100"/>
                  <a:gd name="connsiteX7" fmla="*/ 66580 w 168782"/>
                  <a:gd name="connsiteY7" fmla="*/ 427101 h 427100"/>
                  <a:gd name="connsiteX8" fmla="*/ 168783 w 168782"/>
                  <a:gd name="connsiteY8" fmla="*/ 419481 h 427100"/>
                  <a:gd name="connsiteX9" fmla="*/ 123444 w 168782"/>
                  <a:gd name="connsiteY9" fmla="*/ 380524 h 427100"/>
                  <a:gd name="connsiteX10" fmla="*/ 123444 w 168782"/>
                  <a:gd name="connsiteY10" fmla="*/ 380524 h 4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782" h="427100">
                    <a:moveTo>
                      <a:pt x="123349" y="380429"/>
                    </a:moveTo>
                    <a:cubicBezTo>
                      <a:pt x="139732" y="351092"/>
                      <a:pt x="150876" y="318992"/>
                      <a:pt x="155924" y="285369"/>
                    </a:cubicBezTo>
                    <a:cubicBezTo>
                      <a:pt x="172974" y="170974"/>
                      <a:pt x="116491" y="56293"/>
                      <a:pt x="15335" y="0"/>
                    </a:cubicBezTo>
                    <a:lnTo>
                      <a:pt x="0" y="27432"/>
                    </a:lnTo>
                    <a:cubicBezTo>
                      <a:pt x="89725" y="77438"/>
                      <a:pt x="139922" y="179261"/>
                      <a:pt x="124682" y="280797"/>
                    </a:cubicBezTo>
                    <a:cubicBezTo>
                      <a:pt x="120587" y="308515"/>
                      <a:pt x="111728" y="335090"/>
                      <a:pt x="98965" y="359569"/>
                    </a:cubicBezTo>
                    <a:lnTo>
                      <a:pt x="58865" y="325088"/>
                    </a:lnTo>
                    <a:lnTo>
                      <a:pt x="66580" y="427101"/>
                    </a:lnTo>
                    <a:lnTo>
                      <a:pt x="168783" y="419481"/>
                    </a:lnTo>
                    <a:lnTo>
                      <a:pt x="123444" y="380524"/>
                    </a:lnTo>
                    <a:lnTo>
                      <a:pt x="123444" y="380524"/>
                    </a:lnTo>
                    <a:close/>
                  </a:path>
                </a:pathLst>
              </a:custGeom>
              <a:solidFill>
                <a:srgbClr val="3D4647"/>
              </a:solidFill>
              <a:ln w="9525" cap="flat">
                <a:noFill/>
                <a:prstDash val="solid"/>
                <a:miter/>
              </a:ln>
            </p:spPr>
            <p:txBody>
              <a:bodyPr rtlCol="0" anchor="ctr"/>
              <a:lstStyle/>
              <a:p>
                <a:endParaRPr lang="en-US" dirty="0"/>
              </a:p>
            </p:txBody>
          </p:sp>
          <p:sp>
            <p:nvSpPr>
              <p:cNvPr id="586" name="Freeform: Shape 585">
                <a:extLst>
                  <a:ext uri="{FF2B5EF4-FFF2-40B4-BE49-F238E27FC236}">
                    <a16:creationId xmlns:a16="http://schemas.microsoft.com/office/drawing/2014/main" id="{2485EDB4-F9F7-406E-C30B-70AD48B9AB96}"/>
                  </a:ext>
                </a:extLst>
              </p:cNvPr>
              <p:cNvSpPr/>
              <p:nvPr/>
            </p:nvSpPr>
            <p:spPr>
              <a:xfrm>
                <a:off x="10087892" y="4128951"/>
                <a:ext cx="438149" cy="206502"/>
              </a:xfrm>
              <a:custGeom>
                <a:avLst/>
                <a:gdLst>
                  <a:gd name="connsiteX0" fmla="*/ 421672 w 438149"/>
                  <a:gd name="connsiteY0" fmla="*/ 138589 h 206502"/>
                  <a:gd name="connsiteX1" fmla="*/ 255270 w 438149"/>
                  <a:gd name="connsiteY1" fmla="*/ 172307 h 206502"/>
                  <a:gd name="connsiteX2" fmla="*/ 80201 w 438149"/>
                  <a:gd name="connsiteY2" fmla="*/ 56769 h 206502"/>
                  <a:gd name="connsiteX3" fmla="*/ 127921 w 438149"/>
                  <a:gd name="connsiteY3" fmla="*/ 36100 h 206502"/>
                  <a:gd name="connsiteX4" fmla="*/ 36100 w 438149"/>
                  <a:gd name="connsiteY4" fmla="*/ 0 h 206502"/>
                  <a:gd name="connsiteX5" fmla="*/ 0 w 438149"/>
                  <a:gd name="connsiteY5" fmla="*/ 91630 h 206502"/>
                  <a:gd name="connsiteX6" fmla="*/ 51149 w 438149"/>
                  <a:gd name="connsiteY6" fmla="*/ 69437 h 206502"/>
                  <a:gd name="connsiteX7" fmla="*/ 250698 w 438149"/>
                  <a:gd name="connsiteY7" fmla="*/ 203454 h 206502"/>
                  <a:gd name="connsiteX8" fmla="*/ 291846 w 438149"/>
                  <a:gd name="connsiteY8" fmla="*/ 206502 h 206502"/>
                  <a:gd name="connsiteX9" fmla="*/ 438150 w 438149"/>
                  <a:gd name="connsiteY9" fmla="*/ 165354 h 206502"/>
                  <a:gd name="connsiteX10" fmla="*/ 421672 w 438149"/>
                  <a:gd name="connsiteY10" fmla="*/ 138494 h 206502"/>
                  <a:gd name="connsiteX11" fmla="*/ 421672 w 438149"/>
                  <a:gd name="connsiteY11" fmla="*/ 138494 h 20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8149" h="206502">
                    <a:moveTo>
                      <a:pt x="421672" y="138589"/>
                    </a:moveTo>
                    <a:cubicBezTo>
                      <a:pt x="372047" y="168974"/>
                      <a:pt x="312992" y="180975"/>
                      <a:pt x="255270" y="172307"/>
                    </a:cubicBezTo>
                    <a:cubicBezTo>
                      <a:pt x="182023" y="161449"/>
                      <a:pt x="118301" y="118491"/>
                      <a:pt x="80201" y="56769"/>
                    </a:cubicBezTo>
                    <a:lnTo>
                      <a:pt x="127921" y="36100"/>
                    </a:lnTo>
                    <a:lnTo>
                      <a:pt x="36100" y="0"/>
                    </a:lnTo>
                    <a:lnTo>
                      <a:pt x="0" y="91630"/>
                    </a:lnTo>
                    <a:lnTo>
                      <a:pt x="51149" y="69437"/>
                    </a:lnTo>
                    <a:cubicBezTo>
                      <a:pt x="93821" y="140970"/>
                      <a:pt x="166688" y="190976"/>
                      <a:pt x="250698" y="203454"/>
                    </a:cubicBezTo>
                    <a:cubicBezTo>
                      <a:pt x="264319" y="205454"/>
                      <a:pt x="278130" y="206502"/>
                      <a:pt x="291846" y="206502"/>
                    </a:cubicBezTo>
                    <a:cubicBezTo>
                      <a:pt x="343186" y="206502"/>
                      <a:pt x="394049" y="192310"/>
                      <a:pt x="438150" y="165354"/>
                    </a:cubicBezTo>
                    <a:lnTo>
                      <a:pt x="421672" y="138494"/>
                    </a:lnTo>
                    <a:lnTo>
                      <a:pt x="421672" y="138494"/>
                    </a:lnTo>
                    <a:close/>
                  </a:path>
                </a:pathLst>
              </a:custGeom>
              <a:solidFill>
                <a:srgbClr val="3D4647"/>
              </a:solidFill>
              <a:ln w="9525" cap="flat">
                <a:noFill/>
                <a:prstDash val="solid"/>
                <a:miter/>
              </a:ln>
            </p:spPr>
            <p:txBody>
              <a:bodyPr rtlCol="0" anchor="ctr"/>
              <a:lstStyle/>
              <a:p>
                <a:endParaRPr lang="en-US" dirty="0"/>
              </a:p>
            </p:txBody>
          </p:sp>
        </p:grpSp>
        <p:grpSp>
          <p:nvGrpSpPr>
            <p:cNvPr id="576" name="Graphic 4">
              <a:extLst>
                <a:ext uri="{FF2B5EF4-FFF2-40B4-BE49-F238E27FC236}">
                  <a16:creationId xmlns:a16="http://schemas.microsoft.com/office/drawing/2014/main" id="{03BD52FA-C0E4-49C2-E1BE-E156F72C593D}"/>
                </a:ext>
              </a:extLst>
            </p:cNvPr>
            <p:cNvGrpSpPr/>
            <p:nvPr/>
          </p:nvGrpSpPr>
          <p:grpSpPr>
            <a:xfrm>
              <a:off x="10423922" y="3864205"/>
              <a:ext cx="190721" cy="331035"/>
              <a:chOff x="10378976" y="3887017"/>
              <a:chExt cx="176593" cy="306514"/>
            </a:xfrm>
            <a:solidFill>
              <a:srgbClr val="40AA1D"/>
            </a:solidFill>
          </p:grpSpPr>
          <p:sp>
            <p:nvSpPr>
              <p:cNvPr id="578" name="Freeform: Shape 577">
                <a:extLst>
                  <a:ext uri="{FF2B5EF4-FFF2-40B4-BE49-F238E27FC236}">
                    <a16:creationId xmlns:a16="http://schemas.microsoft.com/office/drawing/2014/main" id="{0447C4AE-20F6-42FB-AD5E-7867B025A436}"/>
                  </a:ext>
                </a:extLst>
              </p:cNvPr>
              <p:cNvSpPr/>
              <p:nvPr/>
            </p:nvSpPr>
            <p:spPr>
              <a:xfrm>
                <a:off x="10379071" y="4097233"/>
                <a:ext cx="75342" cy="96297"/>
              </a:xfrm>
              <a:custGeom>
                <a:avLst/>
                <a:gdLst>
                  <a:gd name="connsiteX0" fmla="*/ 63532 w 75342"/>
                  <a:gd name="connsiteY0" fmla="*/ 48863 h 96297"/>
                  <a:gd name="connsiteX1" fmla="*/ 59150 w 75342"/>
                  <a:gd name="connsiteY1" fmla="*/ 41529 h 96297"/>
                  <a:gd name="connsiteX2" fmla="*/ 51340 w 75342"/>
                  <a:gd name="connsiteY2" fmla="*/ 41529 h 96297"/>
                  <a:gd name="connsiteX3" fmla="*/ 51340 w 75342"/>
                  <a:gd name="connsiteY3" fmla="*/ 24479 h 96297"/>
                  <a:gd name="connsiteX4" fmla="*/ 0 w 75342"/>
                  <a:gd name="connsiteY4" fmla="*/ 0 h 96297"/>
                  <a:gd name="connsiteX5" fmla="*/ 0 w 75342"/>
                  <a:gd name="connsiteY5" fmla="*/ 16288 h 96297"/>
                  <a:gd name="connsiteX6" fmla="*/ 36671 w 75342"/>
                  <a:gd name="connsiteY6" fmla="*/ 33814 h 96297"/>
                  <a:gd name="connsiteX7" fmla="*/ 36671 w 75342"/>
                  <a:gd name="connsiteY7" fmla="*/ 41624 h 96297"/>
                  <a:gd name="connsiteX8" fmla="*/ 27908 w 75342"/>
                  <a:gd name="connsiteY8" fmla="*/ 41624 h 96297"/>
                  <a:gd name="connsiteX9" fmla="*/ 23527 w 75342"/>
                  <a:gd name="connsiteY9" fmla="*/ 48958 h 96297"/>
                  <a:gd name="connsiteX10" fmla="*/ 16192 w 75342"/>
                  <a:gd name="connsiteY10" fmla="*/ 61627 h 96297"/>
                  <a:gd name="connsiteX11" fmla="*/ 11811 w 75342"/>
                  <a:gd name="connsiteY11" fmla="*/ 68961 h 96297"/>
                  <a:gd name="connsiteX12" fmla="*/ 16192 w 75342"/>
                  <a:gd name="connsiteY12" fmla="*/ 76295 h 96297"/>
                  <a:gd name="connsiteX13" fmla="*/ 23527 w 75342"/>
                  <a:gd name="connsiteY13" fmla="*/ 88964 h 96297"/>
                  <a:gd name="connsiteX14" fmla="*/ 27908 w 75342"/>
                  <a:gd name="connsiteY14" fmla="*/ 96298 h 96297"/>
                  <a:gd name="connsiteX15" fmla="*/ 59245 w 75342"/>
                  <a:gd name="connsiteY15" fmla="*/ 96298 h 96297"/>
                  <a:gd name="connsiteX16" fmla="*/ 63627 w 75342"/>
                  <a:gd name="connsiteY16" fmla="*/ 88964 h 96297"/>
                  <a:gd name="connsiteX17" fmla="*/ 70961 w 75342"/>
                  <a:gd name="connsiteY17" fmla="*/ 76295 h 96297"/>
                  <a:gd name="connsiteX18" fmla="*/ 75343 w 75342"/>
                  <a:gd name="connsiteY18" fmla="*/ 68961 h 96297"/>
                  <a:gd name="connsiteX19" fmla="*/ 70961 w 75342"/>
                  <a:gd name="connsiteY19" fmla="*/ 61627 h 96297"/>
                  <a:gd name="connsiteX20" fmla="*/ 63627 w 75342"/>
                  <a:gd name="connsiteY20" fmla="*/ 48958 h 96297"/>
                  <a:gd name="connsiteX21" fmla="*/ 50863 w 75342"/>
                  <a:gd name="connsiteY21" fmla="*/ 81534 h 96297"/>
                  <a:gd name="connsiteX22" fmla="*/ 36195 w 75342"/>
                  <a:gd name="connsiteY22" fmla="*/ 81534 h 96297"/>
                  <a:gd name="connsiteX23" fmla="*/ 28861 w 75342"/>
                  <a:gd name="connsiteY23" fmla="*/ 68866 h 96297"/>
                  <a:gd name="connsiteX24" fmla="*/ 36195 w 75342"/>
                  <a:gd name="connsiteY24" fmla="*/ 56197 h 96297"/>
                  <a:gd name="connsiteX25" fmla="*/ 50863 w 75342"/>
                  <a:gd name="connsiteY25" fmla="*/ 56197 h 96297"/>
                  <a:gd name="connsiteX26" fmla="*/ 58198 w 75342"/>
                  <a:gd name="connsiteY26" fmla="*/ 68866 h 96297"/>
                  <a:gd name="connsiteX27" fmla="*/ 50863 w 75342"/>
                  <a:gd name="connsiteY27" fmla="*/ 81534 h 96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5342" h="96297">
                    <a:moveTo>
                      <a:pt x="63532" y="48863"/>
                    </a:moveTo>
                    <a:lnTo>
                      <a:pt x="59150" y="41529"/>
                    </a:lnTo>
                    <a:lnTo>
                      <a:pt x="51340" y="41529"/>
                    </a:lnTo>
                    <a:lnTo>
                      <a:pt x="51340" y="24479"/>
                    </a:lnTo>
                    <a:lnTo>
                      <a:pt x="0" y="0"/>
                    </a:lnTo>
                    <a:lnTo>
                      <a:pt x="0" y="16288"/>
                    </a:lnTo>
                    <a:lnTo>
                      <a:pt x="36671" y="33814"/>
                    </a:lnTo>
                    <a:lnTo>
                      <a:pt x="36671" y="41624"/>
                    </a:lnTo>
                    <a:lnTo>
                      <a:pt x="27908" y="41624"/>
                    </a:lnTo>
                    <a:lnTo>
                      <a:pt x="23527" y="48958"/>
                    </a:lnTo>
                    <a:lnTo>
                      <a:pt x="16192" y="61627"/>
                    </a:lnTo>
                    <a:lnTo>
                      <a:pt x="11811" y="68961"/>
                    </a:lnTo>
                    <a:lnTo>
                      <a:pt x="16192" y="76295"/>
                    </a:lnTo>
                    <a:lnTo>
                      <a:pt x="23527" y="88964"/>
                    </a:lnTo>
                    <a:lnTo>
                      <a:pt x="27908" y="96298"/>
                    </a:lnTo>
                    <a:lnTo>
                      <a:pt x="59245" y="96298"/>
                    </a:lnTo>
                    <a:lnTo>
                      <a:pt x="63627" y="88964"/>
                    </a:lnTo>
                    <a:lnTo>
                      <a:pt x="70961" y="76295"/>
                    </a:lnTo>
                    <a:lnTo>
                      <a:pt x="75343" y="68961"/>
                    </a:lnTo>
                    <a:lnTo>
                      <a:pt x="70961" y="61627"/>
                    </a:lnTo>
                    <a:lnTo>
                      <a:pt x="63627" y="48958"/>
                    </a:lnTo>
                    <a:close/>
                    <a:moveTo>
                      <a:pt x="50863" y="81534"/>
                    </a:moveTo>
                    <a:lnTo>
                      <a:pt x="36195" y="81534"/>
                    </a:lnTo>
                    <a:lnTo>
                      <a:pt x="28861" y="68866"/>
                    </a:lnTo>
                    <a:lnTo>
                      <a:pt x="36195" y="56197"/>
                    </a:lnTo>
                    <a:lnTo>
                      <a:pt x="50863" y="56197"/>
                    </a:lnTo>
                    <a:lnTo>
                      <a:pt x="58198" y="68866"/>
                    </a:lnTo>
                    <a:lnTo>
                      <a:pt x="50863" y="81534"/>
                    </a:lnTo>
                    <a:close/>
                  </a:path>
                </a:pathLst>
              </a:custGeom>
              <a:solidFill>
                <a:srgbClr val="40AA1D"/>
              </a:solidFill>
              <a:ln w="9525" cap="flat">
                <a:noFill/>
                <a:prstDash val="solid"/>
                <a:miter/>
              </a:ln>
            </p:spPr>
            <p:txBody>
              <a:bodyPr rtlCol="0" anchor="ctr"/>
              <a:lstStyle/>
              <a:p>
                <a:endParaRPr lang="en-US" dirty="0"/>
              </a:p>
            </p:txBody>
          </p:sp>
          <p:sp>
            <p:nvSpPr>
              <p:cNvPr id="579" name="Freeform: Shape 578">
                <a:extLst>
                  <a:ext uri="{FF2B5EF4-FFF2-40B4-BE49-F238E27FC236}">
                    <a16:creationId xmlns:a16="http://schemas.microsoft.com/office/drawing/2014/main" id="{6278568F-DC7F-EA80-11E9-B200D5BCE8BE}"/>
                  </a:ext>
                </a:extLst>
              </p:cNvPr>
              <p:cNvSpPr/>
              <p:nvPr/>
            </p:nvSpPr>
            <p:spPr>
              <a:xfrm>
                <a:off x="10379071" y="3944547"/>
                <a:ext cx="176498" cy="70294"/>
              </a:xfrm>
              <a:custGeom>
                <a:avLst/>
                <a:gdLst>
                  <a:gd name="connsiteX0" fmla="*/ 0 w 176498"/>
                  <a:gd name="connsiteY0" fmla="*/ 54007 h 70294"/>
                  <a:gd name="connsiteX1" fmla="*/ 0 w 176498"/>
                  <a:gd name="connsiteY1" fmla="*/ 70295 h 70294"/>
                  <a:gd name="connsiteX2" fmla="*/ 73342 w 176498"/>
                  <a:gd name="connsiteY2" fmla="*/ 34671 h 70294"/>
                  <a:gd name="connsiteX3" fmla="*/ 117824 w 176498"/>
                  <a:gd name="connsiteY3" fmla="*/ 34671 h 70294"/>
                  <a:gd name="connsiteX4" fmla="*/ 125159 w 176498"/>
                  <a:gd name="connsiteY4" fmla="*/ 47339 h 70294"/>
                  <a:gd name="connsiteX5" fmla="*/ 129540 w 176498"/>
                  <a:gd name="connsiteY5" fmla="*/ 54674 h 70294"/>
                  <a:gd name="connsiteX6" fmla="*/ 160877 w 176498"/>
                  <a:gd name="connsiteY6" fmla="*/ 54674 h 70294"/>
                  <a:gd name="connsiteX7" fmla="*/ 165259 w 176498"/>
                  <a:gd name="connsiteY7" fmla="*/ 47339 h 70294"/>
                  <a:gd name="connsiteX8" fmla="*/ 172593 w 176498"/>
                  <a:gd name="connsiteY8" fmla="*/ 34671 h 70294"/>
                  <a:gd name="connsiteX9" fmla="*/ 176498 w 176498"/>
                  <a:gd name="connsiteY9" fmla="*/ 27337 h 70294"/>
                  <a:gd name="connsiteX10" fmla="*/ 172593 w 176498"/>
                  <a:gd name="connsiteY10" fmla="*/ 20003 h 70294"/>
                  <a:gd name="connsiteX11" fmla="*/ 165259 w 176498"/>
                  <a:gd name="connsiteY11" fmla="*/ 7334 h 70294"/>
                  <a:gd name="connsiteX12" fmla="*/ 160877 w 176498"/>
                  <a:gd name="connsiteY12" fmla="*/ 0 h 70294"/>
                  <a:gd name="connsiteX13" fmla="*/ 129540 w 176498"/>
                  <a:gd name="connsiteY13" fmla="*/ 0 h 70294"/>
                  <a:gd name="connsiteX14" fmla="*/ 125159 w 176498"/>
                  <a:gd name="connsiteY14" fmla="*/ 7334 h 70294"/>
                  <a:gd name="connsiteX15" fmla="*/ 117824 w 176498"/>
                  <a:gd name="connsiteY15" fmla="*/ 20003 h 70294"/>
                  <a:gd name="connsiteX16" fmla="*/ 69913 w 176498"/>
                  <a:gd name="connsiteY16" fmla="*/ 20003 h 70294"/>
                  <a:gd name="connsiteX17" fmla="*/ 0 w 176498"/>
                  <a:gd name="connsiteY17" fmla="*/ 54007 h 70294"/>
                  <a:gd name="connsiteX18" fmla="*/ 137922 w 176498"/>
                  <a:gd name="connsiteY18" fmla="*/ 14573 h 70294"/>
                  <a:gd name="connsiteX19" fmla="*/ 152590 w 176498"/>
                  <a:gd name="connsiteY19" fmla="*/ 14573 h 70294"/>
                  <a:gd name="connsiteX20" fmla="*/ 159925 w 176498"/>
                  <a:gd name="connsiteY20" fmla="*/ 27242 h 70294"/>
                  <a:gd name="connsiteX21" fmla="*/ 152590 w 176498"/>
                  <a:gd name="connsiteY21" fmla="*/ 39434 h 70294"/>
                  <a:gd name="connsiteX22" fmla="*/ 137922 w 176498"/>
                  <a:gd name="connsiteY22" fmla="*/ 39434 h 70294"/>
                  <a:gd name="connsiteX23" fmla="*/ 130588 w 176498"/>
                  <a:gd name="connsiteY23" fmla="*/ 27242 h 70294"/>
                  <a:gd name="connsiteX24" fmla="*/ 137922 w 176498"/>
                  <a:gd name="connsiteY24" fmla="*/ 1457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6498" h="70294">
                    <a:moveTo>
                      <a:pt x="0" y="54007"/>
                    </a:moveTo>
                    <a:lnTo>
                      <a:pt x="0" y="70295"/>
                    </a:lnTo>
                    <a:lnTo>
                      <a:pt x="73342" y="34671"/>
                    </a:lnTo>
                    <a:lnTo>
                      <a:pt x="117824" y="34671"/>
                    </a:lnTo>
                    <a:lnTo>
                      <a:pt x="125159" y="47339"/>
                    </a:lnTo>
                    <a:lnTo>
                      <a:pt x="129540" y="54674"/>
                    </a:lnTo>
                    <a:lnTo>
                      <a:pt x="160877" y="54674"/>
                    </a:lnTo>
                    <a:lnTo>
                      <a:pt x="165259" y="47339"/>
                    </a:lnTo>
                    <a:lnTo>
                      <a:pt x="172593" y="34671"/>
                    </a:lnTo>
                    <a:lnTo>
                      <a:pt x="176498" y="27337"/>
                    </a:lnTo>
                    <a:lnTo>
                      <a:pt x="172593" y="20003"/>
                    </a:lnTo>
                    <a:lnTo>
                      <a:pt x="165259" y="7334"/>
                    </a:lnTo>
                    <a:lnTo>
                      <a:pt x="160877" y="0"/>
                    </a:lnTo>
                    <a:lnTo>
                      <a:pt x="129540" y="0"/>
                    </a:lnTo>
                    <a:lnTo>
                      <a:pt x="125159" y="7334"/>
                    </a:lnTo>
                    <a:lnTo>
                      <a:pt x="117824" y="20003"/>
                    </a:lnTo>
                    <a:lnTo>
                      <a:pt x="69913" y="20003"/>
                    </a:lnTo>
                    <a:lnTo>
                      <a:pt x="0" y="54007"/>
                    </a:lnTo>
                    <a:close/>
                    <a:moveTo>
                      <a:pt x="137922" y="14573"/>
                    </a:moveTo>
                    <a:lnTo>
                      <a:pt x="152590" y="14573"/>
                    </a:lnTo>
                    <a:lnTo>
                      <a:pt x="159925" y="27242"/>
                    </a:lnTo>
                    <a:lnTo>
                      <a:pt x="152590" y="39434"/>
                    </a:lnTo>
                    <a:lnTo>
                      <a:pt x="137922" y="39434"/>
                    </a:lnTo>
                    <a:lnTo>
                      <a:pt x="130588" y="27242"/>
                    </a:lnTo>
                    <a:lnTo>
                      <a:pt x="137922" y="14573"/>
                    </a:lnTo>
                    <a:close/>
                  </a:path>
                </a:pathLst>
              </a:custGeom>
              <a:solidFill>
                <a:srgbClr val="40AA1D"/>
              </a:solidFill>
              <a:ln w="9525" cap="flat">
                <a:noFill/>
                <a:prstDash val="solid"/>
                <a:miter/>
              </a:ln>
            </p:spPr>
            <p:txBody>
              <a:bodyPr rtlCol="0" anchor="ctr"/>
              <a:lstStyle/>
              <a:p>
                <a:endParaRPr lang="en-US" dirty="0"/>
              </a:p>
            </p:txBody>
          </p:sp>
          <p:sp>
            <p:nvSpPr>
              <p:cNvPr id="580" name="Freeform: Shape 579">
                <a:extLst>
                  <a:ext uri="{FF2B5EF4-FFF2-40B4-BE49-F238E27FC236}">
                    <a16:creationId xmlns:a16="http://schemas.microsoft.com/office/drawing/2014/main" id="{352B98DE-4A40-5725-7412-CDFA488EAA41}"/>
                  </a:ext>
                </a:extLst>
              </p:cNvPr>
              <p:cNvSpPr/>
              <p:nvPr/>
            </p:nvSpPr>
            <p:spPr>
              <a:xfrm>
                <a:off x="10379071" y="4065706"/>
                <a:ext cx="176498" cy="70104"/>
              </a:xfrm>
              <a:custGeom>
                <a:avLst/>
                <a:gdLst>
                  <a:gd name="connsiteX0" fmla="*/ 165259 w 176498"/>
                  <a:gd name="connsiteY0" fmla="*/ 23241 h 70104"/>
                  <a:gd name="connsiteX1" fmla="*/ 160877 w 176498"/>
                  <a:gd name="connsiteY1" fmla="*/ 15907 h 70104"/>
                  <a:gd name="connsiteX2" fmla="*/ 129540 w 176498"/>
                  <a:gd name="connsiteY2" fmla="*/ 15907 h 70104"/>
                  <a:gd name="connsiteX3" fmla="*/ 125159 w 176498"/>
                  <a:gd name="connsiteY3" fmla="*/ 23241 h 70104"/>
                  <a:gd name="connsiteX4" fmla="*/ 117824 w 176498"/>
                  <a:gd name="connsiteY4" fmla="*/ 35433 h 70104"/>
                  <a:gd name="connsiteX5" fmla="*/ 72866 w 176498"/>
                  <a:gd name="connsiteY5" fmla="*/ 35433 h 70104"/>
                  <a:gd name="connsiteX6" fmla="*/ 0 w 176498"/>
                  <a:gd name="connsiteY6" fmla="*/ 0 h 70104"/>
                  <a:gd name="connsiteX7" fmla="*/ 0 w 176498"/>
                  <a:gd name="connsiteY7" fmla="*/ 16288 h 70104"/>
                  <a:gd name="connsiteX8" fmla="*/ 69437 w 176498"/>
                  <a:gd name="connsiteY8" fmla="*/ 50101 h 70104"/>
                  <a:gd name="connsiteX9" fmla="*/ 117824 w 176498"/>
                  <a:gd name="connsiteY9" fmla="*/ 50101 h 70104"/>
                  <a:gd name="connsiteX10" fmla="*/ 125159 w 176498"/>
                  <a:gd name="connsiteY10" fmla="*/ 62770 h 70104"/>
                  <a:gd name="connsiteX11" fmla="*/ 129540 w 176498"/>
                  <a:gd name="connsiteY11" fmla="*/ 70104 h 70104"/>
                  <a:gd name="connsiteX12" fmla="*/ 160877 w 176498"/>
                  <a:gd name="connsiteY12" fmla="*/ 70104 h 70104"/>
                  <a:gd name="connsiteX13" fmla="*/ 165259 w 176498"/>
                  <a:gd name="connsiteY13" fmla="*/ 62770 h 70104"/>
                  <a:gd name="connsiteX14" fmla="*/ 172593 w 176498"/>
                  <a:gd name="connsiteY14" fmla="*/ 50101 h 70104"/>
                  <a:gd name="connsiteX15" fmla="*/ 176498 w 176498"/>
                  <a:gd name="connsiteY15" fmla="*/ 42767 h 70104"/>
                  <a:gd name="connsiteX16" fmla="*/ 172593 w 176498"/>
                  <a:gd name="connsiteY16" fmla="*/ 35433 h 70104"/>
                  <a:gd name="connsiteX17" fmla="*/ 165259 w 176498"/>
                  <a:gd name="connsiteY17" fmla="*/ 23241 h 70104"/>
                  <a:gd name="connsiteX18" fmla="*/ 152590 w 176498"/>
                  <a:gd name="connsiteY18" fmla="*/ 55531 h 70104"/>
                  <a:gd name="connsiteX19" fmla="*/ 137922 w 176498"/>
                  <a:gd name="connsiteY19" fmla="*/ 55531 h 70104"/>
                  <a:gd name="connsiteX20" fmla="*/ 130588 w 176498"/>
                  <a:gd name="connsiteY20" fmla="*/ 42863 h 70104"/>
                  <a:gd name="connsiteX21" fmla="*/ 137922 w 176498"/>
                  <a:gd name="connsiteY21" fmla="*/ 30194 h 70104"/>
                  <a:gd name="connsiteX22" fmla="*/ 152590 w 176498"/>
                  <a:gd name="connsiteY22" fmla="*/ 30194 h 70104"/>
                  <a:gd name="connsiteX23" fmla="*/ 159925 w 176498"/>
                  <a:gd name="connsiteY23" fmla="*/ 42863 h 70104"/>
                  <a:gd name="connsiteX24" fmla="*/ 152590 w 176498"/>
                  <a:gd name="connsiteY24" fmla="*/ 55531 h 70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6498" h="70104">
                    <a:moveTo>
                      <a:pt x="165259" y="23241"/>
                    </a:moveTo>
                    <a:lnTo>
                      <a:pt x="160877" y="15907"/>
                    </a:lnTo>
                    <a:lnTo>
                      <a:pt x="129540" y="15907"/>
                    </a:lnTo>
                    <a:lnTo>
                      <a:pt x="125159" y="23241"/>
                    </a:lnTo>
                    <a:lnTo>
                      <a:pt x="117824" y="35433"/>
                    </a:lnTo>
                    <a:lnTo>
                      <a:pt x="72866" y="35433"/>
                    </a:lnTo>
                    <a:lnTo>
                      <a:pt x="0" y="0"/>
                    </a:lnTo>
                    <a:lnTo>
                      <a:pt x="0" y="16288"/>
                    </a:lnTo>
                    <a:lnTo>
                      <a:pt x="69437" y="50101"/>
                    </a:lnTo>
                    <a:lnTo>
                      <a:pt x="117824" y="50101"/>
                    </a:lnTo>
                    <a:lnTo>
                      <a:pt x="125159" y="62770"/>
                    </a:lnTo>
                    <a:lnTo>
                      <a:pt x="129540" y="70104"/>
                    </a:lnTo>
                    <a:lnTo>
                      <a:pt x="160877" y="70104"/>
                    </a:lnTo>
                    <a:lnTo>
                      <a:pt x="165259" y="62770"/>
                    </a:lnTo>
                    <a:lnTo>
                      <a:pt x="172593" y="50101"/>
                    </a:lnTo>
                    <a:lnTo>
                      <a:pt x="176498" y="42767"/>
                    </a:lnTo>
                    <a:lnTo>
                      <a:pt x="172593" y="35433"/>
                    </a:lnTo>
                    <a:lnTo>
                      <a:pt x="165259" y="23241"/>
                    </a:lnTo>
                    <a:close/>
                    <a:moveTo>
                      <a:pt x="152590" y="55531"/>
                    </a:moveTo>
                    <a:lnTo>
                      <a:pt x="137922" y="55531"/>
                    </a:lnTo>
                    <a:lnTo>
                      <a:pt x="130588" y="42863"/>
                    </a:lnTo>
                    <a:lnTo>
                      <a:pt x="137922" y="30194"/>
                    </a:lnTo>
                    <a:lnTo>
                      <a:pt x="152590" y="30194"/>
                    </a:lnTo>
                    <a:lnTo>
                      <a:pt x="159925" y="42863"/>
                    </a:lnTo>
                    <a:lnTo>
                      <a:pt x="152590" y="55531"/>
                    </a:lnTo>
                    <a:close/>
                  </a:path>
                </a:pathLst>
              </a:custGeom>
              <a:solidFill>
                <a:srgbClr val="40AA1D"/>
              </a:solidFill>
              <a:ln w="9525" cap="flat">
                <a:noFill/>
                <a:prstDash val="solid"/>
                <a:miter/>
              </a:ln>
            </p:spPr>
            <p:txBody>
              <a:bodyPr rtlCol="0" anchor="ctr"/>
              <a:lstStyle/>
              <a:p>
                <a:endParaRPr lang="en-US" dirty="0"/>
              </a:p>
            </p:txBody>
          </p:sp>
          <p:sp>
            <p:nvSpPr>
              <p:cNvPr id="582" name="Freeform: Shape 581">
                <a:extLst>
                  <a:ext uri="{FF2B5EF4-FFF2-40B4-BE49-F238E27FC236}">
                    <a16:creationId xmlns:a16="http://schemas.microsoft.com/office/drawing/2014/main" id="{58063B90-2A3A-4487-27F0-5887B5ED1EB3}"/>
                  </a:ext>
                </a:extLst>
              </p:cNvPr>
              <p:cNvSpPr/>
              <p:nvPr/>
            </p:nvSpPr>
            <p:spPr>
              <a:xfrm>
                <a:off x="10378976" y="3887017"/>
                <a:ext cx="75247" cy="96202"/>
              </a:xfrm>
              <a:custGeom>
                <a:avLst/>
                <a:gdLst>
                  <a:gd name="connsiteX0" fmla="*/ 23527 w 75247"/>
                  <a:gd name="connsiteY0" fmla="*/ 47244 h 96202"/>
                  <a:gd name="connsiteX1" fmla="*/ 27908 w 75247"/>
                  <a:gd name="connsiteY1" fmla="*/ 54578 h 96202"/>
                  <a:gd name="connsiteX2" fmla="*/ 36671 w 75247"/>
                  <a:gd name="connsiteY2" fmla="*/ 54578 h 96202"/>
                  <a:gd name="connsiteX3" fmla="*/ 36671 w 75247"/>
                  <a:gd name="connsiteY3" fmla="*/ 62389 h 96202"/>
                  <a:gd name="connsiteX4" fmla="*/ 0 w 75247"/>
                  <a:gd name="connsiteY4" fmla="*/ 79915 h 96202"/>
                  <a:gd name="connsiteX5" fmla="*/ 0 w 75247"/>
                  <a:gd name="connsiteY5" fmla="*/ 96203 h 96202"/>
                  <a:gd name="connsiteX6" fmla="*/ 51340 w 75247"/>
                  <a:gd name="connsiteY6" fmla="*/ 71723 h 96202"/>
                  <a:gd name="connsiteX7" fmla="*/ 51340 w 75247"/>
                  <a:gd name="connsiteY7" fmla="*/ 54673 h 96202"/>
                  <a:gd name="connsiteX8" fmla="*/ 59150 w 75247"/>
                  <a:gd name="connsiteY8" fmla="*/ 54673 h 96202"/>
                  <a:gd name="connsiteX9" fmla="*/ 63532 w 75247"/>
                  <a:gd name="connsiteY9" fmla="*/ 47339 h 96202"/>
                  <a:gd name="connsiteX10" fmla="*/ 70866 w 75247"/>
                  <a:gd name="connsiteY10" fmla="*/ 34671 h 96202"/>
                  <a:gd name="connsiteX11" fmla="*/ 75248 w 75247"/>
                  <a:gd name="connsiteY11" fmla="*/ 27337 h 96202"/>
                  <a:gd name="connsiteX12" fmla="*/ 70866 w 75247"/>
                  <a:gd name="connsiteY12" fmla="*/ 20003 h 96202"/>
                  <a:gd name="connsiteX13" fmla="*/ 63532 w 75247"/>
                  <a:gd name="connsiteY13" fmla="*/ 7334 h 96202"/>
                  <a:gd name="connsiteX14" fmla="*/ 59150 w 75247"/>
                  <a:gd name="connsiteY14" fmla="*/ 0 h 96202"/>
                  <a:gd name="connsiteX15" fmla="*/ 27813 w 75247"/>
                  <a:gd name="connsiteY15" fmla="*/ 0 h 96202"/>
                  <a:gd name="connsiteX16" fmla="*/ 23431 w 75247"/>
                  <a:gd name="connsiteY16" fmla="*/ 7334 h 96202"/>
                  <a:gd name="connsiteX17" fmla="*/ 16097 w 75247"/>
                  <a:gd name="connsiteY17" fmla="*/ 20003 h 96202"/>
                  <a:gd name="connsiteX18" fmla="*/ 11716 w 75247"/>
                  <a:gd name="connsiteY18" fmla="*/ 27337 h 96202"/>
                  <a:gd name="connsiteX19" fmla="*/ 16097 w 75247"/>
                  <a:gd name="connsiteY19" fmla="*/ 34671 h 96202"/>
                  <a:gd name="connsiteX20" fmla="*/ 23431 w 75247"/>
                  <a:gd name="connsiteY20" fmla="*/ 47339 h 96202"/>
                  <a:gd name="connsiteX21" fmla="*/ 36290 w 75247"/>
                  <a:gd name="connsiteY21" fmla="*/ 14573 h 96202"/>
                  <a:gd name="connsiteX22" fmla="*/ 50959 w 75247"/>
                  <a:gd name="connsiteY22" fmla="*/ 14573 h 96202"/>
                  <a:gd name="connsiteX23" fmla="*/ 58293 w 75247"/>
                  <a:gd name="connsiteY23" fmla="*/ 27242 h 96202"/>
                  <a:gd name="connsiteX24" fmla="*/ 50959 w 75247"/>
                  <a:gd name="connsiteY24" fmla="*/ 39910 h 96202"/>
                  <a:gd name="connsiteX25" fmla="*/ 36290 w 75247"/>
                  <a:gd name="connsiteY25" fmla="*/ 39910 h 96202"/>
                  <a:gd name="connsiteX26" fmla="*/ 28956 w 75247"/>
                  <a:gd name="connsiteY26" fmla="*/ 27242 h 96202"/>
                  <a:gd name="connsiteX27" fmla="*/ 36290 w 75247"/>
                  <a:gd name="connsiteY27" fmla="*/ 14573 h 9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5247" h="96202">
                    <a:moveTo>
                      <a:pt x="23527" y="47244"/>
                    </a:moveTo>
                    <a:lnTo>
                      <a:pt x="27908" y="54578"/>
                    </a:lnTo>
                    <a:lnTo>
                      <a:pt x="36671" y="54578"/>
                    </a:lnTo>
                    <a:lnTo>
                      <a:pt x="36671" y="62389"/>
                    </a:lnTo>
                    <a:lnTo>
                      <a:pt x="0" y="79915"/>
                    </a:lnTo>
                    <a:lnTo>
                      <a:pt x="0" y="96203"/>
                    </a:lnTo>
                    <a:lnTo>
                      <a:pt x="51340" y="71723"/>
                    </a:lnTo>
                    <a:lnTo>
                      <a:pt x="51340" y="54673"/>
                    </a:lnTo>
                    <a:lnTo>
                      <a:pt x="59150" y="54673"/>
                    </a:lnTo>
                    <a:lnTo>
                      <a:pt x="63532" y="47339"/>
                    </a:lnTo>
                    <a:lnTo>
                      <a:pt x="70866" y="34671"/>
                    </a:lnTo>
                    <a:lnTo>
                      <a:pt x="75248" y="27337"/>
                    </a:lnTo>
                    <a:lnTo>
                      <a:pt x="70866" y="20003"/>
                    </a:lnTo>
                    <a:lnTo>
                      <a:pt x="63532" y="7334"/>
                    </a:lnTo>
                    <a:lnTo>
                      <a:pt x="59150" y="0"/>
                    </a:lnTo>
                    <a:lnTo>
                      <a:pt x="27813" y="0"/>
                    </a:lnTo>
                    <a:lnTo>
                      <a:pt x="23431" y="7334"/>
                    </a:lnTo>
                    <a:lnTo>
                      <a:pt x="16097" y="20003"/>
                    </a:lnTo>
                    <a:lnTo>
                      <a:pt x="11716" y="27337"/>
                    </a:lnTo>
                    <a:lnTo>
                      <a:pt x="16097" y="34671"/>
                    </a:lnTo>
                    <a:lnTo>
                      <a:pt x="23431" y="47339"/>
                    </a:lnTo>
                    <a:close/>
                    <a:moveTo>
                      <a:pt x="36290" y="14573"/>
                    </a:moveTo>
                    <a:lnTo>
                      <a:pt x="50959" y="14573"/>
                    </a:lnTo>
                    <a:lnTo>
                      <a:pt x="58293" y="27242"/>
                    </a:lnTo>
                    <a:lnTo>
                      <a:pt x="50959" y="39910"/>
                    </a:lnTo>
                    <a:lnTo>
                      <a:pt x="36290" y="39910"/>
                    </a:lnTo>
                    <a:lnTo>
                      <a:pt x="28956" y="27242"/>
                    </a:lnTo>
                    <a:lnTo>
                      <a:pt x="36290" y="14573"/>
                    </a:lnTo>
                    <a:close/>
                  </a:path>
                </a:pathLst>
              </a:custGeom>
              <a:solidFill>
                <a:srgbClr val="40AA1D"/>
              </a:solidFill>
              <a:ln w="9525" cap="flat">
                <a:noFill/>
                <a:prstDash val="solid"/>
                <a:miter/>
              </a:ln>
            </p:spPr>
            <p:txBody>
              <a:bodyPr rtlCol="0" anchor="ctr"/>
              <a:lstStyle/>
              <a:p>
                <a:endParaRPr lang="en-US" dirty="0"/>
              </a:p>
            </p:txBody>
          </p:sp>
          <p:sp>
            <p:nvSpPr>
              <p:cNvPr id="583" name="Freeform: Shape 582">
                <a:extLst>
                  <a:ext uri="{FF2B5EF4-FFF2-40B4-BE49-F238E27FC236}">
                    <a16:creationId xmlns:a16="http://schemas.microsoft.com/office/drawing/2014/main" id="{D22C38B8-6222-570A-A0E7-49F58C72EF21}"/>
                  </a:ext>
                </a:extLst>
              </p:cNvPr>
              <p:cNvSpPr/>
              <p:nvPr/>
            </p:nvSpPr>
            <p:spPr>
              <a:xfrm>
                <a:off x="10379071" y="4013318"/>
                <a:ext cx="119252" cy="54673"/>
              </a:xfrm>
              <a:custGeom>
                <a:avLst/>
                <a:gdLst>
                  <a:gd name="connsiteX0" fmla="*/ 67437 w 119252"/>
                  <a:gd name="connsiteY0" fmla="*/ 47339 h 54673"/>
                  <a:gd name="connsiteX1" fmla="*/ 71818 w 119252"/>
                  <a:gd name="connsiteY1" fmla="*/ 54673 h 54673"/>
                  <a:gd name="connsiteX2" fmla="*/ 103156 w 119252"/>
                  <a:gd name="connsiteY2" fmla="*/ 54673 h 54673"/>
                  <a:gd name="connsiteX3" fmla="*/ 107537 w 119252"/>
                  <a:gd name="connsiteY3" fmla="*/ 47339 h 54673"/>
                  <a:gd name="connsiteX4" fmla="*/ 114871 w 119252"/>
                  <a:gd name="connsiteY4" fmla="*/ 34671 h 54673"/>
                  <a:gd name="connsiteX5" fmla="*/ 119253 w 119252"/>
                  <a:gd name="connsiteY5" fmla="*/ 27337 h 54673"/>
                  <a:gd name="connsiteX6" fmla="*/ 114395 w 119252"/>
                  <a:gd name="connsiteY6" fmla="*/ 20002 h 54673"/>
                  <a:gd name="connsiteX7" fmla="*/ 107061 w 119252"/>
                  <a:gd name="connsiteY7" fmla="*/ 7334 h 54673"/>
                  <a:gd name="connsiteX8" fmla="*/ 103156 w 119252"/>
                  <a:gd name="connsiteY8" fmla="*/ 0 h 54673"/>
                  <a:gd name="connsiteX9" fmla="*/ 71818 w 119252"/>
                  <a:gd name="connsiteY9" fmla="*/ 0 h 54673"/>
                  <a:gd name="connsiteX10" fmla="*/ 67437 w 119252"/>
                  <a:gd name="connsiteY10" fmla="*/ 7334 h 54673"/>
                  <a:gd name="connsiteX11" fmla="*/ 60103 w 119252"/>
                  <a:gd name="connsiteY11" fmla="*/ 20002 h 54673"/>
                  <a:gd name="connsiteX12" fmla="*/ 0 w 119252"/>
                  <a:gd name="connsiteY12" fmla="*/ 20002 h 54673"/>
                  <a:gd name="connsiteX13" fmla="*/ 0 w 119252"/>
                  <a:gd name="connsiteY13" fmla="*/ 34671 h 54673"/>
                  <a:gd name="connsiteX14" fmla="*/ 60103 w 119252"/>
                  <a:gd name="connsiteY14" fmla="*/ 34671 h 54673"/>
                  <a:gd name="connsiteX15" fmla="*/ 67437 w 119252"/>
                  <a:gd name="connsiteY15" fmla="*/ 47339 h 54673"/>
                  <a:gd name="connsiteX16" fmla="*/ 79724 w 119252"/>
                  <a:gd name="connsiteY16" fmla="*/ 14668 h 54673"/>
                  <a:gd name="connsiteX17" fmla="*/ 94393 w 119252"/>
                  <a:gd name="connsiteY17" fmla="*/ 14668 h 54673"/>
                  <a:gd name="connsiteX18" fmla="*/ 101727 w 119252"/>
                  <a:gd name="connsiteY18" fmla="*/ 27337 h 54673"/>
                  <a:gd name="connsiteX19" fmla="*/ 94393 w 119252"/>
                  <a:gd name="connsiteY19" fmla="*/ 40005 h 54673"/>
                  <a:gd name="connsiteX20" fmla="*/ 79724 w 119252"/>
                  <a:gd name="connsiteY20" fmla="*/ 40005 h 54673"/>
                  <a:gd name="connsiteX21" fmla="*/ 72390 w 119252"/>
                  <a:gd name="connsiteY21" fmla="*/ 27337 h 54673"/>
                  <a:gd name="connsiteX22" fmla="*/ 79724 w 119252"/>
                  <a:gd name="connsiteY22" fmla="*/ 14668 h 5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9252" h="54673">
                    <a:moveTo>
                      <a:pt x="67437" y="47339"/>
                    </a:moveTo>
                    <a:lnTo>
                      <a:pt x="71818" y="54673"/>
                    </a:lnTo>
                    <a:lnTo>
                      <a:pt x="103156" y="54673"/>
                    </a:lnTo>
                    <a:lnTo>
                      <a:pt x="107537" y="47339"/>
                    </a:lnTo>
                    <a:lnTo>
                      <a:pt x="114871" y="34671"/>
                    </a:lnTo>
                    <a:lnTo>
                      <a:pt x="119253" y="27337"/>
                    </a:lnTo>
                    <a:lnTo>
                      <a:pt x="114395" y="20002"/>
                    </a:lnTo>
                    <a:lnTo>
                      <a:pt x="107061" y="7334"/>
                    </a:lnTo>
                    <a:lnTo>
                      <a:pt x="103156" y="0"/>
                    </a:lnTo>
                    <a:lnTo>
                      <a:pt x="71818" y="0"/>
                    </a:lnTo>
                    <a:lnTo>
                      <a:pt x="67437" y="7334"/>
                    </a:lnTo>
                    <a:lnTo>
                      <a:pt x="60103" y="20002"/>
                    </a:lnTo>
                    <a:lnTo>
                      <a:pt x="0" y="20002"/>
                    </a:lnTo>
                    <a:lnTo>
                      <a:pt x="0" y="34671"/>
                    </a:lnTo>
                    <a:lnTo>
                      <a:pt x="60103" y="34671"/>
                    </a:lnTo>
                    <a:lnTo>
                      <a:pt x="67437" y="47339"/>
                    </a:lnTo>
                    <a:close/>
                    <a:moveTo>
                      <a:pt x="79724" y="14668"/>
                    </a:moveTo>
                    <a:lnTo>
                      <a:pt x="94393" y="14668"/>
                    </a:lnTo>
                    <a:lnTo>
                      <a:pt x="101727" y="27337"/>
                    </a:lnTo>
                    <a:lnTo>
                      <a:pt x="94393" y="40005"/>
                    </a:lnTo>
                    <a:lnTo>
                      <a:pt x="79724" y="40005"/>
                    </a:lnTo>
                    <a:lnTo>
                      <a:pt x="72390" y="27337"/>
                    </a:lnTo>
                    <a:lnTo>
                      <a:pt x="79724" y="14668"/>
                    </a:lnTo>
                    <a:close/>
                  </a:path>
                </a:pathLst>
              </a:custGeom>
              <a:solidFill>
                <a:srgbClr val="40AA1D"/>
              </a:solidFill>
              <a:ln w="9525" cap="flat">
                <a:noFill/>
                <a:prstDash val="solid"/>
                <a:miter/>
              </a:ln>
            </p:spPr>
            <p:txBody>
              <a:bodyPr rtlCol="0" anchor="ctr"/>
              <a:lstStyle/>
              <a:p>
                <a:endParaRPr lang="en-US" dirty="0"/>
              </a:p>
            </p:txBody>
          </p:sp>
        </p:grpSp>
        <p:sp>
          <p:nvSpPr>
            <p:cNvPr id="577" name="Freeform: Shape 576">
              <a:extLst>
                <a:ext uri="{FF2B5EF4-FFF2-40B4-BE49-F238E27FC236}">
                  <a16:creationId xmlns:a16="http://schemas.microsoft.com/office/drawing/2014/main" id="{0DAF122B-9807-E6D1-44E2-001397C9B6BB}"/>
                </a:ext>
              </a:extLst>
            </p:cNvPr>
            <p:cNvSpPr>
              <a:spLocks noChangeAspect="1"/>
            </p:cNvSpPr>
            <p:nvPr/>
          </p:nvSpPr>
          <p:spPr>
            <a:xfrm>
              <a:off x="10184887" y="3921874"/>
              <a:ext cx="207847" cy="207386"/>
            </a:xfrm>
            <a:custGeom>
              <a:avLst/>
              <a:gdLst>
                <a:gd name="connsiteX0" fmla="*/ 286 w 171640"/>
                <a:gd name="connsiteY0" fmla="*/ 68104 h 171259"/>
                <a:gd name="connsiteX1" fmla="*/ 7239 w 171640"/>
                <a:gd name="connsiteY1" fmla="*/ 100203 h 171259"/>
                <a:gd name="connsiteX2" fmla="*/ 11049 w 171640"/>
                <a:gd name="connsiteY2" fmla="*/ 101155 h 171259"/>
                <a:gd name="connsiteX3" fmla="*/ 11049 w 171640"/>
                <a:gd name="connsiteY3" fmla="*/ 171260 h 171259"/>
                <a:gd name="connsiteX4" fmla="*/ 19145 w 171640"/>
                <a:gd name="connsiteY4" fmla="*/ 171260 h 171259"/>
                <a:gd name="connsiteX5" fmla="*/ 19145 w 171640"/>
                <a:gd name="connsiteY5" fmla="*/ 103251 h 171259"/>
                <a:gd name="connsiteX6" fmla="*/ 19145 w 171640"/>
                <a:gd name="connsiteY6" fmla="*/ 103251 h 171259"/>
                <a:gd name="connsiteX7" fmla="*/ 32671 w 171640"/>
                <a:gd name="connsiteY7" fmla="*/ 60389 h 171259"/>
                <a:gd name="connsiteX8" fmla="*/ 69247 w 171640"/>
                <a:gd name="connsiteY8" fmla="*/ 71914 h 171259"/>
                <a:gd name="connsiteX9" fmla="*/ 34290 w 171640"/>
                <a:gd name="connsiteY9" fmla="*/ 171260 h 171259"/>
                <a:gd name="connsiteX10" fmla="*/ 53150 w 171640"/>
                <a:gd name="connsiteY10" fmla="*/ 171260 h 171259"/>
                <a:gd name="connsiteX11" fmla="*/ 53150 w 171640"/>
                <a:gd name="connsiteY11" fmla="*/ 171260 h 171259"/>
                <a:gd name="connsiteX12" fmla="*/ 107347 w 171640"/>
                <a:gd name="connsiteY12" fmla="*/ 171260 h 171259"/>
                <a:gd name="connsiteX13" fmla="*/ 126302 w 171640"/>
                <a:gd name="connsiteY13" fmla="*/ 171260 h 171259"/>
                <a:gd name="connsiteX14" fmla="*/ 126302 w 171640"/>
                <a:gd name="connsiteY14" fmla="*/ 171260 h 171259"/>
                <a:gd name="connsiteX15" fmla="*/ 171641 w 171640"/>
                <a:gd name="connsiteY15" fmla="*/ 171260 h 171259"/>
                <a:gd name="connsiteX16" fmla="*/ 171641 w 171640"/>
                <a:gd name="connsiteY16" fmla="*/ 163068 h 171259"/>
                <a:gd name="connsiteX17" fmla="*/ 171641 w 171640"/>
                <a:gd name="connsiteY17" fmla="*/ 163068 h 171259"/>
                <a:gd name="connsiteX18" fmla="*/ 171641 w 171640"/>
                <a:gd name="connsiteY18" fmla="*/ 124492 h 171259"/>
                <a:gd name="connsiteX19" fmla="*/ 143161 w 171640"/>
                <a:gd name="connsiteY19" fmla="*/ 124492 h 171259"/>
                <a:gd name="connsiteX20" fmla="*/ 151352 w 171640"/>
                <a:gd name="connsiteY20" fmla="*/ 97917 h 171259"/>
                <a:gd name="connsiteX21" fmla="*/ 164306 w 171640"/>
                <a:gd name="connsiteY21" fmla="*/ 102013 h 171259"/>
                <a:gd name="connsiteX22" fmla="*/ 171545 w 171640"/>
                <a:gd name="connsiteY22" fmla="*/ 77438 h 171259"/>
                <a:gd name="connsiteX23" fmla="*/ 40577 w 171640"/>
                <a:gd name="connsiteY23" fmla="*/ 34957 h 171259"/>
                <a:gd name="connsiteX24" fmla="*/ 48673 w 171640"/>
                <a:gd name="connsiteY24" fmla="*/ 9239 h 171259"/>
                <a:gd name="connsiteX25" fmla="*/ 21241 w 171640"/>
                <a:gd name="connsiteY25" fmla="*/ 0 h 171259"/>
                <a:gd name="connsiteX26" fmla="*/ 0 w 171640"/>
                <a:gd name="connsiteY26" fmla="*/ 68294 h 171259"/>
                <a:gd name="connsiteX27" fmla="*/ 86868 w 171640"/>
                <a:gd name="connsiteY27" fmla="*/ 112300 h 171259"/>
                <a:gd name="connsiteX28" fmla="*/ 80486 w 171640"/>
                <a:gd name="connsiteY28" fmla="*/ 119253 h 171259"/>
                <a:gd name="connsiteX29" fmla="*/ 74581 w 171640"/>
                <a:gd name="connsiteY29" fmla="*/ 112871 h 171259"/>
                <a:gd name="connsiteX30" fmla="*/ 80963 w 171640"/>
                <a:gd name="connsiteY30" fmla="*/ 95536 h 171259"/>
                <a:gd name="connsiteX31" fmla="*/ 86868 w 171640"/>
                <a:gd name="connsiteY31" fmla="*/ 112395 h 171259"/>
                <a:gd name="connsiteX32" fmla="*/ 94583 w 171640"/>
                <a:gd name="connsiteY32" fmla="*/ 134588 h 171259"/>
                <a:gd name="connsiteX33" fmla="*/ 85820 w 171640"/>
                <a:gd name="connsiteY33" fmla="*/ 125063 h 171259"/>
                <a:gd name="connsiteX34" fmla="*/ 89726 w 171640"/>
                <a:gd name="connsiteY34" fmla="*/ 120777 h 171259"/>
                <a:gd name="connsiteX35" fmla="*/ 94583 w 171640"/>
                <a:gd name="connsiteY35" fmla="*/ 134588 h 171259"/>
                <a:gd name="connsiteX36" fmla="*/ 135065 w 171640"/>
                <a:gd name="connsiteY36" fmla="*/ 124397 h 171259"/>
                <a:gd name="connsiteX37" fmla="*/ 110585 w 171640"/>
                <a:gd name="connsiteY37" fmla="*/ 124397 h 171259"/>
                <a:gd name="connsiteX38" fmla="*/ 95631 w 171640"/>
                <a:gd name="connsiteY38" fmla="*/ 80201 h 171259"/>
                <a:gd name="connsiteX39" fmla="*/ 144018 w 171640"/>
                <a:gd name="connsiteY39" fmla="*/ 95441 h 171259"/>
                <a:gd name="connsiteX40" fmla="*/ 135065 w 171640"/>
                <a:gd name="connsiteY40" fmla="*/ 124397 h 171259"/>
                <a:gd name="connsiteX41" fmla="*/ 59627 w 171640"/>
                <a:gd name="connsiteY41" fmla="*/ 153638 h 171259"/>
                <a:gd name="connsiteX42" fmla="*/ 80486 w 171640"/>
                <a:gd name="connsiteY42" fmla="*/ 130969 h 171259"/>
                <a:gd name="connsiteX43" fmla="*/ 101251 w 171640"/>
                <a:gd name="connsiteY43" fmla="*/ 153543 h 171259"/>
                <a:gd name="connsiteX44" fmla="*/ 104585 w 171640"/>
                <a:gd name="connsiteY44" fmla="*/ 162973 h 171259"/>
                <a:gd name="connsiteX45" fmla="*/ 56293 w 171640"/>
                <a:gd name="connsiteY45" fmla="*/ 162973 h 171259"/>
                <a:gd name="connsiteX46" fmla="*/ 59722 w 171640"/>
                <a:gd name="connsiteY46" fmla="*/ 153638 h 171259"/>
                <a:gd name="connsiteX47" fmla="*/ 71533 w 171640"/>
                <a:gd name="connsiteY47" fmla="*/ 121253 h 171259"/>
                <a:gd name="connsiteX48" fmla="*/ 75057 w 171640"/>
                <a:gd name="connsiteY48" fmla="*/ 125158 h 171259"/>
                <a:gd name="connsiteX49" fmla="*/ 66770 w 171640"/>
                <a:gd name="connsiteY49" fmla="*/ 134207 h 171259"/>
                <a:gd name="connsiteX50" fmla="*/ 71533 w 171640"/>
                <a:gd name="connsiteY50" fmla="*/ 121348 h 17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71640" h="171259">
                  <a:moveTo>
                    <a:pt x="286" y="68104"/>
                  </a:moveTo>
                  <a:lnTo>
                    <a:pt x="7239" y="100203"/>
                  </a:lnTo>
                  <a:lnTo>
                    <a:pt x="11049" y="101155"/>
                  </a:lnTo>
                  <a:lnTo>
                    <a:pt x="11049" y="171260"/>
                  </a:lnTo>
                  <a:cubicBezTo>
                    <a:pt x="11049" y="171260"/>
                    <a:pt x="19145" y="171260"/>
                    <a:pt x="19145" y="171260"/>
                  </a:cubicBezTo>
                  <a:lnTo>
                    <a:pt x="19145" y="103251"/>
                  </a:lnTo>
                  <a:lnTo>
                    <a:pt x="19145" y="103251"/>
                  </a:lnTo>
                  <a:cubicBezTo>
                    <a:pt x="19145" y="103251"/>
                    <a:pt x="32671" y="60389"/>
                    <a:pt x="32671" y="60389"/>
                  </a:cubicBezTo>
                  <a:lnTo>
                    <a:pt x="69247" y="71914"/>
                  </a:lnTo>
                  <a:lnTo>
                    <a:pt x="34290" y="171260"/>
                  </a:lnTo>
                  <a:lnTo>
                    <a:pt x="53150" y="171260"/>
                  </a:lnTo>
                  <a:cubicBezTo>
                    <a:pt x="53150" y="171260"/>
                    <a:pt x="53150" y="171260"/>
                    <a:pt x="53150" y="171260"/>
                  </a:cubicBezTo>
                  <a:lnTo>
                    <a:pt x="107347" y="171260"/>
                  </a:lnTo>
                  <a:cubicBezTo>
                    <a:pt x="107347" y="171260"/>
                    <a:pt x="126302" y="171260"/>
                    <a:pt x="126302" y="171260"/>
                  </a:cubicBezTo>
                  <a:lnTo>
                    <a:pt x="126302" y="171260"/>
                  </a:lnTo>
                  <a:cubicBezTo>
                    <a:pt x="126302" y="171260"/>
                    <a:pt x="171641" y="171260"/>
                    <a:pt x="171641" y="171260"/>
                  </a:cubicBezTo>
                  <a:lnTo>
                    <a:pt x="171641" y="163068"/>
                  </a:lnTo>
                  <a:cubicBezTo>
                    <a:pt x="171641" y="163068"/>
                    <a:pt x="171641" y="163068"/>
                    <a:pt x="171641" y="163068"/>
                  </a:cubicBezTo>
                  <a:lnTo>
                    <a:pt x="171641" y="124492"/>
                  </a:lnTo>
                  <a:cubicBezTo>
                    <a:pt x="171641" y="124492"/>
                    <a:pt x="143161" y="124492"/>
                    <a:pt x="143161" y="124492"/>
                  </a:cubicBezTo>
                  <a:lnTo>
                    <a:pt x="151352" y="97917"/>
                  </a:lnTo>
                  <a:lnTo>
                    <a:pt x="164306" y="102013"/>
                  </a:lnTo>
                  <a:lnTo>
                    <a:pt x="171545" y="77438"/>
                  </a:lnTo>
                  <a:lnTo>
                    <a:pt x="40577" y="34957"/>
                  </a:lnTo>
                  <a:lnTo>
                    <a:pt x="48673" y="9239"/>
                  </a:lnTo>
                  <a:lnTo>
                    <a:pt x="21241" y="0"/>
                  </a:lnTo>
                  <a:lnTo>
                    <a:pt x="0" y="68294"/>
                  </a:lnTo>
                  <a:close/>
                  <a:moveTo>
                    <a:pt x="86868" y="112300"/>
                  </a:moveTo>
                  <a:lnTo>
                    <a:pt x="80486" y="119253"/>
                  </a:lnTo>
                  <a:lnTo>
                    <a:pt x="74581" y="112871"/>
                  </a:lnTo>
                  <a:lnTo>
                    <a:pt x="80963" y="95536"/>
                  </a:lnTo>
                  <a:lnTo>
                    <a:pt x="86868" y="112395"/>
                  </a:lnTo>
                  <a:close/>
                  <a:moveTo>
                    <a:pt x="94583" y="134588"/>
                  </a:moveTo>
                  <a:lnTo>
                    <a:pt x="85820" y="125063"/>
                  </a:lnTo>
                  <a:lnTo>
                    <a:pt x="89726" y="120777"/>
                  </a:lnTo>
                  <a:lnTo>
                    <a:pt x="94583" y="134588"/>
                  </a:lnTo>
                  <a:close/>
                  <a:moveTo>
                    <a:pt x="135065" y="124397"/>
                  </a:moveTo>
                  <a:lnTo>
                    <a:pt x="110585" y="124397"/>
                  </a:lnTo>
                  <a:cubicBezTo>
                    <a:pt x="110585" y="124397"/>
                    <a:pt x="95631" y="80201"/>
                    <a:pt x="95631" y="80201"/>
                  </a:cubicBezTo>
                  <a:lnTo>
                    <a:pt x="144018" y="95441"/>
                  </a:lnTo>
                  <a:lnTo>
                    <a:pt x="135065" y="124397"/>
                  </a:lnTo>
                  <a:close/>
                  <a:moveTo>
                    <a:pt x="59627" y="153638"/>
                  </a:moveTo>
                  <a:lnTo>
                    <a:pt x="80486" y="130969"/>
                  </a:lnTo>
                  <a:lnTo>
                    <a:pt x="101251" y="153543"/>
                  </a:lnTo>
                  <a:lnTo>
                    <a:pt x="104585" y="162973"/>
                  </a:lnTo>
                  <a:lnTo>
                    <a:pt x="56293" y="162973"/>
                  </a:lnTo>
                  <a:cubicBezTo>
                    <a:pt x="56293" y="162973"/>
                    <a:pt x="59722" y="153638"/>
                    <a:pt x="59722" y="153638"/>
                  </a:cubicBezTo>
                  <a:close/>
                  <a:moveTo>
                    <a:pt x="71533" y="121253"/>
                  </a:moveTo>
                  <a:lnTo>
                    <a:pt x="75057" y="125158"/>
                  </a:lnTo>
                  <a:lnTo>
                    <a:pt x="66770" y="134207"/>
                  </a:lnTo>
                  <a:lnTo>
                    <a:pt x="71533" y="121348"/>
                  </a:lnTo>
                  <a:close/>
                </a:path>
              </a:pathLst>
            </a:custGeom>
            <a:solidFill>
              <a:srgbClr val="3D4647"/>
            </a:solidFill>
            <a:ln w="9525" cap="flat">
              <a:noFill/>
              <a:prstDash val="solid"/>
              <a:miter/>
            </a:ln>
          </p:spPr>
          <p:txBody>
            <a:bodyPr rtlCol="0" anchor="ctr"/>
            <a:lstStyle/>
            <a:p>
              <a:endParaRPr lang="en-US" dirty="0"/>
            </a:p>
          </p:txBody>
        </p:sp>
      </p:grpSp>
      <p:pic>
        <p:nvPicPr>
          <p:cNvPr id="587" name="Graphic 586">
            <a:extLst>
              <a:ext uri="{FF2B5EF4-FFF2-40B4-BE49-F238E27FC236}">
                <a16:creationId xmlns:a16="http://schemas.microsoft.com/office/drawing/2014/main" id="{113A4122-1275-25A8-B7A9-8F9515E40D7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1033748" y="3232714"/>
            <a:ext cx="627507" cy="658368"/>
          </a:xfrm>
          <a:prstGeom prst="rect">
            <a:avLst/>
          </a:prstGeom>
        </p:spPr>
      </p:pic>
      <p:pic>
        <p:nvPicPr>
          <p:cNvPr id="588" name="Graphic 587">
            <a:extLst>
              <a:ext uri="{FF2B5EF4-FFF2-40B4-BE49-F238E27FC236}">
                <a16:creationId xmlns:a16="http://schemas.microsoft.com/office/drawing/2014/main" id="{B4B1CBB3-488A-B28E-77CC-E7ADA42CBA0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539594" y="3232714"/>
            <a:ext cx="627507" cy="658368"/>
          </a:xfrm>
          <a:prstGeom prst="rect">
            <a:avLst/>
          </a:prstGeom>
        </p:spPr>
      </p:pic>
      <p:grpSp>
        <p:nvGrpSpPr>
          <p:cNvPr id="590" name="Group 589">
            <a:extLst>
              <a:ext uri="{FF2B5EF4-FFF2-40B4-BE49-F238E27FC236}">
                <a16:creationId xmlns:a16="http://schemas.microsoft.com/office/drawing/2014/main" id="{ECA91BA9-14FF-34A2-865B-FBC58D9E0B2A}"/>
              </a:ext>
            </a:extLst>
          </p:cNvPr>
          <p:cNvGrpSpPr/>
          <p:nvPr/>
        </p:nvGrpSpPr>
        <p:grpSpPr>
          <a:xfrm>
            <a:off x="6092237" y="3232714"/>
            <a:ext cx="628432" cy="658368"/>
            <a:chOff x="6092237" y="3700309"/>
            <a:chExt cx="628432" cy="658368"/>
          </a:xfrm>
        </p:grpSpPr>
        <p:grpSp>
          <p:nvGrpSpPr>
            <p:cNvPr id="591" name="Graphic 23">
              <a:extLst>
                <a:ext uri="{FF2B5EF4-FFF2-40B4-BE49-F238E27FC236}">
                  <a16:creationId xmlns:a16="http://schemas.microsoft.com/office/drawing/2014/main" id="{A835CFAB-B751-48F6-4B4C-2DDAB14701FB}"/>
                </a:ext>
              </a:extLst>
            </p:cNvPr>
            <p:cNvGrpSpPr>
              <a:grpSpLocks noChangeAspect="1"/>
            </p:cNvGrpSpPr>
            <p:nvPr/>
          </p:nvGrpSpPr>
          <p:grpSpPr>
            <a:xfrm>
              <a:off x="6176345" y="3921605"/>
              <a:ext cx="219456" cy="219456"/>
              <a:chOff x="6181426" y="3931766"/>
              <a:chExt cx="195555" cy="195555"/>
            </a:xfrm>
            <a:solidFill>
              <a:srgbClr val="3D4647"/>
            </a:solidFill>
          </p:grpSpPr>
          <p:sp>
            <p:nvSpPr>
              <p:cNvPr id="607" name="Freeform: Shape 606">
                <a:extLst>
                  <a:ext uri="{FF2B5EF4-FFF2-40B4-BE49-F238E27FC236}">
                    <a16:creationId xmlns:a16="http://schemas.microsoft.com/office/drawing/2014/main" id="{EB485BA9-A9A1-1299-045A-3F9C8E3804EF}"/>
                  </a:ext>
                </a:extLst>
              </p:cNvPr>
              <p:cNvSpPr/>
              <p:nvPr/>
            </p:nvSpPr>
            <p:spPr>
              <a:xfrm>
                <a:off x="6241502" y="3991739"/>
                <a:ext cx="75506" cy="75506"/>
              </a:xfrm>
              <a:custGeom>
                <a:avLst/>
                <a:gdLst>
                  <a:gd name="connsiteX0" fmla="*/ 69232 w 75506"/>
                  <a:gd name="connsiteY0" fmla="*/ 0 h 75506"/>
                  <a:gd name="connsiteX1" fmla="*/ 75507 w 75506"/>
                  <a:gd name="connsiteY1" fmla="*/ 6275 h 75506"/>
                  <a:gd name="connsiteX2" fmla="*/ 75507 w 75506"/>
                  <a:gd name="connsiteY2" fmla="*/ 69232 h 75506"/>
                  <a:gd name="connsiteX3" fmla="*/ 69232 w 75506"/>
                  <a:gd name="connsiteY3" fmla="*/ 75507 h 75506"/>
                  <a:gd name="connsiteX4" fmla="*/ 6275 w 75506"/>
                  <a:gd name="connsiteY4" fmla="*/ 75507 h 75506"/>
                  <a:gd name="connsiteX5" fmla="*/ 0 w 75506"/>
                  <a:gd name="connsiteY5" fmla="*/ 69232 h 75506"/>
                  <a:gd name="connsiteX6" fmla="*/ 0 w 75506"/>
                  <a:gd name="connsiteY6" fmla="*/ 6275 h 75506"/>
                  <a:gd name="connsiteX7" fmla="*/ 6275 w 75506"/>
                  <a:gd name="connsiteY7" fmla="*/ 0 h 7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06" h="75506">
                    <a:moveTo>
                      <a:pt x="69232" y="0"/>
                    </a:moveTo>
                    <a:cubicBezTo>
                      <a:pt x="72697" y="0"/>
                      <a:pt x="75507" y="2809"/>
                      <a:pt x="75507" y="6275"/>
                    </a:cubicBezTo>
                    <a:lnTo>
                      <a:pt x="75507" y="69232"/>
                    </a:lnTo>
                    <a:cubicBezTo>
                      <a:pt x="75507" y="72697"/>
                      <a:pt x="72697" y="75507"/>
                      <a:pt x="69232" y="75507"/>
                    </a:cubicBezTo>
                    <a:lnTo>
                      <a:pt x="6275" y="75507"/>
                    </a:lnTo>
                    <a:cubicBezTo>
                      <a:pt x="2809" y="75507"/>
                      <a:pt x="0" y="72697"/>
                      <a:pt x="0" y="69232"/>
                    </a:cubicBezTo>
                    <a:lnTo>
                      <a:pt x="0" y="6275"/>
                    </a:lnTo>
                    <a:cubicBezTo>
                      <a:pt x="0" y="2809"/>
                      <a:pt x="2809" y="0"/>
                      <a:pt x="6275" y="0"/>
                    </a:cubicBezTo>
                    <a:close/>
                  </a:path>
                </a:pathLst>
              </a:custGeom>
              <a:solidFill>
                <a:srgbClr val="3D4647"/>
              </a:solidFill>
              <a:ln w="10150" cap="flat">
                <a:noFill/>
                <a:prstDash val="solid"/>
                <a:miter/>
              </a:ln>
            </p:spPr>
            <p:txBody>
              <a:bodyPr rtlCol="0" anchor="ctr"/>
              <a:lstStyle/>
              <a:p>
                <a:endParaRPr lang="en-US" dirty="0"/>
              </a:p>
            </p:txBody>
          </p:sp>
          <p:sp>
            <p:nvSpPr>
              <p:cNvPr id="608" name="Freeform: Shape 607">
                <a:extLst>
                  <a:ext uri="{FF2B5EF4-FFF2-40B4-BE49-F238E27FC236}">
                    <a16:creationId xmlns:a16="http://schemas.microsoft.com/office/drawing/2014/main" id="{20F49700-74AF-3CA7-491E-0A15E67E3842}"/>
                  </a:ext>
                </a:extLst>
              </p:cNvPr>
              <p:cNvSpPr/>
              <p:nvPr/>
            </p:nvSpPr>
            <p:spPr>
              <a:xfrm>
                <a:off x="6181426" y="3931766"/>
                <a:ext cx="195555" cy="195555"/>
              </a:xfrm>
              <a:custGeom>
                <a:avLst/>
                <a:gdLst>
                  <a:gd name="connsiteX0" fmla="*/ 195556 w 195555"/>
                  <a:gd name="connsiteY0" fmla="*/ 78181 h 195555"/>
                  <a:gd name="connsiteX1" fmla="*/ 195556 w 195555"/>
                  <a:gd name="connsiteY1" fmla="*/ 65940 h 195555"/>
                  <a:gd name="connsiteX2" fmla="*/ 173439 w 195555"/>
                  <a:gd name="connsiteY2" fmla="*/ 65940 h 195555"/>
                  <a:gd name="connsiteX3" fmla="*/ 173439 w 195555"/>
                  <a:gd name="connsiteY3" fmla="*/ 34667 h 195555"/>
                  <a:gd name="connsiteX4" fmla="*/ 160889 w 195555"/>
                  <a:gd name="connsiteY4" fmla="*/ 22117 h 195555"/>
                  <a:gd name="connsiteX5" fmla="*/ 130028 w 195555"/>
                  <a:gd name="connsiteY5" fmla="*/ 22117 h 195555"/>
                  <a:gd name="connsiteX6" fmla="*/ 130028 w 195555"/>
                  <a:gd name="connsiteY6" fmla="*/ 0 h 195555"/>
                  <a:gd name="connsiteX7" fmla="*/ 117786 w 195555"/>
                  <a:gd name="connsiteY7" fmla="*/ 0 h 195555"/>
                  <a:gd name="connsiteX8" fmla="*/ 117786 w 195555"/>
                  <a:gd name="connsiteY8" fmla="*/ 22117 h 195555"/>
                  <a:gd name="connsiteX9" fmla="*/ 103899 w 195555"/>
                  <a:gd name="connsiteY9" fmla="*/ 22117 h 195555"/>
                  <a:gd name="connsiteX10" fmla="*/ 103899 w 195555"/>
                  <a:gd name="connsiteY10" fmla="*/ 0 h 195555"/>
                  <a:gd name="connsiteX11" fmla="*/ 91657 w 195555"/>
                  <a:gd name="connsiteY11" fmla="*/ 0 h 195555"/>
                  <a:gd name="connsiteX12" fmla="*/ 91657 w 195555"/>
                  <a:gd name="connsiteY12" fmla="*/ 22117 h 195555"/>
                  <a:gd name="connsiteX13" fmla="*/ 78593 w 195555"/>
                  <a:gd name="connsiteY13" fmla="*/ 22117 h 195555"/>
                  <a:gd name="connsiteX14" fmla="*/ 78593 w 195555"/>
                  <a:gd name="connsiteY14" fmla="*/ 0 h 195555"/>
                  <a:gd name="connsiteX15" fmla="*/ 66351 w 195555"/>
                  <a:gd name="connsiteY15" fmla="*/ 0 h 195555"/>
                  <a:gd name="connsiteX16" fmla="*/ 66351 w 195555"/>
                  <a:gd name="connsiteY16" fmla="*/ 22117 h 195555"/>
                  <a:gd name="connsiteX17" fmla="*/ 34667 w 195555"/>
                  <a:gd name="connsiteY17" fmla="*/ 22117 h 195555"/>
                  <a:gd name="connsiteX18" fmla="*/ 22117 w 195555"/>
                  <a:gd name="connsiteY18" fmla="*/ 34667 h 195555"/>
                  <a:gd name="connsiteX19" fmla="*/ 22117 w 195555"/>
                  <a:gd name="connsiteY19" fmla="*/ 65940 h 195555"/>
                  <a:gd name="connsiteX20" fmla="*/ 0 w 195555"/>
                  <a:gd name="connsiteY20" fmla="*/ 65940 h 195555"/>
                  <a:gd name="connsiteX21" fmla="*/ 0 w 195555"/>
                  <a:gd name="connsiteY21" fmla="*/ 78181 h 195555"/>
                  <a:gd name="connsiteX22" fmla="*/ 22117 w 195555"/>
                  <a:gd name="connsiteY22" fmla="*/ 78181 h 195555"/>
                  <a:gd name="connsiteX23" fmla="*/ 22117 w 195555"/>
                  <a:gd name="connsiteY23" fmla="*/ 92069 h 195555"/>
                  <a:gd name="connsiteX24" fmla="*/ 0 w 195555"/>
                  <a:gd name="connsiteY24" fmla="*/ 92069 h 195555"/>
                  <a:gd name="connsiteX25" fmla="*/ 0 w 195555"/>
                  <a:gd name="connsiteY25" fmla="*/ 104310 h 195555"/>
                  <a:gd name="connsiteX26" fmla="*/ 22117 w 195555"/>
                  <a:gd name="connsiteY26" fmla="*/ 104310 h 195555"/>
                  <a:gd name="connsiteX27" fmla="*/ 22117 w 195555"/>
                  <a:gd name="connsiteY27" fmla="*/ 117375 h 195555"/>
                  <a:gd name="connsiteX28" fmla="*/ 0 w 195555"/>
                  <a:gd name="connsiteY28" fmla="*/ 117375 h 195555"/>
                  <a:gd name="connsiteX29" fmla="*/ 0 w 195555"/>
                  <a:gd name="connsiteY29" fmla="*/ 129616 h 195555"/>
                  <a:gd name="connsiteX30" fmla="*/ 22117 w 195555"/>
                  <a:gd name="connsiteY30" fmla="*/ 129616 h 195555"/>
                  <a:gd name="connsiteX31" fmla="*/ 22117 w 195555"/>
                  <a:gd name="connsiteY31" fmla="*/ 160889 h 195555"/>
                  <a:gd name="connsiteX32" fmla="*/ 34667 w 195555"/>
                  <a:gd name="connsiteY32" fmla="*/ 173439 h 195555"/>
                  <a:gd name="connsiteX33" fmla="*/ 66351 w 195555"/>
                  <a:gd name="connsiteY33" fmla="*/ 173439 h 195555"/>
                  <a:gd name="connsiteX34" fmla="*/ 66351 w 195555"/>
                  <a:gd name="connsiteY34" fmla="*/ 195556 h 195555"/>
                  <a:gd name="connsiteX35" fmla="*/ 78593 w 195555"/>
                  <a:gd name="connsiteY35" fmla="*/ 195556 h 195555"/>
                  <a:gd name="connsiteX36" fmla="*/ 78593 w 195555"/>
                  <a:gd name="connsiteY36" fmla="*/ 173439 h 195555"/>
                  <a:gd name="connsiteX37" fmla="*/ 91657 w 195555"/>
                  <a:gd name="connsiteY37" fmla="*/ 173439 h 195555"/>
                  <a:gd name="connsiteX38" fmla="*/ 91657 w 195555"/>
                  <a:gd name="connsiteY38" fmla="*/ 195556 h 195555"/>
                  <a:gd name="connsiteX39" fmla="*/ 103899 w 195555"/>
                  <a:gd name="connsiteY39" fmla="*/ 195556 h 195555"/>
                  <a:gd name="connsiteX40" fmla="*/ 103899 w 195555"/>
                  <a:gd name="connsiteY40" fmla="*/ 173439 h 195555"/>
                  <a:gd name="connsiteX41" fmla="*/ 117786 w 195555"/>
                  <a:gd name="connsiteY41" fmla="*/ 173439 h 195555"/>
                  <a:gd name="connsiteX42" fmla="*/ 117786 w 195555"/>
                  <a:gd name="connsiteY42" fmla="*/ 195556 h 195555"/>
                  <a:gd name="connsiteX43" fmla="*/ 130028 w 195555"/>
                  <a:gd name="connsiteY43" fmla="*/ 195556 h 195555"/>
                  <a:gd name="connsiteX44" fmla="*/ 130028 w 195555"/>
                  <a:gd name="connsiteY44" fmla="*/ 173439 h 195555"/>
                  <a:gd name="connsiteX45" fmla="*/ 160889 w 195555"/>
                  <a:gd name="connsiteY45" fmla="*/ 173439 h 195555"/>
                  <a:gd name="connsiteX46" fmla="*/ 173439 w 195555"/>
                  <a:gd name="connsiteY46" fmla="*/ 160889 h 195555"/>
                  <a:gd name="connsiteX47" fmla="*/ 173439 w 195555"/>
                  <a:gd name="connsiteY47" fmla="*/ 129616 h 195555"/>
                  <a:gd name="connsiteX48" fmla="*/ 195556 w 195555"/>
                  <a:gd name="connsiteY48" fmla="*/ 129616 h 195555"/>
                  <a:gd name="connsiteX49" fmla="*/ 195556 w 195555"/>
                  <a:gd name="connsiteY49" fmla="*/ 117375 h 195555"/>
                  <a:gd name="connsiteX50" fmla="*/ 173439 w 195555"/>
                  <a:gd name="connsiteY50" fmla="*/ 117375 h 195555"/>
                  <a:gd name="connsiteX51" fmla="*/ 173439 w 195555"/>
                  <a:gd name="connsiteY51" fmla="*/ 104310 h 195555"/>
                  <a:gd name="connsiteX52" fmla="*/ 195556 w 195555"/>
                  <a:gd name="connsiteY52" fmla="*/ 104310 h 195555"/>
                  <a:gd name="connsiteX53" fmla="*/ 195556 w 195555"/>
                  <a:gd name="connsiteY53" fmla="*/ 92069 h 195555"/>
                  <a:gd name="connsiteX54" fmla="*/ 173439 w 195555"/>
                  <a:gd name="connsiteY54" fmla="*/ 92069 h 195555"/>
                  <a:gd name="connsiteX55" fmla="*/ 173439 w 195555"/>
                  <a:gd name="connsiteY55" fmla="*/ 78181 h 195555"/>
                  <a:gd name="connsiteX56" fmla="*/ 195556 w 195555"/>
                  <a:gd name="connsiteY56" fmla="*/ 78181 h 195555"/>
                  <a:gd name="connsiteX57" fmla="*/ 148956 w 195555"/>
                  <a:gd name="connsiteY57" fmla="*/ 148956 h 195555"/>
                  <a:gd name="connsiteX58" fmla="*/ 46600 w 195555"/>
                  <a:gd name="connsiteY58" fmla="*/ 148956 h 195555"/>
                  <a:gd name="connsiteX59" fmla="*/ 46600 w 195555"/>
                  <a:gd name="connsiteY59" fmla="*/ 46600 h 195555"/>
                  <a:gd name="connsiteX60" fmla="*/ 148956 w 195555"/>
                  <a:gd name="connsiteY60" fmla="*/ 46600 h 195555"/>
                  <a:gd name="connsiteX61" fmla="*/ 148956 w 195555"/>
                  <a:gd name="connsiteY61" fmla="*/ 148956 h 195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95555" h="195555">
                    <a:moveTo>
                      <a:pt x="195556" y="78181"/>
                    </a:moveTo>
                    <a:lnTo>
                      <a:pt x="195556" y="65940"/>
                    </a:lnTo>
                    <a:lnTo>
                      <a:pt x="173439" y="65940"/>
                    </a:lnTo>
                    <a:lnTo>
                      <a:pt x="173439" y="34667"/>
                    </a:lnTo>
                    <a:cubicBezTo>
                      <a:pt x="173439" y="27775"/>
                      <a:pt x="167781" y="22117"/>
                      <a:pt x="160889" y="22117"/>
                    </a:cubicBezTo>
                    <a:lnTo>
                      <a:pt x="130028" y="22117"/>
                    </a:lnTo>
                    <a:lnTo>
                      <a:pt x="130028" y="0"/>
                    </a:lnTo>
                    <a:lnTo>
                      <a:pt x="117786" y="0"/>
                    </a:lnTo>
                    <a:lnTo>
                      <a:pt x="117786" y="22117"/>
                    </a:lnTo>
                    <a:lnTo>
                      <a:pt x="103899" y="22117"/>
                    </a:lnTo>
                    <a:lnTo>
                      <a:pt x="103899" y="0"/>
                    </a:lnTo>
                    <a:lnTo>
                      <a:pt x="91657" y="0"/>
                    </a:lnTo>
                    <a:lnTo>
                      <a:pt x="91657" y="22117"/>
                    </a:lnTo>
                    <a:lnTo>
                      <a:pt x="78593" y="22117"/>
                    </a:lnTo>
                    <a:lnTo>
                      <a:pt x="78593" y="0"/>
                    </a:lnTo>
                    <a:lnTo>
                      <a:pt x="66351" y="0"/>
                    </a:lnTo>
                    <a:lnTo>
                      <a:pt x="66351" y="22117"/>
                    </a:lnTo>
                    <a:lnTo>
                      <a:pt x="34667" y="22117"/>
                    </a:lnTo>
                    <a:cubicBezTo>
                      <a:pt x="27775" y="22117"/>
                      <a:pt x="22117" y="27775"/>
                      <a:pt x="22117" y="34667"/>
                    </a:cubicBezTo>
                    <a:lnTo>
                      <a:pt x="22117" y="65940"/>
                    </a:lnTo>
                    <a:lnTo>
                      <a:pt x="0" y="65940"/>
                    </a:lnTo>
                    <a:lnTo>
                      <a:pt x="0" y="78181"/>
                    </a:lnTo>
                    <a:lnTo>
                      <a:pt x="22117" y="78181"/>
                    </a:lnTo>
                    <a:lnTo>
                      <a:pt x="22117" y="92069"/>
                    </a:lnTo>
                    <a:lnTo>
                      <a:pt x="0" y="92069"/>
                    </a:lnTo>
                    <a:lnTo>
                      <a:pt x="0" y="104310"/>
                    </a:lnTo>
                    <a:lnTo>
                      <a:pt x="22117" y="104310"/>
                    </a:lnTo>
                    <a:lnTo>
                      <a:pt x="22117" y="117375"/>
                    </a:lnTo>
                    <a:lnTo>
                      <a:pt x="0" y="117375"/>
                    </a:lnTo>
                    <a:lnTo>
                      <a:pt x="0" y="129616"/>
                    </a:lnTo>
                    <a:lnTo>
                      <a:pt x="22117" y="129616"/>
                    </a:lnTo>
                    <a:lnTo>
                      <a:pt x="22117" y="160889"/>
                    </a:lnTo>
                    <a:cubicBezTo>
                      <a:pt x="22117" y="167781"/>
                      <a:pt x="27775" y="173439"/>
                      <a:pt x="34667" y="173439"/>
                    </a:cubicBezTo>
                    <a:lnTo>
                      <a:pt x="66351" y="173439"/>
                    </a:lnTo>
                    <a:lnTo>
                      <a:pt x="66351" y="195556"/>
                    </a:lnTo>
                    <a:lnTo>
                      <a:pt x="78593" y="195556"/>
                    </a:lnTo>
                    <a:lnTo>
                      <a:pt x="78593" y="173439"/>
                    </a:lnTo>
                    <a:lnTo>
                      <a:pt x="91657" y="173439"/>
                    </a:lnTo>
                    <a:lnTo>
                      <a:pt x="91657" y="195556"/>
                    </a:lnTo>
                    <a:lnTo>
                      <a:pt x="103899" y="195556"/>
                    </a:lnTo>
                    <a:lnTo>
                      <a:pt x="103899" y="173439"/>
                    </a:lnTo>
                    <a:lnTo>
                      <a:pt x="117786" y="173439"/>
                    </a:lnTo>
                    <a:lnTo>
                      <a:pt x="117786" y="195556"/>
                    </a:lnTo>
                    <a:lnTo>
                      <a:pt x="130028" y="195556"/>
                    </a:lnTo>
                    <a:lnTo>
                      <a:pt x="130028" y="173439"/>
                    </a:lnTo>
                    <a:lnTo>
                      <a:pt x="160889" y="173439"/>
                    </a:lnTo>
                    <a:cubicBezTo>
                      <a:pt x="167781" y="173439"/>
                      <a:pt x="173439" y="167781"/>
                      <a:pt x="173439" y="160889"/>
                    </a:cubicBezTo>
                    <a:lnTo>
                      <a:pt x="173439" y="129616"/>
                    </a:lnTo>
                    <a:lnTo>
                      <a:pt x="195556" y="129616"/>
                    </a:lnTo>
                    <a:lnTo>
                      <a:pt x="195556" y="117375"/>
                    </a:lnTo>
                    <a:lnTo>
                      <a:pt x="173439" y="117375"/>
                    </a:lnTo>
                    <a:lnTo>
                      <a:pt x="173439" y="104310"/>
                    </a:lnTo>
                    <a:lnTo>
                      <a:pt x="195556" y="104310"/>
                    </a:lnTo>
                    <a:lnTo>
                      <a:pt x="195556" y="92069"/>
                    </a:lnTo>
                    <a:lnTo>
                      <a:pt x="173439" y="92069"/>
                    </a:lnTo>
                    <a:lnTo>
                      <a:pt x="173439" y="78181"/>
                    </a:lnTo>
                    <a:lnTo>
                      <a:pt x="195556" y="78181"/>
                    </a:lnTo>
                    <a:close/>
                    <a:moveTo>
                      <a:pt x="148956" y="148956"/>
                    </a:moveTo>
                    <a:lnTo>
                      <a:pt x="46600" y="148956"/>
                    </a:lnTo>
                    <a:lnTo>
                      <a:pt x="46600" y="46600"/>
                    </a:lnTo>
                    <a:lnTo>
                      <a:pt x="148956" y="46600"/>
                    </a:lnTo>
                    <a:lnTo>
                      <a:pt x="148956" y="148956"/>
                    </a:lnTo>
                    <a:close/>
                  </a:path>
                </a:pathLst>
              </a:custGeom>
              <a:solidFill>
                <a:srgbClr val="3D4647"/>
              </a:solidFill>
              <a:ln w="10150" cap="flat">
                <a:noFill/>
                <a:prstDash val="solid"/>
                <a:miter/>
              </a:ln>
            </p:spPr>
            <p:txBody>
              <a:bodyPr rtlCol="0" anchor="ctr"/>
              <a:lstStyle/>
              <a:p>
                <a:endParaRPr lang="en-US" dirty="0"/>
              </a:p>
            </p:txBody>
          </p:sp>
        </p:grpSp>
        <p:grpSp>
          <p:nvGrpSpPr>
            <p:cNvPr id="593" name="Graphic 23">
              <a:extLst>
                <a:ext uri="{FF2B5EF4-FFF2-40B4-BE49-F238E27FC236}">
                  <a16:creationId xmlns:a16="http://schemas.microsoft.com/office/drawing/2014/main" id="{8495045E-8535-9A10-1D6C-D68BDE359B74}"/>
                </a:ext>
              </a:extLst>
            </p:cNvPr>
            <p:cNvGrpSpPr/>
            <p:nvPr/>
          </p:nvGrpSpPr>
          <p:grpSpPr>
            <a:xfrm>
              <a:off x="6092237" y="3700309"/>
              <a:ext cx="628432" cy="658368"/>
              <a:chOff x="6092237" y="3700309"/>
              <a:chExt cx="628432" cy="658368"/>
            </a:xfrm>
            <a:solidFill>
              <a:srgbClr val="3D4647"/>
            </a:solidFill>
          </p:grpSpPr>
          <p:sp>
            <p:nvSpPr>
              <p:cNvPr id="604" name="Freeform: Shape 603">
                <a:extLst>
                  <a:ext uri="{FF2B5EF4-FFF2-40B4-BE49-F238E27FC236}">
                    <a16:creationId xmlns:a16="http://schemas.microsoft.com/office/drawing/2014/main" id="{CCCCAA5C-5164-9966-9551-B1AAF88F757B}"/>
                  </a:ext>
                </a:extLst>
              </p:cNvPr>
              <p:cNvSpPr/>
              <p:nvPr/>
            </p:nvSpPr>
            <p:spPr>
              <a:xfrm>
                <a:off x="6105199" y="3700309"/>
                <a:ext cx="366114" cy="355107"/>
              </a:xfrm>
              <a:custGeom>
                <a:avLst/>
                <a:gdLst>
                  <a:gd name="connsiteX0" fmla="*/ 365703 w 366114"/>
                  <a:gd name="connsiteY0" fmla="*/ 78901 h 355107"/>
                  <a:gd name="connsiteX1" fmla="*/ 305627 w 366114"/>
                  <a:gd name="connsiteY1" fmla="*/ 0 h 355107"/>
                  <a:gd name="connsiteX2" fmla="*/ 298220 w 366114"/>
                  <a:gd name="connsiteY2" fmla="*/ 54418 h 355107"/>
                  <a:gd name="connsiteX3" fmla="*/ 122415 w 366114"/>
                  <a:gd name="connsiteY3" fmla="*/ 113774 h 355107"/>
                  <a:gd name="connsiteX4" fmla="*/ 3292 w 366114"/>
                  <a:gd name="connsiteY4" fmla="*/ 312005 h 355107"/>
                  <a:gd name="connsiteX5" fmla="*/ 0 w 366114"/>
                  <a:gd name="connsiteY5" fmla="*/ 354902 h 355107"/>
                  <a:gd name="connsiteX6" fmla="*/ 34050 w 366114"/>
                  <a:gd name="connsiteY6" fmla="*/ 355107 h 355107"/>
                  <a:gd name="connsiteX7" fmla="*/ 37033 w 366114"/>
                  <a:gd name="connsiteY7" fmla="*/ 316942 h 355107"/>
                  <a:gd name="connsiteX8" fmla="*/ 142784 w 366114"/>
                  <a:gd name="connsiteY8" fmla="*/ 141035 h 355107"/>
                  <a:gd name="connsiteX9" fmla="*/ 293797 w 366114"/>
                  <a:gd name="connsiteY9" fmla="*/ 88468 h 355107"/>
                  <a:gd name="connsiteX10" fmla="*/ 287007 w 366114"/>
                  <a:gd name="connsiteY10" fmla="*/ 138875 h 355107"/>
                  <a:gd name="connsiteX11" fmla="*/ 366114 w 366114"/>
                  <a:gd name="connsiteY11" fmla="*/ 78901 h 355107"/>
                  <a:gd name="connsiteX12" fmla="*/ 365909 w 366114"/>
                  <a:gd name="connsiteY12" fmla="*/ 78901 h 3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6114" h="355107">
                    <a:moveTo>
                      <a:pt x="365703" y="78901"/>
                    </a:moveTo>
                    <a:lnTo>
                      <a:pt x="305627" y="0"/>
                    </a:lnTo>
                    <a:lnTo>
                      <a:pt x="298220" y="54418"/>
                    </a:lnTo>
                    <a:cubicBezTo>
                      <a:pt x="235161" y="55138"/>
                      <a:pt x="173953" y="75507"/>
                      <a:pt x="122415" y="113774"/>
                    </a:cubicBezTo>
                    <a:cubicBezTo>
                      <a:pt x="57504" y="161815"/>
                      <a:pt x="15225" y="232178"/>
                      <a:pt x="3292" y="312005"/>
                    </a:cubicBezTo>
                    <a:cubicBezTo>
                      <a:pt x="1132" y="326304"/>
                      <a:pt x="0" y="340705"/>
                      <a:pt x="0" y="354902"/>
                    </a:cubicBezTo>
                    <a:lnTo>
                      <a:pt x="34050" y="355107"/>
                    </a:lnTo>
                    <a:cubicBezTo>
                      <a:pt x="34050" y="342454"/>
                      <a:pt x="35079" y="329596"/>
                      <a:pt x="37033" y="316942"/>
                    </a:cubicBezTo>
                    <a:cubicBezTo>
                      <a:pt x="47629" y="246168"/>
                      <a:pt x="85176" y="183623"/>
                      <a:pt x="142784" y="141035"/>
                    </a:cubicBezTo>
                    <a:cubicBezTo>
                      <a:pt x="187223" y="108219"/>
                      <a:pt x="239584" y="90217"/>
                      <a:pt x="293797" y="88468"/>
                    </a:cubicBezTo>
                    <a:lnTo>
                      <a:pt x="287007" y="138875"/>
                    </a:lnTo>
                    <a:lnTo>
                      <a:pt x="366114" y="78901"/>
                    </a:lnTo>
                    <a:lnTo>
                      <a:pt x="365909" y="78901"/>
                    </a:lnTo>
                    <a:close/>
                  </a:path>
                </a:pathLst>
              </a:custGeom>
              <a:solidFill>
                <a:srgbClr val="3D4647"/>
              </a:solidFill>
              <a:ln w="10150" cap="flat">
                <a:noFill/>
                <a:prstDash val="solid"/>
                <a:miter/>
              </a:ln>
            </p:spPr>
            <p:txBody>
              <a:bodyPr rtlCol="0" anchor="ctr"/>
              <a:lstStyle/>
              <a:p>
                <a:endParaRPr lang="en-US" dirty="0"/>
              </a:p>
            </p:txBody>
          </p:sp>
          <p:sp>
            <p:nvSpPr>
              <p:cNvPr id="605" name="Freeform: Shape 604">
                <a:extLst>
                  <a:ext uri="{FF2B5EF4-FFF2-40B4-BE49-F238E27FC236}">
                    <a16:creationId xmlns:a16="http://schemas.microsoft.com/office/drawing/2014/main" id="{11A9F22C-FAFA-EA4E-7088-78E581E54560}"/>
                  </a:ext>
                </a:extLst>
              </p:cNvPr>
              <p:cNvSpPr/>
              <p:nvPr/>
            </p:nvSpPr>
            <p:spPr>
              <a:xfrm>
                <a:off x="6538385" y="3792994"/>
                <a:ext cx="182285" cy="461269"/>
              </a:xfrm>
              <a:custGeom>
                <a:avLst/>
                <a:gdLst>
                  <a:gd name="connsiteX0" fmla="*/ 133217 w 182285"/>
                  <a:gd name="connsiteY0" fmla="*/ 410863 h 461269"/>
                  <a:gd name="connsiteX1" fmla="*/ 168398 w 182285"/>
                  <a:gd name="connsiteY1" fmla="*/ 308199 h 461269"/>
                  <a:gd name="connsiteX2" fmla="*/ 16562 w 182285"/>
                  <a:gd name="connsiteY2" fmla="*/ 0 h 461269"/>
                  <a:gd name="connsiteX3" fmla="*/ 0 w 182285"/>
                  <a:gd name="connsiteY3" fmla="*/ 29627 h 461269"/>
                  <a:gd name="connsiteX4" fmla="*/ 134657 w 182285"/>
                  <a:gd name="connsiteY4" fmla="*/ 303261 h 461269"/>
                  <a:gd name="connsiteX5" fmla="*/ 106882 w 182285"/>
                  <a:gd name="connsiteY5" fmla="*/ 388334 h 461269"/>
                  <a:gd name="connsiteX6" fmla="*/ 63574 w 182285"/>
                  <a:gd name="connsiteY6" fmla="*/ 351095 h 461269"/>
                  <a:gd name="connsiteX7" fmla="*/ 71906 w 182285"/>
                  <a:gd name="connsiteY7" fmla="*/ 461269 h 461269"/>
                  <a:gd name="connsiteX8" fmla="*/ 182286 w 182285"/>
                  <a:gd name="connsiteY8" fmla="*/ 453039 h 461269"/>
                  <a:gd name="connsiteX9" fmla="*/ 133320 w 182285"/>
                  <a:gd name="connsiteY9" fmla="*/ 410966 h 461269"/>
                  <a:gd name="connsiteX10" fmla="*/ 133320 w 182285"/>
                  <a:gd name="connsiteY10" fmla="*/ 410966 h 46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285" h="461269">
                    <a:moveTo>
                      <a:pt x="133217" y="410863"/>
                    </a:moveTo>
                    <a:cubicBezTo>
                      <a:pt x="150910" y="379179"/>
                      <a:pt x="162946" y="344512"/>
                      <a:pt x="168398" y="308199"/>
                    </a:cubicBezTo>
                    <a:cubicBezTo>
                      <a:pt x="186812" y="184652"/>
                      <a:pt x="125810" y="60796"/>
                      <a:pt x="16562" y="0"/>
                    </a:cubicBezTo>
                    <a:lnTo>
                      <a:pt x="0" y="29627"/>
                    </a:lnTo>
                    <a:cubicBezTo>
                      <a:pt x="96904" y="83633"/>
                      <a:pt x="151116" y="193601"/>
                      <a:pt x="134657" y="303261"/>
                    </a:cubicBezTo>
                    <a:cubicBezTo>
                      <a:pt x="130233" y="333196"/>
                      <a:pt x="120667" y="361897"/>
                      <a:pt x="106882" y="388334"/>
                    </a:cubicBezTo>
                    <a:lnTo>
                      <a:pt x="63574" y="351095"/>
                    </a:lnTo>
                    <a:lnTo>
                      <a:pt x="71906" y="461269"/>
                    </a:lnTo>
                    <a:lnTo>
                      <a:pt x="182286" y="453039"/>
                    </a:lnTo>
                    <a:lnTo>
                      <a:pt x="133320" y="410966"/>
                    </a:lnTo>
                    <a:lnTo>
                      <a:pt x="133320" y="410966"/>
                    </a:lnTo>
                    <a:close/>
                  </a:path>
                </a:pathLst>
              </a:custGeom>
              <a:solidFill>
                <a:srgbClr val="3D4647"/>
              </a:solidFill>
              <a:ln w="10150" cap="flat">
                <a:noFill/>
                <a:prstDash val="solid"/>
                <a:miter/>
              </a:ln>
            </p:spPr>
            <p:txBody>
              <a:bodyPr rtlCol="0" anchor="ctr"/>
              <a:lstStyle/>
              <a:p>
                <a:endParaRPr lang="en-US" dirty="0"/>
              </a:p>
            </p:txBody>
          </p:sp>
          <p:sp>
            <p:nvSpPr>
              <p:cNvPr id="606" name="Freeform: Shape 605">
                <a:extLst>
                  <a:ext uri="{FF2B5EF4-FFF2-40B4-BE49-F238E27FC236}">
                    <a16:creationId xmlns:a16="http://schemas.microsoft.com/office/drawing/2014/main" id="{4DC17150-5FAC-FBD8-00A5-5B1950698003}"/>
                  </a:ext>
                </a:extLst>
              </p:cNvPr>
              <p:cNvSpPr/>
              <p:nvPr/>
            </p:nvSpPr>
            <p:spPr>
              <a:xfrm>
                <a:off x="6092237" y="4135654"/>
                <a:ext cx="473201" cy="223022"/>
              </a:xfrm>
              <a:custGeom>
                <a:avLst/>
                <a:gdLst>
                  <a:gd name="connsiteX0" fmla="*/ 455405 w 473201"/>
                  <a:gd name="connsiteY0" fmla="*/ 149676 h 223022"/>
                  <a:gd name="connsiteX1" fmla="*/ 275692 w 473201"/>
                  <a:gd name="connsiteY1" fmla="*/ 186092 h 223022"/>
                  <a:gd name="connsiteX2" fmla="*/ 86617 w 473201"/>
                  <a:gd name="connsiteY2" fmla="*/ 61311 h 223022"/>
                  <a:gd name="connsiteX3" fmla="*/ 138154 w 473201"/>
                  <a:gd name="connsiteY3" fmla="*/ 38988 h 223022"/>
                  <a:gd name="connsiteX4" fmla="*/ 38988 w 473201"/>
                  <a:gd name="connsiteY4" fmla="*/ 0 h 223022"/>
                  <a:gd name="connsiteX5" fmla="*/ 0 w 473201"/>
                  <a:gd name="connsiteY5" fmla="*/ 98961 h 223022"/>
                  <a:gd name="connsiteX6" fmla="*/ 55241 w 473201"/>
                  <a:gd name="connsiteY6" fmla="*/ 74992 h 223022"/>
                  <a:gd name="connsiteX7" fmla="*/ 270754 w 473201"/>
                  <a:gd name="connsiteY7" fmla="*/ 219730 h 223022"/>
                  <a:gd name="connsiteX8" fmla="*/ 315194 w 473201"/>
                  <a:gd name="connsiteY8" fmla="*/ 223022 h 223022"/>
                  <a:gd name="connsiteX9" fmla="*/ 473202 w 473201"/>
                  <a:gd name="connsiteY9" fmla="*/ 178582 h 223022"/>
                  <a:gd name="connsiteX10" fmla="*/ 455405 w 473201"/>
                  <a:gd name="connsiteY10" fmla="*/ 149573 h 223022"/>
                  <a:gd name="connsiteX11" fmla="*/ 455405 w 473201"/>
                  <a:gd name="connsiteY11" fmla="*/ 149573 h 22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3201" h="223022">
                    <a:moveTo>
                      <a:pt x="455405" y="149676"/>
                    </a:moveTo>
                    <a:cubicBezTo>
                      <a:pt x="401810" y="182491"/>
                      <a:pt x="338031" y="195453"/>
                      <a:pt x="275692" y="186092"/>
                    </a:cubicBezTo>
                    <a:cubicBezTo>
                      <a:pt x="196585" y="174365"/>
                      <a:pt x="127765" y="127970"/>
                      <a:pt x="86617" y="61311"/>
                    </a:cubicBezTo>
                    <a:lnTo>
                      <a:pt x="138154" y="38988"/>
                    </a:lnTo>
                    <a:lnTo>
                      <a:pt x="38988" y="0"/>
                    </a:lnTo>
                    <a:lnTo>
                      <a:pt x="0" y="98961"/>
                    </a:lnTo>
                    <a:lnTo>
                      <a:pt x="55241" y="74992"/>
                    </a:lnTo>
                    <a:cubicBezTo>
                      <a:pt x="101327" y="152248"/>
                      <a:pt x="180023" y="206254"/>
                      <a:pt x="270754" y="219730"/>
                    </a:cubicBezTo>
                    <a:cubicBezTo>
                      <a:pt x="285464" y="221891"/>
                      <a:pt x="300380" y="223022"/>
                      <a:pt x="315194" y="223022"/>
                    </a:cubicBezTo>
                    <a:cubicBezTo>
                      <a:pt x="370641" y="223022"/>
                      <a:pt x="425573" y="207695"/>
                      <a:pt x="473202" y="178582"/>
                    </a:cubicBezTo>
                    <a:lnTo>
                      <a:pt x="455405" y="149573"/>
                    </a:lnTo>
                    <a:lnTo>
                      <a:pt x="455405" y="149573"/>
                    </a:lnTo>
                    <a:close/>
                  </a:path>
                </a:pathLst>
              </a:custGeom>
              <a:solidFill>
                <a:srgbClr val="3D4647"/>
              </a:solidFill>
              <a:ln w="10150" cap="flat">
                <a:noFill/>
                <a:prstDash val="solid"/>
                <a:miter/>
              </a:ln>
            </p:spPr>
            <p:txBody>
              <a:bodyPr rtlCol="0" anchor="ctr"/>
              <a:lstStyle/>
              <a:p>
                <a:endParaRPr lang="en-US" dirty="0"/>
              </a:p>
            </p:txBody>
          </p:sp>
        </p:grpSp>
        <p:grpSp>
          <p:nvGrpSpPr>
            <p:cNvPr id="595" name="Graphic 23">
              <a:extLst>
                <a:ext uri="{FF2B5EF4-FFF2-40B4-BE49-F238E27FC236}">
                  <a16:creationId xmlns:a16="http://schemas.microsoft.com/office/drawing/2014/main" id="{1524580C-1925-0971-25C9-DE0FD9D0C08A}"/>
                </a:ext>
              </a:extLst>
            </p:cNvPr>
            <p:cNvGrpSpPr>
              <a:grpSpLocks noChangeAspect="1"/>
            </p:cNvGrpSpPr>
            <p:nvPr/>
          </p:nvGrpSpPr>
          <p:grpSpPr>
            <a:xfrm>
              <a:off x="6421848" y="3859124"/>
              <a:ext cx="194922" cy="338328"/>
              <a:chOff x="6406608" y="3874365"/>
              <a:chExt cx="190720" cy="331035"/>
            </a:xfrm>
            <a:solidFill>
              <a:srgbClr val="40AA1D"/>
            </a:solidFill>
          </p:grpSpPr>
          <p:sp>
            <p:nvSpPr>
              <p:cNvPr id="597" name="Freeform: Shape 596">
                <a:extLst>
                  <a:ext uri="{FF2B5EF4-FFF2-40B4-BE49-F238E27FC236}">
                    <a16:creationId xmlns:a16="http://schemas.microsoft.com/office/drawing/2014/main" id="{7C0C588E-1CA3-6765-1F57-77988C3678A1}"/>
                  </a:ext>
                </a:extLst>
              </p:cNvPr>
              <p:cNvSpPr/>
              <p:nvPr/>
            </p:nvSpPr>
            <p:spPr>
              <a:xfrm>
                <a:off x="6406711" y="4101399"/>
                <a:ext cx="81370" cy="104001"/>
              </a:xfrm>
              <a:custGeom>
                <a:avLst/>
                <a:gdLst>
                  <a:gd name="connsiteX0" fmla="*/ 68614 w 81370"/>
                  <a:gd name="connsiteY0" fmla="*/ 52772 h 104001"/>
                  <a:gd name="connsiteX1" fmla="*/ 63882 w 81370"/>
                  <a:gd name="connsiteY1" fmla="*/ 44851 h 104001"/>
                  <a:gd name="connsiteX2" fmla="*/ 55447 w 81370"/>
                  <a:gd name="connsiteY2" fmla="*/ 44851 h 104001"/>
                  <a:gd name="connsiteX3" fmla="*/ 55447 w 81370"/>
                  <a:gd name="connsiteY3" fmla="*/ 26438 h 104001"/>
                  <a:gd name="connsiteX4" fmla="*/ 0 w 81370"/>
                  <a:gd name="connsiteY4" fmla="*/ 0 h 104001"/>
                  <a:gd name="connsiteX5" fmla="*/ 0 w 81370"/>
                  <a:gd name="connsiteY5" fmla="*/ 17591 h 104001"/>
                  <a:gd name="connsiteX6" fmla="*/ 39605 w 81370"/>
                  <a:gd name="connsiteY6" fmla="*/ 36519 h 104001"/>
                  <a:gd name="connsiteX7" fmla="*/ 39605 w 81370"/>
                  <a:gd name="connsiteY7" fmla="*/ 44954 h 104001"/>
                  <a:gd name="connsiteX8" fmla="*/ 30141 w 81370"/>
                  <a:gd name="connsiteY8" fmla="*/ 44954 h 104001"/>
                  <a:gd name="connsiteX9" fmla="*/ 25409 w 81370"/>
                  <a:gd name="connsiteY9" fmla="*/ 52875 h 104001"/>
                  <a:gd name="connsiteX10" fmla="*/ 17488 w 81370"/>
                  <a:gd name="connsiteY10" fmla="*/ 66557 h 104001"/>
                  <a:gd name="connsiteX11" fmla="*/ 12756 w 81370"/>
                  <a:gd name="connsiteY11" fmla="*/ 74478 h 104001"/>
                  <a:gd name="connsiteX12" fmla="*/ 17488 w 81370"/>
                  <a:gd name="connsiteY12" fmla="*/ 82399 h 104001"/>
                  <a:gd name="connsiteX13" fmla="*/ 25409 w 81370"/>
                  <a:gd name="connsiteY13" fmla="*/ 96081 h 104001"/>
                  <a:gd name="connsiteX14" fmla="*/ 30141 w 81370"/>
                  <a:gd name="connsiteY14" fmla="*/ 104002 h 104001"/>
                  <a:gd name="connsiteX15" fmla="*/ 63985 w 81370"/>
                  <a:gd name="connsiteY15" fmla="*/ 104002 h 104001"/>
                  <a:gd name="connsiteX16" fmla="*/ 68717 w 81370"/>
                  <a:gd name="connsiteY16" fmla="*/ 96081 h 104001"/>
                  <a:gd name="connsiteX17" fmla="*/ 76638 w 81370"/>
                  <a:gd name="connsiteY17" fmla="*/ 82399 h 104001"/>
                  <a:gd name="connsiteX18" fmla="*/ 81370 w 81370"/>
                  <a:gd name="connsiteY18" fmla="*/ 74478 h 104001"/>
                  <a:gd name="connsiteX19" fmla="*/ 76638 w 81370"/>
                  <a:gd name="connsiteY19" fmla="*/ 66557 h 104001"/>
                  <a:gd name="connsiteX20" fmla="*/ 68717 w 81370"/>
                  <a:gd name="connsiteY20" fmla="*/ 52875 h 104001"/>
                  <a:gd name="connsiteX21" fmla="*/ 54933 w 81370"/>
                  <a:gd name="connsiteY21" fmla="*/ 88057 h 104001"/>
                  <a:gd name="connsiteX22" fmla="*/ 39091 w 81370"/>
                  <a:gd name="connsiteY22" fmla="*/ 88057 h 104001"/>
                  <a:gd name="connsiteX23" fmla="*/ 31170 w 81370"/>
                  <a:gd name="connsiteY23" fmla="*/ 74375 h 104001"/>
                  <a:gd name="connsiteX24" fmla="*/ 39091 w 81370"/>
                  <a:gd name="connsiteY24" fmla="*/ 60693 h 104001"/>
                  <a:gd name="connsiteX25" fmla="*/ 54933 w 81370"/>
                  <a:gd name="connsiteY25" fmla="*/ 60693 h 104001"/>
                  <a:gd name="connsiteX26" fmla="*/ 62854 w 81370"/>
                  <a:gd name="connsiteY26" fmla="*/ 74375 h 104001"/>
                  <a:gd name="connsiteX27" fmla="*/ 54933 w 81370"/>
                  <a:gd name="connsiteY27" fmla="*/ 88057 h 10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370" h="104001">
                    <a:moveTo>
                      <a:pt x="68614" y="52772"/>
                    </a:moveTo>
                    <a:lnTo>
                      <a:pt x="63882" y="44851"/>
                    </a:lnTo>
                    <a:lnTo>
                      <a:pt x="55447" y="44851"/>
                    </a:lnTo>
                    <a:lnTo>
                      <a:pt x="55447" y="26438"/>
                    </a:lnTo>
                    <a:lnTo>
                      <a:pt x="0" y="0"/>
                    </a:lnTo>
                    <a:lnTo>
                      <a:pt x="0" y="17591"/>
                    </a:lnTo>
                    <a:lnTo>
                      <a:pt x="39605" y="36519"/>
                    </a:lnTo>
                    <a:lnTo>
                      <a:pt x="39605" y="44954"/>
                    </a:lnTo>
                    <a:lnTo>
                      <a:pt x="30141" y="44954"/>
                    </a:lnTo>
                    <a:lnTo>
                      <a:pt x="25409" y="52875"/>
                    </a:lnTo>
                    <a:lnTo>
                      <a:pt x="17488" y="66557"/>
                    </a:lnTo>
                    <a:lnTo>
                      <a:pt x="12756" y="74478"/>
                    </a:lnTo>
                    <a:lnTo>
                      <a:pt x="17488" y="82399"/>
                    </a:lnTo>
                    <a:lnTo>
                      <a:pt x="25409" y="96081"/>
                    </a:lnTo>
                    <a:lnTo>
                      <a:pt x="30141" y="104002"/>
                    </a:lnTo>
                    <a:lnTo>
                      <a:pt x="63985" y="104002"/>
                    </a:lnTo>
                    <a:lnTo>
                      <a:pt x="68717" y="96081"/>
                    </a:lnTo>
                    <a:lnTo>
                      <a:pt x="76638" y="82399"/>
                    </a:lnTo>
                    <a:lnTo>
                      <a:pt x="81370" y="74478"/>
                    </a:lnTo>
                    <a:lnTo>
                      <a:pt x="76638" y="66557"/>
                    </a:lnTo>
                    <a:lnTo>
                      <a:pt x="68717" y="52875"/>
                    </a:lnTo>
                    <a:close/>
                    <a:moveTo>
                      <a:pt x="54933" y="88057"/>
                    </a:moveTo>
                    <a:lnTo>
                      <a:pt x="39091" y="88057"/>
                    </a:lnTo>
                    <a:lnTo>
                      <a:pt x="31170" y="74375"/>
                    </a:lnTo>
                    <a:lnTo>
                      <a:pt x="39091" y="60693"/>
                    </a:lnTo>
                    <a:lnTo>
                      <a:pt x="54933" y="60693"/>
                    </a:lnTo>
                    <a:lnTo>
                      <a:pt x="62854" y="74375"/>
                    </a:lnTo>
                    <a:lnTo>
                      <a:pt x="54933" y="88057"/>
                    </a:lnTo>
                    <a:close/>
                  </a:path>
                </a:pathLst>
              </a:custGeom>
              <a:solidFill>
                <a:srgbClr val="40AA1D"/>
              </a:solidFill>
              <a:ln w="10150" cap="flat">
                <a:noFill/>
                <a:prstDash val="solid"/>
                <a:miter/>
              </a:ln>
            </p:spPr>
            <p:txBody>
              <a:bodyPr rtlCol="0" anchor="ctr"/>
              <a:lstStyle/>
              <a:p>
                <a:endParaRPr lang="en-US" dirty="0"/>
              </a:p>
            </p:txBody>
          </p:sp>
          <p:sp>
            <p:nvSpPr>
              <p:cNvPr id="599" name="Freeform: Shape 598">
                <a:extLst>
                  <a:ext uri="{FF2B5EF4-FFF2-40B4-BE49-F238E27FC236}">
                    <a16:creationId xmlns:a16="http://schemas.microsoft.com/office/drawing/2014/main" id="{46DEF09F-1B37-D9BD-3AD7-43B7D5D43577}"/>
                  </a:ext>
                </a:extLst>
              </p:cNvPr>
              <p:cNvSpPr/>
              <p:nvPr/>
            </p:nvSpPr>
            <p:spPr>
              <a:xfrm>
                <a:off x="6406711" y="3936498"/>
                <a:ext cx="190618" cy="75918"/>
              </a:xfrm>
              <a:custGeom>
                <a:avLst/>
                <a:gdLst>
                  <a:gd name="connsiteX0" fmla="*/ 0 w 190618"/>
                  <a:gd name="connsiteY0" fmla="*/ 58327 h 75918"/>
                  <a:gd name="connsiteX1" fmla="*/ 0 w 190618"/>
                  <a:gd name="connsiteY1" fmla="*/ 75918 h 75918"/>
                  <a:gd name="connsiteX2" fmla="*/ 79210 w 190618"/>
                  <a:gd name="connsiteY2" fmla="*/ 37445 h 75918"/>
                  <a:gd name="connsiteX3" fmla="*/ 127250 w 190618"/>
                  <a:gd name="connsiteY3" fmla="*/ 37445 h 75918"/>
                  <a:gd name="connsiteX4" fmla="*/ 135171 w 190618"/>
                  <a:gd name="connsiteY4" fmla="*/ 51126 h 75918"/>
                  <a:gd name="connsiteX5" fmla="*/ 139903 w 190618"/>
                  <a:gd name="connsiteY5" fmla="*/ 59047 h 75918"/>
                  <a:gd name="connsiteX6" fmla="*/ 173747 w 190618"/>
                  <a:gd name="connsiteY6" fmla="*/ 59047 h 75918"/>
                  <a:gd name="connsiteX7" fmla="*/ 178479 w 190618"/>
                  <a:gd name="connsiteY7" fmla="*/ 51126 h 75918"/>
                  <a:gd name="connsiteX8" fmla="*/ 186400 w 190618"/>
                  <a:gd name="connsiteY8" fmla="*/ 37445 h 75918"/>
                  <a:gd name="connsiteX9" fmla="*/ 190618 w 190618"/>
                  <a:gd name="connsiteY9" fmla="*/ 29524 h 75918"/>
                  <a:gd name="connsiteX10" fmla="*/ 186400 w 190618"/>
                  <a:gd name="connsiteY10" fmla="*/ 21603 h 75918"/>
                  <a:gd name="connsiteX11" fmla="*/ 178479 w 190618"/>
                  <a:gd name="connsiteY11" fmla="*/ 7921 h 75918"/>
                  <a:gd name="connsiteX12" fmla="*/ 173747 w 190618"/>
                  <a:gd name="connsiteY12" fmla="*/ 0 h 75918"/>
                  <a:gd name="connsiteX13" fmla="*/ 139903 w 190618"/>
                  <a:gd name="connsiteY13" fmla="*/ 0 h 75918"/>
                  <a:gd name="connsiteX14" fmla="*/ 135171 w 190618"/>
                  <a:gd name="connsiteY14" fmla="*/ 7921 h 75918"/>
                  <a:gd name="connsiteX15" fmla="*/ 127250 w 190618"/>
                  <a:gd name="connsiteY15" fmla="*/ 21603 h 75918"/>
                  <a:gd name="connsiteX16" fmla="*/ 75507 w 190618"/>
                  <a:gd name="connsiteY16" fmla="*/ 21603 h 75918"/>
                  <a:gd name="connsiteX17" fmla="*/ 0 w 190618"/>
                  <a:gd name="connsiteY17" fmla="*/ 58327 h 75918"/>
                  <a:gd name="connsiteX18" fmla="*/ 148956 w 190618"/>
                  <a:gd name="connsiteY18" fmla="*/ 15739 h 75918"/>
                  <a:gd name="connsiteX19" fmla="*/ 164798 w 190618"/>
                  <a:gd name="connsiteY19" fmla="*/ 15739 h 75918"/>
                  <a:gd name="connsiteX20" fmla="*/ 172719 w 190618"/>
                  <a:gd name="connsiteY20" fmla="*/ 29421 h 75918"/>
                  <a:gd name="connsiteX21" fmla="*/ 164798 w 190618"/>
                  <a:gd name="connsiteY21" fmla="*/ 42588 h 75918"/>
                  <a:gd name="connsiteX22" fmla="*/ 148956 w 190618"/>
                  <a:gd name="connsiteY22" fmla="*/ 42588 h 75918"/>
                  <a:gd name="connsiteX23" fmla="*/ 141035 w 190618"/>
                  <a:gd name="connsiteY23" fmla="*/ 29421 h 75918"/>
                  <a:gd name="connsiteX24" fmla="*/ 148956 w 190618"/>
                  <a:gd name="connsiteY24" fmla="*/ 15739 h 75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618" h="75918">
                    <a:moveTo>
                      <a:pt x="0" y="58327"/>
                    </a:moveTo>
                    <a:lnTo>
                      <a:pt x="0" y="75918"/>
                    </a:lnTo>
                    <a:lnTo>
                      <a:pt x="79210" y="37445"/>
                    </a:lnTo>
                    <a:lnTo>
                      <a:pt x="127250" y="37445"/>
                    </a:lnTo>
                    <a:lnTo>
                      <a:pt x="135171" y="51126"/>
                    </a:lnTo>
                    <a:lnTo>
                      <a:pt x="139903" y="59047"/>
                    </a:lnTo>
                    <a:lnTo>
                      <a:pt x="173747" y="59047"/>
                    </a:lnTo>
                    <a:lnTo>
                      <a:pt x="178479" y="51126"/>
                    </a:lnTo>
                    <a:lnTo>
                      <a:pt x="186400" y="37445"/>
                    </a:lnTo>
                    <a:lnTo>
                      <a:pt x="190618" y="29524"/>
                    </a:lnTo>
                    <a:lnTo>
                      <a:pt x="186400" y="21603"/>
                    </a:lnTo>
                    <a:lnTo>
                      <a:pt x="178479" y="7921"/>
                    </a:lnTo>
                    <a:lnTo>
                      <a:pt x="173747" y="0"/>
                    </a:lnTo>
                    <a:lnTo>
                      <a:pt x="139903" y="0"/>
                    </a:lnTo>
                    <a:lnTo>
                      <a:pt x="135171" y="7921"/>
                    </a:lnTo>
                    <a:lnTo>
                      <a:pt x="127250" y="21603"/>
                    </a:lnTo>
                    <a:lnTo>
                      <a:pt x="75507" y="21603"/>
                    </a:lnTo>
                    <a:lnTo>
                      <a:pt x="0" y="58327"/>
                    </a:lnTo>
                    <a:close/>
                    <a:moveTo>
                      <a:pt x="148956" y="15739"/>
                    </a:moveTo>
                    <a:lnTo>
                      <a:pt x="164798" y="15739"/>
                    </a:lnTo>
                    <a:lnTo>
                      <a:pt x="172719" y="29421"/>
                    </a:lnTo>
                    <a:lnTo>
                      <a:pt x="164798" y="42588"/>
                    </a:lnTo>
                    <a:lnTo>
                      <a:pt x="148956" y="42588"/>
                    </a:lnTo>
                    <a:lnTo>
                      <a:pt x="141035" y="29421"/>
                    </a:lnTo>
                    <a:lnTo>
                      <a:pt x="148956" y="15739"/>
                    </a:lnTo>
                    <a:close/>
                  </a:path>
                </a:pathLst>
              </a:custGeom>
              <a:solidFill>
                <a:srgbClr val="40AA1D"/>
              </a:solidFill>
              <a:ln w="10150" cap="flat">
                <a:noFill/>
                <a:prstDash val="solid"/>
                <a:miter/>
              </a:ln>
            </p:spPr>
            <p:txBody>
              <a:bodyPr rtlCol="0" anchor="ctr"/>
              <a:lstStyle/>
              <a:p>
                <a:endParaRPr lang="en-US" dirty="0"/>
              </a:p>
            </p:txBody>
          </p:sp>
          <p:sp>
            <p:nvSpPr>
              <p:cNvPr id="601" name="Freeform: Shape 600">
                <a:extLst>
                  <a:ext uri="{FF2B5EF4-FFF2-40B4-BE49-F238E27FC236}">
                    <a16:creationId xmlns:a16="http://schemas.microsoft.com/office/drawing/2014/main" id="{2A918543-E771-851D-4081-E248BFCE7AE9}"/>
                  </a:ext>
                </a:extLst>
              </p:cNvPr>
              <p:cNvSpPr/>
              <p:nvPr/>
            </p:nvSpPr>
            <p:spPr>
              <a:xfrm>
                <a:off x="6406711" y="4067349"/>
                <a:ext cx="190618" cy="75712"/>
              </a:xfrm>
              <a:custGeom>
                <a:avLst/>
                <a:gdLst>
                  <a:gd name="connsiteX0" fmla="*/ 178479 w 190618"/>
                  <a:gd name="connsiteY0" fmla="*/ 25100 h 75712"/>
                  <a:gd name="connsiteX1" fmla="*/ 173747 w 190618"/>
                  <a:gd name="connsiteY1" fmla="*/ 17179 h 75712"/>
                  <a:gd name="connsiteX2" fmla="*/ 139903 w 190618"/>
                  <a:gd name="connsiteY2" fmla="*/ 17179 h 75712"/>
                  <a:gd name="connsiteX3" fmla="*/ 135171 w 190618"/>
                  <a:gd name="connsiteY3" fmla="*/ 25100 h 75712"/>
                  <a:gd name="connsiteX4" fmla="*/ 127250 w 190618"/>
                  <a:gd name="connsiteY4" fmla="*/ 38268 h 75712"/>
                  <a:gd name="connsiteX5" fmla="*/ 78696 w 190618"/>
                  <a:gd name="connsiteY5" fmla="*/ 38268 h 75712"/>
                  <a:gd name="connsiteX6" fmla="*/ 0 w 190618"/>
                  <a:gd name="connsiteY6" fmla="*/ 0 h 75712"/>
                  <a:gd name="connsiteX7" fmla="*/ 0 w 190618"/>
                  <a:gd name="connsiteY7" fmla="*/ 17591 h 75712"/>
                  <a:gd name="connsiteX8" fmla="*/ 74992 w 190618"/>
                  <a:gd name="connsiteY8" fmla="*/ 54110 h 75712"/>
                  <a:gd name="connsiteX9" fmla="*/ 127250 w 190618"/>
                  <a:gd name="connsiteY9" fmla="*/ 54110 h 75712"/>
                  <a:gd name="connsiteX10" fmla="*/ 135171 w 190618"/>
                  <a:gd name="connsiteY10" fmla="*/ 67791 h 75712"/>
                  <a:gd name="connsiteX11" fmla="*/ 139903 w 190618"/>
                  <a:gd name="connsiteY11" fmla="*/ 75712 h 75712"/>
                  <a:gd name="connsiteX12" fmla="*/ 173747 w 190618"/>
                  <a:gd name="connsiteY12" fmla="*/ 75712 h 75712"/>
                  <a:gd name="connsiteX13" fmla="*/ 178479 w 190618"/>
                  <a:gd name="connsiteY13" fmla="*/ 67791 h 75712"/>
                  <a:gd name="connsiteX14" fmla="*/ 186400 w 190618"/>
                  <a:gd name="connsiteY14" fmla="*/ 54110 h 75712"/>
                  <a:gd name="connsiteX15" fmla="*/ 190618 w 190618"/>
                  <a:gd name="connsiteY15" fmla="*/ 46189 h 75712"/>
                  <a:gd name="connsiteX16" fmla="*/ 186400 w 190618"/>
                  <a:gd name="connsiteY16" fmla="*/ 38268 h 75712"/>
                  <a:gd name="connsiteX17" fmla="*/ 178479 w 190618"/>
                  <a:gd name="connsiteY17" fmla="*/ 25100 h 75712"/>
                  <a:gd name="connsiteX18" fmla="*/ 164798 w 190618"/>
                  <a:gd name="connsiteY18" fmla="*/ 59973 h 75712"/>
                  <a:gd name="connsiteX19" fmla="*/ 148956 w 190618"/>
                  <a:gd name="connsiteY19" fmla="*/ 59973 h 75712"/>
                  <a:gd name="connsiteX20" fmla="*/ 141035 w 190618"/>
                  <a:gd name="connsiteY20" fmla="*/ 46292 h 75712"/>
                  <a:gd name="connsiteX21" fmla="*/ 148956 w 190618"/>
                  <a:gd name="connsiteY21" fmla="*/ 32610 h 75712"/>
                  <a:gd name="connsiteX22" fmla="*/ 164798 w 190618"/>
                  <a:gd name="connsiteY22" fmla="*/ 32610 h 75712"/>
                  <a:gd name="connsiteX23" fmla="*/ 172719 w 190618"/>
                  <a:gd name="connsiteY23" fmla="*/ 46292 h 75712"/>
                  <a:gd name="connsiteX24" fmla="*/ 164798 w 190618"/>
                  <a:gd name="connsiteY24" fmla="*/ 59973 h 7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618" h="75712">
                    <a:moveTo>
                      <a:pt x="178479" y="25100"/>
                    </a:moveTo>
                    <a:lnTo>
                      <a:pt x="173747" y="17179"/>
                    </a:lnTo>
                    <a:lnTo>
                      <a:pt x="139903" y="17179"/>
                    </a:lnTo>
                    <a:lnTo>
                      <a:pt x="135171" y="25100"/>
                    </a:lnTo>
                    <a:lnTo>
                      <a:pt x="127250" y="38268"/>
                    </a:lnTo>
                    <a:lnTo>
                      <a:pt x="78696" y="38268"/>
                    </a:lnTo>
                    <a:lnTo>
                      <a:pt x="0" y="0"/>
                    </a:lnTo>
                    <a:lnTo>
                      <a:pt x="0" y="17591"/>
                    </a:lnTo>
                    <a:lnTo>
                      <a:pt x="74992" y="54110"/>
                    </a:lnTo>
                    <a:lnTo>
                      <a:pt x="127250" y="54110"/>
                    </a:lnTo>
                    <a:lnTo>
                      <a:pt x="135171" y="67791"/>
                    </a:lnTo>
                    <a:lnTo>
                      <a:pt x="139903" y="75712"/>
                    </a:lnTo>
                    <a:lnTo>
                      <a:pt x="173747" y="75712"/>
                    </a:lnTo>
                    <a:lnTo>
                      <a:pt x="178479" y="67791"/>
                    </a:lnTo>
                    <a:lnTo>
                      <a:pt x="186400" y="54110"/>
                    </a:lnTo>
                    <a:lnTo>
                      <a:pt x="190618" y="46189"/>
                    </a:lnTo>
                    <a:lnTo>
                      <a:pt x="186400" y="38268"/>
                    </a:lnTo>
                    <a:lnTo>
                      <a:pt x="178479" y="25100"/>
                    </a:lnTo>
                    <a:close/>
                    <a:moveTo>
                      <a:pt x="164798" y="59973"/>
                    </a:moveTo>
                    <a:lnTo>
                      <a:pt x="148956" y="59973"/>
                    </a:lnTo>
                    <a:lnTo>
                      <a:pt x="141035" y="46292"/>
                    </a:lnTo>
                    <a:lnTo>
                      <a:pt x="148956" y="32610"/>
                    </a:lnTo>
                    <a:lnTo>
                      <a:pt x="164798" y="32610"/>
                    </a:lnTo>
                    <a:lnTo>
                      <a:pt x="172719" y="46292"/>
                    </a:lnTo>
                    <a:lnTo>
                      <a:pt x="164798" y="59973"/>
                    </a:lnTo>
                    <a:close/>
                  </a:path>
                </a:pathLst>
              </a:custGeom>
              <a:solidFill>
                <a:srgbClr val="40AA1D"/>
              </a:solidFill>
              <a:ln w="10150" cap="flat">
                <a:noFill/>
                <a:prstDash val="solid"/>
                <a:miter/>
              </a:ln>
            </p:spPr>
            <p:txBody>
              <a:bodyPr rtlCol="0" anchor="ctr"/>
              <a:lstStyle/>
              <a:p>
                <a:endParaRPr lang="en-US" dirty="0"/>
              </a:p>
            </p:txBody>
          </p:sp>
          <p:sp>
            <p:nvSpPr>
              <p:cNvPr id="602" name="Freeform: Shape 601">
                <a:extLst>
                  <a:ext uri="{FF2B5EF4-FFF2-40B4-BE49-F238E27FC236}">
                    <a16:creationId xmlns:a16="http://schemas.microsoft.com/office/drawing/2014/main" id="{6F37EF9A-B846-0E62-9A09-AFE29D4C6028}"/>
                  </a:ext>
                </a:extLst>
              </p:cNvPr>
              <p:cNvSpPr/>
              <p:nvPr/>
            </p:nvSpPr>
            <p:spPr>
              <a:xfrm>
                <a:off x="6406608" y="3874365"/>
                <a:ext cx="81267" cy="103898"/>
              </a:xfrm>
              <a:custGeom>
                <a:avLst/>
                <a:gdLst>
                  <a:gd name="connsiteX0" fmla="*/ 25409 w 81267"/>
                  <a:gd name="connsiteY0" fmla="*/ 51024 h 103898"/>
                  <a:gd name="connsiteX1" fmla="*/ 30141 w 81267"/>
                  <a:gd name="connsiteY1" fmla="*/ 58945 h 103898"/>
                  <a:gd name="connsiteX2" fmla="*/ 39605 w 81267"/>
                  <a:gd name="connsiteY2" fmla="*/ 58945 h 103898"/>
                  <a:gd name="connsiteX3" fmla="*/ 39605 w 81267"/>
                  <a:gd name="connsiteY3" fmla="*/ 67380 h 103898"/>
                  <a:gd name="connsiteX4" fmla="*/ 0 w 81267"/>
                  <a:gd name="connsiteY4" fmla="*/ 86308 h 103898"/>
                  <a:gd name="connsiteX5" fmla="*/ 0 w 81267"/>
                  <a:gd name="connsiteY5" fmla="*/ 103899 h 103898"/>
                  <a:gd name="connsiteX6" fmla="*/ 55447 w 81267"/>
                  <a:gd name="connsiteY6" fmla="*/ 77461 h 103898"/>
                  <a:gd name="connsiteX7" fmla="*/ 55447 w 81267"/>
                  <a:gd name="connsiteY7" fmla="*/ 59047 h 103898"/>
                  <a:gd name="connsiteX8" fmla="*/ 63882 w 81267"/>
                  <a:gd name="connsiteY8" fmla="*/ 59047 h 103898"/>
                  <a:gd name="connsiteX9" fmla="*/ 68614 w 81267"/>
                  <a:gd name="connsiteY9" fmla="*/ 51126 h 103898"/>
                  <a:gd name="connsiteX10" fmla="*/ 76535 w 81267"/>
                  <a:gd name="connsiteY10" fmla="*/ 37445 h 103898"/>
                  <a:gd name="connsiteX11" fmla="*/ 81267 w 81267"/>
                  <a:gd name="connsiteY11" fmla="*/ 29524 h 103898"/>
                  <a:gd name="connsiteX12" fmla="*/ 76535 w 81267"/>
                  <a:gd name="connsiteY12" fmla="*/ 21603 h 103898"/>
                  <a:gd name="connsiteX13" fmla="*/ 68614 w 81267"/>
                  <a:gd name="connsiteY13" fmla="*/ 7921 h 103898"/>
                  <a:gd name="connsiteX14" fmla="*/ 63882 w 81267"/>
                  <a:gd name="connsiteY14" fmla="*/ 0 h 103898"/>
                  <a:gd name="connsiteX15" fmla="*/ 30038 w 81267"/>
                  <a:gd name="connsiteY15" fmla="*/ 0 h 103898"/>
                  <a:gd name="connsiteX16" fmla="*/ 25306 w 81267"/>
                  <a:gd name="connsiteY16" fmla="*/ 7921 h 103898"/>
                  <a:gd name="connsiteX17" fmla="*/ 17385 w 81267"/>
                  <a:gd name="connsiteY17" fmla="*/ 21603 h 103898"/>
                  <a:gd name="connsiteX18" fmla="*/ 12653 w 81267"/>
                  <a:gd name="connsiteY18" fmla="*/ 29524 h 103898"/>
                  <a:gd name="connsiteX19" fmla="*/ 17385 w 81267"/>
                  <a:gd name="connsiteY19" fmla="*/ 37445 h 103898"/>
                  <a:gd name="connsiteX20" fmla="*/ 25306 w 81267"/>
                  <a:gd name="connsiteY20" fmla="*/ 51126 h 103898"/>
                  <a:gd name="connsiteX21" fmla="*/ 39193 w 81267"/>
                  <a:gd name="connsiteY21" fmla="*/ 15739 h 103898"/>
                  <a:gd name="connsiteX22" fmla="*/ 55035 w 81267"/>
                  <a:gd name="connsiteY22" fmla="*/ 15739 h 103898"/>
                  <a:gd name="connsiteX23" fmla="*/ 62956 w 81267"/>
                  <a:gd name="connsiteY23" fmla="*/ 29421 h 103898"/>
                  <a:gd name="connsiteX24" fmla="*/ 55035 w 81267"/>
                  <a:gd name="connsiteY24" fmla="*/ 43103 h 103898"/>
                  <a:gd name="connsiteX25" fmla="*/ 39193 w 81267"/>
                  <a:gd name="connsiteY25" fmla="*/ 43103 h 103898"/>
                  <a:gd name="connsiteX26" fmla="*/ 31272 w 81267"/>
                  <a:gd name="connsiteY26" fmla="*/ 29421 h 103898"/>
                  <a:gd name="connsiteX27" fmla="*/ 39193 w 81267"/>
                  <a:gd name="connsiteY27" fmla="*/ 15739 h 10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267" h="103898">
                    <a:moveTo>
                      <a:pt x="25409" y="51024"/>
                    </a:moveTo>
                    <a:lnTo>
                      <a:pt x="30141" y="58945"/>
                    </a:lnTo>
                    <a:lnTo>
                      <a:pt x="39605" y="58945"/>
                    </a:lnTo>
                    <a:lnTo>
                      <a:pt x="39605" y="67380"/>
                    </a:lnTo>
                    <a:lnTo>
                      <a:pt x="0" y="86308"/>
                    </a:lnTo>
                    <a:lnTo>
                      <a:pt x="0" y="103899"/>
                    </a:lnTo>
                    <a:lnTo>
                      <a:pt x="55447" y="77461"/>
                    </a:lnTo>
                    <a:lnTo>
                      <a:pt x="55447" y="59047"/>
                    </a:lnTo>
                    <a:lnTo>
                      <a:pt x="63882" y="59047"/>
                    </a:lnTo>
                    <a:lnTo>
                      <a:pt x="68614" y="51126"/>
                    </a:lnTo>
                    <a:lnTo>
                      <a:pt x="76535" y="37445"/>
                    </a:lnTo>
                    <a:lnTo>
                      <a:pt x="81267" y="29524"/>
                    </a:lnTo>
                    <a:lnTo>
                      <a:pt x="76535" y="21603"/>
                    </a:lnTo>
                    <a:lnTo>
                      <a:pt x="68614" y="7921"/>
                    </a:lnTo>
                    <a:lnTo>
                      <a:pt x="63882" y="0"/>
                    </a:lnTo>
                    <a:lnTo>
                      <a:pt x="30038" y="0"/>
                    </a:lnTo>
                    <a:lnTo>
                      <a:pt x="25306" y="7921"/>
                    </a:lnTo>
                    <a:lnTo>
                      <a:pt x="17385" y="21603"/>
                    </a:lnTo>
                    <a:lnTo>
                      <a:pt x="12653" y="29524"/>
                    </a:lnTo>
                    <a:lnTo>
                      <a:pt x="17385" y="37445"/>
                    </a:lnTo>
                    <a:lnTo>
                      <a:pt x="25306" y="51126"/>
                    </a:lnTo>
                    <a:close/>
                    <a:moveTo>
                      <a:pt x="39193" y="15739"/>
                    </a:moveTo>
                    <a:lnTo>
                      <a:pt x="55035" y="15739"/>
                    </a:lnTo>
                    <a:lnTo>
                      <a:pt x="62956" y="29421"/>
                    </a:lnTo>
                    <a:lnTo>
                      <a:pt x="55035" y="43103"/>
                    </a:lnTo>
                    <a:lnTo>
                      <a:pt x="39193" y="43103"/>
                    </a:lnTo>
                    <a:lnTo>
                      <a:pt x="31272" y="29421"/>
                    </a:lnTo>
                    <a:lnTo>
                      <a:pt x="39193" y="15739"/>
                    </a:lnTo>
                    <a:close/>
                  </a:path>
                </a:pathLst>
              </a:custGeom>
              <a:solidFill>
                <a:srgbClr val="40AA1D"/>
              </a:solidFill>
              <a:ln w="10150" cap="flat">
                <a:noFill/>
                <a:prstDash val="solid"/>
                <a:miter/>
              </a:ln>
            </p:spPr>
            <p:txBody>
              <a:bodyPr rtlCol="0" anchor="ctr"/>
              <a:lstStyle/>
              <a:p>
                <a:endParaRPr lang="en-US" dirty="0"/>
              </a:p>
            </p:txBody>
          </p:sp>
          <p:sp>
            <p:nvSpPr>
              <p:cNvPr id="603" name="Freeform: Shape 602">
                <a:extLst>
                  <a:ext uri="{FF2B5EF4-FFF2-40B4-BE49-F238E27FC236}">
                    <a16:creationId xmlns:a16="http://schemas.microsoft.com/office/drawing/2014/main" id="{5454CD65-DC87-0876-E941-81C7B09FFCE9}"/>
                  </a:ext>
                </a:extLst>
              </p:cNvPr>
              <p:cNvSpPr/>
              <p:nvPr/>
            </p:nvSpPr>
            <p:spPr>
              <a:xfrm>
                <a:off x="6406711" y="4010770"/>
                <a:ext cx="128793" cy="59047"/>
              </a:xfrm>
              <a:custGeom>
                <a:avLst/>
                <a:gdLst>
                  <a:gd name="connsiteX0" fmla="*/ 72832 w 128793"/>
                  <a:gd name="connsiteY0" fmla="*/ 51126 h 59047"/>
                  <a:gd name="connsiteX1" fmla="*/ 77564 w 128793"/>
                  <a:gd name="connsiteY1" fmla="*/ 59047 h 59047"/>
                  <a:gd name="connsiteX2" fmla="*/ 111408 w 128793"/>
                  <a:gd name="connsiteY2" fmla="*/ 59047 h 59047"/>
                  <a:gd name="connsiteX3" fmla="*/ 116140 w 128793"/>
                  <a:gd name="connsiteY3" fmla="*/ 51126 h 59047"/>
                  <a:gd name="connsiteX4" fmla="*/ 124061 w 128793"/>
                  <a:gd name="connsiteY4" fmla="*/ 37445 h 59047"/>
                  <a:gd name="connsiteX5" fmla="*/ 128793 w 128793"/>
                  <a:gd name="connsiteY5" fmla="*/ 29524 h 59047"/>
                  <a:gd name="connsiteX6" fmla="*/ 123547 w 128793"/>
                  <a:gd name="connsiteY6" fmla="*/ 21603 h 59047"/>
                  <a:gd name="connsiteX7" fmla="*/ 115626 w 128793"/>
                  <a:gd name="connsiteY7" fmla="*/ 7921 h 59047"/>
                  <a:gd name="connsiteX8" fmla="*/ 111408 w 128793"/>
                  <a:gd name="connsiteY8" fmla="*/ 0 h 59047"/>
                  <a:gd name="connsiteX9" fmla="*/ 77564 w 128793"/>
                  <a:gd name="connsiteY9" fmla="*/ 0 h 59047"/>
                  <a:gd name="connsiteX10" fmla="*/ 72832 w 128793"/>
                  <a:gd name="connsiteY10" fmla="*/ 7921 h 59047"/>
                  <a:gd name="connsiteX11" fmla="*/ 64911 w 128793"/>
                  <a:gd name="connsiteY11" fmla="*/ 21603 h 59047"/>
                  <a:gd name="connsiteX12" fmla="*/ 0 w 128793"/>
                  <a:gd name="connsiteY12" fmla="*/ 21603 h 59047"/>
                  <a:gd name="connsiteX13" fmla="*/ 0 w 128793"/>
                  <a:gd name="connsiteY13" fmla="*/ 37445 h 59047"/>
                  <a:gd name="connsiteX14" fmla="*/ 64911 w 128793"/>
                  <a:gd name="connsiteY14" fmla="*/ 37445 h 59047"/>
                  <a:gd name="connsiteX15" fmla="*/ 72832 w 128793"/>
                  <a:gd name="connsiteY15" fmla="*/ 51126 h 59047"/>
                  <a:gd name="connsiteX16" fmla="*/ 86102 w 128793"/>
                  <a:gd name="connsiteY16" fmla="*/ 15842 h 59047"/>
                  <a:gd name="connsiteX17" fmla="*/ 101944 w 128793"/>
                  <a:gd name="connsiteY17" fmla="*/ 15842 h 59047"/>
                  <a:gd name="connsiteX18" fmla="*/ 109865 w 128793"/>
                  <a:gd name="connsiteY18" fmla="*/ 29524 h 59047"/>
                  <a:gd name="connsiteX19" fmla="*/ 101944 w 128793"/>
                  <a:gd name="connsiteY19" fmla="*/ 43205 h 59047"/>
                  <a:gd name="connsiteX20" fmla="*/ 86102 w 128793"/>
                  <a:gd name="connsiteY20" fmla="*/ 43205 h 59047"/>
                  <a:gd name="connsiteX21" fmla="*/ 78181 w 128793"/>
                  <a:gd name="connsiteY21" fmla="*/ 29524 h 59047"/>
                  <a:gd name="connsiteX22" fmla="*/ 86102 w 128793"/>
                  <a:gd name="connsiteY22" fmla="*/ 15842 h 59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793" h="59047">
                    <a:moveTo>
                      <a:pt x="72832" y="51126"/>
                    </a:moveTo>
                    <a:lnTo>
                      <a:pt x="77564" y="59047"/>
                    </a:lnTo>
                    <a:lnTo>
                      <a:pt x="111408" y="59047"/>
                    </a:lnTo>
                    <a:lnTo>
                      <a:pt x="116140" y="51126"/>
                    </a:lnTo>
                    <a:lnTo>
                      <a:pt x="124061" y="37445"/>
                    </a:lnTo>
                    <a:lnTo>
                      <a:pt x="128793" y="29524"/>
                    </a:lnTo>
                    <a:lnTo>
                      <a:pt x="123547" y="21603"/>
                    </a:lnTo>
                    <a:lnTo>
                      <a:pt x="115626" y="7921"/>
                    </a:lnTo>
                    <a:lnTo>
                      <a:pt x="111408" y="0"/>
                    </a:lnTo>
                    <a:lnTo>
                      <a:pt x="77564" y="0"/>
                    </a:lnTo>
                    <a:lnTo>
                      <a:pt x="72832" y="7921"/>
                    </a:lnTo>
                    <a:lnTo>
                      <a:pt x="64911" y="21603"/>
                    </a:lnTo>
                    <a:lnTo>
                      <a:pt x="0" y="21603"/>
                    </a:lnTo>
                    <a:lnTo>
                      <a:pt x="0" y="37445"/>
                    </a:lnTo>
                    <a:lnTo>
                      <a:pt x="64911" y="37445"/>
                    </a:lnTo>
                    <a:lnTo>
                      <a:pt x="72832" y="51126"/>
                    </a:lnTo>
                    <a:close/>
                    <a:moveTo>
                      <a:pt x="86102" y="15842"/>
                    </a:moveTo>
                    <a:lnTo>
                      <a:pt x="101944" y="15842"/>
                    </a:lnTo>
                    <a:lnTo>
                      <a:pt x="109865" y="29524"/>
                    </a:lnTo>
                    <a:lnTo>
                      <a:pt x="101944" y="43205"/>
                    </a:lnTo>
                    <a:lnTo>
                      <a:pt x="86102" y="43205"/>
                    </a:lnTo>
                    <a:lnTo>
                      <a:pt x="78181" y="29524"/>
                    </a:lnTo>
                    <a:lnTo>
                      <a:pt x="86102" y="15842"/>
                    </a:lnTo>
                    <a:close/>
                  </a:path>
                </a:pathLst>
              </a:custGeom>
              <a:solidFill>
                <a:srgbClr val="40AA1D"/>
              </a:solidFill>
              <a:ln w="10150" cap="flat">
                <a:noFill/>
                <a:prstDash val="solid"/>
                <a:miter/>
              </a:ln>
            </p:spPr>
            <p:txBody>
              <a:bodyPr rtlCol="0" anchor="ctr"/>
              <a:lstStyle/>
              <a:p>
                <a:endParaRPr lang="en-US" dirty="0"/>
              </a:p>
            </p:txBody>
          </p:sp>
        </p:grpSp>
      </p:grpSp>
      <p:grpSp>
        <p:nvGrpSpPr>
          <p:cNvPr id="609" name="Group 608">
            <a:extLst>
              <a:ext uri="{FF2B5EF4-FFF2-40B4-BE49-F238E27FC236}">
                <a16:creationId xmlns:a16="http://schemas.microsoft.com/office/drawing/2014/main" id="{1FA9EF70-ECCC-2E29-A4F8-D31D87D51F61}"/>
              </a:ext>
            </a:extLst>
          </p:cNvPr>
          <p:cNvGrpSpPr/>
          <p:nvPr/>
        </p:nvGrpSpPr>
        <p:grpSpPr>
          <a:xfrm>
            <a:off x="3331315" y="3232714"/>
            <a:ext cx="628432" cy="658368"/>
            <a:chOff x="3331315" y="3700309"/>
            <a:chExt cx="628432" cy="658368"/>
          </a:xfrm>
        </p:grpSpPr>
        <p:grpSp>
          <p:nvGrpSpPr>
            <p:cNvPr id="610" name="Graphic 32">
              <a:extLst>
                <a:ext uri="{FF2B5EF4-FFF2-40B4-BE49-F238E27FC236}">
                  <a16:creationId xmlns:a16="http://schemas.microsoft.com/office/drawing/2014/main" id="{C22C6DDE-C402-73E0-FF12-DC59205CE237}"/>
                </a:ext>
              </a:extLst>
            </p:cNvPr>
            <p:cNvGrpSpPr/>
            <p:nvPr/>
          </p:nvGrpSpPr>
          <p:grpSpPr>
            <a:xfrm>
              <a:off x="3331315" y="3700309"/>
              <a:ext cx="628432" cy="658368"/>
              <a:chOff x="3331315" y="3700309"/>
              <a:chExt cx="628432" cy="658368"/>
            </a:xfrm>
            <a:solidFill>
              <a:srgbClr val="3D4647"/>
            </a:solidFill>
          </p:grpSpPr>
          <p:sp>
            <p:nvSpPr>
              <p:cNvPr id="624" name="Freeform: Shape 623">
                <a:extLst>
                  <a:ext uri="{FF2B5EF4-FFF2-40B4-BE49-F238E27FC236}">
                    <a16:creationId xmlns:a16="http://schemas.microsoft.com/office/drawing/2014/main" id="{1F561DF4-D265-959A-CE71-6D2D56D4DA19}"/>
                  </a:ext>
                </a:extLst>
              </p:cNvPr>
              <p:cNvSpPr/>
              <p:nvPr/>
            </p:nvSpPr>
            <p:spPr>
              <a:xfrm>
                <a:off x="3344277" y="3700309"/>
                <a:ext cx="366114" cy="355107"/>
              </a:xfrm>
              <a:custGeom>
                <a:avLst/>
                <a:gdLst>
                  <a:gd name="connsiteX0" fmla="*/ 365703 w 366114"/>
                  <a:gd name="connsiteY0" fmla="*/ 78901 h 355107"/>
                  <a:gd name="connsiteX1" fmla="*/ 305627 w 366114"/>
                  <a:gd name="connsiteY1" fmla="*/ 0 h 355107"/>
                  <a:gd name="connsiteX2" fmla="*/ 298220 w 366114"/>
                  <a:gd name="connsiteY2" fmla="*/ 54418 h 355107"/>
                  <a:gd name="connsiteX3" fmla="*/ 122415 w 366114"/>
                  <a:gd name="connsiteY3" fmla="*/ 113774 h 355107"/>
                  <a:gd name="connsiteX4" fmla="*/ 3292 w 366114"/>
                  <a:gd name="connsiteY4" fmla="*/ 312005 h 355107"/>
                  <a:gd name="connsiteX5" fmla="*/ 0 w 366114"/>
                  <a:gd name="connsiteY5" fmla="*/ 354902 h 355107"/>
                  <a:gd name="connsiteX6" fmla="*/ 34050 w 366114"/>
                  <a:gd name="connsiteY6" fmla="*/ 355107 h 355107"/>
                  <a:gd name="connsiteX7" fmla="*/ 37033 w 366114"/>
                  <a:gd name="connsiteY7" fmla="*/ 316942 h 355107"/>
                  <a:gd name="connsiteX8" fmla="*/ 142784 w 366114"/>
                  <a:gd name="connsiteY8" fmla="*/ 141035 h 355107"/>
                  <a:gd name="connsiteX9" fmla="*/ 293797 w 366114"/>
                  <a:gd name="connsiteY9" fmla="*/ 88468 h 355107"/>
                  <a:gd name="connsiteX10" fmla="*/ 287007 w 366114"/>
                  <a:gd name="connsiteY10" fmla="*/ 138875 h 355107"/>
                  <a:gd name="connsiteX11" fmla="*/ 366114 w 366114"/>
                  <a:gd name="connsiteY11" fmla="*/ 78901 h 355107"/>
                  <a:gd name="connsiteX12" fmla="*/ 365909 w 366114"/>
                  <a:gd name="connsiteY12" fmla="*/ 78901 h 3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6114" h="355107">
                    <a:moveTo>
                      <a:pt x="365703" y="78901"/>
                    </a:moveTo>
                    <a:lnTo>
                      <a:pt x="305627" y="0"/>
                    </a:lnTo>
                    <a:lnTo>
                      <a:pt x="298220" y="54418"/>
                    </a:lnTo>
                    <a:cubicBezTo>
                      <a:pt x="235161" y="55138"/>
                      <a:pt x="173953" y="75507"/>
                      <a:pt x="122415" y="113774"/>
                    </a:cubicBezTo>
                    <a:cubicBezTo>
                      <a:pt x="57504" y="161815"/>
                      <a:pt x="15225" y="232178"/>
                      <a:pt x="3292" y="312005"/>
                    </a:cubicBezTo>
                    <a:cubicBezTo>
                      <a:pt x="1132" y="326304"/>
                      <a:pt x="0" y="340705"/>
                      <a:pt x="0" y="354902"/>
                    </a:cubicBezTo>
                    <a:lnTo>
                      <a:pt x="34050" y="355107"/>
                    </a:lnTo>
                    <a:cubicBezTo>
                      <a:pt x="34050" y="342454"/>
                      <a:pt x="35079" y="329596"/>
                      <a:pt x="37033" y="316942"/>
                    </a:cubicBezTo>
                    <a:cubicBezTo>
                      <a:pt x="47629" y="246168"/>
                      <a:pt x="85176" y="183623"/>
                      <a:pt x="142784" y="141035"/>
                    </a:cubicBezTo>
                    <a:cubicBezTo>
                      <a:pt x="187223" y="108219"/>
                      <a:pt x="239584" y="90217"/>
                      <a:pt x="293797" y="88468"/>
                    </a:cubicBezTo>
                    <a:lnTo>
                      <a:pt x="287007" y="138875"/>
                    </a:lnTo>
                    <a:lnTo>
                      <a:pt x="366114" y="78901"/>
                    </a:lnTo>
                    <a:lnTo>
                      <a:pt x="365909" y="78901"/>
                    </a:lnTo>
                    <a:close/>
                  </a:path>
                </a:pathLst>
              </a:custGeom>
              <a:solidFill>
                <a:srgbClr val="3D4647"/>
              </a:solidFill>
              <a:ln w="10150" cap="flat">
                <a:noFill/>
                <a:prstDash val="solid"/>
                <a:miter/>
              </a:ln>
            </p:spPr>
            <p:txBody>
              <a:bodyPr rtlCol="0" anchor="ctr"/>
              <a:lstStyle/>
              <a:p>
                <a:endParaRPr lang="en-US" dirty="0"/>
              </a:p>
            </p:txBody>
          </p:sp>
          <p:sp>
            <p:nvSpPr>
              <p:cNvPr id="625" name="Freeform: Shape 624">
                <a:extLst>
                  <a:ext uri="{FF2B5EF4-FFF2-40B4-BE49-F238E27FC236}">
                    <a16:creationId xmlns:a16="http://schemas.microsoft.com/office/drawing/2014/main" id="{950211E0-42A7-9497-50C9-859F60A3E438}"/>
                  </a:ext>
                </a:extLst>
              </p:cNvPr>
              <p:cNvSpPr/>
              <p:nvPr/>
            </p:nvSpPr>
            <p:spPr>
              <a:xfrm>
                <a:off x="3777463" y="3792994"/>
                <a:ext cx="182285" cy="461269"/>
              </a:xfrm>
              <a:custGeom>
                <a:avLst/>
                <a:gdLst>
                  <a:gd name="connsiteX0" fmla="*/ 133217 w 182285"/>
                  <a:gd name="connsiteY0" fmla="*/ 410863 h 461269"/>
                  <a:gd name="connsiteX1" fmla="*/ 168398 w 182285"/>
                  <a:gd name="connsiteY1" fmla="*/ 308199 h 461269"/>
                  <a:gd name="connsiteX2" fmla="*/ 16562 w 182285"/>
                  <a:gd name="connsiteY2" fmla="*/ 0 h 461269"/>
                  <a:gd name="connsiteX3" fmla="*/ 0 w 182285"/>
                  <a:gd name="connsiteY3" fmla="*/ 29627 h 461269"/>
                  <a:gd name="connsiteX4" fmla="*/ 134657 w 182285"/>
                  <a:gd name="connsiteY4" fmla="*/ 303261 h 461269"/>
                  <a:gd name="connsiteX5" fmla="*/ 106882 w 182285"/>
                  <a:gd name="connsiteY5" fmla="*/ 388334 h 461269"/>
                  <a:gd name="connsiteX6" fmla="*/ 63574 w 182285"/>
                  <a:gd name="connsiteY6" fmla="*/ 351095 h 461269"/>
                  <a:gd name="connsiteX7" fmla="*/ 71906 w 182285"/>
                  <a:gd name="connsiteY7" fmla="*/ 461269 h 461269"/>
                  <a:gd name="connsiteX8" fmla="*/ 182286 w 182285"/>
                  <a:gd name="connsiteY8" fmla="*/ 453039 h 461269"/>
                  <a:gd name="connsiteX9" fmla="*/ 133320 w 182285"/>
                  <a:gd name="connsiteY9" fmla="*/ 410966 h 461269"/>
                  <a:gd name="connsiteX10" fmla="*/ 133320 w 182285"/>
                  <a:gd name="connsiteY10" fmla="*/ 410966 h 46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285" h="461269">
                    <a:moveTo>
                      <a:pt x="133217" y="410863"/>
                    </a:moveTo>
                    <a:cubicBezTo>
                      <a:pt x="150910" y="379179"/>
                      <a:pt x="162946" y="344512"/>
                      <a:pt x="168398" y="308199"/>
                    </a:cubicBezTo>
                    <a:cubicBezTo>
                      <a:pt x="186812" y="184652"/>
                      <a:pt x="125810" y="60796"/>
                      <a:pt x="16562" y="0"/>
                    </a:cubicBezTo>
                    <a:lnTo>
                      <a:pt x="0" y="29627"/>
                    </a:lnTo>
                    <a:cubicBezTo>
                      <a:pt x="96904" y="83633"/>
                      <a:pt x="151116" y="193601"/>
                      <a:pt x="134657" y="303261"/>
                    </a:cubicBezTo>
                    <a:cubicBezTo>
                      <a:pt x="130233" y="333196"/>
                      <a:pt x="120667" y="361897"/>
                      <a:pt x="106882" y="388334"/>
                    </a:cubicBezTo>
                    <a:lnTo>
                      <a:pt x="63574" y="351095"/>
                    </a:lnTo>
                    <a:lnTo>
                      <a:pt x="71906" y="461269"/>
                    </a:lnTo>
                    <a:lnTo>
                      <a:pt x="182286" y="453039"/>
                    </a:lnTo>
                    <a:lnTo>
                      <a:pt x="133320" y="410966"/>
                    </a:lnTo>
                    <a:lnTo>
                      <a:pt x="133320" y="410966"/>
                    </a:lnTo>
                    <a:close/>
                  </a:path>
                </a:pathLst>
              </a:custGeom>
              <a:solidFill>
                <a:srgbClr val="3D4647"/>
              </a:solidFill>
              <a:ln w="10150" cap="flat">
                <a:noFill/>
                <a:prstDash val="solid"/>
                <a:miter/>
              </a:ln>
            </p:spPr>
            <p:txBody>
              <a:bodyPr rtlCol="0" anchor="ctr"/>
              <a:lstStyle/>
              <a:p>
                <a:endParaRPr lang="en-US" dirty="0"/>
              </a:p>
            </p:txBody>
          </p:sp>
          <p:sp>
            <p:nvSpPr>
              <p:cNvPr id="626" name="Freeform: Shape 625">
                <a:extLst>
                  <a:ext uri="{FF2B5EF4-FFF2-40B4-BE49-F238E27FC236}">
                    <a16:creationId xmlns:a16="http://schemas.microsoft.com/office/drawing/2014/main" id="{2157B628-A2DD-C97E-A6B9-CDE47B368E16}"/>
                  </a:ext>
                </a:extLst>
              </p:cNvPr>
              <p:cNvSpPr/>
              <p:nvPr/>
            </p:nvSpPr>
            <p:spPr>
              <a:xfrm>
                <a:off x="3331315" y="4135654"/>
                <a:ext cx="473201" cy="223022"/>
              </a:xfrm>
              <a:custGeom>
                <a:avLst/>
                <a:gdLst>
                  <a:gd name="connsiteX0" fmla="*/ 455405 w 473201"/>
                  <a:gd name="connsiteY0" fmla="*/ 149676 h 223022"/>
                  <a:gd name="connsiteX1" fmla="*/ 275692 w 473201"/>
                  <a:gd name="connsiteY1" fmla="*/ 186092 h 223022"/>
                  <a:gd name="connsiteX2" fmla="*/ 86617 w 473201"/>
                  <a:gd name="connsiteY2" fmla="*/ 61311 h 223022"/>
                  <a:gd name="connsiteX3" fmla="*/ 138154 w 473201"/>
                  <a:gd name="connsiteY3" fmla="*/ 38988 h 223022"/>
                  <a:gd name="connsiteX4" fmla="*/ 38988 w 473201"/>
                  <a:gd name="connsiteY4" fmla="*/ 0 h 223022"/>
                  <a:gd name="connsiteX5" fmla="*/ 0 w 473201"/>
                  <a:gd name="connsiteY5" fmla="*/ 98961 h 223022"/>
                  <a:gd name="connsiteX6" fmla="*/ 55241 w 473201"/>
                  <a:gd name="connsiteY6" fmla="*/ 74992 h 223022"/>
                  <a:gd name="connsiteX7" fmla="*/ 270754 w 473201"/>
                  <a:gd name="connsiteY7" fmla="*/ 219730 h 223022"/>
                  <a:gd name="connsiteX8" fmla="*/ 315194 w 473201"/>
                  <a:gd name="connsiteY8" fmla="*/ 223022 h 223022"/>
                  <a:gd name="connsiteX9" fmla="*/ 473202 w 473201"/>
                  <a:gd name="connsiteY9" fmla="*/ 178582 h 223022"/>
                  <a:gd name="connsiteX10" fmla="*/ 455405 w 473201"/>
                  <a:gd name="connsiteY10" fmla="*/ 149573 h 223022"/>
                  <a:gd name="connsiteX11" fmla="*/ 455405 w 473201"/>
                  <a:gd name="connsiteY11" fmla="*/ 149573 h 22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3201" h="223022">
                    <a:moveTo>
                      <a:pt x="455405" y="149676"/>
                    </a:moveTo>
                    <a:cubicBezTo>
                      <a:pt x="401810" y="182491"/>
                      <a:pt x="338031" y="195453"/>
                      <a:pt x="275692" y="186092"/>
                    </a:cubicBezTo>
                    <a:cubicBezTo>
                      <a:pt x="196585" y="174365"/>
                      <a:pt x="127765" y="127970"/>
                      <a:pt x="86617" y="61311"/>
                    </a:cubicBezTo>
                    <a:lnTo>
                      <a:pt x="138154" y="38988"/>
                    </a:lnTo>
                    <a:lnTo>
                      <a:pt x="38988" y="0"/>
                    </a:lnTo>
                    <a:lnTo>
                      <a:pt x="0" y="98961"/>
                    </a:lnTo>
                    <a:lnTo>
                      <a:pt x="55241" y="74992"/>
                    </a:lnTo>
                    <a:cubicBezTo>
                      <a:pt x="101327" y="152248"/>
                      <a:pt x="180023" y="206254"/>
                      <a:pt x="270754" y="219730"/>
                    </a:cubicBezTo>
                    <a:cubicBezTo>
                      <a:pt x="285464" y="221891"/>
                      <a:pt x="300380" y="223022"/>
                      <a:pt x="315194" y="223022"/>
                    </a:cubicBezTo>
                    <a:cubicBezTo>
                      <a:pt x="370641" y="223022"/>
                      <a:pt x="425573" y="207695"/>
                      <a:pt x="473202" y="178582"/>
                    </a:cubicBezTo>
                    <a:lnTo>
                      <a:pt x="455405" y="149573"/>
                    </a:lnTo>
                    <a:lnTo>
                      <a:pt x="455405" y="149573"/>
                    </a:lnTo>
                    <a:close/>
                  </a:path>
                </a:pathLst>
              </a:custGeom>
              <a:solidFill>
                <a:srgbClr val="3D4647"/>
              </a:solidFill>
              <a:ln w="10150" cap="flat">
                <a:noFill/>
                <a:prstDash val="solid"/>
                <a:miter/>
              </a:ln>
            </p:spPr>
            <p:txBody>
              <a:bodyPr rtlCol="0" anchor="ctr"/>
              <a:lstStyle/>
              <a:p>
                <a:endParaRPr lang="en-US" dirty="0"/>
              </a:p>
            </p:txBody>
          </p:sp>
        </p:grpSp>
        <p:grpSp>
          <p:nvGrpSpPr>
            <p:cNvPr id="611" name="Graphic 32">
              <a:extLst>
                <a:ext uri="{FF2B5EF4-FFF2-40B4-BE49-F238E27FC236}">
                  <a16:creationId xmlns:a16="http://schemas.microsoft.com/office/drawing/2014/main" id="{935EFAA9-EBA0-7690-83C4-7BD84AC4F39A}"/>
                </a:ext>
              </a:extLst>
            </p:cNvPr>
            <p:cNvGrpSpPr/>
            <p:nvPr/>
          </p:nvGrpSpPr>
          <p:grpSpPr>
            <a:xfrm>
              <a:off x="3666006" y="3869285"/>
              <a:ext cx="190720" cy="331035"/>
              <a:chOff x="3645686" y="3874365"/>
              <a:chExt cx="190720" cy="331035"/>
            </a:xfrm>
            <a:solidFill>
              <a:srgbClr val="40AA1D"/>
            </a:solidFill>
          </p:grpSpPr>
          <p:sp>
            <p:nvSpPr>
              <p:cNvPr id="619" name="Freeform: Shape 618">
                <a:extLst>
                  <a:ext uri="{FF2B5EF4-FFF2-40B4-BE49-F238E27FC236}">
                    <a16:creationId xmlns:a16="http://schemas.microsoft.com/office/drawing/2014/main" id="{979AE6F2-1998-FDC0-9F67-AC210A081466}"/>
                  </a:ext>
                </a:extLst>
              </p:cNvPr>
              <p:cNvSpPr/>
              <p:nvPr/>
            </p:nvSpPr>
            <p:spPr>
              <a:xfrm>
                <a:off x="3645789" y="4101399"/>
                <a:ext cx="81370" cy="104001"/>
              </a:xfrm>
              <a:custGeom>
                <a:avLst/>
                <a:gdLst>
                  <a:gd name="connsiteX0" fmla="*/ 68614 w 81370"/>
                  <a:gd name="connsiteY0" fmla="*/ 52772 h 104001"/>
                  <a:gd name="connsiteX1" fmla="*/ 63882 w 81370"/>
                  <a:gd name="connsiteY1" fmla="*/ 44851 h 104001"/>
                  <a:gd name="connsiteX2" fmla="*/ 55447 w 81370"/>
                  <a:gd name="connsiteY2" fmla="*/ 44851 h 104001"/>
                  <a:gd name="connsiteX3" fmla="*/ 55447 w 81370"/>
                  <a:gd name="connsiteY3" fmla="*/ 26438 h 104001"/>
                  <a:gd name="connsiteX4" fmla="*/ 0 w 81370"/>
                  <a:gd name="connsiteY4" fmla="*/ 0 h 104001"/>
                  <a:gd name="connsiteX5" fmla="*/ 0 w 81370"/>
                  <a:gd name="connsiteY5" fmla="*/ 17591 h 104001"/>
                  <a:gd name="connsiteX6" fmla="*/ 39605 w 81370"/>
                  <a:gd name="connsiteY6" fmla="*/ 36519 h 104001"/>
                  <a:gd name="connsiteX7" fmla="*/ 39605 w 81370"/>
                  <a:gd name="connsiteY7" fmla="*/ 44954 h 104001"/>
                  <a:gd name="connsiteX8" fmla="*/ 30141 w 81370"/>
                  <a:gd name="connsiteY8" fmla="*/ 44954 h 104001"/>
                  <a:gd name="connsiteX9" fmla="*/ 25409 w 81370"/>
                  <a:gd name="connsiteY9" fmla="*/ 52875 h 104001"/>
                  <a:gd name="connsiteX10" fmla="*/ 17488 w 81370"/>
                  <a:gd name="connsiteY10" fmla="*/ 66557 h 104001"/>
                  <a:gd name="connsiteX11" fmla="*/ 12756 w 81370"/>
                  <a:gd name="connsiteY11" fmla="*/ 74478 h 104001"/>
                  <a:gd name="connsiteX12" fmla="*/ 17488 w 81370"/>
                  <a:gd name="connsiteY12" fmla="*/ 82399 h 104001"/>
                  <a:gd name="connsiteX13" fmla="*/ 25409 w 81370"/>
                  <a:gd name="connsiteY13" fmla="*/ 96081 h 104001"/>
                  <a:gd name="connsiteX14" fmla="*/ 30141 w 81370"/>
                  <a:gd name="connsiteY14" fmla="*/ 104002 h 104001"/>
                  <a:gd name="connsiteX15" fmla="*/ 63985 w 81370"/>
                  <a:gd name="connsiteY15" fmla="*/ 104002 h 104001"/>
                  <a:gd name="connsiteX16" fmla="*/ 68717 w 81370"/>
                  <a:gd name="connsiteY16" fmla="*/ 96081 h 104001"/>
                  <a:gd name="connsiteX17" fmla="*/ 76638 w 81370"/>
                  <a:gd name="connsiteY17" fmla="*/ 82399 h 104001"/>
                  <a:gd name="connsiteX18" fmla="*/ 81370 w 81370"/>
                  <a:gd name="connsiteY18" fmla="*/ 74478 h 104001"/>
                  <a:gd name="connsiteX19" fmla="*/ 76638 w 81370"/>
                  <a:gd name="connsiteY19" fmla="*/ 66557 h 104001"/>
                  <a:gd name="connsiteX20" fmla="*/ 68717 w 81370"/>
                  <a:gd name="connsiteY20" fmla="*/ 52875 h 104001"/>
                  <a:gd name="connsiteX21" fmla="*/ 54933 w 81370"/>
                  <a:gd name="connsiteY21" fmla="*/ 88057 h 104001"/>
                  <a:gd name="connsiteX22" fmla="*/ 39091 w 81370"/>
                  <a:gd name="connsiteY22" fmla="*/ 88057 h 104001"/>
                  <a:gd name="connsiteX23" fmla="*/ 31170 w 81370"/>
                  <a:gd name="connsiteY23" fmla="*/ 74375 h 104001"/>
                  <a:gd name="connsiteX24" fmla="*/ 39091 w 81370"/>
                  <a:gd name="connsiteY24" fmla="*/ 60693 h 104001"/>
                  <a:gd name="connsiteX25" fmla="*/ 54933 w 81370"/>
                  <a:gd name="connsiteY25" fmla="*/ 60693 h 104001"/>
                  <a:gd name="connsiteX26" fmla="*/ 62854 w 81370"/>
                  <a:gd name="connsiteY26" fmla="*/ 74375 h 104001"/>
                  <a:gd name="connsiteX27" fmla="*/ 54933 w 81370"/>
                  <a:gd name="connsiteY27" fmla="*/ 88057 h 10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370" h="104001">
                    <a:moveTo>
                      <a:pt x="68614" y="52772"/>
                    </a:moveTo>
                    <a:lnTo>
                      <a:pt x="63882" y="44851"/>
                    </a:lnTo>
                    <a:lnTo>
                      <a:pt x="55447" y="44851"/>
                    </a:lnTo>
                    <a:lnTo>
                      <a:pt x="55447" y="26438"/>
                    </a:lnTo>
                    <a:lnTo>
                      <a:pt x="0" y="0"/>
                    </a:lnTo>
                    <a:lnTo>
                      <a:pt x="0" y="17591"/>
                    </a:lnTo>
                    <a:lnTo>
                      <a:pt x="39605" y="36519"/>
                    </a:lnTo>
                    <a:lnTo>
                      <a:pt x="39605" y="44954"/>
                    </a:lnTo>
                    <a:lnTo>
                      <a:pt x="30141" y="44954"/>
                    </a:lnTo>
                    <a:lnTo>
                      <a:pt x="25409" y="52875"/>
                    </a:lnTo>
                    <a:lnTo>
                      <a:pt x="17488" y="66557"/>
                    </a:lnTo>
                    <a:lnTo>
                      <a:pt x="12756" y="74478"/>
                    </a:lnTo>
                    <a:lnTo>
                      <a:pt x="17488" y="82399"/>
                    </a:lnTo>
                    <a:lnTo>
                      <a:pt x="25409" y="96081"/>
                    </a:lnTo>
                    <a:lnTo>
                      <a:pt x="30141" y="104002"/>
                    </a:lnTo>
                    <a:lnTo>
                      <a:pt x="63985" y="104002"/>
                    </a:lnTo>
                    <a:lnTo>
                      <a:pt x="68717" y="96081"/>
                    </a:lnTo>
                    <a:lnTo>
                      <a:pt x="76638" y="82399"/>
                    </a:lnTo>
                    <a:lnTo>
                      <a:pt x="81370" y="74478"/>
                    </a:lnTo>
                    <a:lnTo>
                      <a:pt x="76638" y="66557"/>
                    </a:lnTo>
                    <a:lnTo>
                      <a:pt x="68717" y="52875"/>
                    </a:lnTo>
                    <a:close/>
                    <a:moveTo>
                      <a:pt x="54933" y="88057"/>
                    </a:moveTo>
                    <a:lnTo>
                      <a:pt x="39091" y="88057"/>
                    </a:lnTo>
                    <a:lnTo>
                      <a:pt x="31170" y="74375"/>
                    </a:lnTo>
                    <a:lnTo>
                      <a:pt x="39091" y="60693"/>
                    </a:lnTo>
                    <a:lnTo>
                      <a:pt x="54933" y="60693"/>
                    </a:lnTo>
                    <a:lnTo>
                      <a:pt x="62854" y="74375"/>
                    </a:lnTo>
                    <a:lnTo>
                      <a:pt x="54933" y="88057"/>
                    </a:lnTo>
                    <a:close/>
                  </a:path>
                </a:pathLst>
              </a:custGeom>
              <a:solidFill>
                <a:srgbClr val="40AA1D"/>
              </a:solidFill>
              <a:ln w="10150" cap="flat">
                <a:noFill/>
                <a:prstDash val="solid"/>
                <a:miter/>
              </a:ln>
            </p:spPr>
            <p:txBody>
              <a:bodyPr rtlCol="0" anchor="ctr"/>
              <a:lstStyle/>
              <a:p>
                <a:endParaRPr lang="en-US" dirty="0"/>
              </a:p>
            </p:txBody>
          </p:sp>
          <p:sp>
            <p:nvSpPr>
              <p:cNvPr id="620" name="Freeform: Shape 619">
                <a:extLst>
                  <a:ext uri="{FF2B5EF4-FFF2-40B4-BE49-F238E27FC236}">
                    <a16:creationId xmlns:a16="http://schemas.microsoft.com/office/drawing/2014/main" id="{D5C3FBAE-8E56-9AF9-8B73-EA35842E3881}"/>
                  </a:ext>
                </a:extLst>
              </p:cNvPr>
              <p:cNvSpPr/>
              <p:nvPr/>
            </p:nvSpPr>
            <p:spPr>
              <a:xfrm>
                <a:off x="3645789" y="3936498"/>
                <a:ext cx="190618" cy="75918"/>
              </a:xfrm>
              <a:custGeom>
                <a:avLst/>
                <a:gdLst>
                  <a:gd name="connsiteX0" fmla="*/ 0 w 190618"/>
                  <a:gd name="connsiteY0" fmla="*/ 58327 h 75918"/>
                  <a:gd name="connsiteX1" fmla="*/ 0 w 190618"/>
                  <a:gd name="connsiteY1" fmla="*/ 75918 h 75918"/>
                  <a:gd name="connsiteX2" fmla="*/ 79210 w 190618"/>
                  <a:gd name="connsiteY2" fmla="*/ 37445 h 75918"/>
                  <a:gd name="connsiteX3" fmla="*/ 127250 w 190618"/>
                  <a:gd name="connsiteY3" fmla="*/ 37445 h 75918"/>
                  <a:gd name="connsiteX4" fmla="*/ 135171 w 190618"/>
                  <a:gd name="connsiteY4" fmla="*/ 51126 h 75918"/>
                  <a:gd name="connsiteX5" fmla="*/ 139903 w 190618"/>
                  <a:gd name="connsiteY5" fmla="*/ 59047 h 75918"/>
                  <a:gd name="connsiteX6" fmla="*/ 173747 w 190618"/>
                  <a:gd name="connsiteY6" fmla="*/ 59047 h 75918"/>
                  <a:gd name="connsiteX7" fmla="*/ 178479 w 190618"/>
                  <a:gd name="connsiteY7" fmla="*/ 51126 h 75918"/>
                  <a:gd name="connsiteX8" fmla="*/ 186400 w 190618"/>
                  <a:gd name="connsiteY8" fmla="*/ 37445 h 75918"/>
                  <a:gd name="connsiteX9" fmla="*/ 190618 w 190618"/>
                  <a:gd name="connsiteY9" fmla="*/ 29524 h 75918"/>
                  <a:gd name="connsiteX10" fmla="*/ 186400 w 190618"/>
                  <a:gd name="connsiteY10" fmla="*/ 21603 h 75918"/>
                  <a:gd name="connsiteX11" fmla="*/ 178479 w 190618"/>
                  <a:gd name="connsiteY11" fmla="*/ 7921 h 75918"/>
                  <a:gd name="connsiteX12" fmla="*/ 173747 w 190618"/>
                  <a:gd name="connsiteY12" fmla="*/ 0 h 75918"/>
                  <a:gd name="connsiteX13" fmla="*/ 139903 w 190618"/>
                  <a:gd name="connsiteY13" fmla="*/ 0 h 75918"/>
                  <a:gd name="connsiteX14" fmla="*/ 135171 w 190618"/>
                  <a:gd name="connsiteY14" fmla="*/ 7921 h 75918"/>
                  <a:gd name="connsiteX15" fmla="*/ 127250 w 190618"/>
                  <a:gd name="connsiteY15" fmla="*/ 21603 h 75918"/>
                  <a:gd name="connsiteX16" fmla="*/ 75507 w 190618"/>
                  <a:gd name="connsiteY16" fmla="*/ 21603 h 75918"/>
                  <a:gd name="connsiteX17" fmla="*/ 0 w 190618"/>
                  <a:gd name="connsiteY17" fmla="*/ 58327 h 75918"/>
                  <a:gd name="connsiteX18" fmla="*/ 148956 w 190618"/>
                  <a:gd name="connsiteY18" fmla="*/ 15739 h 75918"/>
                  <a:gd name="connsiteX19" fmla="*/ 164798 w 190618"/>
                  <a:gd name="connsiteY19" fmla="*/ 15739 h 75918"/>
                  <a:gd name="connsiteX20" fmla="*/ 172719 w 190618"/>
                  <a:gd name="connsiteY20" fmla="*/ 29421 h 75918"/>
                  <a:gd name="connsiteX21" fmla="*/ 164798 w 190618"/>
                  <a:gd name="connsiteY21" fmla="*/ 42588 h 75918"/>
                  <a:gd name="connsiteX22" fmla="*/ 148956 w 190618"/>
                  <a:gd name="connsiteY22" fmla="*/ 42588 h 75918"/>
                  <a:gd name="connsiteX23" fmla="*/ 141035 w 190618"/>
                  <a:gd name="connsiteY23" fmla="*/ 29421 h 75918"/>
                  <a:gd name="connsiteX24" fmla="*/ 148956 w 190618"/>
                  <a:gd name="connsiteY24" fmla="*/ 15739 h 75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618" h="75918">
                    <a:moveTo>
                      <a:pt x="0" y="58327"/>
                    </a:moveTo>
                    <a:lnTo>
                      <a:pt x="0" y="75918"/>
                    </a:lnTo>
                    <a:lnTo>
                      <a:pt x="79210" y="37445"/>
                    </a:lnTo>
                    <a:lnTo>
                      <a:pt x="127250" y="37445"/>
                    </a:lnTo>
                    <a:lnTo>
                      <a:pt x="135171" y="51126"/>
                    </a:lnTo>
                    <a:lnTo>
                      <a:pt x="139903" y="59047"/>
                    </a:lnTo>
                    <a:lnTo>
                      <a:pt x="173747" y="59047"/>
                    </a:lnTo>
                    <a:lnTo>
                      <a:pt x="178479" y="51126"/>
                    </a:lnTo>
                    <a:lnTo>
                      <a:pt x="186400" y="37445"/>
                    </a:lnTo>
                    <a:lnTo>
                      <a:pt x="190618" y="29524"/>
                    </a:lnTo>
                    <a:lnTo>
                      <a:pt x="186400" y="21603"/>
                    </a:lnTo>
                    <a:lnTo>
                      <a:pt x="178479" y="7921"/>
                    </a:lnTo>
                    <a:lnTo>
                      <a:pt x="173747" y="0"/>
                    </a:lnTo>
                    <a:lnTo>
                      <a:pt x="139903" y="0"/>
                    </a:lnTo>
                    <a:lnTo>
                      <a:pt x="135171" y="7921"/>
                    </a:lnTo>
                    <a:lnTo>
                      <a:pt x="127250" y="21603"/>
                    </a:lnTo>
                    <a:lnTo>
                      <a:pt x="75507" y="21603"/>
                    </a:lnTo>
                    <a:lnTo>
                      <a:pt x="0" y="58327"/>
                    </a:lnTo>
                    <a:close/>
                    <a:moveTo>
                      <a:pt x="148956" y="15739"/>
                    </a:moveTo>
                    <a:lnTo>
                      <a:pt x="164798" y="15739"/>
                    </a:lnTo>
                    <a:lnTo>
                      <a:pt x="172719" y="29421"/>
                    </a:lnTo>
                    <a:lnTo>
                      <a:pt x="164798" y="42588"/>
                    </a:lnTo>
                    <a:lnTo>
                      <a:pt x="148956" y="42588"/>
                    </a:lnTo>
                    <a:lnTo>
                      <a:pt x="141035" y="29421"/>
                    </a:lnTo>
                    <a:lnTo>
                      <a:pt x="148956" y="15739"/>
                    </a:lnTo>
                    <a:close/>
                  </a:path>
                </a:pathLst>
              </a:custGeom>
              <a:solidFill>
                <a:srgbClr val="40AA1D"/>
              </a:solidFill>
              <a:ln w="10150" cap="flat">
                <a:noFill/>
                <a:prstDash val="solid"/>
                <a:miter/>
              </a:ln>
            </p:spPr>
            <p:txBody>
              <a:bodyPr rtlCol="0" anchor="ctr"/>
              <a:lstStyle/>
              <a:p>
                <a:endParaRPr lang="en-US" dirty="0"/>
              </a:p>
            </p:txBody>
          </p:sp>
          <p:sp>
            <p:nvSpPr>
              <p:cNvPr id="621" name="Freeform: Shape 620">
                <a:extLst>
                  <a:ext uri="{FF2B5EF4-FFF2-40B4-BE49-F238E27FC236}">
                    <a16:creationId xmlns:a16="http://schemas.microsoft.com/office/drawing/2014/main" id="{FEDDD269-2AE9-F3A4-E422-BC190D5BDB1B}"/>
                  </a:ext>
                </a:extLst>
              </p:cNvPr>
              <p:cNvSpPr/>
              <p:nvPr/>
            </p:nvSpPr>
            <p:spPr>
              <a:xfrm>
                <a:off x="3645789" y="4067349"/>
                <a:ext cx="190618" cy="75712"/>
              </a:xfrm>
              <a:custGeom>
                <a:avLst/>
                <a:gdLst>
                  <a:gd name="connsiteX0" fmla="*/ 178479 w 190618"/>
                  <a:gd name="connsiteY0" fmla="*/ 25100 h 75712"/>
                  <a:gd name="connsiteX1" fmla="*/ 173747 w 190618"/>
                  <a:gd name="connsiteY1" fmla="*/ 17179 h 75712"/>
                  <a:gd name="connsiteX2" fmla="*/ 139903 w 190618"/>
                  <a:gd name="connsiteY2" fmla="*/ 17179 h 75712"/>
                  <a:gd name="connsiteX3" fmla="*/ 135171 w 190618"/>
                  <a:gd name="connsiteY3" fmla="*/ 25100 h 75712"/>
                  <a:gd name="connsiteX4" fmla="*/ 127250 w 190618"/>
                  <a:gd name="connsiteY4" fmla="*/ 38268 h 75712"/>
                  <a:gd name="connsiteX5" fmla="*/ 78696 w 190618"/>
                  <a:gd name="connsiteY5" fmla="*/ 38268 h 75712"/>
                  <a:gd name="connsiteX6" fmla="*/ 0 w 190618"/>
                  <a:gd name="connsiteY6" fmla="*/ 0 h 75712"/>
                  <a:gd name="connsiteX7" fmla="*/ 0 w 190618"/>
                  <a:gd name="connsiteY7" fmla="*/ 17591 h 75712"/>
                  <a:gd name="connsiteX8" fmla="*/ 74992 w 190618"/>
                  <a:gd name="connsiteY8" fmla="*/ 54110 h 75712"/>
                  <a:gd name="connsiteX9" fmla="*/ 127250 w 190618"/>
                  <a:gd name="connsiteY9" fmla="*/ 54110 h 75712"/>
                  <a:gd name="connsiteX10" fmla="*/ 135171 w 190618"/>
                  <a:gd name="connsiteY10" fmla="*/ 67791 h 75712"/>
                  <a:gd name="connsiteX11" fmla="*/ 139903 w 190618"/>
                  <a:gd name="connsiteY11" fmla="*/ 75712 h 75712"/>
                  <a:gd name="connsiteX12" fmla="*/ 173747 w 190618"/>
                  <a:gd name="connsiteY12" fmla="*/ 75712 h 75712"/>
                  <a:gd name="connsiteX13" fmla="*/ 178479 w 190618"/>
                  <a:gd name="connsiteY13" fmla="*/ 67791 h 75712"/>
                  <a:gd name="connsiteX14" fmla="*/ 186400 w 190618"/>
                  <a:gd name="connsiteY14" fmla="*/ 54110 h 75712"/>
                  <a:gd name="connsiteX15" fmla="*/ 190618 w 190618"/>
                  <a:gd name="connsiteY15" fmla="*/ 46189 h 75712"/>
                  <a:gd name="connsiteX16" fmla="*/ 186400 w 190618"/>
                  <a:gd name="connsiteY16" fmla="*/ 38268 h 75712"/>
                  <a:gd name="connsiteX17" fmla="*/ 178479 w 190618"/>
                  <a:gd name="connsiteY17" fmla="*/ 25100 h 75712"/>
                  <a:gd name="connsiteX18" fmla="*/ 164798 w 190618"/>
                  <a:gd name="connsiteY18" fmla="*/ 59973 h 75712"/>
                  <a:gd name="connsiteX19" fmla="*/ 148956 w 190618"/>
                  <a:gd name="connsiteY19" fmla="*/ 59973 h 75712"/>
                  <a:gd name="connsiteX20" fmla="*/ 141035 w 190618"/>
                  <a:gd name="connsiteY20" fmla="*/ 46292 h 75712"/>
                  <a:gd name="connsiteX21" fmla="*/ 148956 w 190618"/>
                  <a:gd name="connsiteY21" fmla="*/ 32610 h 75712"/>
                  <a:gd name="connsiteX22" fmla="*/ 164798 w 190618"/>
                  <a:gd name="connsiteY22" fmla="*/ 32610 h 75712"/>
                  <a:gd name="connsiteX23" fmla="*/ 172719 w 190618"/>
                  <a:gd name="connsiteY23" fmla="*/ 46292 h 75712"/>
                  <a:gd name="connsiteX24" fmla="*/ 164798 w 190618"/>
                  <a:gd name="connsiteY24" fmla="*/ 59973 h 7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618" h="75712">
                    <a:moveTo>
                      <a:pt x="178479" y="25100"/>
                    </a:moveTo>
                    <a:lnTo>
                      <a:pt x="173747" y="17179"/>
                    </a:lnTo>
                    <a:lnTo>
                      <a:pt x="139903" y="17179"/>
                    </a:lnTo>
                    <a:lnTo>
                      <a:pt x="135171" y="25100"/>
                    </a:lnTo>
                    <a:lnTo>
                      <a:pt x="127250" y="38268"/>
                    </a:lnTo>
                    <a:lnTo>
                      <a:pt x="78696" y="38268"/>
                    </a:lnTo>
                    <a:lnTo>
                      <a:pt x="0" y="0"/>
                    </a:lnTo>
                    <a:lnTo>
                      <a:pt x="0" y="17591"/>
                    </a:lnTo>
                    <a:lnTo>
                      <a:pt x="74992" y="54110"/>
                    </a:lnTo>
                    <a:lnTo>
                      <a:pt x="127250" y="54110"/>
                    </a:lnTo>
                    <a:lnTo>
                      <a:pt x="135171" y="67791"/>
                    </a:lnTo>
                    <a:lnTo>
                      <a:pt x="139903" y="75712"/>
                    </a:lnTo>
                    <a:lnTo>
                      <a:pt x="173747" y="75712"/>
                    </a:lnTo>
                    <a:lnTo>
                      <a:pt x="178479" y="67791"/>
                    </a:lnTo>
                    <a:lnTo>
                      <a:pt x="186400" y="54110"/>
                    </a:lnTo>
                    <a:lnTo>
                      <a:pt x="190618" y="46189"/>
                    </a:lnTo>
                    <a:lnTo>
                      <a:pt x="186400" y="38268"/>
                    </a:lnTo>
                    <a:lnTo>
                      <a:pt x="178479" y="25100"/>
                    </a:lnTo>
                    <a:close/>
                    <a:moveTo>
                      <a:pt x="164798" y="59973"/>
                    </a:moveTo>
                    <a:lnTo>
                      <a:pt x="148956" y="59973"/>
                    </a:lnTo>
                    <a:lnTo>
                      <a:pt x="141035" y="46292"/>
                    </a:lnTo>
                    <a:lnTo>
                      <a:pt x="148956" y="32610"/>
                    </a:lnTo>
                    <a:lnTo>
                      <a:pt x="164798" y="32610"/>
                    </a:lnTo>
                    <a:lnTo>
                      <a:pt x="172719" y="46292"/>
                    </a:lnTo>
                    <a:lnTo>
                      <a:pt x="164798" y="59973"/>
                    </a:lnTo>
                    <a:close/>
                  </a:path>
                </a:pathLst>
              </a:custGeom>
              <a:solidFill>
                <a:srgbClr val="40AA1D"/>
              </a:solidFill>
              <a:ln w="10150" cap="flat">
                <a:noFill/>
                <a:prstDash val="solid"/>
                <a:miter/>
              </a:ln>
            </p:spPr>
            <p:txBody>
              <a:bodyPr rtlCol="0" anchor="ctr"/>
              <a:lstStyle/>
              <a:p>
                <a:endParaRPr lang="en-US" dirty="0"/>
              </a:p>
            </p:txBody>
          </p:sp>
          <p:sp>
            <p:nvSpPr>
              <p:cNvPr id="622" name="Freeform: Shape 621">
                <a:extLst>
                  <a:ext uri="{FF2B5EF4-FFF2-40B4-BE49-F238E27FC236}">
                    <a16:creationId xmlns:a16="http://schemas.microsoft.com/office/drawing/2014/main" id="{168CD943-4049-6485-6C47-C47D60E609DF}"/>
                  </a:ext>
                </a:extLst>
              </p:cNvPr>
              <p:cNvSpPr/>
              <p:nvPr/>
            </p:nvSpPr>
            <p:spPr>
              <a:xfrm>
                <a:off x="3645686" y="3874365"/>
                <a:ext cx="81267" cy="103898"/>
              </a:xfrm>
              <a:custGeom>
                <a:avLst/>
                <a:gdLst>
                  <a:gd name="connsiteX0" fmla="*/ 25409 w 81267"/>
                  <a:gd name="connsiteY0" fmla="*/ 51024 h 103898"/>
                  <a:gd name="connsiteX1" fmla="*/ 30141 w 81267"/>
                  <a:gd name="connsiteY1" fmla="*/ 58945 h 103898"/>
                  <a:gd name="connsiteX2" fmla="*/ 39605 w 81267"/>
                  <a:gd name="connsiteY2" fmla="*/ 58945 h 103898"/>
                  <a:gd name="connsiteX3" fmla="*/ 39605 w 81267"/>
                  <a:gd name="connsiteY3" fmla="*/ 67380 h 103898"/>
                  <a:gd name="connsiteX4" fmla="*/ 0 w 81267"/>
                  <a:gd name="connsiteY4" fmla="*/ 86308 h 103898"/>
                  <a:gd name="connsiteX5" fmla="*/ 0 w 81267"/>
                  <a:gd name="connsiteY5" fmla="*/ 103899 h 103898"/>
                  <a:gd name="connsiteX6" fmla="*/ 55447 w 81267"/>
                  <a:gd name="connsiteY6" fmla="*/ 77461 h 103898"/>
                  <a:gd name="connsiteX7" fmla="*/ 55447 w 81267"/>
                  <a:gd name="connsiteY7" fmla="*/ 59047 h 103898"/>
                  <a:gd name="connsiteX8" fmla="*/ 63882 w 81267"/>
                  <a:gd name="connsiteY8" fmla="*/ 59047 h 103898"/>
                  <a:gd name="connsiteX9" fmla="*/ 68614 w 81267"/>
                  <a:gd name="connsiteY9" fmla="*/ 51126 h 103898"/>
                  <a:gd name="connsiteX10" fmla="*/ 76535 w 81267"/>
                  <a:gd name="connsiteY10" fmla="*/ 37445 h 103898"/>
                  <a:gd name="connsiteX11" fmla="*/ 81267 w 81267"/>
                  <a:gd name="connsiteY11" fmla="*/ 29524 h 103898"/>
                  <a:gd name="connsiteX12" fmla="*/ 76535 w 81267"/>
                  <a:gd name="connsiteY12" fmla="*/ 21603 h 103898"/>
                  <a:gd name="connsiteX13" fmla="*/ 68614 w 81267"/>
                  <a:gd name="connsiteY13" fmla="*/ 7921 h 103898"/>
                  <a:gd name="connsiteX14" fmla="*/ 63882 w 81267"/>
                  <a:gd name="connsiteY14" fmla="*/ 0 h 103898"/>
                  <a:gd name="connsiteX15" fmla="*/ 30038 w 81267"/>
                  <a:gd name="connsiteY15" fmla="*/ 0 h 103898"/>
                  <a:gd name="connsiteX16" fmla="*/ 25306 w 81267"/>
                  <a:gd name="connsiteY16" fmla="*/ 7921 h 103898"/>
                  <a:gd name="connsiteX17" fmla="*/ 17385 w 81267"/>
                  <a:gd name="connsiteY17" fmla="*/ 21603 h 103898"/>
                  <a:gd name="connsiteX18" fmla="*/ 12653 w 81267"/>
                  <a:gd name="connsiteY18" fmla="*/ 29524 h 103898"/>
                  <a:gd name="connsiteX19" fmla="*/ 17385 w 81267"/>
                  <a:gd name="connsiteY19" fmla="*/ 37445 h 103898"/>
                  <a:gd name="connsiteX20" fmla="*/ 25306 w 81267"/>
                  <a:gd name="connsiteY20" fmla="*/ 51126 h 103898"/>
                  <a:gd name="connsiteX21" fmla="*/ 39193 w 81267"/>
                  <a:gd name="connsiteY21" fmla="*/ 15739 h 103898"/>
                  <a:gd name="connsiteX22" fmla="*/ 55035 w 81267"/>
                  <a:gd name="connsiteY22" fmla="*/ 15739 h 103898"/>
                  <a:gd name="connsiteX23" fmla="*/ 62956 w 81267"/>
                  <a:gd name="connsiteY23" fmla="*/ 29421 h 103898"/>
                  <a:gd name="connsiteX24" fmla="*/ 55035 w 81267"/>
                  <a:gd name="connsiteY24" fmla="*/ 43103 h 103898"/>
                  <a:gd name="connsiteX25" fmla="*/ 39193 w 81267"/>
                  <a:gd name="connsiteY25" fmla="*/ 43103 h 103898"/>
                  <a:gd name="connsiteX26" fmla="*/ 31272 w 81267"/>
                  <a:gd name="connsiteY26" fmla="*/ 29421 h 103898"/>
                  <a:gd name="connsiteX27" fmla="*/ 39193 w 81267"/>
                  <a:gd name="connsiteY27" fmla="*/ 15739 h 10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267" h="103898">
                    <a:moveTo>
                      <a:pt x="25409" y="51024"/>
                    </a:moveTo>
                    <a:lnTo>
                      <a:pt x="30141" y="58945"/>
                    </a:lnTo>
                    <a:lnTo>
                      <a:pt x="39605" y="58945"/>
                    </a:lnTo>
                    <a:lnTo>
                      <a:pt x="39605" y="67380"/>
                    </a:lnTo>
                    <a:lnTo>
                      <a:pt x="0" y="86308"/>
                    </a:lnTo>
                    <a:lnTo>
                      <a:pt x="0" y="103899"/>
                    </a:lnTo>
                    <a:lnTo>
                      <a:pt x="55447" y="77461"/>
                    </a:lnTo>
                    <a:lnTo>
                      <a:pt x="55447" y="59047"/>
                    </a:lnTo>
                    <a:lnTo>
                      <a:pt x="63882" y="59047"/>
                    </a:lnTo>
                    <a:lnTo>
                      <a:pt x="68614" y="51126"/>
                    </a:lnTo>
                    <a:lnTo>
                      <a:pt x="76535" y="37445"/>
                    </a:lnTo>
                    <a:lnTo>
                      <a:pt x="81267" y="29524"/>
                    </a:lnTo>
                    <a:lnTo>
                      <a:pt x="76535" y="21603"/>
                    </a:lnTo>
                    <a:lnTo>
                      <a:pt x="68614" y="7921"/>
                    </a:lnTo>
                    <a:lnTo>
                      <a:pt x="63882" y="0"/>
                    </a:lnTo>
                    <a:lnTo>
                      <a:pt x="30038" y="0"/>
                    </a:lnTo>
                    <a:lnTo>
                      <a:pt x="25306" y="7921"/>
                    </a:lnTo>
                    <a:lnTo>
                      <a:pt x="17385" y="21603"/>
                    </a:lnTo>
                    <a:lnTo>
                      <a:pt x="12653" y="29524"/>
                    </a:lnTo>
                    <a:lnTo>
                      <a:pt x="17385" y="37445"/>
                    </a:lnTo>
                    <a:lnTo>
                      <a:pt x="25306" y="51126"/>
                    </a:lnTo>
                    <a:close/>
                    <a:moveTo>
                      <a:pt x="39193" y="15739"/>
                    </a:moveTo>
                    <a:lnTo>
                      <a:pt x="55035" y="15739"/>
                    </a:lnTo>
                    <a:lnTo>
                      <a:pt x="62956" y="29421"/>
                    </a:lnTo>
                    <a:lnTo>
                      <a:pt x="55035" y="43103"/>
                    </a:lnTo>
                    <a:lnTo>
                      <a:pt x="39193" y="43103"/>
                    </a:lnTo>
                    <a:lnTo>
                      <a:pt x="31272" y="29421"/>
                    </a:lnTo>
                    <a:lnTo>
                      <a:pt x="39193" y="15739"/>
                    </a:lnTo>
                    <a:close/>
                  </a:path>
                </a:pathLst>
              </a:custGeom>
              <a:solidFill>
                <a:srgbClr val="40AA1D"/>
              </a:solidFill>
              <a:ln w="10150" cap="flat">
                <a:noFill/>
                <a:prstDash val="solid"/>
                <a:miter/>
              </a:ln>
            </p:spPr>
            <p:txBody>
              <a:bodyPr rtlCol="0" anchor="ctr"/>
              <a:lstStyle/>
              <a:p>
                <a:endParaRPr lang="en-US" dirty="0"/>
              </a:p>
            </p:txBody>
          </p:sp>
          <p:sp>
            <p:nvSpPr>
              <p:cNvPr id="623" name="Freeform: Shape 622">
                <a:extLst>
                  <a:ext uri="{FF2B5EF4-FFF2-40B4-BE49-F238E27FC236}">
                    <a16:creationId xmlns:a16="http://schemas.microsoft.com/office/drawing/2014/main" id="{559E0C7D-C3EC-28DA-C050-A4C2F1B594BC}"/>
                  </a:ext>
                </a:extLst>
              </p:cNvPr>
              <p:cNvSpPr/>
              <p:nvPr/>
            </p:nvSpPr>
            <p:spPr>
              <a:xfrm>
                <a:off x="3645789" y="4010770"/>
                <a:ext cx="128793" cy="59047"/>
              </a:xfrm>
              <a:custGeom>
                <a:avLst/>
                <a:gdLst>
                  <a:gd name="connsiteX0" fmla="*/ 72832 w 128793"/>
                  <a:gd name="connsiteY0" fmla="*/ 51126 h 59047"/>
                  <a:gd name="connsiteX1" fmla="*/ 77564 w 128793"/>
                  <a:gd name="connsiteY1" fmla="*/ 59047 h 59047"/>
                  <a:gd name="connsiteX2" fmla="*/ 111408 w 128793"/>
                  <a:gd name="connsiteY2" fmla="*/ 59047 h 59047"/>
                  <a:gd name="connsiteX3" fmla="*/ 116140 w 128793"/>
                  <a:gd name="connsiteY3" fmla="*/ 51126 h 59047"/>
                  <a:gd name="connsiteX4" fmla="*/ 124061 w 128793"/>
                  <a:gd name="connsiteY4" fmla="*/ 37445 h 59047"/>
                  <a:gd name="connsiteX5" fmla="*/ 128793 w 128793"/>
                  <a:gd name="connsiteY5" fmla="*/ 29524 h 59047"/>
                  <a:gd name="connsiteX6" fmla="*/ 123547 w 128793"/>
                  <a:gd name="connsiteY6" fmla="*/ 21603 h 59047"/>
                  <a:gd name="connsiteX7" fmla="*/ 115626 w 128793"/>
                  <a:gd name="connsiteY7" fmla="*/ 7921 h 59047"/>
                  <a:gd name="connsiteX8" fmla="*/ 111408 w 128793"/>
                  <a:gd name="connsiteY8" fmla="*/ 0 h 59047"/>
                  <a:gd name="connsiteX9" fmla="*/ 77564 w 128793"/>
                  <a:gd name="connsiteY9" fmla="*/ 0 h 59047"/>
                  <a:gd name="connsiteX10" fmla="*/ 72832 w 128793"/>
                  <a:gd name="connsiteY10" fmla="*/ 7921 h 59047"/>
                  <a:gd name="connsiteX11" fmla="*/ 64911 w 128793"/>
                  <a:gd name="connsiteY11" fmla="*/ 21603 h 59047"/>
                  <a:gd name="connsiteX12" fmla="*/ 0 w 128793"/>
                  <a:gd name="connsiteY12" fmla="*/ 21603 h 59047"/>
                  <a:gd name="connsiteX13" fmla="*/ 0 w 128793"/>
                  <a:gd name="connsiteY13" fmla="*/ 37445 h 59047"/>
                  <a:gd name="connsiteX14" fmla="*/ 64911 w 128793"/>
                  <a:gd name="connsiteY14" fmla="*/ 37445 h 59047"/>
                  <a:gd name="connsiteX15" fmla="*/ 72832 w 128793"/>
                  <a:gd name="connsiteY15" fmla="*/ 51126 h 59047"/>
                  <a:gd name="connsiteX16" fmla="*/ 86102 w 128793"/>
                  <a:gd name="connsiteY16" fmla="*/ 15842 h 59047"/>
                  <a:gd name="connsiteX17" fmla="*/ 101944 w 128793"/>
                  <a:gd name="connsiteY17" fmla="*/ 15842 h 59047"/>
                  <a:gd name="connsiteX18" fmla="*/ 109865 w 128793"/>
                  <a:gd name="connsiteY18" fmla="*/ 29524 h 59047"/>
                  <a:gd name="connsiteX19" fmla="*/ 101944 w 128793"/>
                  <a:gd name="connsiteY19" fmla="*/ 43205 h 59047"/>
                  <a:gd name="connsiteX20" fmla="*/ 86102 w 128793"/>
                  <a:gd name="connsiteY20" fmla="*/ 43205 h 59047"/>
                  <a:gd name="connsiteX21" fmla="*/ 78181 w 128793"/>
                  <a:gd name="connsiteY21" fmla="*/ 29524 h 59047"/>
                  <a:gd name="connsiteX22" fmla="*/ 86102 w 128793"/>
                  <a:gd name="connsiteY22" fmla="*/ 15842 h 59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793" h="59047">
                    <a:moveTo>
                      <a:pt x="72832" y="51126"/>
                    </a:moveTo>
                    <a:lnTo>
                      <a:pt x="77564" y="59047"/>
                    </a:lnTo>
                    <a:lnTo>
                      <a:pt x="111408" y="59047"/>
                    </a:lnTo>
                    <a:lnTo>
                      <a:pt x="116140" y="51126"/>
                    </a:lnTo>
                    <a:lnTo>
                      <a:pt x="124061" y="37445"/>
                    </a:lnTo>
                    <a:lnTo>
                      <a:pt x="128793" y="29524"/>
                    </a:lnTo>
                    <a:lnTo>
                      <a:pt x="123547" y="21603"/>
                    </a:lnTo>
                    <a:lnTo>
                      <a:pt x="115626" y="7921"/>
                    </a:lnTo>
                    <a:lnTo>
                      <a:pt x="111408" y="0"/>
                    </a:lnTo>
                    <a:lnTo>
                      <a:pt x="77564" y="0"/>
                    </a:lnTo>
                    <a:lnTo>
                      <a:pt x="72832" y="7921"/>
                    </a:lnTo>
                    <a:lnTo>
                      <a:pt x="64911" y="21603"/>
                    </a:lnTo>
                    <a:lnTo>
                      <a:pt x="0" y="21603"/>
                    </a:lnTo>
                    <a:lnTo>
                      <a:pt x="0" y="37445"/>
                    </a:lnTo>
                    <a:lnTo>
                      <a:pt x="64911" y="37445"/>
                    </a:lnTo>
                    <a:lnTo>
                      <a:pt x="72832" y="51126"/>
                    </a:lnTo>
                    <a:close/>
                    <a:moveTo>
                      <a:pt x="86102" y="15842"/>
                    </a:moveTo>
                    <a:lnTo>
                      <a:pt x="101944" y="15842"/>
                    </a:lnTo>
                    <a:lnTo>
                      <a:pt x="109865" y="29524"/>
                    </a:lnTo>
                    <a:lnTo>
                      <a:pt x="101944" y="43205"/>
                    </a:lnTo>
                    <a:lnTo>
                      <a:pt x="86102" y="43205"/>
                    </a:lnTo>
                    <a:lnTo>
                      <a:pt x="78181" y="29524"/>
                    </a:lnTo>
                    <a:lnTo>
                      <a:pt x="86102" y="15842"/>
                    </a:lnTo>
                    <a:close/>
                  </a:path>
                </a:pathLst>
              </a:custGeom>
              <a:solidFill>
                <a:srgbClr val="40AA1D"/>
              </a:solidFill>
              <a:ln w="10150" cap="flat">
                <a:noFill/>
                <a:prstDash val="solid"/>
                <a:miter/>
              </a:ln>
            </p:spPr>
            <p:txBody>
              <a:bodyPr rtlCol="0" anchor="ctr"/>
              <a:lstStyle/>
              <a:p>
                <a:endParaRPr lang="en-US" dirty="0"/>
              </a:p>
            </p:txBody>
          </p:sp>
        </p:grpSp>
        <p:grpSp>
          <p:nvGrpSpPr>
            <p:cNvPr id="612" name="Graphic 32">
              <a:extLst>
                <a:ext uri="{FF2B5EF4-FFF2-40B4-BE49-F238E27FC236}">
                  <a16:creationId xmlns:a16="http://schemas.microsoft.com/office/drawing/2014/main" id="{FBB7E111-A4BC-BC2F-3430-D623F88E8243}"/>
                </a:ext>
              </a:extLst>
            </p:cNvPr>
            <p:cNvGrpSpPr>
              <a:grpSpLocks noChangeAspect="1"/>
            </p:cNvGrpSpPr>
            <p:nvPr/>
          </p:nvGrpSpPr>
          <p:grpSpPr>
            <a:xfrm>
              <a:off x="3411355" y="3924900"/>
              <a:ext cx="240530" cy="237744"/>
              <a:chOff x="3421516" y="3938144"/>
              <a:chExt cx="205653" cy="203271"/>
            </a:xfrm>
            <a:solidFill>
              <a:srgbClr val="3D4647"/>
            </a:solidFill>
          </p:grpSpPr>
          <p:sp>
            <p:nvSpPr>
              <p:cNvPr id="613" name="Freeform: Shape 612">
                <a:extLst>
                  <a:ext uri="{FF2B5EF4-FFF2-40B4-BE49-F238E27FC236}">
                    <a16:creationId xmlns:a16="http://schemas.microsoft.com/office/drawing/2014/main" id="{B1636424-DDBB-905B-FC35-50C93CB0DE61}"/>
                  </a:ext>
                </a:extLst>
              </p:cNvPr>
              <p:cNvSpPr/>
              <p:nvPr/>
            </p:nvSpPr>
            <p:spPr>
              <a:xfrm>
                <a:off x="3626964" y="4054181"/>
                <a:ext cx="205" cy="10287"/>
              </a:xfrm>
              <a:custGeom>
                <a:avLst/>
                <a:gdLst>
                  <a:gd name="connsiteX0" fmla="*/ 206 w 205"/>
                  <a:gd name="connsiteY0" fmla="*/ 0 h 10287"/>
                  <a:gd name="connsiteX1" fmla="*/ 103 w 205"/>
                  <a:gd name="connsiteY1" fmla="*/ 0 h 10287"/>
                  <a:gd name="connsiteX2" fmla="*/ 0 w 205"/>
                  <a:gd name="connsiteY2" fmla="*/ 0 h 10287"/>
                  <a:gd name="connsiteX3" fmla="*/ 206 w 205"/>
                  <a:gd name="connsiteY3" fmla="*/ 0 h 10287"/>
                </a:gdLst>
                <a:ahLst/>
                <a:cxnLst>
                  <a:cxn ang="0">
                    <a:pos x="connsiteX0" y="connsiteY0"/>
                  </a:cxn>
                  <a:cxn ang="0">
                    <a:pos x="connsiteX1" y="connsiteY1"/>
                  </a:cxn>
                  <a:cxn ang="0">
                    <a:pos x="connsiteX2" y="connsiteY2"/>
                  </a:cxn>
                  <a:cxn ang="0">
                    <a:pos x="connsiteX3" y="connsiteY3"/>
                  </a:cxn>
                </a:cxnLst>
                <a:rect l="l" t="t" r="r" b="b"/>
                <a:pathLst>
                  <a:path w="205" h="10287">
                    <a:moveTo>
                      <a:pt x="206" y="0"/>
                    </a:moveTo>
                    <a:cubicBezTo>
                      <a:pt x="206" y="0"/>
                      <a:pt x="206" y="0"/>
                      <a:pt x="103" y="0"/>
                    </a:cubicBezTo>
                    <a:cubicBezTo>
                      <a:pt x="103" y="0"/>
                      <a:pt x="103" y="0"/>
                      <a:pt x="0" y="0"/>
                    </a:cubicBezTo>
                    <a:cubicBezTo>
                      <a:pt x="0" y="0"/>
                      <a:pt x="103" y="0"/>
                      <a:pt x="206" y="0"/>
                    </a:cubicBezTo>
                    <a:close/>
                  </a:path>
                </a:pathLst>
              </a:custGeom>
              <a:solidFill>
                <a:srgbClr val="3D4647"/>
              </a:solidFill>
              <a:ln w="10150" cap="flat">
                <a:noFill/>
                <a:prstDash val="solid"/>
                <a:miter/>
              </a:ln>
            </p:spPr>
            <p:txBody>
              <a:bodyPr rtlCol="0" anchor="ctr"/>
              <a:lstStyle/>
              <a:p>
                <a:endParaRPr lang="en-US" dirty="0"/>
              </a:p>
            </p:txBody>
          </p:sp>
          <p:sp>
            <p:nvSpPr>
              <p:cNvPr id="614" name="Freeform: Shape 613">
                <a:extLst>
                  <a:ext uri="{FF2B5EF4-FFF2-40B4-BE49-F238E27FC236}">
                    <a16:creationId xmlns:a16="http://schemas.microsoft.com/office/drawing/2014/main" id="{3EAF8CD6-024F-3021-2C42-2F2A4D0D6A34}"/>
                  </a:ext>
                </a:extLst>
              </p:cNvPr>
              <p:cNvSpPr/>
              <p:nvPr/>
            </p:nvSpPr>
            <p:spPr>
              <a:xfrm>
                <a:off x="3421516" y="3947505"/>
                <a:ext cx="141667" cy="111865"/>
              </a:xfrm>
              <a:custGeom>
                <a:avLst/>
                <a:gdLst>
                  <a:gd name="connsiteX0" fmla="*/ 2382 w 141667"/>
                  <a:gd name="connsiteY0" fmla="*/ 75507 h 111865"/>
                  <a:gd name="connsiteX1" fmla="*/ 20899 w 141667"/>
                  <a:gd name="connsiteY1" fmla="*/ 62031 h 111865"/>
                  <a:gd name="connsiteX2" fmla="*/ 19253 w 141667"/>
                  <a:gd name="connsiteY2" fmla="*/ 59253 h 111865"/>
                  <a:gd name="connsiteX3" fmla="*/ 31700 w 141667"/>
                  <a:gd name="connsiteY3" fmla="*/ 47423 h 111865"/>
                  <a:gd name="connsiteX4" fmla="*/ 31700 w 141667"/>
                  <a:gd name="connsiteY4" fmla="*/ 0 h 111865"/>
                  <a:gd name="connsiteX5" fmla="*/ 57006 w 141667"/>
                  <a:gd name="connsiteY5" fmla="*/ 0 h 111865"/>
                  <a:gd name="connsiteX6" fmla="*/ 141668 w 141667"/>
                  <a:gd name="connsiteY6" fmla="*/ 0 h 111865"/>
                  <a:gd name="connsiteX7" fmla="*/ 139199 w 141667"/>
                  <a:gd name="connsiteY7" fmla="*/ 12653 h 111865"/>
                  <a:gd name="connsiteX8" fmla="*/ 141668 w 141667"/>
                  <a:gd name="connsiteY8" fmla="*/ 25306 h 111865"/>
                  <a:gd name="connsiteX9" fmla="*/ 57006 w 141667"/>
                  <a:gd name="connsiteY9" fmla="*/ 25306 h 111865"/>
                  <a:gd name="connsiteX10" fmla="*/ 57006 w 141667"/>
                  <a:gd name="connsiteY10" fmla="*/ 47526 h 111865"/>
                  <a:gd name="connsiteX11" fmla="*/ 69350 w 141667"/>
                  <a:gd name="connsiteY11" fmla="*/ 59253 h 111865"/>
                  <a:gd name="connsiteX12" fmla="*/ 67293 w 141667"/>
                  <a:gd name="connsiteY12" fmla="*/ 62854 h 111865"/>
                  <a:gd name="connsiteX13" fmla="*/ 84781 w 141667"/>
                  <a:gd name="connsiteY13" fmla="*/ 75507 h 111865"/>
                  <a:gd name="connsiteX14" fmla="*/ 86530 w 141667"/>
                  <a:gd name="connsiteY14" fmla="*/ 83119 h 111865"/>
                  <a:gd name="connsiteX15" fmla="*/ 71408 w 141667"/>
                  <a:gd name="connsiteY15" fmla="*/ 110688 h 111865"/>
                  <a:gd name="connsiteX16" fmla="*/ 67190 w 141667"/>
                  <a:gd name="connsiteY16" fmla="*/ 109351 h 111865"/>
                  <a:gd name="connsiteX17" fmla="*/ 69865 w 141667"/>
                  <a:gd name="connsiteY17" fmla="*/ 85691 h 111865"/>
                  <a:gd name="connsiteX18" fmla="*/ 58652 w 141667"/>
                  <a:gd name="connsiteY18" fmla="*/ 77975 h 111865"/>
                  <a:gd name="connsiteX19" fmla="*/ 56903 w 141667"/>
                  <a:gd name="connsiteY19" fmla="*/ 80959 h 111865"/>
                  <a:gd name="connsiteX20" fmla="*/ 31803 w 141667"/>
                  <a:gd name="connsiteY20" fmla="*/ 80959 h 111865"/>
                  <a:gd name="connsiteX21" fmla="*/ 29643 w 141667"/>
                  <a:gd name="connsiteY21" fmla="*/ 77255 h 111865"/>
                  <a:gd name="connsiteX22" fmla="*/ 17401 w 141667"/>
                  <a:gd name="connsiteY22" fmla="*/ 85691 h 111865"/>
                  <a:gd name="connsiteX23" fmla="*/ 20076 w 141667"/>
                  <a:gd name="connsiteY23" fmla="*/ 109351 h 111865"/>
                  <a:gd name="connsiteX24" fmla="*/ 15858 w 141667"/>
                  <a:gd name="connsiteY24" fmla="*/ 110688 h 111865"/>
                  <a:gd name="connsiteX25" fmla="*/ 736 w 141667"/>
                  <a:gd name="connsiteY25" fmla="*/ 83119 h 111865"/>
                  <a:gd name="connsiteX26" fmla="*/ 2485 w 141667"/>
                  <a:gd name="connsiteY26" fmla="*/ 75507 h 111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67" h="111865">
                    <a:moveTo>
                      <a:pt x="2382" y="75507"/>
                    </a:moveTo>
                    <a:lnTo>
                      <a:pt x="20899" y="62031"/>
                    </a:lnTo>
                    <a:lnTo>
                      <a:pt x="19253" y="59253"/>
                    </a:lnTo>
                    <a:lnTo>
                      <a:pt x="31700" y="47423"/>
                    </a:lnTo>
                    <a:lnTo>
                      <a:pt x="31700" y="0"/>
                    </a:lnTo>
                    <a:lnTo>
                      <a:pt x="57006" y="0"/>
                    </a:lnTo>
                    <a:cubicBezTo>
                      <a:pt x="57006" y="0"/>
                      <a:pt x="141668" y="0"/>
                      <a:pt x="141668" y="0"/>
                    </a:cubicBezTo>
                    <a:cubicBezTo>
                      <a:pt x="140125" y="3909"/>
                      <a:pt x="139199" y="8230"/>
                      <a:pt x="139199" y="12653"/>
                    </a:cubicBezTo>
                    <a:cubicBezTo>
                      <a:pt x="139199" y="17179"/>
                      <a:pt x="140125" y="21397"/>
                      <a:pt x="141668" y="25306"/>
                    </a:cubicBezTo>
                    <a:lnTo>
                      <a:pt x="57006" y="25306"/>
                    </a:lnTo>
                    <a:cubicBezTo>
                      <a:pt x="57006" y="25306"/>
                      <a:pt x="57006" y="47526"/>
                      <a:pt x="57006" y="47526"/>
                    </a:cubicBezTo>
                    <a:lnTo>
                      <a:pt x="69350" y="59253"/>
                    </a:lnTo>
                    <a:lnTo>
                      <a:pt x="67293" y="62854"/>
                    </a:lnTo>
                    <a:lnTo>
                      <a:pt x="84781" y="75507"/>
                    </a:lnTo>
                    <a:cubicBezTo>
                      <a:pt x="87250" y="77255"/>
                      <a:pt x="87970" y="80547"/>
                      <a:pt x="86530" y="83119"/>
                    </a:cubicBezTo>
                    <a:lnTo>
                      <a:pt x="71408" y="110688"/>
                    </a:lnTo>
                    <a:cubicBezTo>
                      <a:pt x="70173" y="112848"/>
                      <a:pt x="66882" y="111820"/>
                      <a:pt x="67190" y="109351"/>
                    </a:cubicBezTo>
                    <a:lnTo>
                      <a:pt x="69865" y="85691"/>
                    </a:lnTo>
                    <a:lnTo>
                      <a:pt x="58652" y="77975"/>
                    </a:lnTo>
                    <a:lnTo>
                      <a:pt x="56903" y="80959"/>
                    </a:lnTo>
                    <a:lnTo>
                      <a:pt x="31803" y="80959"/>
                    </a:lnTo>
                    <a:cubicBezTo>
                      <a:pt x="31803" y="80959"/>
                      <a:pt x="29643" y="77255"/>
                      <a:pt x="29643" y="77255"/>
                    </a:cubicBezTo>
                    <a:lnTo>
                      <a:pt x="17401" y="85691"/>
                    </a:lnTo>
                    <a:lnTo>
                      <a:pt x="20076" y="109351"/>
                    </a:lnTo>
                    <a:cubicBezTo>
                      <a:pt x="20384" y="111820"/>
                      <a:pt x="16990" y="112848"/>
                      <a:pt x="15858" y="110688"/>
                    </a:cubicBezTo>
                    <a:lnTo>
                      <a:pt x="736" y="83119"/>
                    </a:lnTo>
                    <a:cubicBezTo>
                      <a:pt x="-704" y="80547"/>
                      <a:pt x="16" y="77255"/>
                      <a:pt x="2485" y="75507"/>
                    </a:cubicBezTo>
                    <a:close/>
                  </a:path>
                </a:pathLst>
              </a:custGeom>
              <a:solidFill>
                <a:srgbClr val="3D4647"/>
              </a:solidFill>
              <a:ln w="10150" cap="flat">
                <a:noFill/>
                <a:prstDash val="solid"/>
                <a:miter/>
              </a:ln>
            </p:spPr>
            <p:txBody>
              <a:bodyPr rtlCol="0" anchor="ctr"/>
              <a:lstStyle/>
              <a:p>
                <a:endParaRPr lang="en-US" dirty="0"/>
              </a:p>
            </p:txBody>
          </p:sp>
          <p:sp>
            <p:nvSpPr>
              <p:cNvPr id="615" name="Freeform: Shape 614">
                <a:extLst>
                  <a:ext uri="{FF2B5EF4-FFF2-40B4-BE49-F238E27FC236}">
                    <a16:creationId xmlns:a16="http://schemas.microsoft.com/office/drawing/2014/main" id="{55389425-A3F4-CFA5-7DCB-F9C462473026}"/>
                  </a:ext>
                </a:extLst>
              </p:cNvPr>
              <p:cNvSpPr/>
              <p:nvPr/>
            </p:nvSpPr>
            <p:spPr>
              <a:xfrm>
                <a:off x="3508869" y="4092552"/>
                <a:ext cx="94743" cy="48863"/>
              </a:xfrm>
              <a:custGeom>
                <a:avLst/>
                <a:gdLst>
                  <a:gd name="connsiteX0" fmla="*/ 34667 w 94743"/>
                  <a:gd name="connsiteY0" fmla="*/ 24174 h 48863"/>
                  <a:gd name="connsiteX1" fmla="*/ 66660 w 94743"/>
                  <a:gd name="connsiteY1" fmla="*/ 2777 h 48863"/>
                  <a:gd name="connsiteX2" fmla="*/ 94743 w 94743"/>
                  <a:gd name="connsiteY2" fmla="*/ 48863 h 48863"/>
                  <a:gd name="connsiteX3" fmla="*/ 0 w 94743"/>
                  <a:gd name="connsiteY3" fmla="*/ 48863 h 48863"/>
                  <a:gd name="connsiteX4" fmla="*/ 1749 w 94743"/>
                  <a:gd name="connsiteY4" fmla="*/ 0 h 48863"/>
                  <a:gd name="connsiteX5" fmla="*/ 34667 w 94743"/>
                  <a:gd name="connsiteY5" fmla="*/ 24277 h 4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743" h="48863">
                    <a:moveTo>
                      <a:pt x="34667" y="24174"/>
                    </a:moveTo>
                    <a:cubicBezTo>
                      <a:pt x="49172" y="24174"/>
                      <a:pt x="61516" y="15328"/>
                      <a:pt x="66660" y="2777"/>
                    </a:cubicBezTo>
                    <a:lnTo>
                      <a:pt x="94743" y="48863"/>
                    </a:lnTo>
                    <a:lnTo>
                      <a:pt x="0" y="48863"/>
                    </a:lnTo>
                    <a:cubicBezTo>
                      <a:pt x="0" y="48863"/>
                      <a:pt x="1749" y="0"/>
                      <a:pt x="1749" y="0"/>
                    </a:cubicBezTo>
                    <a:cubicBezTo>
                      <a:pt x="6172" y="13990"/>
                      <a:pt x="19134" y="24277"/>
                      <a:pt x="34667" y="24277"/>
                    </a:cubicBezTo>
                    <a:close/>
                  </a:path>
                </a:pathLst>
              </a:custGeom>
              <a:solidFill>
                <a:srgbClr val="3D4647"/>
              </a:solidFill>
              <a:ln w="10150" cap="flat">
                <a:noFill/>
                <a:prstDash val="solid"/>
                <a:miter/>
              </a:ln>
            </p:spPr>
            <p:txBody>
              <a:bodyPr rtlCol="0" anchor="ctr"/>
              <a:lstStyle/>
              <a:p>
                <a:endParaRPr lang="en-US" dirty="0"/>
              </a:p>
            </p:txBody>
          </p:sp>
          <p:sp>
            <p:nvSpPr>
              <p:cNvPr id="616" name="Freeform: Shape 615">
                <a:extLst>
                  <a:ext uri="{FF2B5EF4-FFF2-40B4-BE49-F238E27FC236}">
                    <a16:creationId xmlns:a16="http://schemas.microsoft.com/office/drawing/2014/main" id="{8ECDF86B-BCBA-D9D8-F37A-70F9201418B4}"/>
                  </a:ext>
                </a:extLst>
              </p:cNvPr>
              <p:cNvSpPr/>
              <p:nvPr/>
            </p:nvSpPr>
            <p:spPr>
              <a:xfrm>
                <a:off x="3534381" y="3979189"/>
                <a:ext cx="66865" cy="83941"/>
              </a:xfrm>
              <a:custGeom>
                <a:avLst/>
                <a:gdLst>
                  <a:gd name="connsiteX0" fmla="*/ 66866 w 66865"/>
                  <a:gd name="connsiteY0" fmla="*/ 15122 h 83941"/>
                  <a:gd name="connsiteX1" fmla="*/ 38268 w 66865"/>
                  <a:gd name="connsiteY1" fmla="*/ 83942 h 83941"/>
                  <a:gd name="connsiteX2" fmla="*/ 9258 w 66865"/>
                  <a:gd name="connsiteY2" fmla="*/ 68100 h 83941"/>
                  <a:gd name="connsiteX3" fmla="*/ 0 w 66865"/>
                  <a:gd name="connsiteY3" fmla="*/ 69540 h 83941"/>
                  <a:gd name="connsiteX4" fmla="*/ 32198 w 66865"/>
                  <a:gd name="connsiteY4" fmla="*/ 0 h 83941"/>
                  <a:gd name="connsiteX5" fmla="*/ 61208 w 66865"/>
                  <a:gd name="connsiteY5" fmla="*/ 15739 h 83941"/>
                  <a:gd name="connsiteX6" fmla="*/ 66866 w 66865"/>
                  <a:gd name="connsiteY6" fmla="*/ 15122 h 8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865" h="83941">
                    <a:moveTo>
                      <a:pt x="66866" y="15122"/>
                    </a:moveTo>
                    <a:lnTo>
                      <a:pt x="38268" y="83942"/>
                    </a:lnTo>
                    <a:cubicBezTo>
                      <a:pt x="32095" y="74478"/>
                      <a:pt x="21397" y="68100"/>
                      <a:pt x="9258" y="68100"/>
                    </a:cubicBezTo>
                    <a:cubicBezTo>
                      <a:pt x="6069" y="68100"/>
                      <a:pt x="2983" y="68717"/>
                      <a:pt x="0" y="69540"/>
                    </a:cubicBezTo>
                    <a:lnTo>
                      <a:pt x="32198" y="0"/>
                    </a:lnTo>
                    <a:cubicBezTo>
                      <a:pt x="38371" y="9464"/>
                      <a:pt x="49069" y="15739"/>
                      <a:pt x="61208" y="15739"/>
                    </a:cubicBezTo>
                    <a:cubicBezTo>
                      <a:pt x="63162" y="15739"/>
                      <a:pt x="65014" y="15431"/>
                      <a:pt x="66866" y="15122"/>
                    </a:cubicBezTo>
                    <a:close/>
                  </a:path>
                </a:pathLst>
              </a:custGeom>
              <a:solidFill>
                <a:srgbClr val="3D4647"/>
              </a:solidFill>
              <a:ln w="10150" cap="flat">
                <a:noFill/>
                <a:prstDash val="solid"/>
                <a:miter/>
              </a:ln>
            </p:spPr>
            <p:txBody>
              <a:bodyPr rtlCol="0" anchor="ctr"/>
              <a:lstStyle/>
              <a:p>
                <a:endParaRPr lang="en-US" dirty="0"/>
              </a:p>
            </p:txBody>
          </p:sp>
          <p:sp>
            <p:nvSpPr>
              <p:cNvPr id="617" name="Freeform: Shape 616">
                <a:extLst>
                  <a:ext uri="{FF2B5EF4-FFF2-40B4-BE49-F238E27FC236}">
                    <a16:creationId xmlns:a16="http://schemas.microsoft.com/office/drawing/2014/main" id="{EBD80DEE-160E-B827-8E62-CCEFFCB26A07}"/>
                  </a:ext>
                </a:extLst>
              </p:cNvPr>
              <p:cNvSpPr/>
              <p:nvPr/>
            </p:nvSpPr>
            <p:spPr>
              <a:xfrm>
                <a:off x="3521419" y="4060045"/>
                <a:ext cx="44234" cy="44028"/>
              </a:xfrm>
              <a:custGeom>
                <a:avLst/>
                <a:gdLst>
                  <a:gd name="connsiteX0" fmla="*/ 44028 w 44234"/>
                  <a:gd name="connsiteY0" fmla="*/ 20471 h 44028"/>
                  <a:gd name="connsiteX1" fmla="*/ 44234 w 44234"/>
                  <a:gd name="connsiteY1" fmla="*/ 22014 h 44028"/>
                  <a:gd name="connsiteX2" fmla="*/ 42485 w 44234"/>
                  <a:gd name="connsiteY2" fmla="*/ 30450 h 44028"/>
                  <a:gd name="connsiteX3" fmla="*/ 22117 w 44234"/>
                  <a:gd name="connsiteY3" fmla="*/ 44028 h 44028"/>
                  <a:gd name="connsiteX4" fmla="*/ 1749 w 44234"/>
                  <a:gd name="connsiteY4" fmla="*/ 30450 h 44028"/>
                  <a:gd name="connsiteX5" fmla="*/ 0 w 44234"/>
                  <a:gd name="connsiteY5" fmla="*/ 22014 h 44028"/>
                  <a:gd name="connsiteX6" fmla="*/ 1234 w 44234"/>
                  <a:gd name="connsiteY6" fmla="*/ 15225 h 44028"/>
                  <a:gd name="connsiteX7" fmla="*/ 22014 w 44234"/>
                  <a:gd name="connsiteY7" fmla="*/ 0 h 44028"/>
                  <a:gd name="connsiteX8" fmla="*/ 43925 w 44234"/>
                  <a:gd name="connsiteY8" fmla="*/ 20471 h 4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34" h="44028">
                    <a:moveTo>
                      <a:pt x="44028" y="20471"/>
                    </a:moveTo>
                    <a:cubicBezTo>
                      <a:pt x="44028" y="20985"/>
                      <a:pt x="44234" y="21500"/>
                      <a:pt x="44234" y="22014"/>
                    </a:cubicBezTo>
                    <a:cubicBezTo>
                      <a:pt x="44234" y="24997"/>
                      <a:pt x="43617" y="27878"/>
                      <a:pt x="42485" y="30450"/>
                    </a:cubicBezTo>
                    <a:cubicBezTo>
                      <a:pt x="39193" y="38371"/>
                      <a:pt x="31272" y="44028"/>
                      <a:pt x="22117" y="44028"/>
                    </a:cubicBezTo>
                    <a:cubicBezTo>
                      <a:pt x="12962" y="44028"/>
                      <a:pt x="5144" y="38371"/>
                      <a:pt x="1749" y="30450"/>
                    </a:cubicBezTo>
                    <a:cubicBezTo>
                      <a:pt x="617" y="27878"/>
                      <a:pt x="0" y="24997"/>
                      <a:pt x="0" y="22014"/>
                    </a:cubicBezTo>
                    <a:cubicBezTo>
                      <a:pt x="0" y="19648"/>
                      <a:pt x="514" y="17385"/>
                      <a:pt x="1234" y="15225"/>
                    </a:cubicBezTo>
                    <a:cubicBezTo>
                      <a:pt x="4115" y="6378"/>
                      <a:pt x="12344" y="0"/>
                      <a:pt x="22014" y="0"/>
                    </a:cubicBezTo>
                    <a:cubicBezTo>
                      <a:pt x="33638" y="0"/>
                      <a:pt x="43103" y="9053"/>
                      <a:pt x="43925" y="20471"/>
                    </a:cubicBezTo>
                    <a:close/>
                  </a:path>
                </a:pathLst>
              </a:custGeom>
              <a:solidFill>
                <a:srgbClr val="3D4647"/>
              </a:solidFill>
              <a:ln w="10150" cap="flat">
                <a:noFill/>
                <a:prstDash val="solid"/>
                <a:miter/>
              </a:ln>
            </p:spPr>
            <p:txBody>
              <a:bodyPr rtlCol="0" anchor="ctr"/>
              <a:lstStyle/>
              <a:p>
                <a:endParaRPr lang="en-US" dirty="0"/>
              </a:p>
            </p:txBody>
          </p:sp>
          <p:sp>
            <p:nvSpPr>
              <p:cNvPr id="618" name="Freeform: Shape 617">
                <a:extLst>
                  <a:ext uri="{FF2B5EF4-FFF2-40B4-BE49-F238E27FC236}">
                    <a16:creationId xmlns:a16="http://schemas.microsoft.com/office/drawing/2014/main" id="{6E323DD6-A584-951E-9A1F-3C4D150695EA}"/>
                  </a:ext>
                </a:extLst>
              </p:cNvPr>
              <p:cNvSpPr/>
              <p:nvPr/>
            </p:nvSpPr>
            <p:spPr>
              <a:xfrm>
                <a:off x="3573574" y="3938144"/>
                <a:ext cx="44131" cy="44028"/>
              </a:xfrm>
              <a:custGeom>
                <a:avLst/>
                <a:gdLst>
                  <a:gd name="connsiteX0" fmla="*/ 4012 w 44131"/>
                  <a:gd name="connsiteY0" fmla="*/ 34770 h 44028"/>
                  <a:gd name="connsiteX1" fmla="*/ 309 w 44131"/>
                  <a:gd name="connsiteY1" fmla="*/ 25203 h 44028"/>
                  <a:gd name="connsiteX2" fmla="*/ 0 w 44131"/>
                  <a:gd name="connsiteY2" fmla="*/ 22014 h 44028"/>
                  <a:gd name="connsiteX3" fmla="*/ 4115 w 44131"/>
                  <a:gd name="connsiteY3" fmla="*/ 9361 h 44028"/>
                  <a:gd name="connsiteX4" fmla="*/ 22117 w 44131"/>
                  <a:gd name="connsiteY4" fmla="*/ 0 h 44028"/>
                  <a:gd name="connsiteX5" fmla="*/ 44131 w 44131"/>
                  <a:gd name="connsiteY5" fmla="*/ 22014 h 44028"/>
                  <a:gd name="connsiteX6" fmla="*/ 34359 w 44131"/>
                  <a:gd name="connsiteY6" fmla="*/ 40222 h 44028"/>
                  <a:gd name="connsiteX7" fmla="*/ 22117 w 44131"/>
                  <a:gd name="connsiteY7" fmla="*/ 44028 h 44028"/>
                  <a:gd name="connsiteX8" fmla="*/ 4218 w 44131"/>
                  <a:gd name="connsiteY8" fmla="*/ 34667 h 4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131" h="44028">
                    <a:moveTo>
                      <a:pt x="4012" y="34770"/>
                    </a:moveTo>
                    <a:cubicBezTo>
                      <a:pt x="2057" y="31993"/>
                      <a:pt x="720" y="28804"/>
                      <a:pt x="309" y="25203"/>
                    </a:cubicBezTo>
                    <a:cubicBezTo>
                      <a:pt x="206" y="24174"/>
                      <a:pt x="0" y="23146"/>
                      <a:pt x="0" y="22014"/>
                    </a:cubicBezTo>
                    <a:cubicBezTo>
                      <a:pt x="0" y="17282"/>
                      <a:pt x="1543" y="12962"/>
                      <a:pt x="4115" y="9361"/>
                    </a:cubicBezTo>
                    <a:cubicBezTo>
                      <a:pt x="8127" y="3703"/>
                      <a:pt x="14608" y="0"/>
                      <a:pt x="22117" y="0"/>
                    </a:cubicBezTo>
                    <a:cubicBezTo>
                      <a:pt x="34256" y="0"/>
                      <a:pt x="44131" y="9876"/>
                      <a:pt x="44131" y="22014"/>
                    </a:cubicBezTo>
                    <a:cubicBezTo>
                      <a:pt x="44131" y="29627"/>
                      <a:pt x="40222" y="36313"/>
                      <a:pt x="34359" y="40222"/>
                    </a:cubicBezTo>
                    <a:cubicBezTo>
                      <a:pt x="30861" y="42588"/>
                      <a:pt x="26643" y="44028"/>
                      <a:pt x="22117" y="44028"/>
                    </a:cubicBezTo>
                    <a:cubicBezTo>
                      <a:pt x="14710" y="44028"/>
                      <a:pt x="8127" y="40325"/>
                      <a:pt x="4218" y="34667"/>
                    </a:cubicBezTo>
                    <a:close/>
                  </a:path>
                </a:pathLst>
              </a:custGeom>
              <a:solidFill>
                <a:srgbClr val="3D4647"/>
              </a:solidFill>
              <a:ln w="10150" cap="flat">
                <a:noFill/>
                <a:prstDash val="solid"/>
                <a:miter/>
              </a:ln>
            </p:spPr>
            <p:txBody>
              <a:bodyPr rtlCol="0" anchor="ctr"/>
              <a:lstStyle/>
              <a:p>
                <a:endParaRPr lang="en-US" dirty="0"/>
              </a:p>
            </p:txBody>
          </p:sp>
        </p:grpSp>
      </p:grpSp>
      <p:grpSp>
        <p:nvGrpSpPr>
          <p:cNvPr id="627" name="Group 626">
            <a:extLst>
              <a:ext uri="{FF2B5EF4-FFF2-40B4-BE49-F238E27FC236}">
                <a16:creationId xmlns:a16="http://schemas.microsoft.com/office/drawing/2014/main" id="{2D172AD4-D064-FF7F-46B2-D849F1E61BE4}"/>
              </a:ext>
            </a:extLst>
          </p:cNvPr>
          <p:cNvGrpSpPr/>
          <p:nvPr/>
        </p:nvGrpSpPr>
        <p:grpSpPr>
          <a:xfrm>
            <a:off x="2203737" y="3232714"/>
            <a:ext cx="628432" cy="658368"/>
            <a:chOff x="2203737" y="3700309"/>
            <a:chExt cx="628432" cy="658368"/>
          </a:xfrm>
        </p:grpSpPr>
        <p:grpSp>
          <p:nvGrpSpPr>
            <p:cNvPr id="628" name="Graphic 34">
              <a:extLst>
                <a:ext uri="{FF2B5EF4-FFF2-40B4-BE49-F238E27FC236}">
                  <a16:creationId xmlns:a16="http://schemas.microsoft.com/office/drawing/2014/main" id="{B6B26BB8-BA8B-738D-D8C0-7FC48DB5A4B9}"/>
                </a:ext>
              </a:extLst>
            </p:cNvPr>
            <p:cNvGrpSpPr>
              <a:grpSpLocks noChangeAspect="1"/>
            </p:cNvGrpSpPr>
            <p:nvPr/>
          </p:nvGrpSpPr>
          <p:grpSpPr>
            <a:xfrm>
              <a:off x="2275644" y="3958203"/>
              <a:ext cx="249264" cy="164592"/>
              <a:chOff x="2275644" y="3958204"/>
              <a:chExt cx="215924" cy="142577"/>
            </a:xfrm>
            <a:solidFill>
              <a:srgbClr val="3D4647"/>
            </a:solidFill>
          </p:grpSpPr>
          <p:sp>
            <p:nvSpPr>
              <p:cNvPr id="639" name="Freeform: Shape 638">
                <a:extLst>
                  <a:ext uri="{FF2B5EF4-FFF2-40B4-BE49-F238E27FC236}">
                    <a16:creationId xmlns:a16="http://schemas.microsoft.com/office/drawing/2014/main" id="{EE72A215-D535-A0CE-445F-0AC2EFE73A14}"/>
                  </a:ext>
                </a:extLst>
              </p:cNvPr>
              <p:cNvSpPr/>
              <p:nvPr/>
            </p:nvSpPr>
            <p:spPr>
              <a:xfrm>
                <a:off x="2323114" y="3973233"/>
                <a:ext cx="168454" cy="127548"/>
              </a:xfrm>
              <a:custGeom>
                <a:avLst/>
                <a:gdLst>
                  <a:gd name="connsiteX0" fmla="*/ 127718 w 168454"/>
                  <a:gd name="connsiteY0" fmla="*/ 81565 h 127548"/>
                  <a:gd name="connsiteX1" fmla="*/ 168454 w 168454"/>
                  <a:gd name="connsiteY1" fmla="*/ 81565 h 127548"/>
                  <a:gd name="connsiteX2" fmla="*/ 168454 w 168454"/>
                  <a:gd name="connsiteY2" fmla="*/ 31468 h 127548"/>
                  <a:gd name="connsiteX3" fmla="*/ 151995 w 168454"/>
                  <a:gd name="connsiteY3" fmla="*/ 31468 h 127548"/>
                  <a:gd name="connsiteX4" fmla="*/ 149217 w 168454"/>
                  <a:gd name="connsiteY4" fmla="*/ 23958 h 127548"/>
                  <a:gd name="connsiteX5" fmla="*/ 122265 w 168454"/>
                  <a:gd name="connsiteY5" fmla="*/ 23958 h 127548"/>
                  <a:gd name="connsiteX6" fmla="*/ 121340 w 168454"/>
                  <a:gd name="connsiteY6" fmla="*/ 33422 h 127548"/>
                  <a:gd name="connsiteX7" fmla="*/ 108481 w 168454"/>
                  <a:gd name="connsiteY7" fmla="*/ 33217 h 127548"/>
                  <a:gd name="connsiteX8" fmla="*/ 104160 w 168454"/>
                  <a:gd name="connsiteY8" fmla="*/ 13671 h 127548"/>
                  <a:gd name="connsiteX9" fmla="*/ 97268 w 168454"/>
                  <a:gd name="connsiteY9" fmla="*/ 401 h 127548"/>
                  <a:gd name="connsiteX10" fmla="*/ 61778 w 168454"/>
                  <a:gd name="connsiteY10" fmla="*/ 710 h 127548"/>
                  <a:gd name="connsiteX11" fmla="*/ 44084 w 168454"/>
                  <a:gd name="connsiteY11" fmla="*/ 2664 h 127548"/>
                  <a:gd name="connsiteX12" fmla="*/ 34620 w 168454"/>
                  <a:gd name="connsiteY12" fmla="*/ 22107 h 127548"/>
                  <a:gd name="connsiteX13" fmla="*/ 32254 w 168454"/>
                  <a:gd name="connsiteY13" fmla="*/ 32394 h 127548"/>
                  <a:gd name="connsiteX14" fmla="*/ 33900 w 168454"/>
                  <a:gd name="connsiteY14" fmla="*/ 77142 h 127548"/>
                  <a:gd name="connsiteX15" fmla="*/ 42541 w 168454"/>
                  <a:gd name="connsiteY15" fmla="*/ 82800 h 127548"/>
                  <a:gd name="connsiteX16" fmla="*/ 61161 w 168454"/>
                  <a:gd name="connsiteY16" fmla="*/ 82594 h 127548"/>
                  <a:gd name="connsiteX17" fmla="*/ 61675 w 168454"/>
                  <a:gd name="connsiteY17" fmla="*/ 86812 h 127548"/>
                  <a:gd name="connsiteX18" fmla="*/ 51697 w 168454"/>
                  <a:gd name="connsiteY18" fmla="*/ 88869 h 127548"/>
                  <a:gd name="connsiteX19" fmla="*/ 11166 w 168454"/>
                  <a:gd name="connsiteY19" fmla="*/ 91235 h 127548"/>
                  <a:gd name="connsiteX20" fmla="*/ 56 w 168454"/>
                  <a:gd name="connsiteY20" fmla="*/ 112221 h 127548"/>
                  <a:gd name="connsiteX21" fmla="*/ 17441 w 168454"/>
                  <a:gd name="connsiteY21" fmla="*/ 127548 h 127548"/>
                  <a:gd name="connsiteX22" fmla="*/ 139856 w 168454"/>
                  <a:gd name="connsiteY22" fmla="*/ 125491 h 127548"/>
                  <a:gd name="connsiteX23" fmla="*/ 158270 w 168454"/>
                  <a:gd name="connsiteY23" fmla="*/ 105534 h 127548"/>
                  <a:gd name="connsiteX24" fmla="*/ 128232 w 168454"/>
                  <a:gd name="connsiteY24" fmla="*/ 88046 h 127548"/>
                  <a:gd name="connsiteX25" fmla="*/ 115579 w 168454"/>
                  <a:gd name="connsiteY25" fmla="*/ 85269 h 127548"/>
                  <a:gd name="connsiteX26" fmla="*/ 113213 w 168454"/>
                  <a:gd name="connsiteY26" fmla="*/ 85063 h 127548"/>
                  <a:gd name="connsiteX27" fmla="*/ 113933 w 168454"/>
                  <a:gd name="connsiteY27" fmla="*/ 81874 h 127548"/>
                  <a:gd name="connsiteX28" fmla="*/ 127820 w 168454"/>
                  <a:gd name="connsiteY28" fmla="*/ 81360 h 127548"/>
                  <a:gd name="connsiteX29" fmla="*/ 127820 w 168454"/>
                  <a:gd name="connsiteY29" fmla="*/ 81360 h 127548"/>
                  <a:gd name="connsiteX30" fmla="*/ 27316 w 168454"/>
                  <a:gd name="connsiteY30" fmla="*/ 117879 h 127548"/>
                  <a:gd name="connsiteX31" fmla="*/ 16515 w 168454"/>
                  <a:gd name="connsiteY31" fmla="*/ 117879 h 127548"/>
                  <a:gd name="connsiteX32" fmla="*/ 11166 w 168454"/>
                  <a:gd name="connsiteY32" fmla="*/ 108517 h 127548"/>
                  <a:gd name="connsiteX33" fmla="*/ 16515 w 168454"/>
                  <a:gd name="connsiteY33" fmla="*/ 99156 h 127548"/>
                  <a:gd name="connsiteX34" fmla="*/ 27316 w 168454"/>
                  <a:gd name="connsiteY34" fmla="*/ 99156 h 127548"/>
                  <a:gd name="connsiteX35" fmla="*/ 32666 w 168454"/>
                  <a:gd name="connsiteY35" fmla="*/ 108517 h 127548"/>
                  <a:gd name="connsiteX36" fmla="*/ 27316 w 168454"/>
                  <a:gd name="connsiteY36" fmla="*/ 117879 h 127548"/>
                  <a:gd name="connsiteX37" fmla="*/ 27316 w 168454"/>
                  <a:gd name="connsiteY37" fmla="*/ 117879 h 127548"/>
                  <a:gd name="connsiteX38" fmla="*/ 43776 w 168454"/>
                  <a:gd name="connsiteY38" fmla="*/ 16140 h 127548"/>
                  <a:gd name="connsiteX39" fmla="*/ 49639 w 168454"/>
                  <a:gd name="connsiteY39" fmla="*/ 7396 h 127548"/>
                  <a:gd name="connsiteX40" fmla="*/ 77928 w 168454"/>
                  <a:gd name="connsiteY40" fmla="*/ 6367 h 127548"/>
                  <a:gd name="connsiteX41" fmla="*/ 77928 w 168454"/>
                  <a:gd name="connsiteY41" fmla="*/ 37331 h 127548"/>
                  <a:gd name="connsiteX42" fmla="*/ 39352 w 168454"/>
                  <a:gd name="connsiteY42" fmla="*/ 40417 h 127548"/>
                  <a:gd name="connsiteX43" fmla="*/ 43776 w 168454"/>
                  <a:gd name="connsiteY43" fmla="*/ 16037 h 127548"/>
                  <a:gd name="connsiteX44" fmla="*/ 64555 w 168454"/>
                  <a:gd name="connsiteY44" fmla="*/ 51939 h 127548"/>
                  <a:gd name="connsiteX45" fmla="*/ 47067 w 168454"/>
                  <a:gd name="connsiteY45" fmla="*/ 68604 h 127548"/>
                  <a:gd name="connsiteX46" fmla="*/ 40690 w 168454"/>
                  <a:gd name="connsiteY46" fmla="*/ 63872 h 127548"/>
                  <a:gd name="connsiteX47" fmla="*/ 39146 w 168454"/>
                  <a:gd name="connsiteY47" fmla="*/ 44738 h 127548"/>
                  <a:gd name="connsiteX48" fmla="*/ 78134 w 168454"/>
                  <a:gd name="connsiteY48" fmla="*/ 41446 h 127548"/>
                  <a:gd name="connsiteX49" fmla="*/ 78134 w 168454"/>
                  <a:gd name="connsiteY49" fmla="*/ 44429 h 127548"/>
                  <a:gd name="connsiteX50" fmla="*/ 64658 w 168454"/>
                  <a:gd name="connsiteY50" fmla="*/ 51836 h 127548"/>
                  <a:gd name="connsiteX51" fmla="*/ 135124 w 168454"/>
                  <a:gd name="connsiteY51" fmla="*/ 99259 h 127548"/>
                  <a:gd name="connsiteX52" fmla="*/ 145926 w 168454"/>
                  <a:gd name="connsiteY52" fmla="*/ 99259 h 127548"/>
                  <a:gd name="connsiteX53" fmla="*/ 151275 w 168454"/>
                  <a:gd name="connsiteY53" fmla="*/ 108620 h 127548"/>
                  <a:gd name="connsiteX54" fmla="*/ 145926 w 168454"/>
                  <a:gd name="connsiteY54" fmla="*/ 117981 h 127548"/>
                  <a:gd name="connsiteX55" fmla="*/ 135124 w 168454"/>
                  <a:gd name="connsiteY55" fmla="*/ 117981 h 127548"/>
                  <a:gd name="connsiteX56" fmla="*/ 129775 w 168454"/>
                  <a:gd name="connsiteY56" fmla="*/ 108620 h 127548"/>
                  <a:gd name="connsiteX57" fmla="*/ 135124 w 168454"/>
                  <a:gd name="connsiteY57" fmla="*/ 99259 h 127548"/>
                  <a:gd name="connsiteX58" fmla="*/ 135124 w 168454"/>
                  <a:gd name="connsiteY58" fmla="*/ 99259 h 12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68454" h="127548">
                    <a:moveTo>
                      <a:pt x="127718" y="81565"/>
                    </a:moveTo>
                    <a:lnTo>
                      <a:pt x="168454" y="81565"/>
                    </a:lnTo>
                    <a:lnTo>
                      <a:pt x="168454" y="31468"/>
                    </a:lnTo>
                    <a:lnTo>
                      <a:pt x="151995" y="31468"/>
                    </a:lnTo>
                    <a:lnTo>
                      <a:pt x="149217" y="23958"/>
                    </a:lnTo>
                    <a:lnTo>
                      <a:pt x="122265" y="23958"/>
                    </a:lnTo>
                    <a:cubicBezTo>
                      <a:pt x="122265" y="23958"/>
                      <a:pt x="122780" y="31674"/>
                      <a:pt x="121340" y="33422"/>
                    </a:cubicBezTo>
                    <a:cubicBezTo>
                      <a:pt x="113933" y="33422"/>
                      <a:pt x="108892" y="33422"/>
                      <a:pt x="108481" y="33217"/>
                    </a:cubicBezTo>
                    <a:cubicBezTo>
                      <a:pt x="106835" y="32394"/>
                      <a:pt x="104366" y="15317"/>
                      <a:pt x="104160" y="13671"/>
                    </a:cubicBezTo>
                    <a:cubicBezTo>
                      <a:pt x="103852" y="12025"/>
                      <a:pt x="100148" y="1635"/>
                      <a:pt x="97268" y="401"/>
                    </a:cubicBezTo>
                    <a:cubicBezTo>
                      <a:pt x="95314" y="-422"/>
                      <a:pt x="74945" y="195"/>
                      <a:pt x="61778" y="710"/>
                    </a:cubicBezTo>
                    <a:lnTo>
                      <a:pt x="44084" y="2664"/>
                    </a:lnTo>
                    <a:lnTo>
                      <a:pt x="34620" y="22107"/>
                    </a:lnTo>
                    <a:cubicBezTo>
                      <a:pt x="33797" y="25501"/>
                      <a:pt x="32974" y="28999"/>
                      <a:pt x="32254" y="32394"/>
                    </a:cubicBezTo>
                    <a:cubicBezTo>
                      <a:pt x="29888" y="43195"/>
                      <a:pt x="32254" y="70558"/>
                      <a:pt x="33900" y="77142"/>
                    </a:cubicBezTo>
                    <a:cubicBezTo>
                      <a:pt x="35443" y="83726"/>
                      <a:pt x="42541" y="82800"/>
                      <a:pt x="42541" y="82800"/>
                    </a:cubicBezTo>
                    <a:lnTo>
                      <a:pt x="61161" y="82594"/>
                    </a:lnTo>
                    <a:lnTo>
                      <a:pt x="61675" y="86812"/>
                    </a:lnTo>
                    <a:cubicBezTo>
                      <a:pt x="58177" y="87635"/>
                      <a:pt x="54474" y="88458"/>
                      <a:pt x="51697" y="88869"/>
                    </a:cubicBezTo>
                    <a:cubicBezTo>
                      <a:pt x="46142" y="89589"/>
                      <a:pt x="16618" y="90104"/>
                      <a:pt x="11166" y="91235"/>
                    </a:cubicBezTo>
                    <a:cubicBezTo>
                      <a:pt x="5714" y="92367"/>
                      <a:pt x="-664" y="96790"/>
                      <a:pt x="56" y="112221"/>
                    </a:cubicBezTo>
                    <a:cubicBezTo>
                      <a:pt x="776" y="127651"/>
                      <a:pt x="17441" y="127548"/>
                      <a:pt x="17441" y="127548"/>
                    </a:cubicBezTo>
                    <a:cubicBezTo>
                      <a:pt x="17441" y="127548"/>
                      <a:pt x="128335" y="125491"/>
                      <a:pt x="139856" y="125491"/>
                    </a:cubicBezTo>
                    <a:cubicBezTo>
                      <a:pt x="151378" y="125491"/>
                      <a:pt x="159299" y="121068"/>
                      <a:pt x="158270" y="105534"/>
                    </a:cubicBezTo>
                    <a:cubicBezTo>
                      <a:pt x="157241" y="90001"/>
                      <a:pt x="134507" y="87532"/>
                      <a:pt x="128232" y="88046"/>
                    </a:cubicBezTo>
                    <a:cubicBezTo>
                      <a:pt x="121957" y="88561"/>
                      <a:pt x="121751" y="86195"/>
                      <a:pt x="115579" y="85269"/>
                    </a:cubicBezTo>
                    <a:cubicBezTo>
                      <a:pt x="115065" y="85269"/>
                      <a:pt x="114242" y="85166"/>
                      <a:pt x="113213" y="85063"/>
                    </a:cubicBezTo>
                    <a:lnTo>
                      <a:pt x="113933" y="81874"/>
                    </a:lnTo>
                    <a:lnTo>
                      <a:pt x="127820" y="81360"/>
                    </a:lnTo>
                    <a:lnTo>
                      <a:pt x="127820" y="81360"/>
                    </a:lnTo>
                    <a:close/>
                    <a:moveTo>
                      <a:pt x="27316" y="117879"/>
                    </a:moveTo>
                    <a:lnTo>
                      <a:pt x="16515" y="117879"/>
                    </a:lnTo>
                    <a:lnTo>
                      <a:pt x="11166" y="108517"/>
                    </a:lnTo>
                    <a:lnTo>
                      <a:pt x="16515" y="99156"/>
                    </a:lnTo>
                    <a:lnTo>
                      <a:pt x="27316" y="99156"/>
                    </a:lnTo>
                    <a:lnTo>
                      <a:pt x="32666" y="108517"/>
                    </a:lnTo>
                    <a:lnTo>
                      <a:pt x="27316" y="117879"/>
                    </a:lnTo>
                    <a:lnTo>
                      <a:pt x="27316" y="117879"/>
                    </a:lnTo>
                    <a:close/>
                    <a:moveTo>
                      <a:pt x="43776" y="16140"/>
                    </a:moveTo>
                    <a:cubicBezTo>
                      <a:pt x="43776" y="16140"/>
                      <a:pt x="45422" y="8425"/>
                      <a:pt x="49639" y="7396"/>
                    </a:cubicBezTo>
                    <a:cubicBezTo>
                      <a:pt x="53960" y="6265"/>
                      <a:pt x="77928" y="6367"/>
                      <a:pt x="77928" y="6367"/>
                    </a:cubicBezTo>
                    <a:lnTo>
                      <a:pt x="77928" y="37331"/>
                    </a:lnTo>
                    <a:cubicBezTo>
                      <a:pt x="77928" y="37331"/>
                      <a:pt x="39352" y="40417"/>
                      <a:pt x="39352" y="40417"/>
                    </a:cubicBezTo>
                    <a:cubicBezTo>
                      <a:pt x="39867" y="32085"/>
                      <a:pt x="41512" y="23753"/>
                      <a:pt x="43776" y="16037"/>
                    </a:cubicBezTo>
                    <a:moveTo>
                      <a:pt x="64555" y="51939"/>
                    </a:moveTo>
                    <a:cubicBezTo>
                      <a:pt x="56120" y="57082"/>
                      <a:pt x="49742" y="68912"/>
                      <a:pt x="47067" y="68604"/>
                    </a:cubicBezTo>
                    <a:cubicBezTo>
                      <a:pt x="44290" y="68295"/>
                      <a:pt x="42027" y="70558"/>
                      <a:pt x="40690" y="63872"/>
                    </a:cubicBezTo>
                    <a:cubicBezTo>
                      <a:pt x="39455" y="57700"/>
                      <a:pt x="38941" y="51322"/>
                      <a:pt x="39146" y="44738"/>
                    </a:cubicBezTo>
                    <a:lnTo>
                      <a:pt x="78134" y="41446"/>
                    </a:lnTo>
                    <a:lnTo>
                      <a:pt x="78134" y="44429"/>
                    </a:lnTo>
                    <a:cubicBezTo>
                      <a:pt x="78134" y="44429"/>
                      <a:pt x="72991" y="46693"/>
                      <a:pt x="64658" y="51836"/>
                    </a:cubicBezTo>
                    <a:moveTo>
                      <a:pt x="135124" y="99259"/>
                    </a:moveTo>
                    <a:lnTo>
                      <a:pt x="145926" y="99259"/>
                    </a:lnTo>
                    <a:lnTo>
                      <a:pt x="151275" y="108620"/>
                    </a:lnTo>
                    <a:lnTo>
                      <a:pt x="145926" y="117981"/>
                    </a:lnTo>
                    <a:lnTo>
                      <a:pt x="135124" y="117981"/>
                    </a:lnTo>
                    <a:lnTo>
                      <a:pt x="129775" y="108620"/>
                    </a:lnTo>
                    <a:lnTo>
                      <a:pt x="135124" y="99259"/>
                    </a:lnTo>
                    <a:lnTo>
                      <a:pt x="135124" y="99259"/>
                    </a:lnTo>
                    <a:close/>
                  </a:path>
                </a:pathLst>
              </a:custGeom>
              <a:solidFill>
                <a:srgbClr val="3D4647"/>
              </a:solidFill>
              <a:ln w="10150" cap="flat">
                <a:noFill/>
                <a:prstDash val="solid"/>
                <a:miter/>
              </a:ln>
            </p:spPr>
            <p:txBody>
              <a:bodyPr rtlCol="0" anchor="ctr"/>
              <a:lstStyle/>
              <a:p>
                <a:endParaRPr lang="en-US" dirty="0"/>
              </a:p>
            </p:txBody>
          </p:sp>
          <p:sp>
            <p:nvSpPr>
              <p:cNvPr id="192" name="Freeform: Shape 191">
                <a:extLst>
                  <a:ext uri="{FF2B5EF4-FFF2-40B4-BE49-F238E27FC236}">
                    <a16:creationId xmlns:a16="http://schemas.microsoft.com/office/drawing/2014/main" id="{23E96FFF-1F87-366A-AAF9-801DB77D48AD}"/>
                  </a:ext>
                </a:extLst>
              </p:cNvPr>
              <p:cNvSpPr/>
              <p:nvPr/>
            </p:nvSpPr>
            <p:spPr>
              <a:xfrm>
                <a:off x="2275644" y="3958204"/>
                <a:ext cx="95566" cy="103281"/>
              </a:xfrm>
              <a:custGeom>
                <a:avLst/>
                <a:gdLst>
                  <a:gd name="connsiteX0" fmla="*/ 85382 w 95566"/>
                  <a:gd name="connsiteY0" fmla="*/ 15225 h 103281"/>
                  <a:gd name="connsiteX1" fmla="*/ 74992 w 95566"/>
                  <a:gd name="connsiteY1" fmla="*/ 6892 h 103281"/>
                  <a:gd name="connsiteX2" fmla="*/ 60590 w 95566"/>
                  <a:gd name="connsiteY2" fmla="*/ 0 h 103281"/>
                  <a:gd name="connsiteX3" fmla="*/ 48658 w 95566"/>
                  <a:gd name="connsiteY3" fmla="*/ 0 h 103281"/>
                  <a:gd name="connsiteX4" fmla="*/ 42691 w 95566"/>
                  <a:gd name="connsiteY4" fmla="*/ 10390 h 103281"/>
                  <a:gd name="connsiteX5" fmla="*/ 42177 w 95566"/>
                  <a:gd name="connsiteY5" fmla="*/ 11521 h 103281"/>
                  <a:gd name="connsiteX6" fmla="*/ 103 w 95566"/>
                  <a:gd name="connsiteY6" fmla="*/ 75609 h 103281"/>
                  <a:gd name="connsiteX7" fmla="*/ 0 w 95566"/>
                  <a:gd name="connsiteY7" fmla="*/ 75609 h 103281"/>
                  <a:gd name="connsiteX8" fmla="*/ 0 w 95566"/>
                  <a:gd name="connsiteY8" fmla="*/ 75815 h 103281"/>
                  <a:gd name="connsiteX9" fmla="*/ 3806 w 95566"/>
                  <a:gd name="connsiteY9" fmla="*/ 88777 h 103281"/>
                  <a:gd name="connsiteX10" fmla="*/ 12036 w 95566"/>
                  <a:gd name="connsiteY10" fmla="*/ 103076 h 103281"/>
                  <a:gd name="connsiteX11" fmla="*/ 28186 w 95566"/>
                  <a:gd name="connsiteY11" fmla="*/ 103076 h 103281"/>
                  <a:gd name="connsiteX12" fmla="*/ 28186 w 95566"/>
                  <a:gd name="connsiteY12" fmla="*/ 103281 h 103281"/>
                  <a:gd name="connsiteX13" fmla="*/ 28289 w 95566"/>
                  <a:gd name="connsiteY13" fmla="*/ 103076 h 103281"/>
                  <a:gd name="connsiteX14" fmla="*/ 28289 w 95566"/>
                  <a:gd name="connsiteY14" fmla="*/ 103076 h 103281"/>
                  <a:gd name="connsiteX15" fmla="*/ 28495 w 95566"/>
                  <a:gd name="connsiteY15" fmla="*/ 102767 h 103281"/>
                  <a:gd name="connsiteX16" fmla="*/ 48966 w 95566"/>
                  <a:gd name="connsiteY16" fmla="*/ 82193 h 103281"/>
                  <a:gd name="connsiteX17" fmla="*/ 47114 w 95566"/>
                  <a:gd name="connsiteY17" fmla="*/ 80341 h 103281"/>
                  <a:gd name="connsiteX18" fmla="*/ 35490 w 95566"/>
                  <a:gd name="connsiteY18" fmla="*/ 87234 h 103281"/>
                  <a:gd name="connsiteX19" fmla="*/ 28186 w 95566"/>
                  <a:gd name="connsiteY19" fmla="*/ 74581 h 103281"/>
                  <a:gd name="connsiteX20" fmla="*/ 20574 w 95566"/>
                  <a:gd name="connsiteY20" fmla="*/ 74581 h 103281"/>
                  <a:gd name="connsiteX21" fmla="*/ 50201 w 95566"/>
                  <a:gd name="connsiteY21" fmla="*/ 20780 h 103281"/>
                  <a:gd name="connsiteX22" fmla="*/ 60590 w 95566"/>
                  <a:gd name="connsiteY22" fmla="*/ 20780 h 103281"/>
                  <a:gd name="connsiteX23" fmla="*/ 76432 w 95566"/>
                  <a:gd name="connsiteY23" fmla="*/ 26232 h 103281"/>
                  <a:gd name="connsiteX24" fmla="*/ 87954 w 95566"/>
                  <a:gd name="connsiteY24" fmla="*/ 37033 h 103281"/>
                  <a:gd name="connsiteX25" fmla="*/ 95566 w 95566"/>
                  <a:gd name="connsiteY25" fmla="*/ 17591 h 103281"/>
                  <a:gd name="connsiteX26" fmla="*/ 85485 w 95566"/>
                  <a:gd name="connsiteY26" fmla="*/ 15019 h 103281"/>
                  <a:gd name="connsiteX27" fmla="*/ 85382 w 95566"/>
                  <a:gd name="connsiteY27" fmla="*/ 15019 h 103281"/>
                  <a:gd name="connsiteX28" fmla="*/ 24072 w 95566"/>
                  <a:gd name="connsiteY28" fmla="*/ 80856 h 103281"/>
                  <a:gd name="connsiteX29" fmla="*/ 28495 w 95566"/>
                  <a:gd name="connsiteY29" fmla="*/ 88571 h 103281"/>
                  <a:gd name="connsiteX30" fmla="*/ 24072 w 95566"/>
                  <a:gd name="connsiteY30" fmla="*/ 96286 h 103281"/>
                  <a:gd name="connsiteX31" fmla="*/ 15225 w 95566"/>
                  <a:gd name="connsiteY31" fmla="*/ 96286 h 103281"/>
                  <a:gd name="connsiteX32" fmla="*/ 10801 w 95566"/>
                  <a:gd name="connsiteY32" fmla="*/ 88571 h 103281"/>
                  <a:gd name="connsiteX33" fmla="*/ 15225 w 95566"/>
                  <a:gd name="connsiteY33" fmla="*/ 80856 h 103281"/>
                  <a:gd name="connsiteX34" fmla="*/ 24072 w 95566"/>
                  <a:gd name="connsiteY34" fmla="*/ 80856 h 103281"/>
                  <a:gd name="connsiteX35" fmla="*/ 12344 w 95566"/>
                  <a:gd name="connsiteY35" fmla="*/ 74375 h 103281"/>
                  <a:gd name="connsiteX36" fmla="*/ 2366 w 95566"/>
                  <a:gd name="connsiteY36" fmla="*/ 75404 h 103281"/>
                  <a:gd name="connsiteX37" fmla="*/ 36005 w 95566"/>
                  <a:gd name="connsiteY37" fmla="*/ 24483 h 103281"/>
                  <a:gd name="connsiteX38" fmla="*/ 12344 w 95566"/>
                  <a:gd name="connsiteY38" fmla="*/ 74375 h 103281"/>
                  <a:gd name="connsiteX39" fmla="*/ 12344 w 95566"/>
                  <a:gd name="connsiteY39" fmla="*/ 74375 h 103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5566" h="103281">
                    <a:moveTo>
                      <a:pt x="85382" y="15225"/>
                    </a:moveTo>
                    <a:lnTo>
                      <a:pt x="74992" y="6892"/>
                    </a:lnTo>
                    <a:lnTo>
                      <a:pt x="60590" y="0"/>
                    </a:lnTo>
                    <a:lnTo>
                      <a:pt x="48658" y="0"/>
                    </a:lnTo>
                    <a:lnTo>
                      <a:pt x="42691" y="10390"/>
                    </a:lnTo>
                    <a:lnTo>
                      <a:pt x="42177" y="11521"/>
                    </a:lnTo>
                    <a:lnTo>
                      <a:pt x="103" y="75609"/>
                    </a:lnTo>
                    <a:lnTo>
                      <a:pt x="0" y="75609"/>
                    </a:lnTo>
                    <a:cubicBezTo>
                      <a:pt x="0" y="75609"/>
                      <a:pt x="0" y="75815"/>
                      <a:pt x="0" y="75815"/>
                    </a:cubicBezTo>
                    <a:lnTo>
                      <a:pt x="3806" y="88777"/>
                    </a:lnTo>
                    <a:lnTo>
                      <a:pt x="12036" y="103076"/>
                    </a:lnTo>
                    <a:lnTo>
                      <a:pt x="28186" y="103076"/>
                    </a:lnTo>
                    <a:lnTo>
                      <a:pt x="28186" y="103281"/>
                    </a:lnTo>
                    <a:cubicBezTo>
                      <a:pt x="28186" y="103281"/>
                      <a:pt x="28186" y="103281"/>
                      <a:pt x="28289" y="103076"/>
                    </a:cubicBezTo>
                    <a:lnTo>
                      <a:pt x="28289" y="103076"/>
                    </a:lnTo>
                    <a:lnTo>
                      <a:pt x="28495" y="102767"/>
                    </a:lnTo>
                    <a:cubicBezTo>
                      <a:pt x="31478" y="99475"/>
                      <a:pt x="48966" y="82193"/>
                      <a:pt x="48966" y="82193"/>
                    </a:cubicBezTo>
                    <a:lnTo>
                      <a:pt x="47114" y="80341"/>
                    </a:lnTo>
                    <a:lnTo>
                      <a:pt x="35490" y="87234"/>
                    </a:lnTo>
                    <a:lnTo>
                      <a:pt x="28186" y="74581"/>
                    </a:lnTo>
                    <a:lnTo>
                      <a:pt x="20574" y="74581"/>
                    </a:lnTo>
                    <a:lnTo>
                      <a:pt x="50201" y="20780"/>
                    </a:lnTo>
                    <a:lnTo>
                      <a:pt x="60590" y="20780"/>
                    </a:lnTo>
                    <a:cubicBezTo>
                      <a:pt x="60590" y="20780"/>
                      <a:pt x="76432" y="26232"/>
                      <a:pt x="76432" y="26232"/>
                    </a:cubicBezTo>
                    <a:lnTo>
                      <a:pt x="87954" y="37033"/>
                    </a:lnTo>
                    <a:lnTo>
                      <a:pt x="95566" y="17591"/>
                    </a:lnTo>
                    <a:lnTo>
                      <a:pt x="85485" y="15019"/>
                    </a:lnTo>
                    <a:lnTo>
                      <a:pt x="85382" y="15019"/>
                    </a:lnTo>
                    <a:close/>
                    <a:moveTo>
                      <a:pt x="24072" y="80856"/>
                    </a:moveTo>
                    <a:lnTo>
                      <a:pt x="28495" y="88571"/>
                    </a:lnTo>
                    <a:lnTo>
                      <a:pt x="24072" y="96286"/>
                    </a:lnTo>
                    <a:lnTo>
                      <a:pt x="15225" y="96286"/>
                    </a:lnTo>
                    <a:lnTo>
                      <a:pt x="10801" y="88571"/>
                    </a:lnTo>
                    <a:lnTo>
                      <a:pt x="15225" y="80856"/>
                    </a:lnTo>
                    <a:lnTo>
                      <a:pt x="24072" y="80856"/>
                    </a:lnTo>
                    <a:close/>
                    <a:moveTo>
                      <a:pt x="12344" y="74375"/>
                    </a:moveTo>
                    <a:lnTo>
                      <a:pt x="2366" y="75404"/>
                    </a:lnTo>
                    <a:lnTo>
                      <a:pt x="36005" y="24483"/>
                    </a:lnTo>
                    <a:lnTo>
                      <a:pt x="12344" y="74375"/>
                    </a:lnTo>
                    <a:lnTo>
                      <a:pt x="12344" y="74375"/>
                    </a:lnTo>
                    <a:close/>
                  </a:path>
                </a:pathLst>
              </a:custGeom>
              <a:solidFill>
                <a:srgbClr val="3D4647"/>
              </a:solidFill>
              <a:ln w="10150" cap="flat">
                <a:noFill/>
                <a:prstDash val="solid"/>
                <a:miter/>
              </a:ln>
            </p:spPr>
            <p:txBody>
              <a:bodyPr rtlCol="0" anchor="ctr"/>
              <a:lstStyle/>
              <a:p>
                <a:endParaRPr lang="en-US" dirty="0"/>
              </a:p>
            </p:txBody>
          </p:sp>
        </p:grpSp>
        <p:grpSp>
          <p:nvGrpSpPr>
            <p:cNvPr id="629" name="Graphic 34">
              <a:extLst>
                <a:ext uri="{FF2B5EF4-FFF2-40B4-BE49-F238E27FC236}">
                  <a16:creationId xmlns:a16="http://schemas.microsoft.com/office/drawing/2014/main" id="{20043018-4109-B635-7FD2-4CDAC4D074E8}"/>
                </a:ext>
              </a:extLst>
            </p:cNvPr>
            <p:cNvGrpSpPr/>
            <p:nvPr/>
          </p:nvGrpSpPr>
          <p:grpSpPr>
            <a:xfrm>
              <a:off x="2203737" y="3700309"/>
              <a:ext cx="628432" cy="658368"/>
              <a:chOff x="2203737" y="3700309"/>
              <a:chExt cx="628432" cy="658368"/>
            </a:xfrm>
            <a:solidFill>
              <a:srgbClr val="3D4647"/>
            </a:solidFill>
          </p:grpSpPr>
          <p:sp>
            <p:nvSpPr>
              <p:cNvPr id="636" name="Freeform: Shape 635">
                <a:extLst>
                  <a:ext uri="{FF2B5EF4-FFF2-40B4-BE49-F238E27FC236}">
                    <a16:creationId xmlns:a16="http://schemas.microsoft.com/office/drawing/2014/main" id="{253E1CE7-794C-26AD-3569-21C1AF7860DB}"/>
                  </a:ext>
                </a:extLst>
              </p:cNvPr>
              <p:cNvSpPr/>
              <p:nvPr/>
            </p:nvSpPr>
            <p:spPr>
              <a:xfrm>
                <a:off x="2216699" y="3700309"/>
                <a:ext cx="366114" cy="355107"/>
              </a:xfrm>
              <a:custGeom>
                <a:avLst/>
                <a:gdLst>
                  <a:gd name="connsiteX0" fmla="*/ 365703 w 366114"/>
                  <a:gd name="connsiteY0" fmla="*/ 78901 h 355107"/>
                  <a:gd name="connsiteX1" fmla="*/ 305627 w 366114"/>
                  <a:gd name="connsiteY1" fmla="*/ 0 h 355107"/>
                  <a:gd name="connsiteX2" fmla="*/ 298220 w 366114"/>
                  <a:gd name="connsiteY2" fmla="*/ 54418 h 355107"/>
                  <a:gd name="connsiteX3" fmla="*/ 122415 w 366114"/>
                  <a:gd name="connsiteY3" fmla="*/ 113774 h 355107"/>
                  <a:gd name="connsiteX4" fmla="*/ 3292 w 366114"/>
                  <a:gd name="connsiteY4" fmla="*/ 312005 h 355107"/>
                  <a:gd name="connsiteX5" fmla="*/ 0 w 366114"/>
                  <a:gd name="connsiteY5" fmla="*/ 354902 h 355107"/>
                  <a:gd name="connsiteX6" fmla="*/ 34050 w 366114"/>
                  <a:gd name="connsiteY6" fmla="*/ 355107 h 355107"/>
                  <a:gd name="connsiteX7" fmla="*/ 37033 w 366114"/>
                  <a:gd name="connsiteY7" fmla="*/ 316942 h 355107"/>
                  <a:gd name="connsiteX8" fmla="*/ 142784 w 366114"/>
                  <a:gd name="connsiteY8" fmla="*/ 141035 h 355107"/>
                  <a:gd name="connsiteX9" fmla="*/ 293797 w 366114"/>
                  <a:gd name="connsiteY9" fmla="*/ 88468 h 355107"/>
                  <a:gd name="connsiteX10" fmla="*/ 287007 w 366114"/>
                  <a:gd name="connsiteY10" fmla="*/ 138875 h 355107"/>
                  <a:gd name="connsiteX11" fmla="*/ 366114 w 366114"/>
                  <a:gd name="connsiteY11" fmla="*/ 78901 h 355107"/>
                  <a:gd name="connsiteX12" fmla="*/ 365909 w 366114"/>
                  <a:gd name="connsiteY12" fmla="*/ 78901 h 35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6114" h="355107">
                    <a:moveTo>
                      <a:pt x="365703" y="78901"/>
                    </a:moveTo>
                    <a:lnTo>
                      <a:pt x="305627" y="0"/>
                    </a:lnTo>
                    <a:lnTo>
                      <a:pt x="298220" y="54418"/>
                    </a:lnTo>
                    <a:cubicBezTo>
                      <a:pt x="235161" y="55138"/>
                      <a:pt x="173953" y="75507"/>
                      <a:pt x="122415" y="113774"/>
                    </a:cubicBezTo>
                    <a:cubicBezTo>
                      <a:pt x="57504" y="161815"/>
                      <a:pt x="15225" y="232178"/>
                      <a:pt x="3292" y="312005"/>
                    </a:cubicBezTo>
                    <a:cubicBezTo>
                      <a:pt x="1132" y="326304"/>
                      <a:pt x="0" y="340705"/>
                      <a:pt x="0" y="354902"/>
                    </a:cubicBezTo>
                    <a:lnTo>
                      <a:pt x="34050" y="355107"/>
                    </a:lnTo>
                    <a:cubicBezTo>
                      <a:pt x="34050" y="342454"/>
                      <a:pt x="35079" y="329596"/>
                      <a:pt x="37033" y="316942"/>
                    </a:cubicBezTo>
                    <a:cubicBezTo>
                      <a:pt x="47629" y="246168"/>
                      <a:pt x="85176" y="183623"/>
                      <a:pt x="142784" y="141035"/>
                    </a:cubicBezTo>
                    <a:cubicBezTo>
                      <a:pt x="187223" y="108219"/>
                      <a:pt x="239584" y="90217"/>
                      <a:pt x="293797" y="88468"/>
                    </a:cubicBezTo>
                    <a:lnTo>
                      <a:pt x="287007" y="138875"/>
                    </a:lnTo>
                    <a:lnTo>
                      <a:pt x="366114" y="78901"/>
                    </a:lnTo>
                    <a:lnTo>
                      <a:pt x="365909" y="78901"/>
                    </a:lnTo>
                    <a:close/>
                  </a:path>
                </a:pathLst>
              </a:custGeom>
              <a:solidFill>
                <a:srgbClr val="3D4647"/>
              </a:solidFill>
              <a:ln w="10150" cap="flat">
                <a:noFill/>
                <a:prstDash val="solid"/>
                <a:miter/>
              </a:ln>
            </p:spPr>
            <p:txBody>
              <a:bodyPr rtlCol="0" anchor="ctr"/>
              <a:lstStyle/>
              <a:p>
                <a:endParaRPr lang="en-US" dirty="0"/>
              </a:p>
            </p:txBody>
          </p:sp>
          <p:sp>
            <p:nvSpPr>
              <p:cNvPr id="637" name="Freeform: Shape 636">
                <a:extLst>
                  <a:ext uri="{FF2B5EF4-FFF2-40B4-BE49-F238E27FC236}">
                    <a16:creationId xmlns:a16="http://schemas.microsoft.com/office/drawing/2014/main" id="{48904FC0-9128-9F51-A1D8-05E5882D6BFB}"/>
                  </a:ext>
                </a:extLst>
              </p:cNvPr>
              <p:cNvSpPr/>
              <p:nvPr/>
            </p:nvSpPr>
            <p:spPr>
              <a:xfrm>
                <a:off x="2649885" y="3792994"/>
                <a:ext cx="182285" cy="461269"/>
              </a:xfrm>
              <a:custGeom>
                <a:avLst/>
                <a:gdLst>
                  <a:gd name="connsiteX0" fmla="*/ 133217 w 182285"/>
                  <a:gd name="connsiteY0" fmla="*/ 410863 h 461269"/>
                  <a:gd name="connsiteX1" fmla="*/ 168398 w 182285"/>
                  <a:gd name="connsiteY1" fmla="*/ 308199 h 461269"/>
                  <a:gd name="connsiteX2" fmla="*/ 16562 w 182285"/>
                  <a:gd name="connsiteY2" fmla="*/ 0 h 461269"/>
                  <a:gd name="connsiteX3" fmla="*/ 0 w 182285"/>
                  <a:gd name="connsiteY3" fmla="*/ 29627 h 461269"/>
                  <a:gd name="connsiteX4" fmla="*/ 134657 w 182285"/>
                  <a:gd name="connsiteY4" fmla="*/ 303261 h 461269"/>
                  <a:gd name="connsiteX5" fmla="*/ 106882 w 182285"/>
                  <a:gd name="connsiteY5" fmla="*/ 388334 h 461269"/>
                  <a:gd name="connsiteX6" fmla="*/ 63574 w 182285"/>
                  <a:gd name="connsiteY6" fmla="*/ 351095 h 461269"/>
                  <a:gd name="connsiteX7" fmla="*/ 71906 w 182285"/>
                  <a:gd name="connsiteY7" fmla="*/ 461269 h 461269"/>
                  <a:gd name="connsiteX8" fmla="*/ 182286 w 182285"/>
                  <a:gd name="connsiteY8" fmla="*/ 453039 h 461269"/>
                  <a:gd name="connsiteX9" fmla="*/ 133320 w 182285"/>
                  <a:gd name="connsiteY9" fmla="*/ 410966 h 461269"/>
                  <a:gd name="connsiteX10" fmla="*/ 133320 w 182285"/>
                  <a:gd name="connsiteY10" fmla="*/ 410966 h 46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285" h="461269">
                    <a:moveTo>
                      <a:pt x="133217" y="410863"/>
                    </a:moveTo>
                    <a:cubicBezTo>
                      <a:pt x="150910" y="379179"/>
                      <a:pt x="162946" y="344512"/>
                      <a:pt x="168398" y="308199"/>
                    </a:cubicBezTo>
                    <a:cubicBezTo>
                      <a:pt x="186812" y="184652"/>
                      <a:pt x="125810" y="60796"/>
                      <a:pt x="16562" y="0"/>
                    </a:cubicBezTo>
                    <a:lnTo>
                      <a:pt x="0" y="29627"/>
                    </a:lnTo>
                    <a:cubicBezTo>
                      <a:pt x="96904" y="83633"/>
                      <a:pt x="151116" y="193601"/>
                      <a:pt x="134657" y="303261"/>
                    </a:cubicBezTo>
                    <a:cubicBezTo>
                      <a:pt x="130233" y="333196"/>
                      <a:pt x="120667" y="361897"/>
                      <a:pt x="106882" y="388334"/>
                    </a:cubicBezTo>
                    <a:lnTo>
                      <a:pt x="63574" y="351095"/>
                    </a:lnTo>
                    <a:lnTo>
                      <a:pt x="71906" y="461269"/>
                    </a:lnTo>
                    <a:lnTo>
                      <a:pt x="182286" y="453039"/>
                    </a:lnTo>
                    <a:lnTo>
                      <a:pt x="133320" y="410966"/>
                    </a:lnTo>
                    <a:lnTo>
                      <a:pt x="133320" y="410966"/>
                    </a:lnTo>
                    <a:close/>
                  </a:path>
                </a:pathLst>
              </a:custGeom>
              <a:solidFill>
                <a:srgbClr val="3D4647"/>
              </a:solidFill>
              <a:ln w="10150" cap="flat">
                <a:noFill/>
                <a:prstDash val="solid"/>
                <a:miter/>
              </a:ln>
            </p:spPr>
            <p:txBody>
              <a:bodyPr rtlCol="0" anchor="ctr"/>
              <a:lstStyle/>
              <a:p>
                <a:endParaRPr lang="en-US" dirty="0"/>
              </a:p>
            </p:txBody>
          </p:sp>
          <p:sp>
            <p:nvSpPr>
              <p:cNvPr id="638" name="Freeform: Shape 637">
                <a:extLst>
                  <a:ext uri="{FF2B5EF4-FFF2-40B4-BE49-F238E27FC236}">
                    <a16:creationId xmlns:a16="http://schemas.microsoft.com/office/drawing/2014/main" id="{8A2F858F-7693-AC39-AD15-8FEBC711A825}"/>
                  </a:ext>
                </a:extLst>
              </p:cNvPr>
              <p:cNvSpPr/>
              <p:nvPr/>
            </p:nvSpPr>
            <p:spPr>
              <a:xfrm>
                <a:off x="2203737" y="4135654"/>
                <a:ext cx="473201" cy="223022"/>
              </a:xfrm>
              <a:custGeom>
                <a:avLst/>
                <a:gdLst>
                  <a:gd name="connsiteX0" fmla="*/ 455405 w 473201"/>
                  <a:gd name="connsiteY0" fmla="*/ 149676 h 223022"/>
                  <a:gd name="connsiteX1" fmla="*/ 275692 w 473201"/>
                  <a:gd name="connsiteY1" fmla="*/ 186092 h 223022"/>
                  <a:gd name="connsiteX2" fmla="*/ 86617 w 473201"/>
                  <a:gd name="connsiteY2" fmla="*/ 61311 h 223022"/>
                  <a:gd name="connsiteX3" fmla="*/ 138154 w 473201"/>
                  <a:gd name="connsiteY3" fmla="*/ 38988 h 223022"/>
                  <a:gd name="connsiteX4" fmla="*/ 38988 w 473201"/>
                  <a:gd name="connsiteY4" fmla="*/ 0 h 223022"/>
                  <a:gd name="connsiteX5" fmla="*/ 0 w 473201"/>
                  <a:gd name="connsiteY5" fmla="*/ 98961 h 223022"/>
                  <a:gd name="connsiteX6" fmla="*/ 55241 w 473201"/>
                  <a:gd name="connsiteY6" fmla="*/ 74992 h 223022"/>
                  <a:gd name="connsiteX7" fmla="*/ 270754 w 473201"/>
                  <a:gd name="connsiteY7" fmla="*/ 219730 h 223022"/>
                  <a:gd name="connsiteX8" fmla="*/ 315194 w 473201"/>
                  <a:gd name="connsiteY8" fmla="*/ 223022 h 223022"/>
                  <a:gd name="connsiteX9" fmla="*/ 473202 w 473201"/>
                  <a:gd name="connsiteY9" fmla="*/ 178582 h 223022"/>
                  <a:gd name="connsiteX10" fmla="*/ 455405 w 473201"/>
                  <a:gd name="connsiteY10" fmla="*/ 149573 h 223022"/>
                  <a:gd name="connsiteX11" fmla="*/ 455405 w 473201"/>
                  <a:gd name="connsiteY11" fmla="*/ 149573 h 22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3201" h="223022">
                    <a:moveTo>
                      <a:pt x="455405" y="149676"/>
                    </a:moveTo>
                    <a:cubicBezTo>
                      <a:pt x="401810" y="182491"/>
                      <a:pt x="338031" y="195453"/>
                      <a:pt x="275692" y="186092"/>
                    </a:cubicBezTo>
                    <a:cubicBezTo>
                      <a:pt x="196585" y="174365"/>
                      <a:pt x="127765" y="127970"/>
                      <a:pt x="86617" y="61311"/>
                    </a:cubicBezTo>
                    <a:lnTo>
                      <a:pt x="138154" y="38988"/>
                    </a:lnTo>
                    <a:lnTo>
                      <a:pt x="38988" y="0"/>
                    </a:lnTo>
                    <a:lnTo>
                      <a:pt x="0" y="98961"/>
                    </a:lnTo>
                    <a:lnTo>
                      <a:pt x="55241" y="74992"/>
                    </a:lnTo>
                    <a:cubicBezTo>
                      <a:pt x="101327" y="152248"/>
                      <a:pt x="180023" y="206254"/>
                      <a:pt x="270754" y="219730"/>
                    </a:cubicBezTo>
                    <a:cubicBezTo>
                      <a:pt x="285464" y="221891"/>
                      <a:pt x="300380" y="223022"/>
                      <a:pt x="315194" y="223022"/>
                    </a:cubicBezTo>
                    <a:cubicBezTo>
                      <a:pt x="370641" y="223022"/>
                      <a:pt x="425573" y="207695"/>
                      <a:pt x="473202" y="178582"/>
                    </a:cubicBezTo>
                    <a:lnTo>
                      <a:pt x="455405" y="149573"/>
                    </a:lnTo>
                    <a:lnTo>
                      <a:pt x="455405" y="149573"/>
                    </a:lnTo>
                    <a:close/>
                  </a:path>
                </a:pathLst>
              </a:custGeom>
              <a:solidFill>
                <a:srgbClr val="3D4647"/>
              </a:solidFill>
              <a:ln w="10150" cap="flat">
                <a:noFill/>
                <a:prstDash val="solid"/>
                <a:miter/>
              </a:ln>
            </p:spPr>
            <p:txBody>
              <a:bodyPr rtlCol="0" anchor="ctr"/>
              <a:lstStyle/>
              <a:p>
                <a:endParaRPr lang="en-US" dirty="0"/>
              </a:p>
            </p:txBody>
          </p:sp>
        </p:grpSp>
        <p:grpSp>
          <p:nvGrpSpPr>
            <p:cNvPr id="630" name="Graphic 34">
              <a:extLst>
                <a:ext uri="{FF2B5EF4-FFF2-40B4-BE49-F238E27FC236}">
                  <a16:creationId xmlns:a16="http://schemas.microsoft.com/office/drawing/2014/main" id="{BEDA6321-F622-944A-0CC6-31625F07D911}"/>
                </a:ext>
              </a:extLst>
            </p:cNvPr>
            <p:cNvGrpSpPr/>
            <p:nvPr/>
          </p:nvGrpSpPr>
          <p:grpSpPr>
            <a:xfrm>
              <a:off x="2548039" y="3866202"/>
              <a:ext cx="190720" cy="331035"/>
              <a:chOff x="2518108" y="3874365"/>
              <a:chExt cx="190720" cy="331035"/>
            </a:xfrm>
            <a:solidFill>
              <a:srgbClr val="40AA1D"/>
            </a:solidFill>
          </p:grpSpPr>
          <p:sp>
            <p:nvSpPr>
              <p:cNvPr id="631" name="Freeform: Shape 630">
                <a:extLst>
                  <a:ext uri="{FF2B5EF4-FFF2-40B4-BE49-F238E27FC236}">
                    <a16:creationId xmlns:a16="http://schemas.microsoft.com/office/drawing/2014/main" id="{74FD54E4-4980-1E0C-A87D-AD1EDDE066CE}"/>
                  </a:ext>
                </a:extLst>
              </p:cNvPr>
              <p:cNvSpPr/>
              <p:nvPr/>
            </p:nvSpPr>
            <p:spPr>
              <a:xfrm>
                <a:off x="2518211" y="4101399"/>
                <a:ext cx="81370" cy="104001"/>
              </a:xfrm>
              <a:custGeom>
                <a:avLst/>
                <a:gdLst>
                  <a:gd name="connsiteX0" fmla="*/ 68614 w 81370"/>
                  <a:gd name="connsiteY0" fmla="*/ 52772 h 104001"/>
                  <a:gd name="connsiteX1" fmla="*/ 63882 w 81370"/>
                  <a:gd name="connsiteY1" fmla="*/ 44851 h 104001"/>
                  <a:gd name="connsiteX2" fmla="*/ 55447 w 81370"/>
                  <a:gd name="connsiteY2" fmla="*/ 44851 h 104001"/>
                  <a:gd name="connsiteX3" fmla="*/ 55447 w 81370"/>
                  <a:gd name="connsiteY3" fmla="*/ 26438 h 104001"/>
                  <a:gd name="connsiteX4" fmla="*/ 0 w 81370"/>
                  <a:gd name="connsiteY4" fmla="*/ 0 h 104001"/>
                  <a:gd name="connsiteX5" fmla="*/ 0 w 81370"/>
                  <a:gd name="connsiteY5" fmla="*/ 17591 h 104001"/>
                  <a:gd name="connsiteX6" fmla="*/ 39605 w 81370"/>
                  <a:gd name="connsiteY6" fmla="*/ 36519 h 104001"/>
                  <a:gd name="connsiteX7" fmla="*/ 39605 w 81370"/>
                  <a:gd name="connsiteY7" fmla="*/ 44954 h 104001"/>
                  <a:gd name="connsiteX8" fmla="*/ 30141 w 81370"/>
                  <a:gd name="connsiteY8" fmla="*/ 44954 h 104001"/>
                  <a:gd name="connsiteX9" fmla="*/ 25409 w 81370"/>
                  <a:gd name="connsiteY9" fmla="*/ 52875 h 104001"/>
                  <a:gd name="connsiteX10" fmla="*/ 17488 w 81370"/>
                  <a:gd name="connsiteY10" fmla="*/ 66557 h 104001"/>
                  <a:gd name="connsiteX11" fmla="*/ 12756 w 81370"/>
                  <a:gd name="connsiteY11" fmla="*/ 74478 h 104001"/>
                  <a:gd name="connsiteX12" fmla="*/ 17488 w 81370"/>
                  <a:gd name="connsiteY12" fmla="*/ 82399 h 104001"/>
                  <a:gd name="connsiteX13" fmla="*/ 25409 w 81370"/>
                  <a:gd name="connsiteY13" fmla="*/ 96081 h 104001"/>
                  <a:gd name="connsiteX14" fmla="*/ 30141 w 81370"/>
                  <a:gd name="connsiteY14" fmla="*/ 104002 h 104001"/>
                  <a:gd name="connsiteX15" fmla="*/ 63985 w 81370"/>
                  <a:gd name="connsiteY15" fmla="*/ 104002 h 104001"/>
                  <a:gd name="connsiteX16" fmla="*/ 68717 w 81370"/>
                  <a:gd name="connsiteY16" fmla="*/ 96081 h 104001"/>
                  <a:gd name="connsiteX17" fmla="*/ 76638 w 81370"/>
                  <a:gd name="connsiteY17" fmla="*/ 82399 h 104001"/>
                  <a:gd name="connsiteX18" fmla="*/ 81370 w 81370"/>
                  <a:gd name="connsiteY18" fmla="*/ 74478 h 104001"/>
                  <a:gd name="connsiteX19" fmla="*/ 76638 w 81370"/>
                  <a:gd name="connsiteY19" fmla="*/ 66557 h 104001"/>
                  <a:gd name="connsiteX20" fmla="*/ 68717 w 81370"/>
                  <a:gd name="connsiteY20" fmla="*/ 52875 h 104001"/>
                  <a:gd name="connsiteX21" fmla="*/ 54933 w 81370"/>
                  <a:gd name="connsiteY21" fmla="*/ 88057 h 104001"/>
                  <a:gd name="connsiteX22" fmla="*/ 39091 w 81370"/>
                  <a:gd name="connsiteY22" fmla="*/ 88057 h 104001"/>
                  <a:gd name="connsiteX23" fmla="*/ 31170 w 81370"/>
                  <a:gd name="connsiteY23" fmla="*/ 74375 h 104001"/>
                  <a:gd name="connsiteX24" fmla="*/ 39091 w 81370"/>
                  <a:gd name="connsiteY24" fmla="*/ 60693 h 104001"/>
                  <a:gd name="connsiteX25" fmla="*/ 54933 w 81370"/>
                  <a:gd name="connsiteY25" fmla="*/ 60693 h 104001"/>
                  <a:gd name="connsiteX26" fmla="*/ 62854 w 81370"/>
                  <a:gd name="connsiteY26" fmla="*/ 74375 h 104001"/>
                  <a:gd name="connsiteX27" fmla="*/ 54933 w 81370"/>
                  <a:gd name="connsiteY27" fmla="*/ 88057 h 10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370" h="104001">
                    <a:moveTo>
                      <a:pt x="68614" y="52772"/>
                    </a:moveTo>
                    <a:lnTo>
                      <a:pt x="63882" y="44851"/>
                    </a:lnTo>
                    <a:lnTo>
                      <a:pt x="55447" y="44851"/>
                    </a:lnTo>
                    <a:lnTo>
                      <a:pt x="55447" y="26438"/>
                    </a:lnTo>
                    <a:lnTo>
                      <a:pt x="0" y="0"/>
                    </a:lnTo>
                    <a:lnTo>
                      <a:pt x="0" y="17591"/>
                    </a:lnTo>
                    <a:lnTo>
                      <a:pt x="39605" y="36519"/>
                    </a:lnTo>
                    <a:lnTo>
                      <a:pt x="39605" y="44954"/>
                    </a:lnTo>
                    <a:lnTo>
                      <a:pt x="30141" y="44954"/>
                    </a:lnTo>
                    <a:lnTo>
                      <a:pt x="25409" y="52875"/>
                    </a:lnTo>
                    <a:lnTo>
                      <a:pt x="17488" y="66557"/>
                    </a:lnTo>
                    <a:lnTo>
                      <a:pt x="12756" y="74478"/>
                    </a:lnTo>
                    <a:lnTo>
                      <a:pt x="17488" y="82399"/>
                    </a:lnTo>
                    <a:lnTo>
                      <a:pt x="25409" y="96081"/>
                    </a:lnTo>
                    <a:lnTo>
                      <a:pt x="30141" y="104002"/>
                    </a:lnTo>
                    <a:lnTo>
                      <a:pt x="63985" y="104002"/>
                    </a:lnTo>
                    <a:lnTo>
                      <a:pt x="68717" y="96081"/>
                    </a:lnTo>
                    <a:lnTo>
                      <a:pt x="76638" y="82399"/>
                    </a:lnTo>
                    <a:lnTo>
                      <a:pt x="81370" y="74478"/>
                    </a:lnTo>
                    <a:lnTo>
                      <a:pt x="76638" y="66557"/>
                    </a:lnTo>
                    <a:lnTo>
                      <a:pt x="68717" y="52875"/>
                    </a:lnTo>
                    <a:close/>
                    <a:moveTo>
                      <a:pt x="54933" y="88057"/>
                    </a:moveTo>
                    <a:lnTo>
                      <a:pt x="39091" y="88057"/>
                    </a:lnTo>
                    <a:lnTo>
                      <a:pt x="31170" y="74375"/>
                    </a:lnTo>
                    <a:lnTo>
                      <a:pt x="39091" y="60693"/>
                    </a:lnTo>
                    <a:lnTo>
                      <a:pt x="54933" y="60693"/>
                    </a:lnTo>
                    <a:lnTo>
                      <a:pt x="62854" y="74375"/>
                    </a:lnTo>
                    <a:lnTo>
                      <a:pt x="54933" y="88057"/>
                    </a:lnTo>
                    <a:close/>
                  </a:path>
                </a:pathLst>
              </a:custGeom>
              <a:solidFill>
                <a:srgbClr val="40AA1D"/>
              </a:solidFill>
              <a:ln w="10150" cap="flat">
                <a:noFill/>
                <a:prstDash val="solid"/>
                <a:miter/>
              </a:ln>
            </p:spPr>
            <p:txBody>
              <a:bodyPr rtlCol="0" anchor="ctr"/>
              <a:lstStyle/>
              <a:p>
                <a:endParaRPr lang="en-US" dirty="0"/>
              </a:p>
            </p:txBody>
          </p:sp>
          <p:sp>
            <p:nvSpPr>
              <p:cNvPr id="632" name="Freeform: Shape 631">
                <a:extLst>
                  <a:ext uri="{FF2B5EF4-FFF2-40B4-BE49-F238E27FC236}">
                    <a16:creationId xmlns:a16="http://schemas.microsoft.com/office/drawing/2014/main" id="{9A559BB1-5B89-C5C8-0C45-2CCFB1CFC628}"/>
                  </a:ext>
                </a:extLst>
              </p:cNvPr>
              <p:cNvSpPr/>
              <p:nvPr/>
            </p:nvSpPr>
            <p:spPr>
              <a:xfrm>
                <a:off x="2518211" y="3936498"/>
                <a:ext cx="190618" cy="75918"/>
              </a:xfrm>
              <a:custGeom>
                <a:avLst/>
                <a:gdLst>
                  <a:gd name="connsiteX0" fmla="*/ 0 w 190618"/>
                  <a:gd name="connsiteY0" fmla="*/ 58327 h 75918"/>
                  <a:gd name="connsiteX1" fmla="*/ 0 w 190618"/>
                  <a:gd name="connsiteY1" fmla="*/ 75918 h 75918"/>
                  <a:gd name="connsiteX2" fmla="*/ 79210 w 190618"/>
                  <a:gd name="connsiteY2" fmla="*/ 37445 h 75918"/>
                  <a:gd name="connsiteX3" fmla="*/ 127250 w 190618"/>
                  <a:gd name="connsiteY3" fmla="*/ 37445 h 75918"/>
                  <a:gd name="connsiteX4" fmla="*/ 135171 w 190618"/>
                  <a:gd name="connsiteY4" fmla="*/ 51126 h 75918"/>
                  <a:gd name="connsiteX5" fmla="*/ 139903 w 190618"/>
                  <a:gd name="connsiteY5" fmla="*/ 59047 h 75918"/>
                  <a:gd name="connsiteX6" fmla="*/ 173747 w 190618"/>
                  <a:gd name="connsiteY6" fmla="*/ 59047 h 75918"/>
                  <a:gd name="connsiteX7" fmla="*/ 178479 w 190618"/>
                  <a:gd name="connsiteY7" fmla="*/ 51126 h 75918"/>
                  <a:gd name="connsiteX8" fmla="*/ 186400 w 190618"/>
                  <a:gd name="connsiteY8" fmla="*/ 37445 h 75918"/>
                  <a:gd name="connsiteX9" fmla="*/ 190618 w 190618"/>
                  <a:gd name="connsiteY9" fmla="*/ 29524 h 75918"/>
                  <a:gd name="connsiteX10" fmla="*/ 186400 w 190618"/>
                  <a:gd name="connsiteY10" fmla="*/ 21603 h 75918"/>
                  <a:gd name="connsiteX11" fmla="*/ 178479 w 190618"/>
                  <a:gd name="connsiteY11" fmla="*/ 7921 h 75918"/>
                  <a:gd name="connsiteX12" fmla="*/ 173747 w 190618"/>
                  <a:gd name="connsiteY12" fmla="*/ 0 h 75918"/>
                  <a:gd name="connsiteX13" fmla="*/ 139903 w 190618"/>
                  <a:gd name="connsiteY13" fmla="*/ 0 h 75918"/>
                  <a:gd name="connsiteX14" fmla="*/ 135171 w 190618"/>
                  <a:gd name="connsiteY14" fmla="*/ 7921 h 75918"/>
                  <a:gd name="connsiteX15" fmla="*/ 127250 w 190618"/>
                  <a:gd name="connsiteY15" fmla="*/ 21603 h 75918"/>
                  <a:gd name="connsiteX16" fmla="*/ 75507 w 190618"/>
                  <a:gd name="connsiteY16" fmla="*/ 21603 h 75918"/>
                  <a:gd name="connsiteX17" fmla="*/ 0 w 190618"/>
                  <a:gd name="connsiteY17" fmla="*/ 58327 h 75918"/>
                  <a:gd name="connsiteX18" fmla="*/ 148956 w 190618"/>
                  <a:gd name="connsiteY18" fmla="*/ 15739 h 75918"/>
                  <a:gd name="connsiteX19" fmla="*/ 164798 w 190618"/>
                  <a:gd name="connsiteY19" fmla="*/ 15739 h 75918"/>
                  <a:gd name="connsiteX20" fmla="*/ 172719 w 190618"/>
                  <a:gd name="connsiteY20" fmla="*/ 29421 h 75918"/>
                  <a:gd name="connsiteX21" fmla="*/ 164798 w 190618"/>
                  <a:gd name="connsiteY21" fmla="*/ 42588 h 75918"/>
                  <a:gd name="connsiteX22" fmla="*/ 148956 w 190618"/>
                  <a:gd name="connsiteY22" fmla="*/ 42588 h 75918"/>
                  <a:gd name="connsiteX23" fmla="*/ 141035 w 190618"/>
                  <a:gd name="connsiteY23" fmla="*/ 29421 h 75918"/>
                  <a:gd name="connsiteX24" fmla="*/ 148956 w 190618"/>
                  <a:gd name="connsiteY24" fmla="*/ 15739 h 75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618" h="75918">
                    <a:moveTo>
                      <a:pt x="0" y="58327"/>
                    </a:moveTo>
                    <a:lnTo>
                      <a:pt x="0" y="75918"/>
                    </a:lnTo>
                    <a:lnTo>
                      <a:pt x="79210" y="37445"/>
                    </a:lnTo>
                    <a:lnTo>
                      <a:pt x="127250" y="37445"/>
                    </a:lnTo>
                    <a:lnTo>
                      <a:pt x="135171" y="51126"/>
                    </a:lnTo>
                    <a:lnTo>
                      <a:pt x="139903" y="59047"/>
                    </a:lnTo>
                    <a:lnTo>
                      <a:pt x="173747" y="59047"/>
                    </a:lnTo>
                    <a:lnTo>
                      <a:pt x="178479" y="51126"/>
                    </a:lnTo>
                    <a:lnTo>
                      <a:pt x="186400" y="37445"/>
                    </a:lnTo>
                    <a:lnTo>
                      <a:pt x="190618" y="29524"/>
                    </a:lnTo>
                    <a:lnTo>
                      <a:pt x="186400" y="21603"/>
                    </a:lnTo>
                    <a:lnTo>
                      <a:pt x="178479" y="7921"/>
                    </a:lnTo>
                    <a:lnTo>
                      <a:pt x="173747" y="0"/>
                    </a:lnTo>
                    <a:lnTo>
                      <a:pt x="139903" y="0"/>
                    </a:lnTo>
                    <a:lnTo>
                      <a:pt x="135171" y="7921"/>
                    </a:lnTo>
                    <a:lnTo>
                      <a:pt x="127250" y="21603"/>
                    </a:lnTo>
                    <a:lnTo>
                      <a:pt x="75507" y="21603"/>
                    </a:lnTo>
                    <a:lnTo>
                      <a:pt x="0" y="58327"/>
                    </a:lnTo>
                    <a:close/>
                    <a:moveTo>
                      <a:pt x="148956" y="15739"/>
                    </a:moveTo>
                    <a:lnTo>
                      <a:pt x="164798" y="15739"/>
                    </a:lnTo>
                    <a:lnTo>
                      <a:pt x="172719" y="29421"/>
                    </a:lnTo>
                    <a:lnTo>
                      <a:pt x="164798" y="42588"/>
                    </a:lnTo>
                    <a:lnTo>
                      <a:pt x="148956" y="42588"/>
                    </a:lnTo>
                    <a:lnTo>
                      <a:pt x="141035" y="29421"/>
                    </a:lnTo>
                    <a:lnTo>
                      <a:pt x="148956" y="15739"/>
                    </a:lnTo>
                    <a:close/>
                  </a:path>
                </a:pathLst>
              </a:custGeom>
              <a:solidFill>
                <a:srgbClr val="40AA1D"/>
              </a:solidFill>
              <a:ln w="10150" cap="flat">
                <a:noFill/>
                <a:prstDash val="solid"/>
                <a:miter/>
              </a:ln>
            </p:spPr>
            <p:txBody>
              <a:bodyPr rtlCol="0" anchor="ctr"/>
              <a:lstStyle/>
              <a:p>
                <a:endParaRPr lang="en-US" dirty="0"/>
              </a:p>
            </p:txBody>
          </p:sp>
          <p:sp>
            <p:nvSpPr>
              <p:cNvPr id="633" name="Freeform: Shape 632">
                <a:extLst>
                  <a:ext uri="{FF2B5EF4-FFF2-40B4-BE49-F238E27FC236}">
                    <a16:creationId xmlns:a16="http://schemas.microsoft.com/office/drawing/2014/main" id="{3039630B-6F1D-3470-18FF-4961D1C8AE52}"/>
                  </a:ext>
                </a:extLst>
              </p:cNvPr>
              <p:cNvSpPr/>
              <p:nvPr/>
            </p:nvSpPr>
            <p:spPr>
              <a:xfrm>
                <a:off x="2518211" y="4067349"/>
                <a:ext cx="190618" cy="75712"/>
              </a:xfrm>
              <a:custGeom>
                <a:avLst/>
                <a:gdLst>
                  <a:gd name="connsiteX0" fmla="*/ 178479 w 190618"/>
                  <a:gd name="connsiteY0" fmla="*/ 25100 h 75712"/>
                  <a:gd name="connsiteX1" fmla="*/ 173747 w 190618"/>
                  <a:gd name="connsiteY1" fmla="*/ 17179 h 75712"/>
                  <a:gd name="connsiteX2" fmla="*/ 139903 w 190618"/>
                  <a:gd name="connsiteY2" fmla="*/ 17179 h 75712"/>
                  <a:gd name="connsiteX3" fmla="*/ 135171 w 190618"/>
                  <a:gd name="connsiteY3" fmla="*/ 25100 h 75712"/>
                  <a:gd name="connsiteX4" fmla="*/ 127250 w 190618"/>
                  <a:gd name="connsiteY4" fmla="*/ 38268 h 75712"/>
                  <a:gd name="connsiteX5" fmla="*/ 78696 w 190618"/>
                  <a:gd name="connsiteY5" fmla="*/ 38268 h 75712"/>
                  <a:gd name="connsiteX6" fmla="*/ 0 w 190618"/>
                  <a:gd name="connsiteY6" fmla="*/ 0 h 75712"/>
                  <a:gd name="connsiteX7" fmla="*/ 0 w 190618"/>
                  <a:gd name="connsiteY7" fmla="*/ 17591 h 75712"/>
                  <a:gd name="connsiteX8" fmla="*/ 74992 w 190618"/>
                  <a:gd name="connsiteY8" fmla="*/ 54110 h 75712"/>
                  <a:gd name="connsiteX9" fmla="*/ 127250 w 190618"/>
                  <a:gd name="connsiteY9" fmla="*/ 54110 h 75712"/>
                  <a:gd name="connsiteX10" fmla="*/ 135171 w 190618"/>
                  <a:gd name="connsiteY10" fmla="*/ 67791 h 75712"/>
                  <a:gd name="connsiteX11" fmla="*/ 139903 w 190618"/>
                  <a:gd name="connsiteY11" fmla="*/ 75712 h 75712"/>
                  <a:gd name="connsiteX12" fmla="*/ 173747 w 190618"/>
                  <a:gd name="connsiteY12" fmla="*/ 75712 h 75712"/>
                  <a:gd name="connsiteX13" fmla="*/ 178479 w 190618"/>
                  <a:gd name="connsiteY13" fmla="*/ 67791 h 75712"/>
                  <a:gd name="connsiteX14" fmla="*/ 186400 w 190618"/>
                  <a:gd name="connsiteY14" fmla="*/ 54110 h 75712"/>
                  <a:gd name="connsiteX15" fmla="*/ 190618 w 190618"/>
                  <a:gd name="connsiteY15" fmla="*/ 46189 h 75712"/>
                  <a:gd name="connsiteX16" fmla="*/ 186400 w 190618"/>
                  <a:gd name="connsiteY16" fmla="*/ 38268 h 75712"/>
                  <a:gd name="connsiteX17" fmla="*/ 178479 w 190618"/>
                  <a:gd name="connsiteY17" fmla="*/ 25100 h 75712"/>
                  <a:gd name="connsiteX18" fmla="*/ 164798 w 190618"/>
                  <a:gd name="connsiteY18" fmla="*/ 59973 h 75712"/>
                  <a:gd name="connsiteX19" fmla="*/ 148956 w 190618"/>
                  <a:gd name="connsiteY19" fmla="*/ 59973 h 75712"/>
                  <a:gd name="connsiteX20" fmla="*/ 141035 w 190618"/>
                  <a:gd name="connsiteY20" fmla="*/ 46292 h 75712"/>
                  <a:gd name="connsiteX21" fmla="*/ 148956 w 190618"/>
                  <a:gd name="connsiteY21" fmla="*/ 32610 h 75712"/>
                  <a:gd name="connsiteX22" fmla="*/ 164798 w 190618"/>
                  <a:gd name="connsiteY22" fmla="*/ 32610 h 75712"/>
                  <a:gd name="connsiteX23" fmla="*/ 172719 w 190618"/>
                  <a:gd name="connsiteY23" fmla="*/ 46292 h 75712"/>
                  <a:gd name="connsiteX24" fmla="*/ 164798 w 190618"/>
                  <a:gd name="connsiteY24" fmla="*/ 59973 h 7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618" h="75712">
                    <a:moveTo>
                      <a:pt x="178479" y="25100"/>
                    </a:moveTo>
                    <a:lnTo>
                      <a:pt x="173747" y="17179"/>
                    </a:lnTo>
                    <a:lnTo>
                      <a:pt x="139903" y="17179"/>
                    </a:lnTo>
                    <a:lnTo>
                      <a:pt x="135171" y="25100"/>
                    </a:lnTo>
                    <a:lnTo>
                      <a:pt x="127250" y="38268"/>
                    </a:lnTo>
                    <a:lnTo>
                      <a:pt x="78696" y="38268"/>
                    </a:lnTo>
                    <a:lnTo>
                      <a:pt x="0" y="0"/>
                    </a:lnTo>
                    <a:lnTo>
                      <a:pt x="0" y="17591"/>
                    </a:lnTo>
                    <a:lnTo>
                      <a:pt x="74992" y="54110"/>
                    </a:lnTo>
                    <a:lnTo>
                      <a:pt x="127250" y="54110"/>
                    </a:lnTo>
                    <a:lnTo>
                      <a:pt x="135171" y="67791"/>
                    </a:lnTo>
                    <a:lnTo>
                      <a:pt x="139903" y="75712"/>
                    </a:lnTo>
                    <a:lnTo>
                      <a:pt x="173747" y="75712"/>
                    </a:lnTo>
                    <a:lnTo>
                      <a:pt x="178479" y="67791"/>
                    </a:lnTo>
                    <a:lnTo>
                      <a:pt x="186400" y="54110"/>
                    </a:lnTo>
                    <a:lnTo>
                      <a:pt x="190618" y="46189"/>
                    </a:lnTo>
                    <a:lnTo>
                      <a:pt x="186400" y="38268"/>
                    </a:lnTo>
                    <a:lnTo>
                      <a:pt x="178479" y="25100"/>
                    </a:lnTo>
                    <a:close/>
                    <a:moveTo>
                      <a:pt x="164798" y="59973"/>
                    </a:moveTo>
                    <a:lnTo>
                      <a:pt x="148956" y="59973"/>
                    </a:lnTo>
                    <a:lnTo>
                      <a:pt x="141035" y="46292"/>
                    </a:lnTo>
                    <a:lnTo>
                      <a:pt x="148956" y="32610"/>
                    </a:lnTo>
                    <a:lnTo>
                      <a:pt x="164798" y="32610"/>
                    </a:lnTo>
                    <a:lnTo>
                      <a:pt x="172719" y="46292"/>
                    </a:lnTo>
                    <a:lnTo>
                      <a:pt x="164798" y="59973"/>
                    </a:lnTo>
                    <a:close/>
                  </a:path>
                </a:pathLst>
              </a:custGeom>
              <a:solidFill>
                <a:srgbClr val="40AA1D"/>
              </a:solidFill>
              <a:ln w="10150" cap="flat">
                <a:noFill/>
                <a:prstDash val="solid"/>
                <a:miter/>
              </a:ln>
            </p:spPr>
            <p:txBody>
              <a:bodyPr rtlCol="0" anchor="ctr"/>
              <a:lstStyle/>
              <a:p>
                <a:endParaRPr lang="en-US" dirty="0"/>
              </a:p>
            </p:txBody>
          </p:sp>
          <p:sp>
            <p:nvSpPr>
              <p:cNvPr id="634" name="Freeform: Shape 633">
                <a:extLst>
                  <a:ext uri="{FF2B5EF4-FFF2-40B4-BE49-F238E27FC236}">
                    <a16:creationId xmlns:a16="http://schemas.microsoft.com/office/drawing/2014/main" id="{F44C47A2-0C1A-67B0-0154-40EC7CA2D3DB}"/>
                  </a:ext>
                </a:extLst>
              </p:cNvPr>
              <p:cNvSpPr/>
              <p:nvPr/>
            </p:nvSpPr>
            <p:spPr>
              <a:xfrm>
                <a:off x="2518108" y="3874365"/>
                <a:ext cx="81267" cy="103898"/>
              </a:xfrm>
              <a:custGeom>
                <a:avLst/>
                <a:gdLst>
                  <a:gd name="connsiteX0" fmla="*/ 25409 w 81267"/>
                  <a:gd name="connsiteY0" fmla="*/ 51024 h 103898"/>
                  <a:gd name="connsiteX1" fmla="*/ 30141 w 81267"/>
                  <a:gd name="connsiteY1" fmla="*/ 58945 h 103898"/>
                  <a:gd name="connsiteX2" fmla="*/ 39605 w 81267"/>
                  <a:gd name="connsiteY2" fmla="*/ 58945 h 103898"/>
                  <a:gd name="connsiteX3" fmla="*/ 39605 w 81267"/>
                  <a:gd name="connsiteY3" fmla="*/ 67380 h 103898"/>
                  <a:gd name="connsiteX4" fmla="*/ 0 w 81267"/>
                  <a:gd name="connsiteY4" fmla="*/ 86308 h 103898"/>
                  <a:gd name="connsiteX5" fmla="*/ 0 w 81267"/>
                  <a:gd name="connsiteY5" fmla="*/ 103899 h 103898"/>
                  <a:gd name="connsiteX6" fmla="*/ 55447 w 81267"/>
                  <a:gd name="connsiteY6" fmla="*/ 77461 h 103898"/>
                  <a:gd name="connsiteX7" fmla="*/ 55447 w 81267"/>
                  <a:gd name="connsiteY7" fmla="*/ 59047 h 103898"/>
                  <a:gd name="connsiteX8" fmla="*/ 63882 w 81267"/>
                  <a:gd name="connsiteY8" fmla="*/ 59047 h 103898"/>
                  <a:gd name="connsiteX9" fmla="*/ 68614 w 81267"/>
                  <a:gd name="connsiteY9" fmla="*/ 51126 h 103898"/>
                  <a:gd name="connsiteX10" fmla="*/ 76535 w 81267"/>
                  <a:gd name="connsiteY10" fmla="*/ 37445 h 103898"/>
                  <a:gd name="connsiteX11" fmla="*/ 81267 w 81267"/>
                  <a:gd name="connsiteY11" fmla="*/ 29524 h 103898"/>
                  <a:gd name="connsiteX12" fmla="*/ 76535 w 81267"/>
                  <a:gd name="connsiteY12" fmla="*/ 21603 h 103898"/>
                  <a:gd name="connsiteX13" fmla="*/ 68614 w 81267"/>
                  <a:gd name="connsiteY13" fmla="*/ 7921 h 103898"/>
                  <a:gd name="connsiteX14" fmla="*/ 63882 w 81267"/>
                  <a:gd name="connsiteY14" fmla="*/ 0 h 103898"/>
                  <a:gd name="connsiteX15" fmla="*/ 30038 w 81267"/>
                  <a:gd name="connsiteY15" fmla="*/ 0 h 103898"/>
                  <a:gd name="connsiteX16" fmla="*/ 25306 w 81267"/>
                  <a:gd name="connsiteY16" fmla="*/ 7921 h 103898"/>
                  <a:gd name="connsiteX17" fmla="*/ 17385 w 81267"/>
                  <a:gd name="connsiteY17" fmla="*/ 21603 h 103898"/>
                  <a:gd name="connsiteX18" fmla="*/ 12653 w 81267"/>
                  <a:gd name="connsiteY18" fmla="*/ 29524 h 103898"/>
                  <a:gd name="connsiteX19" fmla="*/ 17385 w 81267"/>
                  <a:gd name="connsiteY19" fmla="*/ 37445 h 103898"/>
                  <a:gd name="connsiteX20" fmla="*/ 25306 w 81267"/>
                  <a:gd name="connsiteY20" fmla="*/ 51126 h 103898"/>
                  <a:gd name="connsiteX21" fmla="*/ 39193 w 81267"/>
                  <a:gd name="connsiteY21" fmla="*/ 15739 h 103898"/>
                  <a:gd name="connsiteX22" fmla="*/ 55035 w 81267"/>
                  <a:gd name="connsiteY22" fmla="*/ 15739 h 103898"/>
                  <a:gd name="connsiteX23" fmla="*/ 62956 w 81267"/>
                  <a:gd name="connsiteY23" fmla="*/ 29421 h 103898"/>
                  <a:gd name="connsiteX24" fmla="*/ 55035 w 81267"/>
                  <a:gd name="connsiteY24" fmla="*/ 43103 h 103898"/>
                  <a:gd name="connsiteX25" fmla="*/ 39193 w 81267"/>
                  <a:gd name="connsiteY25" fmla="*/ 43103 h 103898"/>
                  <a:gd name="connsiteX26" fmla="*/ 31272 w 81267"/>
                  <a:gd name="connsiteY26" fmla="*/ 29421 h 103898"/>
                  <a:gd name="connsiteX27" fmla="*/ 39193 w 81267"/>
                  <a:gd name="connsiteY27" fmla="*/ 15739 h 10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267" h="103898">
                    <a:moveTo>
                      <a:pt x="25409" y="51024"/>
                    </a:moveTo>
                    <a:lnTo>
                      <a:pt x="30141" y="58945"/>
                    </a:lnTo>
                    <a:lnTo>
                      <a:pt x="39605" y="58945"/>
                    </a:lnTo>
                    <a:lnTo>
                      <a:pt x="39605" y="67380"/>
                    </a:lnTo>
                    <a:lnTo>
                      <a:pt x="0" y="86308"/>
                    </a:lnTo>
                    <a:lnTo>
                      <a:pt x="0" y="103899"/>
                    </a:lnTo>
                    <a:lnTo>
                      <a:pt x="55447" y="77461"/>
                    </a:lnTo>
                    <a:lnTo>
                      <a:pt x="55447" y="59047"/>
                    </a:lnTo>
                    <a:lnTo>
                      <a:pt x="63882" y="59047"/>
                    </a:lnTo>
                    <a:lnTo>
                      <a:pt x="68614" y="51126"/>
                    </a:lnTo>
                    <a:lnTo>
                      <a:pt x="76535" y="37445"/>
                    </a:lnTo>
                    <a:lnTo>
                      <a:pt x="81267" y="29524"/>
                    </a:lnTo>
                    <a:lnTo>
                      <a:pt x="76535" y="21603"/>
                    </a:lnTo>
                    <a:lnTo>
                      <a:pt x="68614" y="7921"/>
                    </a:lnTo>
                    <a:lnTo>
                      <a:pt x="63882" y="0"/>
                    </a:lnTo>
                    <a:lnTo>
                      <a:pt x="30038" y="0"/>
                    </a:lnTo>
                    <a:lnTo>
                      <a:pt x="25306" y="7921"/>
                    </a:lnTo>
                    <a:lnTo>
                      <a:pt x="17385" y="21603"/>
                    </a:lnTo>
                    <a:lnTo>
                      <a:pt x="12653" y="29524"/>
                    </a:lnTo>
                    <a:lnTo>
                      <a:pt x="17385" y="37445"/>
                    </a:lnTo>
                    <a:lnTo>
                      <a:pt x="25306" y="51126"/>
                    </a:lnTo>
                    <a:close/>
                    <a:moveTo>
                      <a:pt x="39193" y="15739"/>
                    </a:moveTo>
                    <a:lnTo>
                      <a:pt x="55035" y="15739"/>
                    </a:lnTo>
                    <a:lnTo>
                      <a:pt x="62956" y="29421"/>
                    </a:lnTo>
                    <a:lnTo>
                      <a:pt x="55035" y="43103"/>
                    </a:lnTo>
                    <a:lnTo>
                      <a:pt x="39193" y="43103"/>
                    </a:lnTo>
                    <a:lnTo>
                      <a:pt x="31272" y="29421"/>
                    </a:lnTo>
                    <a:lnTo>
                      <a:pt x="39193" y="15739"/>
                    </a:lnTo>
                    <a:close/>
                  </a:path>
                </a:pathLst>
              </a:custGeom>
              <a:solidFill>
                <a:srgbClr val="40AA1D"/>
              </a:solidFill>
              <a:ln w="10150" cap="flat">
                <a:noFill/>
                <a:prstDash val="solid"/>
                <a:miter/>
              </a:ln>
            </p:spPr>
            <p:txBody>
              <a:bodyPr rtlCol="0" anchor="ctr"/>
              <a:lstStyle/>
              <a:p>
                <a:endParaRPr lang="en-US" dirty="0"/>
              </a:p>
            </p:txBody>
          </p:sp>
          <p:sp>
            <p:nvSpPr>
              <p:cNvPr id="635" name="Freeform: Shape 634">
                <a:extLst>
                  <a:ext uri="{FF2B5EF4-FFF2-40B4-BE49-F238E27FC236}">
                    <a16:creationId xmlns:a16="http://schemas.microsoft.com/office/drawing/2014/main" id="{CF27434A-284E-FCBD-682F-BB58A68C013F}"/>
                  </a:ext>
                </a:extLst>
              </p:cNvPr>
              <p:cNvSpPr/>
              <p:nvPr/>
            </p:nvSpPr>
            <p:spPr>
              <a:xfrm>
                <a:off x="2518211" y="4010770"/>
                <a:ext cx="128793" cy="59047"/>
              </a:xfrm>
              <a:custGeom>
                <a:avLst/>
                <a:gdLst>
                  <a:gd name="connsiteX0" fmla="*/ 72832 w 128793"/>
                  <a:gd name="connsiteY0" fmla="*/ 51126 h 59047"/>
                  <a:gd name="connsiteX1" fmla="*/ 77564 w 128793"/>
                  <a:gd name="connsiteY1" fmla="*/ 59047 h 59047"/>
                  <a:gd name="connsiteX2" fmla="*/ 111408 w 128793"/>
                  <a:gd name="connsiteY2" fmla="*/ 59047 h 59047"/>
                  <a:gd name="connsiteX3" fmla="*/ 116140 w 128793"/>
                  <a:gd name="connsiteY3" fmla="*/ 51126 h 59047"/>
                  <a:gd name="connsiteX4" fmla="*/ 124061 w 128793"/>
                  <a:gd name="connsiteY4" fmla="*/ 37445 h 59047"/>
                  <a:gd name="connsiteX5" fmla="*/ 128793 w 128793"/>
                  <a:gd name="connsiteY5" fmla="*/ 29524 h 59047"/>
                  <a:gd name="connsiteX6" fmla="*/ 123547 w 128793"/>
                  <a:gd name="connsiteY6" fmla="*/ 21603 h 59047"/>
                  <a:gd name="connsiteX7" fmla="*/ 115626 w 128793"/>
                  <a:gd name="connsiteY7" fmla="*/ 7921 h 59047"/>
                  <a:gd name="connsiteX8" fmla="*/ 111408 w 128793"/>
                  <a:gd name="connsiteY8" fmla="*/ 0 h 59047"/>
                  <a:gd name="connsiteX9" fmla="*/ 77564 w 128793"/>
                  <a:gd name="connsiteY9" fmla="*/ 0 h 59047"/>
                  <a:gd name="connsiteX10" fmla="*/ 72832 w 128793"/>
                  <a:gd name="connsiteY10" fmla="*/ 7921 h 59047"/>
                  <a:gd name="connsiteX11" fmla="*/ 64911 w 128793"/>
                  <a:gd name="connsiteY11" fmla="*/ 21603 h 59047"/>
                  <a:gd name="connsiteX12" fmla="*/ 0 w 128793"/>
                  <a:gd name="connsiteY12" fmla="*/ 21603 h 59047"/>
                  <a:gd name="connsiteX13" fmla="*/ 0 w 128793"/>
                  <a:gd name="connsiteY13" fmla="*/ 37445 h 59047"/>
                  <a:gd name="connsiteX14" fmla="*/ 64911 w 128793"/>
                  <a:gd name="connsiteY14" fmla="*/ 37445 h 59047"/>
                  <a:gd name="connsiteX15" fmla="*/ 72832 w 128793"/>
                  <a:gd name="connsiteY15" fmla="*/ 51126 h 59047"/>
                  <a:gd name="connsiteX16" fmla="*/ 86102 w 128793"/>
                  <a:gd name="connsiteY16" fmla="*/ 15842 h 59047"/>
                  <a:gd name="connsiteX17" fmla="*/ 101944 w 128793"/>
                  <a:gd name="connsiteY17" fmla="*/ 15842 h 59047"/>
                  <a:gd name="connsiteX18" fmla="*/ 109865 w 128793"/>
                  <a:gd name="connsiteY18" fmla="*/ 29524 h 59047"/>
                  <a:gd name="connsiteX19" fmla="*/ 101944 w 128793"/>
                  <a:gd name="connsiteY19" fmla="*/ 43205 h 59047"/>
                  <a:gd name="connsiteX20" fmla="*/ 86102 w 128793"/>
                  <a:gd name="connsiteY20" fmla="*/ 43205 h 59047"/>
                  <a:gd name="connsiteX21" fmla="*/ 78181 w 128793"/>
                  <a:gd name="connsiteY21" fmla="*/ 29524 h 59047"/>
                  <a:gd name="connsiteX22" fmla="*/ 86102 w 128793"/>
                  <a:gd name="connsiteY22" fmla="*/ 15842 h 59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793" h="59047">
                    <a:moveTo>
                      <a:pt x="72832" y="51126"/>
                    </a:moveTo>
                    <a:lnTo>
                      <a:pt x="77564" y="59047"/>
                    </a:lnTo>
                    <a:lnTo>
                      <a:pt x="111408" y="59047"/>
                    </a:lnTo>
                    <a:lnTo>
                      <a:pt x="116140" y="51126"/>
                    </a:lnTo>
                    <a:lnTo>
                      <a:pt x="124061" y="37445"/>
                    </a:lnTo>
                    <a:lnTo>
                      <a:pt x="128793" y="29524"/>
                    </a:lnTo>
                    <a:lnTo>
                      <a:pt x="123547" y="21603"/>
                    </a:lnTo>
                    <a:lnTo>
                      <a:pt x="115626" y="7921"/>
                    </a:lnTo>
                    <a:lnTo>
                      <a:pt x="111408" y="0"/>
                    </a:lnTo>
                    <a:lnTo>
                      <a:pt x="77564" y="0"/>
                    </a:lnTo>
                    <a:lnTo>
                      <a:pt x="72832" y="7921"/>
                    </a:lnTo>
                    <a:lnTo>
                      <a:pt x="64911" y="21603"/>
                    </a:lnTo>
                    <a:lnTo>
                      <a:pt x="0" y="21603"/>
                    </a:lnTo>
                    <a:lnTo>
                      <a:pt x="0" y="37445"/>
                    </a:lnTo>
                    <a:lnTo>
                      <a:pt x="64911" y="37445"/>
                    </a:lnTo>
                    <a:lnTo>
                      <a:pt x="72832" y="51126"/>
                    </a:lnTo>
                    <a:close/>
                    <a:moveTo>
                      <a:pt x="86102" y="15842"/>
                    </a:moveTo>
                    <a:lnTo>
                      <a:pt x="101944" y="15842"/>
                    </a:lnTo>
                    <a:lnTo>
                      <a:pt x="109865" y="29524"/>
                    </a:lnTo>
                    <a:lnTo>
                      <a:pt x="101944" y="43205"/>
                    </a:lnTo>
                    <a:lnTo>
                      <a:pt x="86102" y="43205"/>
                    </a:lnTo>
                    <a:lnTo>
                      <a:pt x="78181" y="29524"/>
                    </a:lnTo>
                    <a:lnTo>
                      <a:pt x="86102" y="15842"/>
                    </a:lnTo>
                    <a:close/>
                  </a:path>
                </a:pathLst>
              </a:custGeom>
              <a:solidFill>
                <a:srgbClr val="40AA1D"/>
              </a:solidFill>
              <a:ln w="10150" cap="flat">
                <a:noFill/>
                <a:prstDash val="solid"/>
                <a:miter/>
              </a:ln>
            </p:spPr>
            <p:txBody>
              <a:bodyPr rtlCol="0" anchor="ctr"/>
              <a:lstStyle/>
              <a:p>
                <a:endParaRPr lang="en-US" dirty="0"/>
              </a:p>
            </p:txBody>
          </p:sp>
        </p:grpSp>
      </p:grpSp>
      <p:grpSp>
        <p:nvGrpSpPr>
          <p:cNvPr id="193" name="Group 192">
            <a:extLst>
              <a:ext uri="{FF2B5EF4-FFF2-40B4-BE49-F238E27FC236}">
                <a16:creationId xmlns:a16="http://schemas.microsoft.com/office/drawing/2014/main" id="{48EB7883-89B8-7E96-7B89-0EE80FEE3426}"/>
              </a:ext>
            </a:extLst>
          </p:cNvPr>
          <p:cNvGrpSpPr/>
          <p:nvPr/>
        </p:nvGrpSpPr>
        <p:grpSpPr>
          <a:xfrm>
            <a:off x="847772" y="3232714"/>
            <a:ext cx="627341" cy="658368"/>
            <a:chOff x="847772" y="3627572"/>
            <a:chExt cx="627341" cy="658368"/>
          </a:xfrm>
        </p:grpSpPr>
        <p:grpSp>
          <p:nvGrpSpPr>
            <p:cNvPr id="194" name="Group 193">
              <a:extLst>
                <a:ext uri="{FF2B5EF4-FFF2-40B4-BE49-F238E27FC236}">
                  <a16:creationId xmlns:a16="http://schemas.microsoft.com/office/drawing/2014/main" id="{2C642F5F-A7BD-E295-5EE8-E918076330DB}"/>
                </a:ext>
              </a:extLst>
            </p:cNvPr>
            <p:cNvGrpSpPr/>
            <p:nvPr/>
          </p:nvGrpSpPr>
          <p:grpSpPr>
            <a:xfrm>
              <a:off x="847772" y="3627572"/>
              <a:ext cx="627341" cy="658368"/>
              <a:chOff x="10139489" y="3676422"/>
              <a:chExt cx="527685" cy="553783"/>
            </a:xfrm>
            <a:solidFill>
              <a:schemeClr val="tx1"/>
            </a:solidFill>
          </p:grpSpPr>
          <p:sp>
            <p:nvSpPr>
              <p:cNvPr id="202" name="Freeform: Shape 201">
                <a:extLst>
                  <a:ext uri="{FF2B5EF4-FFF2-40B4-BE49-F238E27FC236}">
                    <a16:creationId xmlns:a16="http://schemas.microsoft.com/office/drawing/2014/main" id="{D8270770-4081-F2E8-AEB7-DAA16BB3885C}"/>
                  </a:ext>
                </a:extLst>
              </p:cNvPr>
              <p:cNvSpPr/>
              <p:nvPr/>
            </p:nvSpPr>
            <p:spPr>
              <a:xfrm>
                <a:off x="10150443" y="3676422"/>
                <a:ext cx="307276" cy="298704"/>
              </a:xfrm>
              <a:custGeom>
                <a:avLst/>
                <a:gdLst>
                  <a:gd name="connsiteX0" fmla="*/ 307086 w 307276"/>
                  <a:gd name="connsiteY0" fmla="*/ 66389 h 298704"/>
                  <a:gd name="connsiteX1" fmla="*/ 256604 w 307276"/>
                  <a:gd name="connsiteY1" fmla="*/ 0 h 298704"/>
                  <a:gd name="connsiteX2" fmla="*/ 250412 w 307276"/>
                  <a:gd name="connsiteY2" fmla="*/ 45815 h 298704"/>
                  <a:gd name="connsiteX3" fmla="*/ 102775 w 307276"/>
                  <a:gd name="connsiteY3" fmla="*/ 95726 h 298704"/>
                  <a:gd name="connsiteX4" fmla="*/ 2762 w 307276"/>
                  <a:gd name="connsiteY4" fmla="*/ 262414 h 298704"/>
                  <a:gd name="connsiteX5" fmla="*/ 0 w 307276"/>
                  <a:gd name="connsiteY5" fmla="*/ 298514 h 298704"/>
                  <a:gd name="connsiteX6" fmla="*/ 28575 w 307276"/>
                  <a:gd name="connsiteY6" fmla="*/ 298704 h 298704"/>
                  <a:gd name="connsiteX7" fmla="*/ 31051 w 307276"/>
                  <a:gd name="connsiteY7" fmla="*/ 266605 h 298704"/>
                  <a:gd name="connsiteX8" fmla="*/ 119825 w 307276"/>
                  <a:gd name="connsiteY8" fmla="*/ 118682 h 298704"/>
                  <a:gd name="connsiteX9" fmla="*/ 246602 w 307276"/>
                  <a:gd name="connsiteY9" fmla="*/ 74486 h 298704"/>
                  <a:gd name="connsiteX10" fmla="*/ 240887 w 307276"/>
                  <a:gd name="connsiteY10" fmla="*/ 116872 h 298704"/>
                  <a:gd name="connsiteX11" fmla="*/ 307277 w 307276"/>
                  <a:gd name="connsiteY11" fmla="*/ 66389 h 29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7276" h="298704">
                    <a:moveTo>
                      <a:pt x="307086" y="66389"/>
                    </a:moveTo>
                    <a:lnTo>
                      <a:pt x="256604" y="0"/>
                    </a:lnTo>
                    <a:lnTo>
                      <a:pt x="250412" y="45815"/>
                    </a:lnTo>
                    <a:cubicBezTo>
                      <a:pt x="197453" y="46387"/>
                      <a:pt x="146114" y="63532"/>
                      <a:pt x="102775" y="95726"/>
                    </a:cubicBezTo>
                    <a:cubicBezTo>
                      <a:pt x="48292" y="136112"/>
                      <a:pt x="12764" y="195263"/>
                      <a:pt x="2762" y="262414"/>
                    </a:cubicBezTo>
                    <a:cubicBezTo>
                      <a:pt x="952" y="274415"/>
                      <a:pt x="0" y="286512"/>
                      <a:pt x="0" y="298514"/>
                    </a:cubicBezTo>
                    <a:lnTo>
                      <a:pt x="28575" y="298704"/>
                    </a:lnTo>
                    <a:cubicBezTo>
                      <a:pt x="28575" y="288036"/>
                      <a:pt x="29432" y="277273"/>
                      <a:pt x="31051" y="266605"/>
                    </a:cubicBezTo>
                    <a:cubicBezTo>
                      <a:pt x="39910" y="207074"/>
                      <a:pt x="71437" y="154496"/>
                      <a:pt x="119825" y="118682"/>
                    </a:cubicBezTo>
                    <a:cubicBezTo>
                      <a:pt x="157163" y="91059"/>
                      <a:pt x="201073" y="75914"/>
                      <a:pt x="246602" y="74486"/>
                    </a:cubicBezTo>
                    <a:lnTo>
                      <a:pt x="240887" y="116872"/>
                    </a:lnTo>
                    <a:lnTo>
                      <a:pt x="307277" y="66389"/>
                    </a:lnTo>
                    <a:close/>
                  </a:path>
                </a:pathLst>
              </a:custGeom>
              <a:grpFill/>
              <a:ln w="9525" cap="flat">
                <a:noFill/>
                <a:prstDash val="solid"/>
                <a:miter/>
              </a:ln>
            </p:spPr>
            <p:txBody>
              <a:bodyPr rtlCol="0" anchor="ctr"/>
              <a:lstStyle/>
              <a:p>
                <a:endParaRPr lang="en-US" dirty="0"/>
              </a:p>
            </p:txBody>
          </p:sp>
          <p:sp>
            <p:nvSpPr>
              <p:cNvPr id="203" name="Freeform: Shape 202">
                <a:extLst>
                  <a:ext uri="{FF2B5EF4-FFF2-40B4-BE49-F238E27FC236}">
                    <a16:creationId xmlns:a16="http://schemas.microsoft.com/office/drawing/2014/main" id="{AB6402A2-7461-CAC7-2DF1-286D22868EEF}"/>
                  </a:ext>
                </a:extLst>
              </p:cNvPr>
              <p:cNvSpPr/>
              <p:nvPr/>
            </p:nvSpPr>
            <p:spPr>
              <a:xfrm>
                <a:off x="10514203" y="3754336"/>
                <a:ext cx="152971" cy="387953"/>
              </a:xfrm>
              <a:custGeom>
                <a:avLst/>
                <a:gdLst>
                  <a:gd name="connsiteX0" fmla="*/ 111823 w 152971"/>
                  <a:gd name="connsiteY0" fmla="*/ 345662 h 387953"/>
                  <a:gd name="connsiteX1" fmla="*/ 141351 w 152971"/>
                  <a:gd name="connsiteY1" fmla="*/ 259271 h 387953"/>
                  <a:gd name="connsiteX2" fmla="*/ 13906 w 152971"/>
                  <a:gd name="connsiteY2" fmla="*/ 0 h 387953"/>
                  <a:gd name="connsiteX3" fmla="*/ 0 w 152971"/>
                  <a:gd name="connsiteY3" fmla="*/ 24955 h 387953"/>
                  <a:gd name="connsiteX4" fmla="*/ 113062 w 152971"/>
                  <a:gd name="connsiteY4" fmla="*/ 255079 h 387953"/>
                  <a:gd name="connsiteX5" fmla="*/ 89725 w 152971"/>
                  <a:gd name="connsiteY5" fmla="*/ 326612 h 387953"/>
                  <a:gd name="connsiteX6" fmla="*/ 53340 w 152971"/>
                  <a:gd name="connsiteY6" fmla="*/ 295275 h 387953"/>
                  <a:gd name="connsiteX7" fmla="*/ 60293 w 152971"/>
                  <a:gd name="connsiteY7" fmla="*/ 387953 h 387953"/>
                  <a:gd name="connsiteX8" fmla="*/ 152971 w 152971"/>
                  <a:gd name="connsiteY8" fmla="*/ 381000 h 387953"/>
                  <a:gd name="connsiteX9" fmla="*/ 111823 w 152971"/>
                  <a:gd name="connsiteY9" fmla="*/ 345567 h 3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971" h="387953">
                    <a:moveTo>
                      <a:pt x="111823" y="345662"/>
                    </a:moveTo>
                    <a:cubicBezTo>
                      <a:pt x="126682" y="318992"/>
                      <a:pt x="136779" y="289846"/>
                      <a:pt x="141351" y="259271"/>
                    </a:cubicBezTo>
                    <a:cubicBezTo>
                      <a:pt x="156781" y="155353"/>
                      <a:pt x="105632" y="51149"/>
                      <a:pt x="13906" y="0"/>
                    </a:cubicBezTo>
                    <a:lnTo>
                      <a:pt x="0" y="24955"/>
                    </a:lnTo>
                    <a:cubicBezTo>
                      <a:pt x="81343" y="70390"/>
                      <a:pt x="126873" y="162878"/>
                      <a:pt x="113062" y="255079"/>
                    </a:cubicBezTo>
                    <a:cubicBezTo>
                      <a:pt x="109347" y="280225"/>
                      <a:pt x="101346" y="304419"/>
                      <a:pt x="89725" y="326612"/>
                    </a:cubicBezTo>
                    <a:lnTo>
                      <a:pt x="53340" y="295275"/>
                    </a:lnTo>
                    <a:lnTo>
                      <a:pt x="60293" y="387953"/>
                    </a:lnTo>
                    <a:lnTo>
                      <a:pt x="152971" y="381000"/>
                    </a:lnTo>
                    <a:lnTo>
                      <a:pt x="111823" y="345567"/>
                    </a:lnTo>
                    <a:close/>
                  </a:path>
                </a:pathLst>
              </a:custGeom>
              <a:grpFill/>
              <a:ln w="9525" cap="flat">
                <a:noFill/>
                <a:prstDash val="solid"/>
                <a:miter/>
              </a:ln>
            </p:spPr>
            <p:txBody>
              <a:bodyPr rtlCol="0" anchor="ctr"/>
              <a:lstStyle/>
              <a:p>
                <a:endParaRPr lang="en-US" dirty="0"/>
              </a:p>
            </p:txBody>
          </p:sp>
          <p:sp>
            <p:nvSpPr>
              <p:cNvPr id="204" name="Freeform: Shape 203">
                <a:extLst>
                  <a:ext uri="{FF2B5EF4-FFF2-40B4-BE49-F238E27FC236}">
                    <a16:creationId xmlns:a16="http://schemas.microsoft.com/office/drawing/2014/main" id="{DAA7EE93-A8DF-76CA-ED4A-6460E00C45D3}"/>
                  </a:ext>
                </a:extLst>
              </p:cNvPr>
              <p:cNvSpPr/>
              <p:nvPr/>
            </p:nvSpPr>
            <p:spPr>
              <a:xfrm>
                <a:off x="10139489" y="4042658"/>
                <a:ext cx="397382" cy="187547"/>
              </a:xfrm>
              <a:custGeom>
                <a:avLst/>
                <a:gdLst>
                  <a:gd name="connsiteX0" fmla="*/ 382429 w 397382"/>
                  <a:gd name="connsiteY0" fmla="*/ 125825 h 187547"/>
                  <a:gd name="connsiteX1" fmla="*/ 231553 w 397382"/>
                  <a:gd name="connsiteY1" fmla="*/ 156496 h 187547"/>
                  <a:gd name="connsiteX2" fmla="*/ 72771 w 397382"/>
                  <a:gd name="connsiteY2" fmla="*/ 51530 h 187547"/>
                  <a:gd name="connsiteX3" fmla="*/ 116014 w 397382"/>
                  <a:gd name="connsiteY3" fmla="*/ 32766 h 187547"/>
                  <a:gd name="connsiteX4" fmla="*/ 32766 w 397382"/>
                  <a:gd name="connsiteY4" fmla="*/ 0 h 187547"/>
                  <a:gd name="connsiteX5" fmla="*/ 0 w 397382"/>
                  <a:gd name="connsiteY5" fmla="*/ 83248 h 187547"/>
                  <a:gd name="connsiteX6" fmla="*/ 46387 w 397382"/>
                  <a:gd name="connsiteY6" fmla="*/ 63055 h 187547"/>
                  <a:gd name="connsiteX7" fmla="*/ 227362 w 397382"/>
                  <a:gd name="connsiteY7" fmla="*/ 184785 h 187547"/>
                  <a:gd name="connsiteX8" fmla="*/ 264700 w 397382"/>
                  <a:gd name="connsiteY8" fmla="*/ 187547 h 187547"/>
                  <a:gd name="connsiteX9" fmla="*/ 397383 w 397382"/>
                  <a:gd name="connsiteY9" fmla="*/ 150209 h 187547"/>
                  <a:gd name="connsiteX10" fmla="*/ 382429 w 397382"/>
                  <a:gd name="connsiteY10" fmla="*/ 125825 h 187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7382" h="187547">
                    <a:moveTo>
                      <a:pt x="382429" y="125825"/>
                    </a:moveTo>
                    <a:cubicBezTo>
                      <a:pt x="337471" y="153448"/>
                      <a:pt x="283845" y="164306"/>
                      <a:pt x="231553" y="156496"/>
                    </a:cubicBezTo>
                    <a:cubicBezTo>
                      <a:pt x="165164" y="146590"/>
                      <a:pt x="107347" y="107632"/>
                      <a:pt x="72771" y="51530"/>
                    </a:cubicBezTo>
                    <a:lnTo>
                      <a:pt x="116014" y="32766"/>
                    </a:lnTo>
                    <a:lnTo>
                      <a:pt x="32766" y="0"/>
                    </a:lnTo>
                    <a:lnTo>
                      <a:pt x="0" y="83248"/>
                    </a:lnTo>
                    <a:lnTo>
                      <a:pt x="46387" y="63055"/>
                    </a:lnTo>
                    <a:cubicBezTo>
                      <a:pt x="85058" y="128016"/>
                      <a:pt x="151162" y="173450"/>
                      <a:pt x="227362" y="184785"/>
                    </a:cubicBezTo>
                    <a:cubicBezTo>
                      <a:pt x="239744" y="186595"/>
                      <a:pt x="252222" y="187547"/>
                      <a:pt x="264700" y="187547"/>
                    </a:cubicBezTo>
                    <a:cubicBezTo>
                      <a:pt x="311277" y="187547"/>
                      <a:pt x="357378" y="174689"/>
                      <a:pt x="397383" y="150209"/>
                    </a:cubicBezTo>
                    <a:lnTo>
                      <a:pt x="382429" y="125825"/>
                    </a:lnTo>
                    <a:close/>
                  </a:path>
                </a:pathLst>
              </a:custGeom>
              <a:grpFill/>
              <a:ln w="9525" cap="flat">
                <a:noFill/>
                <a:prstDash val="solid"/>
                <a:miter/>
              </a:ln>
            </p:spPr>
            <p:txBody>
              <a:bodyPr rtlCol="0" anchor="ctr"/>
              <a:lstStyle/>
              <a:p>
                <a:endParaRPr lang="en-US" dirty="0"/>
              </a:p>
            </p:txBody>
          </p:sp>
        </p:grpSp>
        <p:sp>
          <p:nvSpPr>
            <p:cNvPr id="195" name="Freeform: Shape 194">
              <a:extLst>
                <a:ext uri="{FF2B5EF4-FFF2-40B4-BE49-F238E27FC236}">
                  <a16:creationId xmlns:a16="http://schemas.microsoft.com/office/drawing/2014/main" id="{21878F05-D874-5D17-51E1-D377C067AD6C}"/>
                </a:ext>
              </a:extLst>
            </p:cNvPr>
            <p:cNvSpPr>
              <a:spLocks noChangeAspect="1"/>
            </p:cNvSpPr>
            <p:nvPr/>
          </p:nvSpPr>
          <p:spPr>
            <a:xfrm>
              <a:off x="962500" y="3839760"/>
              <a:ext cx="206130" cy="237744"/>
            </a:xfrm>
            <a:custGeom>
              <a:avLst/>
              <a:gdLst>
                <a:gd name="connsiteX0" fmla="*/ 0 w 335356"/>
                <a:gd name="connsiteY0" fmla="*/ 96698 h 386791"/>
                <a:gd name="connsiteX1" fmla="*/ 0 w 335356"/>
                <a:gd name="connsiteY1" fmla="*/ 290093 h 386791"/>
                <a:gd name="connsiteX2" fmla="*/ 167678 w 335356"/>
                <a:gd name="connsiteY2" fmla="*/ 386791 h 386791"/>
                <a:gd name="connsiteX3" fmla="*/ 335356 w 335356"/>
                <a:gd name="connsiteY3" fmla="*/ 290093 h 386791"/>
                <a:gd name="connsiteX4" fmla="*/ 335356 w 335356"/>
                <a:gd name="connsiteY4" fmla="*/ 96698 h 386791"/>
                <a:gd name="connsiteX5" fmla="*/ 167678 w 335356"/>
                <a:gd name="connsiteY5" fmla="*/ 0 h 386791"/>
                <a:gd name="connsiteX6" fmla="*/ 0 w 335356"/>
                <a:gd name="connsiteY6" fmla="*/ 96698 h 386791"/>
                <a:gd name="connsiteX7" fmla="*/ 153276 w 335356"/>
                <a:gd name="connsiteY7" fmla="*/ 345643 h 386791"/>
                <a:gd name="connsiteX8" fmla="*/ 27775 w 335356"/>
                <a:gd name="connsiteY8" fmla="*/ 273634 h 386791"/>
                <a:gd name="connsiteX9" fmla="*/ 27775 w 335356"/>
                <a:gd name="connsiteY9" fmla="*/ 128588 h 386791"/>
                <a:gd name="connsiteX10" fmla="*/ 153276 w 335356"/>
                <a:gd name="connsiteY10" fmla="*/ 200597 h 386791"/>
                <a:gd name="connsiteX11" fmla="*/ 153276 w 335356"/>
                <a:gd name="connsiteY11" fmla="*/ 345643 h 386791"/>
                <a:gd name="connsiteX12" fmla="*/ 306553 w 335356"/>
                <a:gd name="connsiteY12" fmla="*/ 273634 h 386791"/>
                <a:gd name="connsiteX13" fmla="*/ 181051 w 335356"/>
                <a:gd name="connsiteY13" fmla="*/ 345643 h 386791"/>
                <a:gd name="connsiteX14" fmla="*/ 181051 w 335356"/>
                <a:gd name="connsiteY14" fmla="*/ 201625 h 386791"/>
                <a:gd name="connsiteX15" fmla="*/ 306553 w 335356"/>
                <a:gd name="connsiteY15" fmla="*/ 129616 h 386791"/>
                <a:gd name="connsiteX16" fmla="*/ 306553 w 335356"/>
                <a:gd name="connsiteY16" fmla="*/ 273634 h 386791"/>
                <a:gd name="connsiteX17" fmla="*/ 167678 w 335356"/>
                <a:gd name="connsiteY17" fmla="*/ 176936 h 386791"/>
                <a:gd name="connsiteX18" fmla="*/ 42177 w 335356"/>
                <a:gd name="connsiteY18" fmla="*/ 104927 h 386791"/>
                <a:gd name="connsiteX19" fmla="*/ 167678 w 335356"/>
                <a:gd name="connsiteY19" fmla="*/ 32918 h 386791"/>
                <a:gd name="connsiteX20" fmla="*/ 293180 w 335356"/>
                <a:gd name="connsiteY20" fmla="*/ 104927 h 386791"/>
                <a:gd name="connsiteX21" fmla="*/ 167678 w 335356"/>
                <a:gd name="connsiteY21" fmla="*/ 176936 h 386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35356" h="386791">
                  <a:moveTo>
                    <a:pt x="0" y="96698"/>
                  </a:moveTo>
                  <a:lnTo>
                    <a:pt x="0" y="290093"/>
                  </a:lnTo>
                  <a:lnTo>
                    <a:pt x="167678" y="386791"/>
                  </a:lnTo>
                  <a:lnTo>
                    <a:pt x="335356" y="290093"/>
                  </a:lnTo>
                  <a:lnTo>
                    <a:pt x="335356" y="96698"/>
                  </a:lnTo>
                  <a:lnTo>
                    <a:pt x="167678" y="0"/>
                  </a:lnTo>
                  <a:lnTo>
                    <a:pt x="0" y="96698"/>
                  </a:lnTo>
                  <a:close/>
                  <a:moveTo>
                    <a:pt x="153276" y="345643"/>
                  </a:moveTo>
                  <a:lnTo>
                    <a:pt x="27775" y="273634"/>
                  </a:lnTo>
                  <a:lnTo>
                    <a:pt x="27775" y="128588"/>
                  </a:lnTo>
                  <a:lnTo>
                    <a:pt x="153276" y="200597"/>
                  </a:lnTo>
                  <a:lnTo>
                    <a:pt x="153276" y="345643"/>
                  </a:lnTo>
                  <a:close/>
                  <a:moveTo>
                    <a:pt x="306553" y="273634"/>
                  </a:moveTo>
                  <a:lnTo>
                    <a:pt x="181051" y="345643"/>
                  </a:lnTo>
                  <a:lnTo>
                    <a:pt x="181051" y="201625"/>
                  </a:lnTo>
                  <a:lnTo>
                    <a:pt x="306553" y="129616"/>
                  </a:lnTo>
                  <a:lnTo>
                    <a:pt x="306553" y="273634"/>
                  </a:lnTo>
                  <a:close/>
                  <a:moveTo>
                    <a:pt x="167678" y="176936"/>
                  </a:moveTo>
                  <a:lnTo>
                    <a:pt x="42177" y="104927"/>
                  </a:lnTo>
                  <a:lnTo>
                    <a:pt x="167678" y="32918"/>
                  </a:lnTo>
                  <a:lnTo>
                    <a:pt x="293180" y="104927"/>
                  </a:lnTo>
                  <a:lnTo>
                    <a:pt x="167678" y="176936"/>
                  </a:lnTo>
                  <a:close/>
                </a:path>
              </a:pathLst>
            </a:custGeom>
            <a:solidFill>
              <a:schemeClr val="tx1"/>
            </a:solidFill>
            <a:ln w="10269" cap="flat">
              <a:noFill/>
              <a:prstDash val="solid"/>
              <a:miter/>
            </a:ln>
          </p:spPr>
          <p:txBody>
            <a:bodyPr rtlCol="0" anchor="ctr"/>
            <a:lstStyle/>
            <a:p>
              <a:endParaRPr lang="en-US" dirty="0"/>
            </a:p>
          </p:txBody>
        </p:sp>
        <p:grpSp>
          <p:nvGrpSpPr>
            <p:cNvPr id="196" name="Graphic 34">
              <a:extLst>
                <a:ext uri="{FF2B5EF4-FFF2-40B4-BE49-F238E27FC236}">
                  <a16:creationId xmlns:a16="http://schemas.microsoft.com/office/drawing/2014/main" id="{D2E84D25-2903-8069-AFAF-34CBC8C6FBAA}"/>
                </a:ext>
              </a:extLst>
            </p:cNvPr>
            <p:cNvGrpSpPr/>
            <p:nvPr/>
          </p:nvGrpSpPr>
          <p:grpSpPr>
            <a:xfrm>
              <a:off x="1189419" y="3787228"/>
              <a:ext cx="190720" cy="331035"/>
              <a:chOff x="2518108" y="3874365"/>
              <a:chExt cx="190720" cy="331035"/>
            </a:xfrm>
            <a:solidFill>
              <a:srgbClr val="40AA1D"/>
            </a:solidFill>
          </p:grpSpPr>
          <p:sp>
            <p:nvSpPr>
              <p:cNvPr id="197" name="Freeform: Shape 196">
                <a:extLst>
                  <a:ext uri="{FF2B5EF4-FFF2-40B4-BE49-F238E27FC236}">
                    <a16:creationId xmlns:a16="http://schemas.microsoft.com/office/drawing/2014/main" id="{865DC580-FB97-ABDC-5F4D-012AEDC1FCF1}"/>
                  </a:ext>
                </a:extLst>
              </p:cNvPr>
              <p:cNvSpPr/>
              <p:nvPr/>
            </p:nvSpPr>
            <p:spPr>
              <a:xfrm>
                <a:off x="2518211" y="4101399"/>
                <a:ext cx="81370" cy="104001"/>
              </a:xfrm>
              <a:custGeom>
                <a:avLst/>
                <a:gdLst>
                  <a:gd name="connsiteX0" fmla="*/ 68614 w 81370"/>
                  <a:gd name="connsiteY0" fmla="*/ 52772 h 104001"/>
                  <a:gd name="connsiteX1" fmla="*/ 63882 w 81370"/>
                  <a:gd name="connsiteY1" fmla="*/ 44851 h 104001"/>
                  <a:gd name="connsiteX2" fmla="*/ 55447 w 81370"/>
                  <a:gd name="connsiteY2" fmla="*/ 44851 h 104001"/>
                  <a:gd name="connsiteX3" fmla="*/ 55447 w 81370"/>
                  <a:gd name="connsiteY3" fmla="*/ 26438 h 104001"/>
                  <a:gd name="connsiteX4" fmla="*/ 0 w 81370"/>
                  <a:gd name="connsiteY4" fmla="*/ 0 h 104001"/>
                  <a:gd name="connsiteX5" fmla="*/ 0 w 81370"/>
                  <a:gd name="connsiteY5" fmla="*/ 17591 h 104001"/>
                  <a:gd name="connsiteX6" fmla="*/ 39605 w 81370"/>
                  <a:gd name="connsiteY6" fmla="*/ 36519 h 104001"/>
                  <a:gd name="connsiteX7" fmla="*/ 39605 w 81370"/>
                  <a:gd name="connsiteY7" fmla="*/ 44954 h 104001"/>
                  <a:gd name="connsiteX8" fmla="*/ 30141 w 81370"/>
                  <a:gd name="connsiteY8" fmla="*/ 44954 h 104001"/>
                  <a:gd name="connsiteX9" fmla="*/ 25409 w 81370"/>
                  <a:gd name="connsiteY9" fmla="*/ 52875 h 104001"/>
                  <a:gd name="connsiteX10" fmla="*/ 17488 w 81370"/>
                  <a:gd name="connsiteY10" fmla="*/ 66557 h 104001"/>
                  <a:gd name="connsiteX11" fmla="*/ 12756 w 81370"/>
                  <a:gd name="connsiteY11" fmla="*/ 74478 h 104001"/>
                  <a:gd name="connsiteX12" fmla="*/ 17488 w 81370"/>
                  <a:gd name="connsiteY12" fmla="*/ 82399 h 104001"/>
                  <a:gd name="connsiteX13" fmla="*/ 25409 w 81370"/>
                  <a:gd name="connsiteY13" fmla="*/ 96081 h 104001"/>
                  <a:gd name="connsiteX14" fmla="*/ 30141 w 81370"/>
                  <a:gd name="connsiteY14" fmla="*/ 104002 h 104001"/>
                  <a:gd name="connsiteX15" fmla="*/ 63985 w 81370"/>
                  <a:gd name="connsiteY15" fmla="*/ 104002 h 104001"/>
                  <a:gd name="connsiteX16" fmla="*/ 68717 w 81370"/>
                  <a:gd name="connsiteY16" fmla="*/ 96081 h 104001"/>
                  <a:gd name="connsiteX17" fmla="*/ 76638 w 81370"/>
                  <a:gd name="connsiteY17" fmla="*/ 82399 h 104001"/>
                  <a:gd name="connsiteX18" fmla="*/ 81370 w 81370"/>
                  <a:gd name="connsiteY18" fmla="*/ 74478 h 104001"/>
                  <a:gd name="connsiteX19" fmla="*/ 76638 w 81370"/>
                  <a:gd name="connsiteY19" fmla="*/ 66557 h 104001"/>
                  <a:gd name="connsiteX20" fmla="*/ 68717 w 81370"/>
                  <a:gd name="connsiteY20" fmla="*/ 52875 h 104001"/>
                  <a:gd name="connsiteX21" fmla="*/ 54933 w 81370"/>
                  <a:gd name="connsiteY21" fmla="*/ 88057 h 104001"/>
                  <a:gd name="connsiteX22" fmla="*/ 39091 w 81370"/>
                  <a:gd name="connsiteY22" fmla="*/ 88057 h 104001"/>
                  <a:gd name="connsiteX23" fmla="*/ 31170 w 81370"/>
                  <a:gd name="connsiteY23" fmla="*/ 74375 h 104001"/>
                  <a:gd name="connsiteX24" fmla="*/ 39091 w 81370"/>
                  <a:gd name="connsiteY24" fmla="*/ 60693 h 104001"/>
                  <a:gd name="connsiteX25" fmla="*/ 54933 w 81370"/>
                  <a:gd name="connsiteY25" fmla="*/ 60693 h 104001"/>
                  <a:gd name="connsiteX26" fmla="*/ 62854 w 81370"/>
                  <a:gd name="connsiteY26" fmla="*/ 74375 h 104001"/>
                  <a:gd name="connsiteX27" fmla="*/ 54933 w 81370"/>
                  <a:gd name="connsiteY27" fmla="*/ 88057 h 10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370" h="104001">
                    <a:moveTo>
                      <a:pt x="68614" y="52772"/>
                    </a:moveTo>
                    <a:lnTo>
                      <a:pt x="63882" y="44851"/>
                    </a:lnTo>
                    <a:lnTo>
                      <a:pt x="55447" y="44851"/>
                    </a:lnTo>
                    <a:lnTo>
                      <a:pt x="55447" y="26438"/>
                    </a:lnTo>
                    <a:lnTo>
                      <a:pt x="0" y="0"/>
                    </a:lnTo>
                    <a:lnTo>
                      <a:pt x="0" y="17591"/>
                    </a:lnTo>
                    <a:lnTo>
                      <a:pt x="39605" y="36519"/>
                    </a:lnTo>
                    <a:lnTo>
                      <a:pt x="39605" y="44954"/>
                    </a:lnTo>
                    <a:lnTo>
                      <a:pt x="30141" y="44954"/>
                    </a:lnTo>
                    <a:lnTo>
                      <a:pt x="25409" y="52875"/>
                    </a:lnTo>
                    <a:lnTo>
                      <a:pt x="17488" y="66557"/>
                    </a:lnTo>
                    <a:lnTo>
                      <a:pt x="12756" y="74478"/>
                    </a:lnTo>
                    <a:lnTo>
                      <a:pt x="17488" y="82399"/>
                    </a:lnTo>
                    <a:lnTo>
                      <a:pt x="25409" y="96081"/>
                    </a:lnTo>
                    <a:lnTo>
                      <a:pt x="30141" y="104002"/>
                    </a:lnTo>
                    <a:lnTo>
                      <a:pt x="63985" y="104002"/>
                    </a:lnTo>
                    <a:lnTo>
                      <a:pt x="68717" y="96081"/>
                    </a:lnTo>
                    <a:lnTo>
                      <a:pt x="76638" y="82399"/>
                    </a:lnTo>
                    <a:lnTo>
                      <a:pt x="81370" y="74478"/>
                    </a:lnTo>
                    <a:lnTo>
                      <a:pt x="76638" y="66557"/>
                    </a:lnTo>
                    <a:lnTo>
                      <a:pt x="68717" y="52875"/>
                    </a:lnTo>
                    <a:close/>
                    <a:moveTo>
                      <a:pt x="54933" y="88057"/>
                    </a:moveTo>
                    <a:lnTo>
                      <a:pt x="39091" y="88057"/>
                    </a:lnTo>
                    <a:lnTo>
                      <a:pt x="31170" y="74375"/>
                    </a:lnTo>
                    <a:lnTo>
                      <a:pt x="39091" y="60693"/>
                    </a:lnTo>
                    <a:lnTo>
                      <a:pt x="54933" y="60693"/>
                    </a:lnTo>
                    <a:lnTo>
                      <a:pt x="62854" y="74375"/>
                    </a:lnTo>
                    <a:lnTo>
                      <a:pt x="54933" y="88057"/>
                    </a:lnTo>
                    <a:close/>
                  </a:path>
                </a:pathLst>
              </a:custGeom>
              <a:solidFill>
                <a:srgbClr val="40AA1D"/>
              </a:solidFill>
              <a:ln w="10150" cap="flat">
                <a:noFill/>
                <a:prstDash val="solid"/>
                <a:miter/>
              </a:ln>
            </p:spPr>
            <p:txBody>
              <a:bodyPr rtlCol="0" anchor="ctr"/>
              <a:lstStyle/>
              <a:p>
                <a:endParaRPr lang="en-US" dirty="0"/>
              </a:p>
            </p:txBody>
          </p:sp>
          <p:sp>
            <p:nvSpPr>
              <p:cNvPr id="198" name="Freeform: Shape 197">
                <a:extLst>
                  <a:ext uri="{FF2B5EF4-FFF2-40B4-BE49-F238E27FC236}">
                    <a16:creationId xmlns:a16="http://schemas.microsoft.com/office/drawing/2014/main" id="{BA986548-739C-CA35-C10C-6A1ABA2AA475}"/>
                  </a:ext>
                </a:extLst>
              </p:cNvPr>
              <p:cNvSpPr/>
              <p:nvPr/>
            </p:nvSpPr>
            <p:spPr>
              <a:xfrm>
                <a:off x="2518211" y="3936498"/>
                <a:ext cx="190618" cy="75918"/>
              </a:xfrm>
              <a:custGeom>
                <a:avLst/>
                <a:gdLst>
                  <a:gd name="connsiteX0" fmla="*/ 0 w 190618"/>
                  <a:gd name="connsiteY0" fmla="*/ 58327 h 75918"/>
                  <a:gd name="connsiteX1" fmla="*/ 0 w 190618"/>
                  <a:gd name="connsiteY1" fmla="*/ 75918 h 75918"/>
                  <a:gd name="connsiteX2" fmla="*/ 79210 w 190618"/>
                  <a:gd name="connsiteY2" fmla="*/ 37445 h 75918"/>
                  <a:gd name="connsiteX3" fmla="*/ 127250 w 190618"/>
                  <a:gd name="connsiteY3" fmla="*/ 37445 h 75918"/>
                  <a:gd name="connsiteX4" fmla="*/ 135171 w 190618"/>
                  <a:gd name="connsiteY4" fmla="*/ 51126 h 75918"/>
                  <a:gd name="connsiteX5" fmla="*/ 139903 w 190618"/>
                  <a:gd name="connsiteY5" fmla="*/ 59047 h 75918"/>
                  <a:gd name="connsiteX6" fmla="*/ 173747 w 190618"/>
                  <a:gd name="connsiteY6" fmla="*/ 59047 h 75918"/>
                  <a:gd name="connsiteX7" fmla="*/ 178479 w 190618"/>
                  <a:gd name="connsiteY7" fmla="*/ 51126 h 75918"/>
                  <a:gd name="connsiteX8" fmla="*/ 186400 w 190618"/>
                  <a:gd name="connsiteY8" fmla="*/ 37445 h 75918"/>
                  <a:gd name="connsiteX9" fmla="*/ 190618 w 190618"/>
                  <a:gd name="connsiteY9" fmla="*/ 29524 h 75918"/>
                  <a:gd name="connsiteX10" fmla="*/ 186400 w 190618"/>
                  <a:gd name="connsiteY10" fmla="*/ 21603 h 75918"/>
                  <a:gd name="connsiteX11" fmla="*/ 178479 w 190618"/>
                  <a:gd name="connsiteY11" fmla="*/ 7921 h 75918"/>
                  <a:gd name="connsiteX12" fmla="*/ 173747 w 190618"/>
                  <a:gd name="connsiteY12" fmla="*/ 0 h 75918"/>
                  <a:gd name="connsiteX13" fmla="*/ 139903 w 190618"/>
                  <a:gd name="connsiteY13" fmla="*/ 0 h 75918"/>
                  <a:gd name="connsiteX14" fmla="*/ 135171 w 190618"/>
                  <a:gd name="connsiteY14" fmla="*/ 7921 h 75918"/>
                  <a:gd name="connsiteX15" fmla="*/ 127250 w 190618"/>
                  <a:gd name="connsiteY15" fmla="*/ 21603 h 75918"/>
                  <a:gd name="connsiteX16" fmla="*/ 75507 w 190618"/>
                  <a:gd name="connsiteY16" fmla="*/ 21603 h 75918"/>
                  <a:gd name="connsiteX17" fmla="*/ 0 w 190618"/>
                  <a:gd name="connsiteY17" fmla="*/ 58327 h 75918"/>
                  <a:gd name="connsiteX18" fmla="*/ 148956 w 190618"/>
                  <a:gd name="connsiteY18" fmla="*/ 15739 h 75918"/>
                  <a:gd name="connsiteX19" fmla="*/ 164798 w 190618"/>
                  <a:gd name="connsiteY19" fmla="*/ 15739 h 75918"/>
                  <a:gd name="connsiteX20" fmla="*/ 172719 w 190618"/>
                  <a:gd name="connsiteY20" fmla="*/ 29421 h 75918"/>
                  <a:gd name="connsiteX21" fmla="*/ 164798 w 190618"/>
                  <a:gd name="connsiteY21" fmla="*/ 42588 h 75918"/>
                  <a:gd name="connsiteX22" fmla="*/ 148956 w 190618"/>
                  <a:gd name="connsiteY22" fmla="*/ 42588 h 75918"/>
                  <a:gd name="connsiteX23" fmla="*/ 141035 w 190618"/>
                  <a:gd name="connsiteY23" fmla="*/ 29421 h 75918"/>
                  <a:gd name="connsiteX24" fmla="*/ 148956 w 190618"/>
                  <a:gd name="connsiteY24" fmla="*/ 15739 h 75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618" h="75918">
                    <a:moveTo>
                      <a:pt x="0" y="58327"/>
                    </a:moveTo>
                    <a:lnTo>
                      <a:pt x="0" y="75918"/>
                    </a:lnTo>
                    <a:lnTo>
                      <a:pt x="79210" y="37445"/>
                    </a:lnTo>
                    <a:lnTo>
                      <a:pt x="127250" y="37445"/>
                    </a:lnTo>
                    <a:lnTo>
                      <a:pt x="135171" y="51126"/>
                    </a:lnTo>
                    <a:lnTo>
                      <a:pt x="139903" y="59047"/>
                    </a:lnTo>
                    <a:lnTo>
                      <a:pt x="173747" y="59047"/>
                    </a:lnTo>
                    <a:lnTo>
                      <a:pt x="178479" y="51126"/>
                    </a:lnTo>
                    <a:lnTo>
                      <a:pt x="186400" y="37445"/>
                    </a:lnTo>
                    <a:lnTo>
                      <a:pt x="190618" y="29524"/>
                    </a:lnTo>
                    <a:lnTo>
                      <a:pt x="186400" y="21603"/>
                    </a:lnTo>
                    <a:lnTo>
                      <a:pt x="178479" y="7921"/>
                    </a:lnTo>
                    <a:lnTo>
                      <a:pt x="173747" y="0"/>
                    </a:lnTo>
                    <a:lnTo>
                      <a:pt x="139903" y="0"/>
                    </a:lnTo>
                    <a:lnTo>
                      <a:pt x="135171" y="7921"/>
                    </a:lnTo>
                    <a:lnTo>
                      <a:pt x="127250" y="21603"/>
                    </a:lnTo>
                    <a:lnTo>
                      <a:pt x="75507" y="21603"/>
                    </a:lnTo>
                    <a:lnTo>
                      <a:pt x="0" y="58327"/>
                    </a:lnTo>
                    <a:close/>
                    <a:moveTo>
                      <a:pt x="148956" y="15739"/>
                    </a:moveTo>
                    <a:lnTo>
                      <a:pt x="164798" y="15739"/>
                    </a:lnTo>
                    <a:lnTo>
                      <a:pt x="172719" y="29421"/>
                    </a:lnTo>
                    <a:lnTo>
                      <a:pt x="164798" y="42588"/>
                    </a:lnTo>
                    <a:lnTo>
                      <a:pt x="148956" y="42588"/>
                    </a:lnTo>
                    <a:lnTo>
                      <a:pt x="141035" y="29421"/>
                    </a:lnTo>
                    <a:lnTo>
                      <a:pt x="148956" y="15739"/>
                    </a:lnTo>
                    <a:close/>
                  </a:path>
                </a:pathLst>
              </a:custGeom>
              <a:solidFill>
                <a:srgbClr val="40AA1D"/>
              </a:solidFill>
              <a:ln w="10150" cap="flat">
                <a:noFill/>
                <a:prstDash val="solid"/>
                <a:miter/>
              </a:ln>
            </p:spPr>
            <p:txBody>
              <a:bodyPr rtlCol="0" anchor="ctr"/>
              <a:lstStyle/>
              <a:p>
                <a:endParaRPr lang="en-US" dirty="0"/>
              </a:p>
            </p:txBody>
          </p:sp>
          <p:sp>
            <p:nvSpPr>
              <p:cNvPr id="199" name="Freeform: Shape 198">
                <a:extLst>
                  <a:ext uri="{FF2B5EF4-FFF2-40B4-BE49-F238E27FC236}">
                    <a16:creationId xmlns:a16="http://schemas.microsoft.com/office/drawing/2014/main" id="{CCE372A2-3ADF-D5A6-0EC0-3591B29EC451}"/>
                  </a:ext>
                </a:extLst>
              </p:cNvPr>
              <p:cNvSpPr/>
              <p:nvPr/>
            </p:nvSpPr>
            <p:spPr>
              <a:xfrm>
                <a:off x="2518211" y="4067349"/>
                <a:ext cx="190618" cy="75712"/>
              </a:xfrm>
              <a:custGeom>
                <a:avLst/>
                <a:gdLst>
                  <a:gd name="connsiteX0" fmla="*/ 178479 w 190618"/>
                  <a:gd name="connsiteY0" fmla="*/ 25100 h 75712"/>
                  <a:gd name="connsiteX1" fmla="*/ 173747 w 190618"/>
                  <a:gd name="connsiteY1" fmla="*/ 17179 h 75712"/>
                  <a:gd name="connsiteX2" fmla="*/ 139903 w 190618"/>
                  <a:gd name="connsiteY2" fmla="*/ 17179 h 75712"/>
                  <a:gd name="connsiteX3" fmla="*/ 135171 w 190618"/>
                  <a:gd name="connsiteY3" fmla="*/ 25100 h 75712"/>
                  <a:gd name="connsiteX4" fmla="*/ 127250 w 190618"/>
                  <a:gd name="connsiteY4" fmla="*/ 38268 h 75712"/>
                  <a:gd name="connsiteX5" fmla="*/ 78696 w 190618"/>
                  <a:gd name="connsiteY5" fmla="*/ 38268 h 75712"/>
                  <a:gd name="connsiteX6" fmla="*/ 0 w 190618"/>
                  <a:gd name="connsiteY6" fmla="*/ 0 h 75712"/>
                  <a:gd name="connsiteX7" fmla="*/ 0 w 190618"/>
                  <a:gd name="connsiteY7" fmla="*/ 17591 h 75712"/>
                  <a:gd name="connsiteX8" fmla="*/ 74992 w 190618"/>
                  <a:gd name="connsiteY8" fmla="*/ 54110 h 75712"/>
                  <a:gd name="connsiteX9" fmla="*/ 127250 w 190618"/>
                  <a:gd name="connsiteY9" fmla="*/ 54110 h 75712"/>
                  <a:gd name="connsiteX10" fmla="*/ 135171 w 190618"/>
                  <a:gd name="connsiteY10" fmla="*/ 67791 h 75712"/>
                  <a:gd name="connsiteX11" fmla="*/ 139903 w 190618"/>
                  <a:gd name="connsiteY11" fmla="*/ 75712 h 75712"/>
                  <a:gd name="connsiteX12" fmla="*/ 173747 w 190618"/>
                  <a:gd name="connsiteY12" fmla="*/ 75712 h 75712"/>
                  <a:gd name="connsiteX13" fmla="*/ 178479 w 190618"/>
                  <a:gd name="connsiteY13" fmla="*/ 67791 h 75712"/>
                  <a:gd name="connsiteX14" fmla="*/ 186400 w 190618"/>
                  <a:gd name="connsiteY14" fmla="*/ 54110 h 75712"/>
                  <a:gd name="connsiteX15" fmla="*/ 190618 w 190618"/>
                  <a:gd name="connsiteY15" fmla="*/ 46189 h 75712"/>
                  <a:gd name="connsiteX16" fmla="*/ 186400 w 190618"/>
                  <a:gd name="connsiteY16" fmla="*/ 38268 h 75712"/>
                  <a:gd name="connsiteX17" fmla="*/ 178479 w 190618"/>
                  <a:gd name="connsiteY17" fmla="*/ 25100 h 75712"/>
                  <a:gd name="connsiteX18" fmla="*/ 164798 w 190618"/>
                  <a:gd name="connsiteY18" fmla="*/ 59973 h 75712"/>
                  <a:gd name="connsiteX19" fmla="*/ 148956 w 190618"/>
                  <a:gd name="connsiteY19" fmla="*/ 59973 h 75712"/>
                  <a:gd name="connsiteX20" fmla="*/ 141035 w 190618"/>
                  <a:gd name="connsiteY20" fmla="*/ 46292 h 75712"/>
                  <a:gd name="connsiteX21" fmla="*/ 148956 w 190618"/>
                  <a:gd name="connsiteY21" fmla="*/ 32610 h 75712"/>
                  <a:gd name="connsiteX22" fmla="*/ 164798 w 190618"/>
                  <a:gd name="connsiteY22" fmla="*/ 32610 h 75712"/>
                  <a:gd name="connsiteX23" fmla="*/ 172719 w 190618"/>
                  <a:gd name="connsiteY23" fmla="*/ 46292 h 75712"/>
                  <a:gd name="connsiteX24" fmla="*/ 164798 w 190618"/>
                  <a:gd name="connsiteY24" fmla="*/ 59973 h 7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618" h="75712">
                    <a:moveTo>
                      <a:pt x="178479" y="25100"/>
                    </a:moveTo>
                    <a:lnTo>
                      <a:pt x="173747" y="17179"/>
                    </a:lnTo>
                    <a:lnTo>
                      <a:pt x="139903" y="17179"/>
                    </a:lnTo>
                    <a:lnTo>
                      <a:pt x="135171" y="25100"/>
                    </a:lnTo>
                    <a:lnTo>
                      <a:pt x="127250" y="38268"/>
                    </a:lnTo>
                    <a:lnTo>
                      <a:pt x="78696" y="38268"/>
                    </a:lnTo>
                    <a:lnTo>
                      <a:pt x="0" y="0"/>
                    </a:lnTo>
                    <a:lnTo>
                      <a:pt x="0" y="17591"/>
                    </a:lnTo>
                    <a:lnTo>
                      <a:pt x="74992" y="54110"/>
                    </a:lnTo>
                    <a:lnTo>
                      <a:pt x="127250" y="54110"/>
                    </a:lnTo>
                    <a:lnTo>
                      <a:pt x="135171" y="67791"/>
                    </a:lnTo>
                    <a:lnTo>
                      <a:pt x="139903" y="75712"/>
                    </a:lnTo>
                    <a:lnTo>
                      <a:pt x="173747" y="75712"/>
                    </a:lnTo>
                    <a:lnTo>
                      <a:pt x="178479" y="67791"/>
                    </a:lnTo>
                    <a:lnTo>
                      <a:pt x="186400" y="54110"/>
                    </a:lnTo>
                    <a:lnTo>
                      <a:pt x="190618" y="46189"/>
                    </a:lnTo>
                    <a:lnTo>
                      <a:pt x="186400" y="38268"/>
                    </a:lnTo>
                    <a:lnTo>
                      <a:pt x="178479" y="25100"/>
                    </a:lnTo>
                    <a:close/>
                    <a:moveTo>
                      <a:pt x="164798" y="59973"/>
                    </a:moveTo>
                    <a:lnTo>
                      <a:pt x="148956" y="59973"/>
                    </a:lnTo>
                    <a:lnTo>
                      <a:pt x="141035" y="46292"/>
                    </a:lnTo>
                    <a:lnTo>
                      <a:pt x="148956" y="32610"/>
                    </a:lnTo>
                    <a:lnTo>
                      <a:pt x="164798" y="32610"/>
                    </a:lnTo>
                    <a:lnTo>
                      <a:pt x="172719" y="46292"/>
                    </a:lnTo>
                    <a:lnTo>
                      <a:pt x="164798" y="59973"/>
                    </a:lnTo>
                    <a:close/>
                  </a:path>
                </a:pathLst>
              </a:custGeom>
              <a:solidFill>
                <a:srgbClr val="40AA1D"/>
              </a:solidFill>
              <a:ln w="10150" cap="flat">
                <a:noFill/>
                <a:prstDash val="solid"/>
                <a:miter/>
              </a:ln>
            </p:spPr>
            <p:txBody>
              <a:bodyPr rtlCol="0" anchor="ctr"/>
              <a:lstStyle/>
              <a:p>
                <a:endParaRPr lang="en-US" dirty="0"/>
              </a:p>
            </p:txBody>
          </p:sp>
          <p:sp>
            <p:nvSpPr>
              <p:cNvPr id="200" name="Freeform: Shape 199">
                <a:extLst>
                  <a:ext uri="{FF2B5EF4-FFF2-40B4-BE49-F238E27FC236}">
                    <a16:creationId xmlns:a16="http://schemas.microsoft.com/office/drawing/2014/main" id="{F3C860F1-4673-39BB-8637-1F5B5670C006}"/>
                  </a:ext>
                </a:extLst>
              </p:cNvPr>
              <p:cNvSpPr/>
              <p:nvPr/>
            </p:nvSpPr>
            <p:spPr>
              <a:xfrm>
                <a:off x="2518108" y="3874365"/>
                <a:ext cx="81267" cy="103898"/>
              </a:xfrm>
              <a:custGeom>
                <a:avLst/>
                <a:gdLst>
                  <a:gd name="connsiteX0" fmla="*/ 25409 w 81267"/>
                  <a:gd name="connsiteY0" fmla="*/ 51024 h 103898"/>
                  <a:gd name="connsiteX1" fmla="*/ 30141 w 81267"/>
                  <a:gd name="connsiteY1" fmla="*/ 58945 h 103898"/>
                  <a:gd name="connsiteX2" fmla="*/ 39605 w 81267"/>
                  <a:gd name="connsiteY2" fmla="*/ 58945 h 103898"/>
                  <a:gd name="connsiteX3" fmla="*/ 39605 w 81267"/>
                  <a:gd name="connsiteY3" fmla="*/ 67380 h 103898"/>
                  <a:gd name="connsiteX4" fmla="*/ 0 w 81267"/>
                  <a:gd name="connsiteY4" fmla="*/ 86308 h 103898"/>
                  <a:gd name="connsiteX5" fmla="*/ 0 w 81267"/>
                  <a:gd name="connsiteY5" fmla="*/ 103899 h 103898"/>
                  <a:gd name="connsiteX6" fmla="*/ 55447 w 81267"/>
                  <a:gd name="connsiteY6" fmla="*/ 77461 h 103898"/>
                  <a:gd name="connsiteX7" fmla="*/ 55447 w 81267"/>
                  <a:gd name="connsiteY7" fmla="*/ 59047 h 103898"/>
                  <a:gd name="connsiteX8" fmla="*/ 63882 w 81267"/>
                  <a:gd name="connsiteY8" fmla="*/ 59047 h 103898"/>
                  <a:gd name="connsiteX9" fmla="*/ 68614 w 81267"/>
                  <a:gd name="connsiteY9" fmla="*/ 51126 h 103898"/>
                  <a:gd name="connsiteX10" fmla="*/ 76535 w 81267"/>
                  <a:gd name="connsiteY10" fmla="*/ 37445 h 103898"/>
                  <a:gd name="connsiteX11" fmla="*/ 81267 w 81267"/>
                  <a:gd name="connsiteY11" fmla="*/ 29524 h 103898"/>
                  <a:gd name="connsiteX12" fmla="*/ 76535 w 81267"/>
                  <a:gd name="connsiteY12" fmla="*/ 21603 h 103898"/>
                  <a:gd name="connsiteX13" fmla="*/ 68614 w 81267"/>
                  <a:gd name="connsiteY13" fmla="*/ 7921 h 103898"/>
                  <a:gd name="connsiteX14" fmla="*/ 63882 w 81267"/>
                  <a:gd name="connsiteY14" fmla="*/ 0 h 103898"/>
                  <a:gd name="connsiteX15" fmla="*/ 30038 w 81267"/>
                  <a:gd name="connsiteY15" fmla="*/ 0 h 103898"/>
                  <a:gd name="connsiteX16" fmla="*/ 25306 w 81267"/>
                  <a:gd name="connsiteY16" fmla="*/ 7921 h 103898"/>
                  <a:gd name="connsiteX17" fmla="*/ 17385 w 81267"/>
                  <a:gd name="connsiteY17" fmla="*/ 21603 h 103898"/>
                  <a:gd name="connsiteX18" fmla="*/ 12653 w 81267"/>
                  <a:gd name="connsiteY18" fmla="*/ 29524 h 103898"/>
                  <a:gd name="connsiteX19" fmla="*/ 17385 w 81267"/>
                  <a:gd name="connsiteY19" fmla="*/ 37445 h 103898"/>
                  <a:gd name="connsiteX20" fmla="*/ 25306 w 81267"/>
                  <a:gd name="connsiteY20" fmla="*/ 51126 h 103898"/>
                  <a:gd name="connsiteX21" fmla="*/ 39193 w 81267"/>
                  <a:gd name="connsiteY21" fmla="*/ 15739 h 103898"/>
                  <a:gd name="connsiteX22" fmla="*/ 55035 w 81267"/>
                  <a:gd name="connsiteY22" fmla="*/ 15739 h 103898"/>
                  <a:gd name="connsiteX23" fmla="*/ 62956 w 81267"/>
                  <a:gd name="connsiteY23" fmla="*/ 29421 h 103898"/>
                  <a:gd name="connsiteX24" fmla="*/ 55035 w 81267"/>
                  <a:gd name="connsiteY24" fmla="*/ 43103 h 103898"/>
                  <a:gd name="connsiteX25" fmla="*/ 39193 w 81267"/>
                  <a:gd name="connsiteY25" fmla="*/ 43103 h 103898"/>
                  <a:gd name="connsiteX26" fmla="*/ 31272 w 81267"/>
                  <a:gd name="connsiteY26" fmla="*/ 29421 h 103898"/>
                  <a:gd name="connsiteX27" fmla="*/ 39193 w 81267"/>
                  <a:gd name="connsiteY27" fmla="*/ 15739 h 10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267" h="103898">
                    <a:moveTo>
                      <a:pt x="25409" y="51024"/>
                    </a:moveTo>
                    <a:lnTo>
                      <a:pt x="30141" y="58945"/>
                    </a:lnTo>
                    <a:lnTo>
                      <a:pt x="39605" y="58945"/>
                    </a:lnTo>
                    <a:lnTo>
                      <a:pt x="39605" y="67380"/>
                    </a:lnTo>
                    <a:lnTo>
                      <a:pt x="0" y="86308"/>
                    </a:lnTo>
                    <a:lnTo>
                      <a:pt x="0" y="103899"/>
                    </a:lnTo>
                    <a:lnTo>
                      <a:pt x="55447" y="77461"/>
                    </a:lnTo>
                    <a:lnTo>
                      <a:pt x="55447" y="59047"/>
                    </a:lnTo>
                    <a:lnTo>
                      <a:pt x="63882" y="59047"/>
                    </a:lnTo>
                    <a:lnTo>
                      <a:pt x="68614" y="51126"/>
                    </a:lnTo>
                    <a:lnTo>
                      <a:pt x="76535" y="37445"/>
                    </a:lnTo>
                    <a:lnTo>
                      <a:pt x="81267" y="29524"/>
                    </a:lnTo>
                    <a:lnTo>
                      <a:pt x="76535" y="21603"/>
                    </a:lnTo>
                    <a:lnTo>
                      <a:pt x="68614" y="7921"/>
                    </a:lnTo>
                    <a:lnTo>
                      <a:pt x="63882" y="0"/>
                    </a:lnTo>
                    <a:lnTo>
                      <a:pt x="30038" y="0"/>
                    </a:lnTo>
                    <a:lnTo>
                      <a:pt x="25306" y="7921"/>
                    </a:lnTo>
                    <a:lnTo>
                      <a:pt x="17385" y="21603"/>
                    </a:lnTo>
                    <a:lnTo>
                      <a:pt x="12653" y="29524"/>
                    </a:lnTo>
                    <a:lnTo>
                      <a:pt x="17385" y="37445"/>
                    </a:lnTo>
                    <a:lnTo>
                      <a:pt x="25306" y="51126"/>
                    </a:lnTo>
                    <a:close/>
                    <a:moveTo>
                      <a:pt x="39193" y="15739"/>
                    </a:moveTo>
                    <a:lnTo>
                      <a:pt x="55035" y="15739"/>
                    </a:lnTo>
                    <a:lnTo>
                      <a:pt x="62956" y="29421"/>
                    </a:lnTo>
                    <a:lnTo>
                      <a:pt x="55035" y="43103"/>
                    </a:lnTo>
                    <a:lnTo>
                      <a:pt x="39193" y="43103"/>
                    </a:lnTo>
                    <a:lnTo>
                      <a:pt x="31272" y="29421"/>
                    </a:lnTo>
                    <a:lnTo>
                      <a:pt x="39193" y="15739"/>
                    </a:lnTo>
                    <a:close/>
                  </a:path>
                </a:pathLst>
              </a:custGeom>
              <a:solidFill>
                <a:srgbClr val="40AA1D"/>
              </a:solidFill>
              <a:ln w="10150" cap="flat">
                <a:noFill/>
                <a:prstDash val="solid"/>
                <a:miter/>
              </a:ln>
            </p:spPr>
            <p:txBody>
              <a:bodyPr rtlCol="0" anchor="ctr"/>
              <a:lstStyle/>
              <a:p>
                <a:endParaRPr lang="en-US" dirty="0"/>
              </a:p>
            </p:txBody>
          </p:sp>
          <p:sp>
            <p:nvSpPr>
              <p:cNvPr id="201" name="Freeform: Shape 200">
                <a:extLst>
                  <a:ext uri="{FF2B5EF4-FFF2-40B4-BE49-F238E27FC236}">
                    <a16:creationId xmlns:a16="http://schemas.microsoft.com/office/drawing/2014/main" id="{DD4B18FF-55AC-87ED-AAB1-23C108E4E1D2}"/>
                  </a:ext>
                </a:extLst>
              </p:cNvPr>
              <p:cNvSpPr/>
              <p:nvPr/>
            </p:nvSpPr>
            <p:spPr>
              <a:xfrm>
                <a:off x="2518211" y="4010770"/>
                <a:ext cx="128793" cy="59047"/>
              </a:xfrm>
              <a:custGeom>
                <a:avLst/>
                <a:gdLst>
                  <a:gd name="connsiteX0" fmla="*/ 72832 w 128793"/>
                  <a:gd name="connsiteY0" fmla="*/ 51126 h 59047"/>
                  <a:gd name="connsiteX1" fmla="*/ 77564 w 128793"/>
                  <a:gd name="connsiteY1" fmla="*/ 59047 h 59047"/>
                  <a:gd name="connsiteX2" fmla="*/ 111408 w 128793"/>
                  <a:gd name="connsiteY2" fmla="*/ 59047 h 59047"/>
                  <a:gd name="connsiteX3" fmla="*/ 116140 w 128793"/>
                  <a:gd name="connsiteY3" fmla="*/ 51126 h 59047"/>
                  <a:gd name="connsiteX4" fmla="*/ 124061 w 128793"/>
                  <a:gd name="connsiteY4" fmla="*/ 37445 h 59047"/>
                  <a:gd name="connsiteX5" fmla="*/ 128793 w 128793"/>
                  <a:gd name="connsiteY5" fmla="*/ 29524 h 59047"/>
                  <a:gd name="connsiteX6" fmla="*/ 123547 w 128793"/>
                  <a:gd name="connsiteY6" fmla="*/ 21603 h 59047"/>
                  <a:gd name="connsiteX7" fmla="*/ 115626 w 128793"/>
                  <a:gd name="connsiteY7" fmla="*/ 7921 h 59047"/>
                  <a:gd name="connsiteX8" fmla="*/ 111408 w 128793"/>
                  <a:gd name="connsiteY8" fmla="*/ 0 h 59047"/>
                  <a:gd name="connsiteX9" fmla="*/ 77564 w 128793"/>
                  <a:gd name="connsiteY9" fmla="*/ 0 h 59047"/>
                  <a:gd name="connsiteX10" fmla="*/ 72832 w 128793"/>
                  <a:gd name="connsiteY10" fmla="*/ 7921 h 59047"/>
                  <a:gd name="connsiteX11" fmla="*/ 64911 w 128793"/>
                  <a:gd name="connsiteY11" fmla="*/ 21603 h 59047"/>
                  <a:gd name="connsiteX12" fmla="*/ 0 w 128793"/>
                  <a:gd name="connsiteY12" fmla="*/ 21603 h 59047"/>
                  <a:gd name="connsiteX13" fmla="*/ 0 w 128793"/>
                  <a:gd name="connsiteY13" fmla="*/ 37445 h 59047"/>
                  <a:gd name="connsiteX14" fmla="*/ 64911 w 128793"/>
                  <a:gd name="connsiteY14" fmla="*/ 37445 h 59047"/>
                  <a:gd name="connsiteX15" fmla="*/ 72832 w 128793"/>
                  <a:gd name="connsiteY15" fmla="*/ 51126 h 59047"/>
                  <a:gd name="connsiteX16" fmla="*/ 86102 w 128793"/>
                  <a:gd name="connsiteY16" fmla="*/ 15842 h 59047"/>
                  <a:gd name="connsiteX17" fmla="*/ 101944 w 128793"/>
                  <a:gd name="connsiteY17" fmla="*/ 15842 h 59047"/>
                  <a:gd name="connsiteX18" fmla="*/ 109865 w 128793"/>
                  <a:gd name="connsiteY18" fmla="*/ 29524 h 59047"/>
                  <a:gd name="connsiteX19" fmla="*/ 101944 w 128793"/>
                  <a:gd name="connsiteY19" fmla="*/ 43205 h 59047"/>
                  <a:gd name="connsiteX20" fmla="*/ 86102 w 128793"/>
                  <a:gd name="connsiteY20" fmla="*/ 43205 h 59047"/>
                  <a:gd name="connsiteX21" fmla="*/ 78181 w 128793"/>
                  <a:gd name="connsiteY21" fmla="*/ 29524 h 59047"/>
                  <a:gd name="connsiteX22" fmla="*/ 86102 w 128793"/>
                  <a:gd name="connsiteY22" fmla="*/ 15842 h 59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793" h="59047">
                    <a:moveTo>
                      <a:pt x="72832" y="51126"/>
                    </a:moveTo>
                    <a:lnTo>
                      <a:pt x="77564" y="59047"/>
                    </a:lnTo>
                    <a:lnTo>
                      <a:pt x="111408" y="59047"/>
                    </a:lnTo>
                    <a:lnTo>
                      <a:pt x="116140" y="51126"/>
                    </a:lnTo>
                    <a:lnTo>
                      <a:pt x="124061" y="37445"/>
                    </a:lnTo>
                    <a:lnTo>
                      <a:pt x="128793" y="29524"/>
                    </a:lnTo>
                    <a:lnTo>
                      <a:pt x="123547" y="21603"/>
                    </a:lnTo>
                    <a:lnTo>
                      <a:pt x="115626" y="7921"/>
                    </a:lnTo>
                    <a:lnTo>
                      <a:pt x="111408" y="0"/>
                    </a:lnTo>
                    <a:lnTo>
                      <a:pt x="77564" y="0"/>
                    </a:lnTo>
                    <a:lnTo>
                      <a:pt x="72832" y="7921"/>
                    </a:lnTo>
                    <a:lnTo>
                      <a:pt x="64911" y="21603"/>
                    </a:lnTo>
                    <a:lnTo>
                      <a:pt x="0" y="21603"/>
                    </a:lnTo>
                    <a:lnTo>
                      <a:pt x="0" y="37445"/>
                    </a:lnTo>
                    <a:lnTo>
                      <a:pt x="64911" y="37445"/>
                    </a:lnTo>
                    <a:lnTo>
                      <a:pt x="72832" y="51126"/>
                    </a:lnTo>
                    <a:close/>
                    <a:moveTo>
                      <a:pt x="86102" y="15842"/>
                    </a:moveTo>
                    <a:lnTo>
                      <a:pt x="101944" y="15842"/>
                    </a:lnTo>
                    <a:lnTo>
                      <a:pt x="109865" y="29524"/>
                    </a:lnTo>
                    <a:lnTo>
                      <a:pt x="101944" y="43205"/>
                    </a:lnTo>
                    <a:lnTo>
                      <a:pt x="86102" y="43205"/>
                    </a:lnTo>
                    <a:lnTo>
                      <a:pt x="78181" y="29524"/>
                    </a:lnTo>
                    <a:lnTo>
                      <a:pt x="86102" y="15842"/>
                    </a:lnTo>
                    <a:close/>
                  </a:path>
                </a:pathLst>
              </a:custGeom>
              <a:solidFill>
                <a:srgbClr val="40AA1D"/>
              </a:solidFill>
              <a:ln w="10150" cap="flat">
                <a:noFill/>
                <a:prstDash val="solid"/>
                <a:miter/>
              </a:ln>
            </p:spPr>
            <p:txBody>
              <a:bodyPr rtlCol="0" anchor="ctr"/>
              <a:lstStyle/>
              <a:p>
                <a:endParaRPr lang="en-US" dirty="0"/>
              </a:p>
            </p:txBody>
          </p:sp>
        </p:grpSp>
      </p:grpSp>
    </p:spTree>
    <p:extLst>
      <p:ext uri="{BB962C8B-B14F-4D97-AF65-F5344CB8AC3E}">
        <p14:creationId xmlns:p14="http://schemas.microsoft.com/office/powerpoint/2010/main" val="222106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1" name="Group 380">
            <a:extLst>
              <a:ext uri="{FF2B5EF4-FFF2-40B4-BE49-F238E27FC236}">
                <a16:creationId xmlns:a16="http://schemas.microsoft.com/office/drawing/2014/main" id="{883DAD09-C005-2FEC-4D72-4D0B4C411D78}"/>
              </a:ext>
            </a:extLst>
          </p:cNvPr>
          <p:cNvGrpSpPr/>
          <p:nvPr/>
        </p:nvGrpSpPr>
        <p:grpSpPr>
          <a:xfrm>
            <a:off x="2727616" y="4321535"/>
            <a:ext cx="789020" cy="777601"/>
            <a:chOff x="2727616" y="4306295"/>
            <a:chExt cx="789020" cy="777601"/>
          </a:xfrm>
        </p:grpSpPr>
        <p:grpSp>
          <p:nvGrpSpPr>
            <p:cNvPr id="359" name="Group 358">
              <a:extLst>
                <a:ext uri="{FF2B5EF4-FFF2-40B4-BE49-F238E27FC236}">
                  <a16:creationId xmlns:a16="http://schemas.microsoft.com/office/drawing/2014/main" id="{F587CA83-726D-71DF-CF0C-5A59AA828AD6}"/>
                </a:ext>
              </a:extLst>
            </p:cNvPr>
            <p:cNvGrpSpPr/>
            <p:nvPr/>
          </p:nvGrpSpPr>
          <p:grpSpPr>
            <a:xfrm>
              <a:off x="2727616" y="4505729"/>
              <a:ext cx="609600" cy="578167"/>
              <a:chOff x="537926" y="1818419"/>
              <a:chExt cx="609600" cy="578167"/>
            </a:xfrm>
          </p:grpSpPr>
          <p:sp>
            <p:nvSpPr>
              <p:cNvPr id="360" name="Freeform: Shape 359">
                <a:extLst>
                  <a:ext uri="{FF2B5EF4-FFF2-40B4-BE49-F238E27FC236}">
                    <a16:creationId xmlns:a16="http://schemas.microsoft.com/office/drawing/2014/main" id="{A628E01D-6706-6190-402C-FBED6394C5CC}"/>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361" name="Freeform: Shape 360">
                <a:extLst>
                  <a:ext uri="{FF2B5EF4-FFF2-40B4-BE49-F238E27FC236}">
                    <a16:creationId xmlns:a16="http://schemas.microsoft.com/office/drawing/2014/main" id="{C6FC42E5-2561-9EDF-C4DB-9A16E58F1BD9}"/>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nvGrpSpPr>
            <p:cNvPr id="368" name="Graphic 226">
              <a:extLst>
                <a:ext uri="{FF2B5EF4-FFF2-40B4-BE49-F238E27FC236}">
                  <a16:creationId xmlns:a16="http://schemas.microsoft.com/office/drawing/2014/main" id="{7E641505-4BA2-5B37-905E-F0F939CBB2FE}"/>
                </a:ext>
              </a:extLst>
            </p:cNvPr>
            <p:cNvGrpSpPr/>
            <p:nvPr/>
          </p:nvGrpSpPr>
          <p:grpSpPr>
            <a:xfrm>
              <a:off x="3210884" y="4306295"/>
              <a:ext cx="305752" cy="488632"/>
              <a:chOff x="3210884" y="4306295"/>
              <a:chExt cx="305752" cy="488632"/>
            </a:xfrm>
          </p:grpSpPr>
          <p:sp>
            <p:nvSpPr>
              <p:cNvPr id="369" name="Freeform: Shape 368">
                <a:extLst>
                  <a:ext uri="{FF2B5EF4-FFF2-40B4-BE49-F238E27FC236}">
                    <a16:creationId xmlns:a16="http://schemas.microsoft.com/office/drawing/2014/main" id="{1E5B27B6-7E58-40AB-E6AC-989A80EABAAB}"/>
                  </a:ext>
                </a:extLst>
              </p:cNvPr>
              <p:cNvSpPr/>
              <p:nvPr/>
            </p:nvSpPr>
            <p:spPr>
              <a:xfrm>
                <a:off x="3210884" y="4306295"/>
                <a:ext cx="305752" cy="185737"/>
              </a:xfrm>
              <a:custGeom>
                <a:avLst/>
                <a:gdLst>
                  <a:gd name="connsiteX0" fmla="*/ 130493 w 305752"/>
                  <a:gd name="connsiteY0" fmla="*/ 0 h 185737"/>
                  <a:gd name="connsiteX1" fmla="*/ 59055 w 305752"/>
                  <a:gd name="connsiteY1" fmla="*/ 55245 h 185737"/>
                  <a:gd name="connsiteX2" fmla="*/ 0 w 305752"/>
                  <a:gd name="connsiteY2" fmla="*/ 120015 h 185737"/>
                  <a:gd name="connsiteX3" fmla="*/ 65723 w 305752"/>
                  <a:gd name="connsiteY3" fmla="*/ 185738 h 185737"/>
                  <a:gd name="connsiteX4" fmla="*/ 259080 w 305752"/>
                  <a:gd name="connsiteY4" fmla="*/ 185738 h 185737"/>
                  <a:gd name="connsiteX5" fmla="*/ 305753 w 305752"/>
                  <a:gd name="connsiteY5" fmla="*/ 140018 h 185737"/>
                  <a:gd name="connsiteX6" fmla="*/ 264795 w 305752"/>
                  <a:gd name="connsiteY6" fmla="*/ 94298 h 185737"/>
                  <a:gd name="connsiteX7" fmla="*/ 265748 w 305752"/>
                  <a:gd name="connsiteY7" fmla="*/ 86678 h 185737"/>
                  <a:gd name="connsiteX8" fmla="*/ 215265 w 305752"/>
                  <a:gd name="connsiteY8" fmla="*/ 36195 h 185737"/>
                  <a:gd name="connsiteX9" fmla="*/ 196215 w 305752"/>
                  <a:gd name="connsiteY9" fmla="*/ 40005 h 185737"/>
                  <a:gd name="connsiteX10" fmla="*/ 130493 w 305752"/>
                  <a:gd name="connsiteY10" fmla="*/ 0 h 185737"/>
                  <a:gd name="connsiteX11" fmla="*/ 130493 w 305752"/>
                  <a:gd name="connsiteY11" fmla="*/ 0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5752" h="185737">
                    <a:moveTo>
                      <a:pt x="130493" y="0"/>
                    </a:moveTo>
                    <a:cubicBezTo>
                      <a:pt x="96202" y="0"/>
                      <a:pt x="67627" y="22860"/>
                      <a:pt x="59055" y="55245"/>
                    </a:cubicBezTo>
                    <a:cubicBezTo>
                      <a:pt x="26670" y="58103"/>
                      <a:pt x="0" y="85725"/>
                      <a:pt x="0" y="120015"/>
                    </a:cubicBezTo>
                    <a:cubicBezTo>
                      <a:pt x="0" y="156210"/>
                      <a:pt x="29527" y="185738"/>
                      <a:pt x="65723" y="185738"/>
                    </a:cubicBezTo>
                    <a:cubicBezTo>
                      <a:pt x="66675" y="185738"/>
                      <a:pt x="259080" y="185738"/>
                      <a:pt x="259080" y="185738"/>
                    </a:cubicBezTo>
                    <a:cubicBezTo>
                      <a:pt x="284798" y="185738"/>
                      <a:pt x="305753" y="164783"/>
                      <a:pt x="305753" y="140018"/>
                    </a:cubicBezTo>
                    <a:cubicBezTo>
                      <a:pt x="305753" y="116205"/>
                      <a:pt x="287655" y="97155"/>
                      <a:pt x="264795" y="94298"/>
                    </a:cubicBezTo>
                    <a:cubicBezTo>
                      <a:pt x="264795" y="91440"/>
                      <a:pt x="265748" y="89535"/>
                      <a:pt x="265748" y="86678"/>
                    </a:cubicBezTo>
                    <a:cubicBezTo>
                      <a:pt x="265748" y="59055"/>
                      <a:pt x="242888" y="36195"/>
                      <a:pt x="215265" y="36195"/>
                    </a:cubicBezTo>
                    <a:cubicBezTo>
                      <a:pt x="208598" y="36195"/>
                      <a:pt x="201930" y="37148"/>
                      <a:pt x="196215" y="40005"/>
                    </a:cubicBezTo>
                    <a:cubicBezTo>
                      <a:pt x="182880" y="15240"/>
                      <a:pt x="158115" y="0"/>
                      <a:pt x="130493" y="0"/>
                    </a:cubicBezTo>
                    <a:lnTo>
                      <a:pt x="130493" y="0"/>
                    </a:lnTo>
                    <a:close/>
                  </a:path>
                </a:pathLst>
              </a:custGeom>
              <a:solidFill>
                <a:srgbClr val="40AA1D"/>
              </a:solidFill>
              <a:ln w="9525" cap="flat">
                <a:noFill/>
                <a:prstDash val="solid"/>
                <a:miter/>
              </a:ln>
            </p:spPr>
            <p:txBody>
              <a:bodyPr rtlCol="0" anchor="ctr"/>
              <a:lstStyle/>
              <a:p>
                <a:endParaRPr lang="en-US" dirty="0"/>
              </a:p>
            </p:txBody>
          </p:sp>
          <p:grpSp>
            <p:nvGrpSpPr>
              <p:cNvPr id="370" name="Graphic 226">
                <a:extLst>
                  <a:ext uri="{FF2B5EF4-FFF2-40B4-BE49-F238E27FC236}">
                    <a16:creationId xmlns:a16="http://schemas.microsoft.com/office/drawing/2014/main" id="{8DECBF75-9004-F1B6-68D9-379A41680008}"/>
                  </a:ext>
                </a:extLst>
              </p:cNvPr>
              <p:cNvGrpSpPr/>
              <p:nvPr/>
            </p:nvGrpSpPr>
            <p:grpSpPr>
              <a:xfrm>
                <a:off x="3210884" y="4492032"/>
                <a:ext cx="304800" cy="302894"/>
                <a:chOff x="3210884" y="4492032"/>
                <a:chExt cx="304800" cy="302894"/>
              </a:xfrm>
              <a:solidFill>
                <a:srgbClr val="3D4647"/>
              </a:solidFill>
            </p:grpSpPr>
            <p:sp>
              <p:nvSpPr>
                <p:cNvPr id="371" name="Freeform: Shape 370">
                  <a:extLst>
                    <a:ext uri="{FF2B5EF4-FFF2-40B4-BE49-F238E27FC236}">
                      <a16:creationId xmlns:a16="http://schemas.microsoft.com/office/drawing/2014/main" id="{F6B9D1D9-71BD-E57B-111C-067301A92E80}"/>
                    </a:ext>
                  </a:extLst>
                </p:cNvPr>
                <p:cNvSpPr/>
                <p:nvPr/>
              </p:nvSpPr>
              <p:spPr>
                <a:xfrm>
                  <a:off x="3411861" y="4493937"/>
                  <a:ext cx="103822" cy="210502"/>
                </a:xfrm>
                <a:custGeom>
                  <a:avLst/>
                  <a:gdLst>
                    <a:gd name="connsiteX0" fmla="*/ 71438 w 103822"/>
                    <a:gd name="connsiteY0" fmla="*/ 198120 h 210502"/>
                    <a:gd name="connsiteX1" fmla="*/ 84773 w 103822"/>
                    <a:gd name="connsiteY1" fmla="*/ 190500 h 210502"/>
                    <a:gd name="connsiteX2" fmla="*/ 103823 w 103822"/>
                    <a:gd name="connsiteY2" fmla="*/ 180022 h 210502"/>
                    <a:gd name="connsiteX3" fmla="*/ 103823 w 103822"/>
                    <a:gd name="connsiteY3" fmla="*/ 158115 h 210502"/>
                    <a:gd name="connsiteX4" fmla="*/ 103823 w 103822"/>
                    <a:gd name="connsiteY4" fmla="*/ 142875 h 210502"/>
                    <a:gd name="connsiteX5" fmla="*/ 103823 w 103822"/>
                    <a:gd name="connsiteY5" fmla="*/ 120968 h 210502"/>
                    <a:gd name="connsiteX6" fmla="*/ 84773 w 103822"/>
                    <a:gd name="connsiteY6" fmla="*/ 110490 h 210502"/>
                    <a:gd name="connsiteX7" fmla="*/ 71438 w 103822"/>
                    <a:gd name="connsiteY7" fmla="*/ 102870 h 210502"/>
                    <a:gd name="connsiteX8" fmla="*/ 52388 w 103822"/>
                    <a:gd name="connsiteY8" fmla="*/ 92392 h 210502"/>
                    <a:gd name="connsiteX9" fmla="*/ 46673 w 103822"/>
                    <a:gd name="connsiteY9" fmla="*/ 95250 h 210502"/>
                    <a:gd name="connsiteX10" fmla="*/ 38100 w 103822"/>
                    <a:gd name="connsiteY10" fmla="*/ 72390 h 210502"/>
                    <a:gd name="connsiteX11" fmla="*/ 38100 w 103822"/>
                    <a:gd name="connsiteY11" fmla="*/ 0 h 210502"/>
                    <a:gd name="connsiteX12" fmla="*/ 0 w 103822"/>
                    <a:gd name="connsiteY12" fmla="*/ 0 h 210502"/>
                    <a:gd name="connsiteX13" fmla="*/ 0 w 103822"/>
                    <a:gd name="connsiteY13" fmla="*/ 79057 h 210502"/>
                    <a:gd name="connsiteX14" fmla="*/ 12383 w 103822"/>
                    <a:gd name="connsiteY14" fmla="*/ 115252 h 210502"/>
                    <a:gd name="connsiteX15" fmla="*/ 0 w 103822"/>
                    <a:gd name="connsiteY15" fmla="*/ 122872 h 210502"/>
                    <a:gd name="connsiteX16" fmla="*/ 0 w 103822"/>
                    <a:gd name="connsiteY16" fmla="*/ 144780 h 210502"/>
                    <a:gd name="connsiteX17" fmla="*/ 0 w 103822"/>
                    <a:gd name="connsiteY17" fmla="*/ 160020 h 210502"/>
                    <a:gd name="connsiteX18" fmla="*/ 0 w 103822"/>
                    <a:gd name="connsiteY18" fmla="*/ 181927 h 210502"/>
                    <a:gd name="connsiteX19" fmla="*/ 19050 w 103822"/>
                    <a:gd name="connsiteY19" fmla="*/ 192405 h 210502"/>
                    <a:gd name="connsiteX20" fmla="*/ 32385 w 103822"/>
                    <a:gd name="connsiteY20" fmla="*/ 200025 h 210502"/>
                    <a:gd name="connsiteX21" fmla="*/ 51435 w 103822"/>
                    <a:gd name="connsiteY21" fmla="*/ 210502 h 210502"/>
                    <a:gd name="connsiteX22" fmla="*/ 71438 w 103822"/>
                    <a:gd name="connsiteY22" fmla="*/ 198120 h 210502"/>
                    <a:gd name="connsiteX23" fmla="*/ 40005 w 103822"/>
                    <a:gd name="connsiteY23" fmla="*/ 157163 h 210502"/>
                    <a:gd name="connsiteX24" fmla="*/ 40005 w 103822"/>
                    <a:gd name="connsiteY24" fmla="*/ 141922 h 210502"/>
                    <a:gd name="connsiteX25" fmla="*/ 53340 w 103822"/>
                    <a:gd name="connsiteY25" fmla="*/ 134302 h 210502"/>
                    <a:gd name="connsiteX26" fmla="*/ 66675 w 103822"/>
                    <a:gd name="connsiteY26" fmla="*/ 141922 h 210502"/>
                    <a:gd name="connsiteX27" fmla="*/ 66675 w 103822"/>
                    <a:gd name="connsiteY27" fmla="*/ 157163 h 210502"/>
                    <a:gd name="connsiteX28" fmla="*/ 52388 w 103822"/>
                    <a:gd name="connsiteY28" fmla="*/ 164783 h 210502"/>
                    <a:gd name="connsiteX29" fmla="*/ 40005 w 103822"/>
                    <a:gd name="connsiteY29" fmla="*/ 157163 h 21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3822" h="210502">
                      <a:moveTo>
                        <a:pt x="71438" y="198120"/>
                      </a:moveTo>
                      <a:lnTo>
                        <a:pt x="84773" y="190500"/>
                      </a:lnTo>
                      <a:lnTo>
                        <a:pt x="103823" y="180022"/>
                      </a:lnTo>
                      <a:lnTo>
                        <a:pt x="103823" y="158115"/>
                      </a:lnTo>
                      <a:lnTo>
                        <a:pt x="103823" y="142875"/>
                      </a:lnTo>
                      <a:lnTo>
                        <a:pt x="103823" y="120968"/>
                      </a:lnTo>
                      <a:lnTo>
                        <a:pt x="84773" y="110490"/>
                      </a:lnTo>
                      <a:lnTo>
                        <a:pt x="71438" y="102870"/>
                      </a:lnTo>
                      <a:lnTo>
                        <a:pt x="52388" y="92392"/>
                      </a:lnTo>
                      <a:lnTo>
                        <a:pt x="46673" y="95250"/>
                      </a:lnTo>
                      <a:lnTo>
                        <a:pt x="38100" y="72390"/>
                      </a:lnTo>
                      <a:lnTo>
                        <a:pt x="38100" y="0"/>
                      </a:lnTo>
                      <a:lnTo>
                        <a:pt x="0" y="0"/>
                      </a:lnTo>
                      <a:lnTo>
                        <a:pt x="0" y="79057"/>
                      </a:lnTo>
                      <a:lnTo>
                        <a:pt x="12383" y="115252"/>
                      </a:lnTo>
                      <a:lnTo>
                        <a:pt x="0" y="122872"/>
                      </a:lnTo>
                      <a:lnTo>
                        <a:pt x="0" y="144780"/>
                      </a:lnTo>
                      <a:lnTo>
                        <a:pt x="0" y="160020"/>
                      </a:lnTo>
                      <a:lnTo>
                        <a:pt x="0" y="181927"/>
                      </a:lnTo>
                      <a:lnTo>
                        <a:pt x="19050" y="192405"/>
                      </a:lnTo>
                      <a:lnTo>
                        <a:pt x="32385" y="200025"/>
                      </a:lnTo>
                      <a:lnTo>
                        <a:pt x="51435" y="210502"/>
                      </a:lnTo>
                      <a:lnTo>
                        <a:pt x="71438" y="198120"/>
                      </a:lnTo>
                      <a:close/>
                      <a:moveTo>
                        <a:pt x="40005" y="157163"/>
                      </a:moveTo>
                      <a:lnTo>
                        <a:pt x="40005" y="141922"/>
                      </a:lnTo>
                      <a:lnTo>
                        <a:pt x="53340" y="134302"/>
                      </a:lnTo>
                      <a:lnTo>
                        <a:pt x="66675" y="141922"/>
                      </a:lnTo>
                      <a:lnTo>
                        <a:pt x="66675" y="157163"/>
                      </a:lnTo>
                      <a:lnTo>
                        <a:pt x="52388" y="164783"/>
                      </a:lnTo>
                      <a:lnTo>
                        <a:pt x="40005" y="157163"/>
                      </a:lnTo>
                      <a:close/>
                    </a:path>
                  </a:pathLst>
                </a:custGeom>
                <a:solidFill>
                  <a:srgbClr val="3D4647"/>
                </a:solidFill>
                <a:ln w="9525" cap="flat">
                  <a:noFill/>
                  <a:prstDash val="solid"/>
                  <a:miter/>
                </a:ln>
              </p:spPr>
              <p:txBody>
                <a:bodyPr rtlCol="0" anchor="ctr"/>
                <a:lstStyle/>
                <a:p>
                  <a:endParaRPr lang="en-US" dirty="0"/>
                </a:p>
              </p:txBody>
            </p:sp>
            <p:grpSp>
              <p:nvGrpSpPr>
                <p:cNvPr id="372" name="Graphic 226">
                  <a:extLst>
                    <a:ext uri="{FF2B5EF4-FFF2-40B4-BE49-F238E27FC236}">
                      <a16:creationId xmlns:a16="http://schemas.microsoft.com/office/drawing/2014/main" id="{08F930D3-D5FD-4ECB-2A7A-51B68BB67551}"/>
                    </a:ext>
                  </a:extLst>
                </p:cNvPr>
                <p:cNvGrpSpPr/>
                <p:nvPr/>
              </p:nvGrpSpPr>
              <p:grpSpPr>
                <a:xfrm>
                  <a:off x="3210884" y="4492032"/>
                  <a:ext cx="202882" cy="302894"/>
                  <a:chOff x="3210884" y="4492032"/>
                  <a:chExt cx="202882" cy="302894"/>
                </a:xfrm>
                <a:solidFill>
                  <a:srgbClr val="3D4647"/>
                </a:solidFill>
              </p:grpSpPr>
              <p:sp>
                <p:nvSpPr>
                  <p:cNvPr id="373" name="Freeform: Shape 372">
                    <a:extLst>
                      <a:ext uri="{FF2B5EF4-FFF2-40B4-BE49-F238E27FC236}">
                        <a16:creationId xmlns:a16="http://schemas.microsoft.com/office/drawing/2014/main" id="{B5BD1A0E-B59D-3296-BA75-0B43FB58CD82}"/>
                      </a:ext>
                    </a:extLst>
                  </p:cNvPr>
                  <p:cNvSpPr/>
                  <p:nvPr/>
                </p:nvSpPr>
                <p:spPr>
                  <a:xfrm>
                    <a:off x="3210884" y="4492032"/>
                    <a:ext cx="101917" cy="209550"/>
                  </a:xfrm>
                  <a:custGeom>
                    <a:avLst/>
                    <a:gdLst>
                      <a:gd name="connsiteX0" fmla="*/ 69532 w 101917"/>
                      <a:gd name="connsiteY0" fmla="*/ 200025 h 209550"/>
                      <a:gd name="connsiteX1" fmla="*/ 82868 w 101917"/>
                      <a:gd name="connsiteY1" fmla="*/ 192405 h 209550"/>
                      <a:gd name="connsiteX2" fmla="*/ 101918 w 101917"/>
                      <a:gd name="connsiteY2" fmla="*/ 181927 h 209550"/>
                      <a:gd name="connsiteX3" fmla="*/ 101918 w 101917"/>
                      <a:gd name="connsiteY3" fmla="*/ 160020 h 209550"/>
                      <a:gd name="connsiteX4" fmla="*/ 101918 w 101917"/>
                      <a:gd name="connsiteY4" fmla="*/ 144780 h 209550"/>
                      <a:gd name="connsiteX5" fmla="*/ 101918 w 101917"/>
                      <a:gd name="connsiteY5" fmla="*/ 122873 h 209550"/>
                      <a:gd name="connsiteX6" fmla="*/ 89535 w 101917"/>
                      <a:gd name="connsiteY6" fmla="*/ 115253 h 209550"/>
                      <a:gd name="connsiteX7" fmla="*/ 101918 w 101917"/>
                      <a:gd name="connsiteY7" fmla="*/ 79057 h 209550"/>
                      <a:gd name="connsiteX8" fmla="*/ 101918 w 101917"/>
                      <a:gd name="connsiteY8" fmla="*/ 0 h 209550"/>
                      <a:gd name="connsiteX9" fmla="*/ 63818 w 101917"/>
                      <a:gd name="connsiteY9" fmla="*/ 0 h 209550"/>
                      <a:gd name="connsiteX10" fmla="*/ 63818 w 101917"/>
                      <a:gd name="connsiteY10" fmla="*/ 72390 h 209550"/>
                      <a:gd name="connsiteX11" fmla="*/ 55245 w 101917"/>
                      <a:gd name="connsiteY11" fmla="*/ 95250 h 209550"/>
                      <a:gd name="connsiteX12" fmla="*/ 49530 w 101917"/>
                      <a:gd name="connsiteY12" fmla="*/ 92393 h 209550"/>
                      <a:gd name="connsiteX13" fmla="*/ 30480 w 101917"/>
                      <a:gd name="connsiteY13" fmla="*/ 102870 h 209550"/>
                      <a:gd name="connsiteX14" fmla="*/ 19050 w 101917"/>
                      <a:gd name="connsiteY14" fmla="*/ 111443 h 209550"/>
                      <a:gd name="connsiteX15" fmla="*/ 0 w 101917"/>
                      <a:gd name="connsiteY15" fmla="*/ 121920 h 209550"/>
                      <a:gd name="connsiteX16" fmla="*/ 0 w 101917"/>
                      <a:gd name="connsiteY16" fmla="*/ 143827 h 209550"/>
                      <a:gd name="connsiteX17" fmla="*/ 0 w 101917"/>
                      <a:gd name="connsiteY17" fmla="*/ 159068 h 209550"/>
                      <a:gd name="connsiteX18" fmla="*/ 0 w 101917"/>
                      <a:gd name="connsiteY18" fmla="*/ 180975 h 209550"/>
                      <a:gd name="connsiteX19" fmla="*/ 19050 w 101917"/>
                      <a:gd name="connsiteY19" fmla="*/ 191452 h 209550"/>
                      <a:gd name="connsiteX20" fmla="*/ 32385 w 101917"/>
                      <a:gd name="connsiteY20" fmla="*/ 199073 h 209550"/>
                      <a:gd name="connsiteX21" fmla="*/ 51435 w 101917"/>
                      <a:gd name="connsiteY21" fmla="*/ 209550 h 209550"/>
                      <a:gd name="connsiteX22" fmla="*/ 69532 w 101917"/>
                      <a:gd name="connsiteY22" fmla="*/ 200025 h 209550"/>
                      <a:gd name="connsiteX23" fmla="*/ 38100 w 101917"/>
                      <a:gd name="connsiteY23" fmla="*/ 159068 h 209550"/>
                      <a:gd name="connsiteX24" fmla="*/ 38100 w 101917"/>
                      <a:gd name="connsiteY24" fmla="*/ 143827 h 209550"/>
                      <a:gd name="connsiteX25" fmla="*/ 51435 w 101917"/>
                      <a:gd name="connsiteY25" fmla="*/ 136208 h 209550"/>
                      <a:gd name="connsiteX26" fmla="*/ 64770 w 101917"/>
                      <a:gd name="connsiteY26" fmla="*/ 143827 h 209550"/>
                      <a:gd name="connsiteX27" fmla="*/ 64770 w 101917"/>
                      <a:gd name="connsiteY27" fmla="*/ 159068 h 209550"/>
                      <a:gd name="connsiteX28" fmla="*/ 51435 w 101917"/>
                      <a:gd name="connsiteY28" fmla="*/ 166688 h 209550"/>
                      <a:gd name="connsiteX29" fmla="*/ 38100 w 101917"/>
                      <a:gd name="connsiteY29" fmla="*/ 159068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1917" h="209550">
                        <a:moveTo>
                          <a:pt x="69532" y="200025"/>
                        </a:moveTo>
                        <a:lnTo>
                          <a:pt x="82868" y="192405"/>
                        </a:lnTo>
                        <a:lnTo>
                          <a:pt x="101918" y="181927"/>
                        </a:lnTo>
                        <a:lnTo>
                          <a:pt x="101918" y="160020"/>
                        </a:lnTo>
                        <a:lnTo>
                          <a:pt x="101918" y="144780"/>
                        </a:lnTo>
                        <a:lnTo>
                          <a:pt x="101918" y="122873"/>
                        </a:lnTo>
                        <a:lnTo>
                          <a:pt x="89535" y="115253"/>
                        </a:lnTo>
                        <a:lnTo>
                          <a:pt x="101918" y="79057"/>
                        </a:lnTo>
                        <a:lnTo>
                          <a:pt x="101918" y="0"/>
                        </a:lnTo>
                        <a:lnTo>
                          <a:pt x="63818" y="0"/>
                        </a:lnTo>
                        <a:lnTo>
                          <a:pt x="63818" y="72390"/>
                        </a:lnTo>
                        <a:lnTo>
                          <a:pt x="55245" y="95250"/>
                        </a:lnTo>
                        <a:lnTo>
                          <a:pt x="49530" y="92393"/>
                        </a:lnTo>
                        <a:lnTo>
                          <a:pt x="30480" y="102870"/>
                        </a:lnTo>
                        <a:lnTo>
                          <a:pt x="19050" y="111443"/>
                        </a:lnTo>
                        <a:lnTo>
                          <a:pt x="0" y="121920"/>
                        </a:lnTo>
                        <a:lnTo>
                          <a:pt x="0" y="143827"/>
                        </a:lnTo>
                        <a:lnTo>
                          <a:pt x="0" y="159068"/>
                        </a:lnTo>
                        <a:lnTo>
                          <a:pt x="0" y="180975"/>
                        </a:lnTo>
                        <a:lnTo>
                          <a:pt x="19050" y="191452"/>
                        </a:lnTo>
                        <a:lnTo>
                          <a:pt x="32385" y="199073"/>
                        </a:lnTo>
                        <a:lnTo>
                          <a:pt x="51435" y="209550"/>
                        </a:lnTo>
                        <a:lnTo>
                          <a:pt x="69532" y="200025"/>
                        </a:lnTo>
                        <a:close/>
                        <a:moveTo>
                          <a:pt x="38100" y="159068"/>
                        </a:moveTo>
                        <a:lnTo>
                          <a:pt x="38100" y="143827"/>
                        </a:lnTo>
                        <a:lnTo>
                          <a:pt x="51435" y="136208"/>
                        </a:lnTo>
                        <a:lnTo>
                          <a:pt x="64770" y="143827"/>
                        </a:lnTo>
                        <a:lnTo>
                          <a:pt x="64770" y="159068"/>
                        </a:lnTo>
                        <a:lnTo>
                          <a:pt x="51435" y="166688"/>
                        </a:lnTo>
                        <a:lnTo>
                          <a:pt x="38100" y="159068"/>
                        </a:lnTo>
                        <a:close/>
                      </a:path>
                    </a:pathLst>
                  </a:custGeom>
                  <a:solidFill>
                    <a:srgbClr val="3D4647"/>
                  </a:solidFill>
                  <a:ln w="9525" cap="flat">
                    <a:noFill/>
                    <a:prstDash val="solid"/>
                    <a:miter/>
                  </a:ln>
                </p:spPr>
                <p:txBody>
                  <a:bodyPr rtlCol="0" anchor="ctr"/>
                  <a:lstStyle/>
                  <a:p>
                    <a:endParaRPr lang="en-US" dirty="0"/>
                  </a:p>
                </p:txBody>
              </p:sp>
              <p:sp>
                <p:nvSpPr>
                  <p:cNvPr id="374" name="Freeform: Shape 373">
                    <a:extLst>
                      <a:ext uri="{FF2B5EF4-FFF2-40B4-BE49-F238E27FC236}">
                        <a16:creationId xmlns:a16="http://schemas.microsoft.com/office/drawing/2014/main" id="{ECF7ACFC-24BC-A7BA-4185-75EF6B1063D5}"/>
                      </a:ext>
                    </a:extLst>
                  </p:cNvPr>
                  <p:cNvSpPr/>
                  <p:nvPr/>
                </p:nvSpPr>
                <p:spPr>
                  <a:xfrm>
                    <a:off x="3310896" y="4492032"/>
                    <a:ext cx="102870" cy="302894"/>
                  </a:xfrm>
                  <a:custGeom>
                    <a:avLst/>
                    <a:gdLst>
                      <a:gd name="connsiteX0" fmla="*/ 70485 w 102870"/>
                      <a:gd name="connsiteY0" fmla="*/ 292418 h 302894"/>
                      <a:gd name="connsiteX1" fmla="*/ 83820 w 102870"/>
                      <a:gd name="connsiteY1" fmla="*/ 284798 h 302894"/>
                      <a:gd name="connsiteX2" fmla="*/ 102870 w 102870"/>
                      <a:gd name="connsiteY2" fmla="*/ 274320 h 302894"/>
                      <a:gd name="connsiteX3" fmla="*/ 102870 w 102870"/>
                      <a:gd name="connsiteY3" fmla="*/ 252413 h 302894"/>
                      <a:gd name="connsiteX4" fmla="*/ 102870 w 102870"/>
                      <a:gd name="connsiteY4" fmla="*/ 237173 h 302894"/>
                      <a:gd name="connsiteX5" fmla="*/ 102870 w 102870"/>
                      <a:gd name="connsiteY5" fmla="*/ 215265 h 302894"/>
                      <a:gd name="connsiteX6" fmla="*/ 83820 w 102870"/>
                      <a:gd name="connsiteY6" fmla="*/ 204788 h 302894"/>
                      <a:gd name="connsiteX7" fmla="*/ 70485 w 102870"/>
                      <a:gd name="connsiteY7" fmla="*/ 197168 h 302894"/>
                      <a:gd name="connsiteX8" fmla="*/ 70485 w 102870"/>
                      <a:gd name="connsiteY8" fmla="*/ 197168 h 302894"/>
                      <a:gd name="connsiteX9" fmla="*/ 70485 w 102870"/>
                      <a:gd name="connsiteY9" fmla="*/ 0 h 302894"/>
                      <a:gd name="connsiteX10" fmla="*/ 32385 w 102870"/>
                      <a:gd name="connsiteY10" fmla="*/ 0 h 302894"/>
                      <a:gd name="connsiteX11" fmla="*/ 32385 w 102870"/>
                      <a:gd name="connsiteY11" fmla="*/ 196215 h 302894"/>
                      <a:gd name="connsiteX12" fmla="*/ 19050 w 102870"/>
                      <a:gd name="connsiteY12" fmla="*/ 203835 h 302894"/>
                      <a:gd name="connsiteX13" fmla="*/ 0 w 102870"/>
                      <a:gd name="connsiteY13" fmla="*/ 214313 h 302894"/>
                      <a:gd name="connsiteX14" fmla="*/ 0 w 102870"/>
                      <a:gd name="connsiteY14" fmla="*/ 236220 h 302894"/>
                      <a:gd name="connsiteX15" fmla="*/ 0 w 102870"/>
                      <a:gd name="connsiteY15" fmla="*/ 252413 h 302894"/>
                      <a:gd name="connsiteX16" fmla="*/ 0 w 102870"/>
                      <a:gd name="connsiteY16" fmla="*/ 274320 h 302894"/>
                      <a:gd name="connsiteX17" fmla="*/ 19050 w 102870"/>
                      <a:gd name="connsiteY17" fmla="*/ 284798 h 302894"/>
                      <a:gd name="connsiteX18" fmla="*/ 32385 w 102870"/>
                      <a:gd name="connsiteY18" fmla="*/ 292418 h 302894"/>
                      <a:gd name="connsiteX19" fmla="*/ 51435 w 102870"/>
                      <a:gd name="connsiteY19" fmla="*/ 302895 h 302894"/>
                      <a:gd name="connsiteX20" fmla="*/ 70485 w 102870"/>
                      <a:gd name="connsiteY20" fmla="*/ 292418 h 302894"/>
                      <a:gd name="connsiteX21" fmla="*/ 38100 w 102870"/>
                      <a:gd name="connsiteY21" fmla="*/ 252413 h 302894"/>
                      <a:gd name="connsiteX22" fmla="*/ 38100 w 102870"/>
                      <a:gd name="connsiteY22" fmla="*/ 237173 h 302894"/>
                      <a:gd name="connsiteX23" fmla="*/ 51435 w 102870"/>
                      <a:gd name="connsiteY23" fmla="*/ 229552 h 302894"/>
                      <a:gd name="connsiteX24" fmla="*/ 64770 w 102870"/>
                      <a:gd name="connsiteY24" fmla="*/ 237173 h 302894"/>
                      <a:gd name="connsiteX25" fmla="*/ 64770 w 102870"/>
                      <a:gd name="connsiteY25" fmla="*/ 252413 h 302894"/>
                      <a:gd name="connsiteX26" fmla="*/ 51435 w 102870"/>
                      <a:gd name="connsiteY26" fmla="*/ 260033 h 302894"/>
                      <a:gd name="connsiteX27" fmla="*/ 38100 w 102870"/>
                      <a:gd name="connsiteY27" fmla="*/ 252413 h 30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2870" h="302894">
                        <a:moveTo>
                          <a:pt x="70485" y="292418"/>
                        </a:moveTo>
                        <a:lnTo>
                          <a:pt x="83820" y="284798"/>
                        </a:lnTo>
                        <a:lnTo>
                          <a:pt x="102870" y="274320"/>
                        </a:lnTo>
                        <a:lnTo>
                          <a:pt x="102870" y="252413"/>
                        </a:lnTo>
                        <a:lnTo>
                          <a:pt x="102870" y="237173"/>
                        </a:lnTo>
                        <a:lnTo>
                          <a:pt x="102870" y="215265"/>
                        </a:lnTo>
                        <a:lnTo>
                          <a:pt x="83820" y="204788"/>
                        </a:lnTo>
                        <a:lnTo>
                          <a:pt x="70485" y="197168"/>
                        </a:lnTo>
                        <a:lnTo>
                          <a:pt x="70485" y="197168"/>
                        </a:lnTo>
                        <a:lnTo>
                          <a:pt x="70485" y="0"/>
                        </a:lnTo>
                        <a:lnTo>
                          <a:pt x="32385" y="0"/>
                        </a:lnTo>
                        <a:lnTo>
                          <a:pt x="32385" y="196215"/>
                        </a:lnTo>
                        <a:lnTo>
                          <a:pt x="19050" y="203835"/>
                        </a:lnTo>
                        <a:lnTo>
                          <a:pt x="0" y="214313"/>
                        </a:lnTo>
                        <a:lnTo>
                          <a:pt x="0" y="236220"/>
                        </a:lnTo>
                        <a:lnTo>
                          <a:pt x="0" y="252413"/>
                        </a:lnTo>
                        <a:lnTo>
                          <a:pt x="0" y="274320"/>
                        </a:lnTo>
                        <a:lnTo>
                          <a:pt x="19050" y="284798"/>
                        </a:lnTo>
                        <a:lnTo>
                          <a:pt x="32385" y="292418"/>
                        </a:lnTo>
                        <a:lnTo>
                          <a:pt x="51435" y="302895"/>
                        </a:lnTo>
                        <a:lnTo>
                          <a:pt x="70485" y="292418"/>
                        </a:lnTo>
                        <a:close/>
                        <a:moveTo>
                          <a:pt x="38100" y="252413"/>
                        </a:moveTo>
                        <a:lnTo>
                          <a:pt x="38100" y="237173"/>
                        </a:lnTo>
                        <a:lnTo>
                          <a:pt x="51435" y="229552"/>
                        </a:lnTo>
                        <a:lnTo>
                          <a:pt x="64770" y="237173"/>
                        </a:lnTo>
                        <a:lnTo>
                          <a:pt x="64770" y="252413"/>
                        </a:lnTo>
                        <a:lnTo>
                          <a:pt x="51435" y="260033"/>
                        </a:lnTo>
                        <a:lnTo>
                          <a:pt x="38100" y="252413"/>
                        </a:lnTo>
                        <a:close/>
                      </a:path>
                    </a:pathLst>
                  </a:custGeom>
                  <a:solidFill>
                    <a:srgbClr val="3D4647"/>
                  </a:solidFill>
                  <a:ln w="9525" cap="flat">
                    <a:noFill/>
                    <a:prstDash val="solid"/>
                    <a:miter/>
                  </a:ln>
                </p:spPr>
                <p:txBody>
                  <a:bodyPr rtlCol="0" anchor="ctr"/>
                  <a:lstStyle/>
                  <a:p>
                    <a:endParaRPr lang="en-US" dirty="0"/>
                  </a:p>
                </p:txBody>
              </p:sp>
            </p:grpSp>
          </p:grpSp>
        </p:grpSp>
      </p:grpSp>
      <p:grpSp>
        <p:nvGrpSpPr>
          <p:cNvPr id="334" name="Group 333">
            <a:extLst>
              <a:ext uri="{FF2B5EF4-FFF2-40B4-BE49-F238E27FC236}">
                <a16:creationId xmlns:a16="http://schemas.microsoft.com/office/drawing/2014/main" id="{E478DDF6-B253-8E99-0380-110304D1178A}"/>
              </a:ext>
            </a:extLst>
          </p:cNvPr>
          <p:cNvGrpSpPr/>
          <p:nvPr/>
        </p:nvGrpSpPr>
        <p:grpSpPr>
          <a:xfrm>
            <a:off x="2741191" y="2906808"/>
            <a:ext cx="774492" cy="788028"/>
            <a:chOff x="2741191" y="2906808"/>
            <a:chExt cx="774492" cy="788028"/>
          </a:xfrm>
        </p:grpSpPr>
        <p:grpSp>
          <p:nvGrpSpPr>
            <p:cNvPr id="331" name="Group 330">
              <a:extLst>
                <a:ext uri="{FF2B5EF4-FFF2-40B4-BE49-F238E27FC236}">
                  <a16:creationId xmlns:a16="http://schemas.microsoft.com/office/drawing/2014/main" id="{556D8F51-FC05-61FD-64DB-2BCB44C5D64A}"/>
                </a:ext>
              </a:extLst>
            </p:cNvPr>
            <p:cNvGrpSpPr/>
            <p:nvPr/>
          </p:nvGrpSpPr>
          <p:grpSpPr>
            <a:xfrm>
              <a:off x="2741191" y="3116669"/>
              <a:ext cx="609600" cy="578167"/>
              <a:chOff x="537926" y="1818419"/>
              <a:chExt cx="609600" cy="578167"/>
            </a:xfrm>
          </p:grpSpPr>
          <p:sp>
            <p:nvSpPr>
              <p:cNvPr id="332" name="Freeform: Shape 331">
                <a:extLst>
                  <a:ext uri="{FF2B5EF4-FFF2-40B4-BE49-F238E27FC236}">
                    <a16:creationId xmlns:a16="http://schemas.microsoft.com/office/drawing/2014/main" id="{A2AE4846-769B-874A-76E1-3E56034D818A}"/>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333" name="Freeform: Shape 332">
                <a:extLst>
                  <a:ext uri="{FF2B5EF4-FFF2-40B4-BE49-F238E27FC236}">
                    <a16:creationId xmlns:a16="http://schemas.microsoft.com/office/drawing/2014/main" id="{60C347C1-59CB-5EDE-F359-5336329D2014}"/>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sp>
          <p:nvSpPr>
            <p:cNvPr id="328" name="Freeform: Shape 327">
              <a:extLst>
                <a:ext uri="{FF2B5EF4-FFF2-40B4-BE49-F238E27FC236}">
                  <a16:creationId xmlns:a16="http://schemas.microsoft.com/office/drawing/2014/main" id="{6F842F37-F9BA-87A7-48A0-F8C139E17543}"/>
                </a:ext>
              </a:extLst>
            </p:cNvPr>
            <p:cNvSpPr/>
            <p:nvPr/>
          </p:nvSpPr>
          <p:spPr>
            <a:xfrm>
              <a:off x="3287084" y="3249708"/>
              <a:ext cx="151447" cy="152400"/>
            </a:xfrm>
            <a:custGeom>
              <a:avLst/>
              <a:gdLst>
                <a:gd name="connsiteX0" fmla="*/ 137160 w 151447"/>
                <a:gd name="connsiteY0" fmla="*/ 127635 h 152400"/>
                <a:gd name="connsiteX1" fmla="*/ 151448 w 151447"/>
                <a:gd name="connsiteY1" fmla="*/ 102870 h 152400"/>
                <a:gd name="connsiteX2" fmla="*/ 133350 w 151447"/>
                <a:gd name="connsiteY2" fmla="*/ 88582 h 152400"/>
                <a:gd name="connsiteX3" fmla="*/ 133350 w 151447"/>
                <a:gd name="connsiteY3" fmla="*/ 63818 h 152400"/>
                <a:gd name="connsiteX4" fmla="*/ 151448 w 151447"/>
                <a:gd name="connsiteY4" fmla="*/ 48577 h 152400"/>
                <a:gd name="connsiteX5" fmla="*/ 137160 w 151447"/>
                <a:gd name="connsiteY5" fmla="*/ 23813 h 152400"/>
                <a:gd name="connsiteX6" fmla="*/ 115252 w 151447"/>
                <a:gd name="connsiteY6" fmla="*/ 32385 h 152400"/>
                <a:gd name="connsiteX7" fmla="*/ 93345 w 151447"/>
                <a:gd name="connsiteY7" fmla="*/ 20002 h 152400"/>
                <a:gd name="connsiteX8" fmla="*/ 89535 w 151447"/>
                <a:gd name="connsiteY8" fmla="*/ 0 h 152400"/>
                <a:gd name="connsiteX9" fmla="*/ 60960 w 151447"/>
                <a:gd name="connsiteY9" fmla="*/ 0 h 152400"/>
                <a:gd name="connsiteX10" fmla="*/ 57150 w 151447"/>
                <a:gd name="connsiteY10" fmla="*/ 20002 h 152400"/>
                <a:gd name="connsiteX11" fmla="*/ 35243 w 151447"/>
                <a:gd name="connsiteY11" fmla="*/ 33338 h 152400"/>
                <a:gd name="connsiteX12" fmla="*/ 14288 w 151447"/>
                <a:gd name="connsiteY12" fmla="*/ 25718 h 152400"/>
                <a:gd name="connsiteX13" fmla="*/ 0 w 151447"/>
                <a:gd name="connsiteY13" fmla="*/ 50482 h 152400"/>
                <a:gd name="connsiteX14" fmla="*/ 17145 w 151447"/>
                <a:gd name="connsiteY14" fmla="*/ 64770 h 152400"/>
                <a:gd name="connsiteX15" fmla="*/ 17145 w 151447"/>
                <a:gd name="connsiteY15" fmla="*/ 90488 h 152400"/>
                <a:gd name="connsiteX16" fmla="*/ 0 w 151447"/>
                <a:gd name="connsiteY16" fmla="*/ 103823 h 152400"/>
                <a:gd name="connsiteX17" fmla="*/ 14288 w 151447"/>
                <a:gd name="connsiteY17" fmla="*/ 128588 h 152400"/>
                <a:gd name="connsiteX18" fmla="*/ 36195 w 151447"/>
                <a:gd name="connsiteY18" fmla="*/ 120015 h 152400"/>
                <a:gd name="connsiteX19" fmla="*/ 58102 w 151447"/>
                <a:gd name="connsiteY19" fmla="*/ 132398 h 152400"/>
                <a:gd name="connsiteX20" fmla="*/ 61913 w 151447"/>
                <a:gd name="connsiteY20" fmla="*/ 152400 h 152400"/>
                <a:gd name="connsiteX21" fmla="*/ 90488 w 151447"/>
                <a:gd name="connsiteY21" fmla="*/ 152400 h 152400"/>
                <a:gd name="connsiteX22" fmla="*/ 93345 w 151447"/>
                <a:gd name="connsiteY22" fmla="*/ 132398 h 152400"/>
                <a:gd name="connsiteX23" fmla="*/ 115252 w 151447"/>
                <a:gd name="connsiteY23" fmla="*/ 120015 h 152400"/>
                <a:gd name="connsiteX24" fmla="*/ 137160 w 151447"/>
                <a:gd name="connsiteY24" fmla="*/ 127635 h 152400"/>
                <a:gd name="connsiteX25" fmla="*/ 89535 w 151447"/>
                <a:gd name="connsiteY25" fmla="*/ 100965 h 152400"/>
                <a:gd name="connsiteX26" fmla="*/ 71438 w 151447"/>
                <a:gd name="connsiteY26" fmla="*/ 104775 h 152400"/>
                <a:gd name="connsiteX27" fmla="*/ 55245 w 151447"/>
                <a:gd name="connsiteY27" fmla="*/ 96202 h 152400"/>
                <a:gd name="connsiteX28" fmla="*/ 46673 w 151447"/>
                <a:gd name="connsiteY28" fmla="*/ 80010 h 152400"/>
                <a:gd name="connsiteX29" fmla="*/ 50482 w 151447"/>
                <a:gd name="connsiteY29" fmla="*/ 61913 h 152400"/>
                <a:gd name="connsiteX30" fmla="*/ 63817 w 151447"/>
                <a:gd name="connsiteY30" fmla="*/ 49530 h 152400"/>
                <a:gd name="connsiteX31" fmla="*/ 81915 w 151447"/>
                <a:gd name="connsiteY31" fmla="*/ 48577 h 152400"/>
                <a:gd name="connsiteX32" fmla="*/ 97155 w 151447"/>
                <a:gd name="connsiteY32" fmla="*/ 59055 h 152400"/>
                <a:gd name="connsiteX33" fmla="*/ 102870 w 151447"/>
                <a:gd name="connsiteY33" fmla="*/ 76200 h 152400"/>
                <a:gd name="connsiteX34" fmla="*/ 99060 w 151447"/>
                <a:gd name="connsiteY34" fmla="*/ 90488 h 152400"/>
                <a:gd name="connsiteX35" fmla="*/ 89535 w 151447"/>
                <a:gd name="connsiteY35" fmla="*/ 100965 h 152400"/>
                <a:gd name="connsiteX36" fmla="*/ 89535 w 151447"/>
                <a:gd name="connsiteY36" fmla="*/ 10096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1447" h="152400">
                  <a:moveTo>
                    <a:pt x="137160" y="127635"/>
                  </a:moveTo>
                  <a:lnTo>
                    <a:pt x="151448" y="102870"/>
                  </a:lnTo>
                  <a:lnTo>
                    <a:pt x="133350" y="88582"/>
                  </a:lnTo>
                  <a:lnTo>
                    <a:pt x="133350" y="63818"/>
                  </a:lnTo>
                  <a:lnTo>
                    <a:pt x="151448" y="48577"/>
                  </a:lnTo>
                  <a:lnTo>
                    <a:pt x="137160" y="23813"/>
                  </a:lnTo>
                  <a:lnTo>
                    <a:pt x="115252" y="32385"/>
                  </a:lnTo>
                  <a:lnTo>
                    <a:pt x="93345" y="20002"/>
                  </a:lnTo>
                  <a:lnTo>
                    <a:pt x="89535" y="0"/>
                  </a:lnTo>
                  <a:lnTo>
                    <a:pt x="60960" y="0"/>
                  </a:lnTo>
                  <a:lnTo>
                    <a:pt x="57150" y="20002"/>
                  </a:lnTo>
                  <a:lnTo>
                    <a:pt x="35243" y="33338"/>
                  </a:lnTo>
                  <a:lnTo>
                    <a:pt x="14288" y="25718"/>
                  </a:lnTo>
                  <a:lnTo>
                    <a:pt x="0" y="50482"/>
                  </a:lnTo>
                  <a:lnTo>
                    <a:pt x="17145" y="64770"/>
                  </a:lnTo>
                  <a:lnTo>
                    <a:pt x="17145" y="90488"/>
                  </a:lnTo>
                  <a:lnTo>
                    <a:pt x="0" y="103823"/>
                  </a:lnTo>
                  <a:lnTo>
                    <a:pt x="14288" y="128588"/>
                  </a:lnTo>
                  <a:lnTo>
                    <a:pt x="36195" y="120015"/>
                  </a:lnTo>
                  <a:lnTo>
                    <a:pt x="58102" y="132398"/>
                  </a:lnTo>
                  <a:lnTo>
                    <a:pt x="61913" y="152400"/>
                  </a:lnTo>
                  <a:lnTo>
                    <a:pt x="90488" y="152400"/>
                  </a:lnTo>
                  <a:lnTo>
                    <a:pt x="93345" y="132398"/>
                  </a:lnTo>
                  <a:lnTo>
                    <a:pt x="115252" y="120015"/>
                  </a:lnTo>
                  <a:lnTo>
                    <a:pt x="137160" y="127635"/>
                  </a:lnTo>
                  <a:close/>
                  <a:moveTo>
                    <a:pt x="89535" y="100965"/>
                  </a:moveTo>
                  <a:cubicBezTo>
                    <a:pt x="83820" y="103823"/>
                    <a:pt x="78105" y="105727"/>
                    <a:pt x="71438" y="104775"/>
                  </a:cubicBezTo>
                  <a:cubicBezTo>
                    <a:pt x="64770" y="103823"/>
                    <a:pt x="59055" y="100965"/>
                    <a:pt x="55245" y="96202"/>
                  </a:cubicBezTo>
                  <a:cubicBezTo>
                    <a:pt x="50482" y="91440"/>
                    <a:pt x="47625" y="85725"/>
                    <a:pt x="46673" y="80010"/>
                  </a:cubicBezTo>
                  <a:cubicBezTo>
                    <a:pt x="45720" y="73343"/>
                    <a:pt x="46673" y="67627"/>
                    <a:pt x="50482" y="61913"/>
                  </a:cubicBezTo>
                  <a:cubicBezTo>
                    <a:pt x="54293" y="56198"/>
                    <a:pt x="58102" y="52388"/>
                    <a:pt x="63817" y="49530"/>
                  </a:cubicBezTo>
                  <a:cubicBezTo>
                    <a:pt x="69533" y="46673"/>
                    <a:pt x="76200" y="46673"/>
                    <a:pt x="81915" y="48577"/>
                  </a:cubicBezTo>
                  <a:cubicBezTo>
                    <a:pt x="87630" y="50482"/>
                    <a:pt x="93345" y="53340"/>
                    <a:pt x="97155" y="59055"/>
                  </a:cubicBezTo>
                  <a:cubicBezTo>
                    <a:pt x="100965" y="63818"/>
                    <a:pt x="102870" y="70485"/>
                    <a:pt x="102870" y="76200"/>
                  </a:cubicBezTo>
                  <a:cubicBezTo>
                    <a:pt x="102870" y="80963"/>
                    <a:pt x="101917" y="85725"/>
                    <a:pt x="99060" y="90488"/>
                  </a:cubicBezTo>
                  <a:cubicBezTo>
                    <a:pt x="98108" y="94298"/>
                    <a:pt x="94298" y="98107"/>
                    <a:pt x="89535" y="100965"/>
                  </a:cubicBezTo>
                  <a:lnTo>
                    <a:pt x="89535" y="100965"/>
                  </a:lnTo>
                  <a:close/>
                </a:path>
              </a:pathLst>
            </a:custGeom>
            <a:solidFill>
              <a:srgbClr val="40AA1D"/>
            </a:solidFill>
            <a:ln w="9525" cap="flat">
              <a:noFill/>
              <a:prstDash val="solid"/>
              <a:miter/>
            </a:ln>
          </p:spPr>
          <p:txBody>
            <a:bodyPr rtlCol="0" anchor="ctr"/>
            <a:lstStyle/>
            <a:p>
              <a:endParaRPr lang="en-US" dirty="0"/>
            </a:p>
          </p:txBody>
        </p:sp>
        <p:sp>
          <p:nvSpPr>
            <p:cNvPr id="329" name="Freeform: Shape 328">
              <a:extLst>
                <a:ext uri="{FF2B5EF4-FFF2-40B4-BE49-F238E27FC236}">
                  <a16:creationId xmlns:a16="http://schemas.microsoft.com/office/drawing/2014/main" id="{0AD3C59F-22D5-84ED-4102-AD531FFD0216}"/>
                </a:ext>
              </a:extLst>
            </p:cNvPr>
            <p:cNvSpPr/>
            <p:nvPr/>
          </p:nvSpPr>
          <p:spPr>
            <a:xfrm>
              <a:off x="3039434" y="2925858"/>
              <a:ext cx="151447" cy="152400"/>
            </a:xfrm>
            <a:custGeom>
              <a:avLst/>
              <a:gdLst>
                <a:gd name="connsiteX0" fmla="*/ 137160 w 151447"/>
                <a:gd name="connsiteY0" fmla="*/ 127635 h 152400"/>
                <a:gd name="connsiteX1" fmla="*/ 151448 w 151447"/>
                <a:gd name="connsiteY1" fmla="*/ 102870 h 152400"/>
                <a:gd name="connsiteX2" fmla="*/ 133350 w 151447"/>
                <a:gd name="connsiteY2" fmla="*/ 88583 h 152400"/>
                <a:gd name="connsiteX3" fmla="*/ 133350 w 151447"/>
                <a:gd name="connsiteY3" fmla="*/ 62865 h 152400"/>
                <a:gd name="connsiteX4" fmla="*/ 151448 w 151447"/>
                <a:gd name="connsiteY4" fmla="*/ 47625 h 152400"/>
                <a:gd name="connsiteX5" fmla="*/ 137160 w 151447"/>
                <a:gd name="connsiteY5" fmla="*/ 22860 h 152400"/>
                <a:gd name="connsiteX6" fmla="*/ 115252 w 151447"/>
                <a:gd name="connsiteY6" fmla="*/ 31433 h 152400"/>
                <a:gd name="connsiteX7" fmla="*/ 93345 w 151447"/>
                <a:gd name="connsiteY7" fmla="*/ 19050 h 152400"/>
                <a:gd name="connsiteX8" fmla="*/ 89535 w 151447"/>
                <a:gd name="connsiteY8" fmla="*/ 0 h 152400"/>
                <a:gd name="connsiteX9" fmla="*/ 60960 w 151447"/>
                <a:gd name="connsiteY9" fmla="*/ 0 h 152400"/>
                <a:gd name="connsiteX10" fmla="*/ 57150 w 151447"/>
                <a:gd name="connsiteY10" fmla="*/ 20003 h 152400"/>
                <a:gd name="connsiteX11" fmla="*/ 35243 w 151447"/>
                <a:gd name="connsiteY11" fmla="*/ 33338 h 152400"/>
                <a:gd name="connsiteX12" fmla="*/ 14288 w 151447"/>
                <a:gd name="connsiteY12" fmla="*/ 25717 h 152400"/>
                <a:gd name="connsiteX13" fmla="*/ 0 w 151447"/>
                <a:gd name="connsiteY13" fmla="*/ 50483 h 152400"/>
                <a:gd name="connsiteX14" fmla="*/ 17145 w 151447"/>
                <a:gd name="connsiteY14" fmla="*/ 64770 h 152400"/>
                <a:gd name="connsiteX15" fmla="*/ 17145 w 151447"/>
                <a:gd name="connsiteY15" fmla="*/ 90488 h 152400"/>
                <a:gd name="connsiteX16" fmla="*/ 0 w 151447"/>
                <a:gd name="connsiteY16" fmla="*/ 103823 h 152400"/>
                <a:gd name="connsiteX17" fmla="*/ 14288 w 151447"/>
                <a:gd name="connsiteY17" fmla="*/ 128588 h 152400"/>
                <a:gd name="connsiteX18" fmla="*/ 36195 w 151447"/>
                <a:gd name="connsiteY18" fmla="*/ 120015 h 152400"/>
                <a:gd name="connsiteX19" fmla="*/ 58102 w 151447"/>
                <a:gd name="connsiteY19" fmla="*/ 132398 h 152400"/>
                <a:gd name="connsiteX20" fmla="*/ 61913 w 151447"/>
                <a:gd name="connsiteY20" fmla="*/ 152400 h 152400"/>
                <a:gd name="connsiteX21" fmla="*/ 90488 w 151447"/>
                <a:gd name="connsiteY21" fmla="*/ 152400 h 152400"/>
                <a:gd name="connsiteX22" fmla="*/ 93345 w 151447"/>
                <a:gd name="connsiteY22" fmla="*/ 132398 h 152400"/>
                <a:gd name="connsiteX23" fmla="*/ 115252 w 151447"/>
                <a:gd name="connsiteY23" fmla="*/ 120015 h 152400"/>
                <a:gd name="connsiteX24" fmla="*/ 137160 w 151447"/>
                <a:gd name="connsiteY24" fmla="*/ 127635 h 152400"/>
                <a:gd name="connsiteX25" fmla="*/ 89535 w 151447"/>
                <a:gd name="connsiteY25" fmla="*/ 100965 h 152400"/>
                <a:gd name="connsiteX26" fmla="*/ 71438 w 151447"/>
                <a:gd name="connsiteY26" fmla="*/ 104775 h 152400"/>
                <a:gd name="connsiteX27" fmla="*/ 55245 w 151447"/>
                <a:gd name="connsiteY27" fmla="*/ 96203 h 152400"/>
                <a:gd name="connsiteX28" fmla="*/ 46673 w 151447"/>
                <a:gd name="connsiteY28" fmla="*/ 80010 h 152400"/>
                <a:gd name="connsiteX29" fmla="*/ 50482 w 151447"/>
                <a:gd name="connsiteY29" fmla="*/ 61913 h 152400"/>
                <a:gd name="connsiteX30" fmla="*/ 63818 w 151447"/>
                <a:gd name="connsiteY30" fmla="*/ 49530 h 152400"/>
                <a:gd name="connsiteX31" fmla="*/ 81915 w 151447"/>
                <a:gd name="connsiteY31" fmla="*/ 48578 h 152400"/>
                <a:gd name="connsiteX32" fmla="*/ 97155 w 151447"/>
                <a:gd name="connsiteY32" fmla="*/ 59055 h 152400"/>
                <a:gd name="connsiteX33" fmla="*/ 102870 w 151447"/>
                <a:gd name="connsiteY33" fmla="*/ 76200 h 152400"/>
                <a:gd name="connsiteX34" fmla="*/ 99060 w 151447"/>
                <a:gd name="connsiteY34" fmla="*/ 90488 h 152400"/>
                <a:gd name="connsiteX35" fmla="*/ 89535 w 151447"/>
                <a:gd name="connsiteY35" fmla="*/ 100965 h 152400"/>
                <a:gd name="connsiteX36" fmla="*/ 89535 w 151447"/>
                <a:gd name="connsiteY36" fmla="*/ 10096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1447" h="152400">
                  <a:moveTo>
                    <a:pt x="137160" y="127635"/>
                  </a:moveTo>
                  <a:lnTo>
                    <a:pt x="151448" y="102870"/>
                  </a:lnTo>
                  <a:lnTo>
                    <a:pt x="133350" y="88583"/>
                  </a:lnTo>
                  <a:lnTo>
                    <a:pt x="133350" y="62865"/>
                  </a:lnTo>
                  <a:lnTo>
                    <a:pt x="151448" y="47625"/>
                  </a:lnTo>
                  <a:lnTo>
                    <a:pt x="137160" y="22860"/>
                  </a:lnTo>
                  <a:lnTo>
                    <a:pt x="115252" y="31433"/>
                  </a:lnTo>
                  <a:lnTo>
                    <a:pt x="93345" y="19050"/>
                  </a:lnTo>
                  <a:lnTo>
                    <a:pt x="89535" y="0"/>
                  </a:lnTo>
                  <a:lnTo>
                    <a:pt x="60960" y="0"/>
                  </a:lnTo>
                  <a:lnTo>
                    <a:pt x="57150" y="20003"/>
                  </a:lnTo>
                  <a:lnTo>
                    <a:pt x="35243" y="33338"/>
                  </a:lnTo>
                  <a:lnTo>
                    <a:pt x="14288" y="25717"/>
                  </a:lnTo>
                  <a:lnTo>
                    <a:pt x="0" y="50483"/>
                  </a:lnTo>
                  <a:lnTo>
                    <a:pt x="17145" y="64770"/>
                  </a:lnTo>
                  <a:lnTo>
                    <a:pt x="17145" y="90488"/>
                  </a:lnTo>
                  <a:lnTo>
                    <a:pt x="0" y="103823"/>
                  </a:lnTo>
                  <a:lnTo>
                    <a:pt x="14288" y="128588"/>
                  </a:lnTo>
                  <a:lnTo>
                    <a:pt x="36195" y="120015"/>
                  </a:lnTo>
                  <a:lnTo>
                    <a:pt x="58102" y="132398"/>
                  </a:lnTo>
                  <a:lnTo>
                    <a:pt x="61913" y="152400"/>
                  </a:lnTo>
                  <a:lnTo>
                    <a:pt x="90488" y="152400"/>
                  </a:lnTo>
                  <a:lnTo>
                    <a:pt x="93345" y="132398"/>
                  </a:lnTo>
                  <a:lnTo>
                    <a:pt x="115252" y="120015"/>
                  </a:lnTo>
                  <a:lnTo>
                    <a:pt x="137160" y="127635"/>
                  </a:lnTo>
                  <a:close/>
                  <a:moveTo>
                    <a:pt x="89535" y="100965"/>
                  </a:moveTo>
                  <a:cubicBezTo>
                    <a:pt x="83820" y="103823"/>
                    <a:pt x="78105" y="105728"/>
                    <a:pt x="71438" y="104775"/>
                  </a:cubicBezTo>
                  <a:cubicBezTo>
                    <a:pt x="64770" y="103823"/>
                    <a:pt x="59055" y="100965"/>
                    <a:pt x="55245" y="96203"/>
                  </a:cubicBezTo>
                  <a:cubicBezTo>
                    <a:pt x="50482" y="91440"/>
                    <a:pt x="47625" y="85725"/>
                    <a:pt x="46673" y="80010"/>
                  </a:cubicBezTo>
                  <a:cubicBezTo>
                    <a:pt x="45720" y="73343"/>
                    <a:pt x="46673" y="67628"/>
                    <a:pt x="50482" y="61913"/>
                  </a:cubicBezTo>
                  <a:cubicBezTo>
                    <a:pt x="53340" y="56198"/>
                    <a:pt x="58102" y="52388"/>
                    <a:pt x="63818" y="49530"/>
                  </a:cubicBezTo>
                  <a:cubicBezTo>
                    <a:pt x="69532" y="46673"/>
                    <a:pt x="76200" y="46673"/>
                    <a:pt x="81915" y="48578"/>
                  </a:cubicBezTo>
                  <a:cubicBezTo>
                    <a:pt x="87630" y="50483"/>
                    <a:pt x="93345" y="53340"/>
                    <a:pt x="97155" y="59055"/>
                  </a:cubicBezTo>
                  <a:cubicBezTo>
                    <a:pt x="100965" y="63818"/>
                    <a:pt x="102870" y="70485"/>
                    <a:pt x="102870" y="76200"/>
                  </a:cubicBezTo>
                  <a:cubicBezTo>
                    <a:pt x="102870" y="80963"/>
                    <a:pt x="101918" y="85725"/>
                    <a:pt x="99060" y="90488"/>
                  </a:cubicBezTo>
                  <a:cubicBezTo>
                    <a:pt x="96202" y="95250"/>
                    <a:pt x="94298" y="98108"/>
                    <a:pt x="89535" y="100965"/>
                  </a:cubicBezTo>
                  <a:lnTo>
                    <a:pt x="89535" y="100965"/>
                  </a:lnTo>
                  <a:close/>
                </a:path>
              </a:pathLst>
            </a:custGeom>
            <a:solidFill>
              <a:srgbClr val="3D4647"/>
            </a:solidFill>
            <a:ln w="9525" cap="flat">
              <a:noFill/>
              <a:prstDash val="solid"/>
              <a:miter/>
            </a:ln>
          </p:spPr>
          <p:txBody>
            <a:bodyPr rtlCol="0" anchor="ctr"/>
            <a:lstStyle/>
            <a:p>
              <a:endParaRPr lang="en-US" dirty="0"/>
            </a:p>
          </p:txBody>
        </p:sp>
        <p:sp>
          <p:nvSpPr>
            <p:cNvPr id="330" name="Freeform: Shape 329">
              <a:extLst>
                <a:ext uri="{FF2B5EF4-FFF2-40B4-BE49-F238E27FC236}">
                  <a16:creationId xmlns:a16="http://schemas.microsoft.com/office/drawing/2014/main" id="{86A09378-3858-C8D4-B715-AD39D7364A4B}"/>
                </a:ext>
              </a:extLst>
            </p:cNvPr>
            <p:cNvSpPr/>
            <p:nvPr/>
          </p:nvSpPr>
          <p:spPr>
            <a:xfrm>
              <a:off x="3251841" y="2906808"/>
              <a:ext cx="263842" cy="304800"/>
            </a:xfrm>
            <a:custGeom>
              <a:avLst/>
              <a:gdLst>
                <a:gd name="connsiteX0" fmla="*/ 131445 w 263842"/>
                <a:gd name="connsiteY0" fmla="*/ 0 h 304800"/>
                <a:gd name="connsiteX1" fmla="*/ 0 w 263842"/>
                <a:gd name="connsiteY1" fmla="*/ 76200 h 304800"/>
                <a:gd name="connsiteX2" fmla="*/ 0 w 263842"/>
                <a:gd name="connsiteY2" fmla="*/ 76200 h 304800"/>
                <a:gd name="connsiteX3" fmla="*/ 0 w 263842"/>
                <a:gd name="connsiteY3" fmla="*/ 76200 h 304800"/>
                <a:gd name="connsiteX4" fmla="*/ 0 w 263842"/>
                <a:gd name="connsiteY4" fmla="*/ 228600 h 304800"/>
                <a:gd name="connsiteX5" fmla="*/ 132397 w 263842"/>
                <a:gd name="connsiteY5" fmla="*/ 304800 h 304800"/>
                <a:gd name="connsiteX6" fmla="*/ 263843 w 263842"/>
                <a:gd name="connsiteY6" fmla="*/ 228600 h 304800"/>
                <a:gd name="connsiteX7" fmla="*/ 263843 w 263842"/>
                <a:gd name="connsiteY7" fmla="*/ 76200 h 304800"/>
                <a:gd name="connsiteX8" fmla="*/ 131445 w 263842"/>
                <a:gd name="connsiteY8" fmla="*/ 0 h 304800"/>
                <a:gd name="connsiteX9" fmla="*/ 131445 w 263842"/>
                <a:gd name="connsiteY9" fmla="*/ 43815 h 304800"/>
                <a:gd name="connsiteX10" fmla="*/ 206693 w 263842"/>
                <a:gd name="connsiteY10" fmla="*/ 87630 h 304800"/>
                <a:gd name="connsiteX11" fmla="*/ 131445 w 263842"/>
                <a:gd name="connsiteY11" fmla="*/ 130493 h 304800"/>
                <a:gd name="connsiteX12" fmla="*/ 56198 w 263842"/>
                <a:gd name="connsiteY12" fmla="*/ 87630 h 304800"/>
                <a:gd name="connsiteX13" fmla="*/ 131445 w 263842"/>
                <a:gd name="connsiteY13" fmla="*/ 43815 h 304800"/>
                <a:gd name="connsiteX14" fmla="*/ 38100 w 263842"/>
                <a:gd name="connsiteY14" fmla="*/ 206693 h 304800"/>
                <a:gd name="connsiteX15" fmla="*/ 38100 w 263842"/>
                <a:gd name="connsiteY15" fmla="*/ 120015 h 304800"/>
                <a:gd name="connsiteX16" fmla="*/ 113347 w 263842"/>
                <a:gd name="connsiteY16" fmla="*/ 162878 h 304800"/>
                <a:gd name="connsiteX17" fmla="*/ 113347 w 263842"/>
                <a:gd name="connsiteY17" fmla="*/ 249555 h 304800"/>
                <a:gd name="connsiteX18" fmla="*/ 38100 w 263842"/>
                <a:gd name="connsiteY18" fmla="*/ 206693 h 304800"/>
                <a:gd name="connsiteX19" fmla="*/ 225743 w 263842"/>
                <a:gd name="connsiteY19" fmla="*/ 206693 h 304800"/>
                <a:gd name="connsiteX20" fmla="*/ 150495 w 263842"/>
                <a:gd name="connsiteY20" fmla="*/ 249555 h 304800"/>
                <a:gd name="connsiteX21" fmla="*/ 150495 w 263842"/>
                <a:gd name="connsiteY21" fmla="*/ 162878 h 304800"/>
                <a:gd name="connsiteX22" fmla="*/ 225743 w 263842"/>
                <a:gd name="connsiteY22" fmla="*/ 120015 h 304800"/>
                <a:gd name="connsiteX23" fmla="*/ 225743 w 263842"/>
                <a:gd name="connsiteY23" fmla="*/ 20669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3842" h="304800">
                  <a:moveTo>
                    <a:pt x="131445" y="0"/>
                  </a:moveTo>
                  <a:lnTo>
                    <a:pt x="0" y="76200"/>
                  </a:lnTo>
                  <a:lnTo>
                    <a:pt x="0" y="76200"/>
                  </a:lnTo>
                  <a:lnTo>
                    <a:pt x="0" y="76200"/>
                  </a:lnTo>
                  <a:lnTo>
                    <a:pt x="0" y="228600"/>
                  </a:lnTo>
                  <a:lnTo>
                    <a:pt x="132397" y="304800"/>
                  </a:lnTo>
                  <a:lnTo>
                    <a:pt x="263843" y="228600"/>
                  </a:lnTo>
                  <a:lnTo>
                    <a:pt x="263843" y="76200"/>
                  </a:lnTo>
                  <a:lnTo>
                    <a:pt x="131445" y="0"/>
                  </a:lnTo>
                  <a:close/>
                  <a:moveTo>
                    <a:pt x="131445" y="43815"/>
                  </a:moveTo>
                  <a:lnTo>
                    <a:pt x="206693" y="87630"/>
                  </a:lnTo>
                  <a:lnTo>
                    <a:pt x="131445" y="130493"/>
                  </a:lnTo>
                  <a:lnTo>
                    <a:pt x="56198" y="87630"/>
                  </a:lnTo>
                  <a:lnTo>
                    <a:pt x="131445" y="43815"/>
                  </a:lnTo>
                  <a:close/>
                  <a:moveTo>
                    <a:pt x="38100" y="206693"/>
                  </a:moveTo>
                  <a:lnTo>
                    <a:pt x="38100" y="120015"/>
                  </a:lnTo>
                  <a:lnTo>
                    <a:pt x="113347" y="162878"/>
                  </a:lnTo>
                  <a:lnTo>
                    <a:pt x="113347" y="249555"/>
                  </a:lnTo>
                  <a:lnTo>
                    <a:pt x="38100" y="206693"/>
                  </a:lnTo>
                  <a:close/>
                  <a:moveTo>
                    <a:pt x="225743" y="206693"/>
                  </a:moveTo>
                  <a:lnTo>
                    <a:pt x="150495" y="249555"/>
                  </a:lnTo>
                  <a:lnTo>
                    <a:pt x="150495" y="162878"/>
                  </a:lnTo>
                  <a:lnTo>
                    <a:pt x="225743" y="120015"/>
                  </a:lnTo>
                  <a:lnTo>
                    <a:pt x="225743" y="206693"/>
                  </a:lnTo>
                  <a:close/>
                </a:path>
              </a:pathLst>
            </a:custGeom>
            <a:solidFill>
              <a:srgbClr val="3D4647"/>
            </a:solidFill>
            <a:ln w="9525" cap="flat">
              <a:noFill/>
              <a:prstDash val="solid"/>
              <a:miter/>
            </a:ln>
          </p:spPr>
          <p:txBody>
            <a:bodyPr rtlCol="0" anchor="ctr"/>
            <a:lstStyle/>
            <a:p>
              <a:endParaRPr lang="en-US" dirty="0"/>
            </a:p>
          </p:txBody>
        </p:sp>
      </p:grpSp>
      <p:sp>
        <p:nvSpPr>
          <p:cNvPr id="10" name="Title 9">
            <a:extLst>
              <a:ext uri="{FF2B5EF4-FFF2-40B4-BE49-F238E27FC236}">
                <a16:creationId xmlns:a16="http://schemas.microsoft.com/office/drawing/2014/main" id="{B82C035B-7D97-3A9B-A476-0E18CE99FD7A}"/>
              </a:ext>
            </a:extLst>
          </p:cNvPr>
          <p:cNvSpPr>
            <a:spLocks noGrp="1"/>
          </p:cNvSpPr>
          <p:nvPr>
            <p:ph type="title"/>
          </p:nvPr>
        </p:nvSpPr>
        <p:spPr>
          <a:xfrm>
            <a:off x="490760" y="547539"/>
            <a:ext cx="10789920" cy="369332"/>
          </a:xfrm>
        </p:spPr>
        <p:txBody>
          <a:bodyPr/>
          <a:lstStyle/>
          <a:p>
            <a:r>
              <a:rPr lang="en-US" dirty="0"/>
              <a:t>PTC Icons</a:t>
            </a:r>
          </a:p>
        </p:txBody>
      </p:sp>
      <p:sp>
        <p:nvSpPr>
          <p:cNvPr id="235" name="Rectangle 234">
            <a:extLst>
              <a:ext uri="{FF2B5EF4-FFF2-40B4-BE49-F238E27FC236}">
                <a16:creationId xmlns:a16="http://schemas.microsoft.com/office/drawing/2014/main" id="{A398D13D-ACA1-59B3-62D5-38388846AE9F}"/>
              </a:ext>
            </a:extLst>
          </p:cNvPr>
          <p:cNvSpPr/>
          <p:nvPr/>
        </p:nvSpPr>
        <p:spPr>
          <a:xfrm>
            <a:off x="507663" y="1193595"/>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People</a:t>
            </a:r>
            <a:endParaRPr lang="en-US" sz="1400" dirty="0">
              <a:solidFill>
                <a:schemeClr val="bg1"/>
              </a:solidFill>
            </a:endParaRPr>
          </a:p>
        </p:txBody>
      </p:sp>
      <p:sp>
        <p:nvSpPr>
          <p:cNvPr id="8" name="object 9">
            <a:extLst>
              <a:ext uri="{FF2B5EF4-FFF2-40B4-BE49-F238E27FC236}">
                <a16:creationId xmlns:a16="http://schemas.microsoft.com/office/drawing/2014/main" id="{487FFA0C-F7C0-DBAB-908A-6FC08CD2BDE3}"/>
              </a:ext>
            </a:extLst>
          </p:cNvPr>
          <p:cNvSpPr txBox="1"/>
          <p:nvPr/>
        </p:nvSpPr>
        <p:spPr>
          <a:xfrm>
            <a:off x="10967441" y="5461923"/>
            <a:ext cx="974709" cy="138499"/>
          </a:xfrm>
          <a:prstGeom prst="rect">
            <a:avLst/>
          </a:prstGeom>
        </p:spPr>
        <p:txBody>
          <a:bodyPr vert="horz" wrap="square" lIns="0" tIns="0" rIns="0" bIns="0" rtlCol="0" anchor="b">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sz="1000" dirty="0"/>
              <a:t>Construction</a:t>
            </a:r>
          </a:p>
        </p:txBody>
      </p:sp>
      <p:pic>
        <p:nvPicPr>
          <p:cNvPr id="28" name="Graphic 27">
            <a:extLst>
              <a:ext uri="{FF2B5EF4-FFF2-40B4-BE49-F238E27FC236}">
                <a16:creationId xmlns:a16="http://schemas.microsoft.com/office/drawing/2014/main" id="{D006E9FC-7BB5-5E25-D8E3-22CADDD9EC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49995" y="5781879"/>
            <a:ext cx="609600" cy="609600"/>
          </a:xfrm>
          <a:prstGeom prst="rect">
            <a:avLst/>
          </a:prstGeom>
        </p:spPr>
      </p:pic>
      <p:sp>
        <p:nvSpPr>
          <p:cNvPr id="50" name="Text Placeholder 81">
            <a:extLst>
              <a:ext uri="{FF2B5EF4-FFF2-40B4-BE49-F238E27FC236}">
                <a16:creationId xmlns:a16="http://schemas.microsoft.com/office/drawing/2014/main" id="{BAE3D99B-A1D8-971A-24E2-AAC0745F2171}"/>
              </a:ext>
            </a:extLst>
          </p:cNvPr>
          <p:cNvSpPr txBox="1">
            <a:spLocks/>
          </p:cNvSpPr>
          <p:nvPr/>
        </p:nvSpPr>
        <p:spPr>
          <a:xfrm>
            <a:off x="5161417" y="1601632"/>
            <a:ext cx="77377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dmin</a:t>
            </a:r>
          </a:p>
        </p:txBody>
      </p:sp>
      <p:sp>
        <p:nvSpPr>
          <p:cNvPr id="58" name="object 31">
            <a:extLst>
              <a:ext uri="{FF2B5EF4-FFF2-40B4-BE49-F238E27FC236}">
                <a16:creationId xmlns:a16="http://schemas.microsoft.com/office/drawing/2014/main" id="{5B798B57-25CA-E414-359A-11FDBA481575}"/>
              </a:ext>
            </a:extLst>
          </p:cNvPr>
          <p:cNvSpPr txBox="1"/>
          <p:nvPr/>
        </p:nvSpPr>
        <p:spPr>
          <a:xfrm>
            <a:off x="6941511" y="1601632"/>
            <a:ext cx="155448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C</a:t>
            </a:r>
            <a:r>
              <a:rPr sz="1000" dirty="0"/>
              <a:t>onstruction</a:t>
            </a:r>
            <a:r>
              <a:rPr lang="en-US" sz="1000" dirty="0"/>
              <a:t> </a:t>
            </a:r>
            <a:r>
              <a:rPr sz="1000" dirty="0"/>
              <a:t>worker</a:t>
            </a:r>
          </a:p>
        </p:txBody>
      </p:sp>
      <p:sp>
        <p:nvSpPr>
          <p:cNvPr id="62" name="object 17">
            <a:extLst>
              <a:ext uri="{FF2B5EF4-FFF2-40B4-BE49-F238E27FC236}">
                <a16:creationId xmlns:a16="http://schemas.microsoft.com/office/drawing/2014/main" id="{131CC83A-653C-1097-FC1D-11260F153A7C}"/>
              </a:ext>
            </a:extLst>
          </p:cNvPr>
          <p:cNvSpPr txBox="1"/>
          <p:nvPr/>
        </p:nvSpPr>
        <p:spPr>
          <a:xfrm>
            <a:off x="8686715" y="1601632"/>
            <a:ext cx="13716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a:t>
            </a:r>
            <a:r>
              <a:rPr dirty="0"/>
              <a:t>mployee</a:t>
            </a:r>
            <a:r>
              <a:rPr lang="en-US" dirty="0"/>
              <a:t> Experience</a:t>
            </a:r>
            <a:endParaRPr dirty="0"/>
          </a:p>
        </p:txBody>
      </p:sp>
      <p:sp>
        <p:nvSpPr>
          <p:cNvPr id="192" name="object 45">
            <a:extLst>
              <a:ext uri="{FF2B5EF4-FFF2-40B4-BE49-F238E27FC236}">
                <a16:creationId xmlns:a16="http://schemas.microsoft.com/office/drawing/2014/main" id="{B610AA94-0CFA-CC6D-FF35-1DD771842A66}"/>
              </a:ext>
            </a:extLst>
          </p:cNvPr>
          <p:cNvSpPr txBox="1"/>
          <p:nvPr/>
        </p:nvSpPr>
        <p:spPr>
          <a:xfrm>
            <a:off x="10085236" y="1601632"/>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a:t>
            </a:r>
            <a:r>
              <a:rPr dirty="0"/>
              <a:t>eadership</a:t>
            </a:r>
            <a:r>
              <a:rPr lang="en-US" dirty="0"/>
              <a:t> </a:t>
            </a:r>
            <a:endParaRPr dirty="0"/>
          </a:p>
        </p:txBody>
      </p:sp>
      <p:sp>
        <p:nvSpPr>
          <p:cNvPr id="194" name="object 37">
            <a:extLst>
              <a:ext uri="{FF2B5EF4-FFF2-40B4-BE49-F238E27FC236}">
                <a16:creationId xmlns:a16="http://schemas.microsoft.com/office/drawing/2014/main" id="{9BCED2B5-7C73-1B5C-4F08-6B7E10728D19}"/>
              </a:ext>
            </a:extLst>
          </p:cNvPr>
          <p:cNvSpPr txBox="1"/>
          <p:nvPr/>
        </p:nvSpPr>
        <p:spPr>
          <a:xfrm>
            <a:off x="1697805" y="5392673"/>
            <a:ext cx="96103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a:t>
            </a:r>
            <a:r>
              <a:rPr dirty="0"/>
              <a:t>alen</a:t>
            </a:r>
            <a:r>
              <a:rPr lang="en-US" dirty="0"/>
              <a:t>t R</a:t>
            </a:r>
            <a:r>
              <a:rPr dirty="0"/>
              <a:t>etention</a:t>
            </a:r>
          </a:p>
        </p:txBody>
      </p:sp>
      <p:sp>
        <p:nvSpPr>
          <p:cNvPr id="199" name="object 13">
            <a:extLst>
              <a:ext uri="{FF2B5EF4-FFF2-40B4-BE49-F238E27FC236}">
                <a16:creationId xmlns:a16="http://schemas.microsoft.com/office/drawing/2014/main" id="{A3AE9FAC-A7C2-16D1-8C84-81F6997A499F}"/>
              </a:ext>
            </a:extLst>
          </p:cNvPr>
          <p:cNvSpPr txBox="1"/>
          <p:nvPr/>
        </p:nvSpPr>
        <p:spPr>
          <a:xfrm>
            <a:off x="8415723" y="5392673"/>
            <a:ext cx="103887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a:t>
            </a:r>
            <a:r>
              <a:rPr dirty="0"/>
              <a:t>orker</a:t>
            </a:r>
            <a:r>
              <a:rPr lang="en-US" dirty="0"/>
              <a:t> </a:t>
            </a:r>
            <a:r>
              <a:rPr dirty="0"/>
              <a:t>shortages</a:t>
            </a:r>
          </a:p>
        </p:txBody>
      </p:sp>
      <p:pic>
        <p:nvPicPr>
          <p:cNvPr id="203" name="Graphic 202">
            <a:extLst>
              <a:ext uri="{FF2B5EF4-FFF2-40B4-BE49-F238E27FC236}">
                <a16:creationId xmlns:a16="http://schemas.microsoft.com/office/drawing/2014/main" id="{92620CF4-EDFB-57E3-AA6E-26BD7327890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85165" y="1812286"/>
            <a:ext cx="774700" cy="609600"/>
          </a:xfrm>
          <a:prstGeom prst="rect">
            <a:avLst/>
          </a:prstGeom>
        </p:spPr>
      </p:pic>
      <p:pic>
        <p:nvPicPr>
          <p:cNvPr id="205" name="Graphic 204">
            <a:extLst>
              <a:ext uri="{FF2B5EF4-FFF2-40B4-BE49-F238E27FC236}">
                <a16:creationId xmlns:a16="http://schemas.microsoft.com/office/drawing/2014/main" id="{F8D1C9FD-E49D-7ACF-07A4-F0DEDF5F84D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90602" y="1781806"/>
            <a:ext cx="503669" cy="640080"/>
          </a:xfrm>
          <a:prstGeom prst="rect">
            <a:avLst/>
          </a:prstGeom>
        </p:spPr>
      </p:pic>
      <p:sp>
        <p:nvSpPr>
          <p:cNvPr id="193" name="object 35">
            <a:extLst>
              <a:ext uri="{FF2B5EF4-FFF2-40B4-BE49-F238E27FC236}">
                <a16:creationId xmlns:a16="http://schemas.microsoft.com/office/drawing/2014/main" id="{5ADB45DB-10F1-3D1E-6F8D-4A17742E6026}"/>
              </a:ext>
            </a:extLst>
          </p:cNvPr>
          <p:cNvSpPr txBox="1"/>
          <p:nvPr/>
        </p:nvSpPr>
        <p:spPr>
          <a:xfrm>
            <a:off x="9608832" y="5392673"/>
            <a:ext cx="1204378"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a:t>
            </a:r>
            <a:r>
              <a:rPr dirty="0"/>
              <a:t>ugmented</a:t>
            </a:r>
            <a:r>
              <a:rPr lang="en-US" dirty="0"/>
              <a:t> Workforce</a:t>
            </a:r>
            <a:endParaRPr dirty="0"/>
          </a:p>
        </p:txBody>
      </p:sp>
      <p:pic>
        <p:nvPicPr>
          <p:cNvPr id="206" name="Graphic 205">
            <a:extLst>
              <a:ext uri="{FF2B5EF4-FFF2-40B4-BE49-F238E27FC236}">
                <a16:creationId xmlns:a16="http://schemas.microsoft.com/office/drawing/2014/main" id="{61368B3F-EE68-B1E8-1167-DE9B359082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32657" y="5720919"/>
            <a:ext cx="575622" cy="731520"/>
          </a:xfrm>
          <a:prstGeom prst="rect">
            <a:avLst/>
          </a:prstGeom>
        </p:spPr>
      </p:pic>
      <p:grpSp>
        <p:nvGrpSpPr>
          <p:cNvPr id="2" name="Graphic 207">
            <a:extLst>
              <a:ext uri="{FF2B5EF4-FFF2-40B4-BE49-F238E27FC236}">
                <a16:creationId xmlns:a16="http://schemas.microsoft.com/office/drawing/2014/main" id="{50DA1FB5-96D4-44B3-32FE-A41F1D43AD6E}"/>
              </a:ext>
            </a:extLst>
          </p:cNvPr>
          <p:cNvGrpSpPr/>
          <p:nvPr/>
        </p:nvGrpSpPr>
        <p:grpSpPr>
          <a:xfrm>
            <a:off x="1883677" y="5781879"/>
            <a:ext cx="609600" cy="609600"/>
            <a:chOff x="10601142" y="3055327"/>
            <a:chExt cx="609600" cy="609600"/>
          </a:xfrm>
        </p:grpSpPr>
        <p:grpSp>
          <p:nvGrpSpPr>
            <p:cNvPr id="18" name="Graphic 207">
              <a:extLst>
                <a:ext uri="{FF2B5EF4-FFF2-40B4-BE49-F238E27FC236}">
                  <a16:creationId xmlns:a16="http://schemas.microsoft.com/office/drawing/2014/main" id="{6BEB482B-8C53-F57D-7E29-90DDE4341888}"/>
                </a:ext>
              </a:extLst>
            </p:cNvPr>
            <p:cNvGrpSpPr/>
            <p:nvPr/>
          </p:nvGrpSpPr>
          <p:grpSpPr>
            <a:xfrm>
              <a:off x="10734492" y="3244874"/>
              <a:ext cx="304800" cy="230504"/>
              <a:chOff x="10734492" y="3244874"/>
              <a:chExt cx="304800" cy="230504"/>
            </a:xfrm>
            <a:solidFill>
              <a:srgbClr val="40AA1D"/>
            </a:solidFill>
          </p:grpSpPr>
          <p:sp>
            <p:nvSpPr>
              <p:cNvPr id="46" name="Freeform: Shape 45">
                <a:extLst>
                  <a:ext uri="{FF2B5EF4-FFF2-40B4-BE49-F238E27FC236}">
                    <a16:creationId xmlns:a16="http://schemas.microsoft.com/office/drawing/2014/main" id="{CC77D35D-6FA6-D594-1FDD-070CAF4F6C75}"/>
                  </a:ext>
                </a:extLst>
              </p:cNvPr>
              <p:cNvSpPr/>
              <p:nvPr/>
            </p:nvSpPr>
            <p:spPr>
              <a:xfrm>
                <a:off x="10881176" y="3244874"/>
                <a:ext cx="158115" cy="184784"/>
              </a:xfrm>
              <a:custGeom>
                <a:avLst/>
                <a:gdLst>
                  <a:gd name="connsiteX0" fmla="*/ 158115 w 158115"/>
                  <a:gd name="connsiteY0" fmla="*/ 183833 h 184784"/>
                  <a:gd name="connsiteX1" fmla="*/ 145733 w 158115"/>
                  <a:gd name="connsiteY1" fmla="*/ 138113 h 184784"/>
                  <a:gd name="connsiteX2" fmla="*/ 128588 w 158115"/>
                  <a:gd name="connsiteY2" fmla="*/ 122873 h 184784"/>
                  <a:gd name="connsiteX3" fmla="*/ 97155 w 158115"/>
                  <a:gd name="connsiteY3" fmla="*/ 116205 h 184784"/>
                  <a:gd name="connsiteX4" fmla="*/ 90488 w 158115"/>
                  <a:gd name="connsiteY4" fmla="*/ 106680 h 184784"/>
                  <a:gd name="connsiteX5" fmla="*/ 90488 w 158115"/>
                  <a:gd name="connsiteY5" fmla="*/ 97155 h 184784"/>
                  <a:gd name="connsiteX6" fmla="*/ 98108 w 158115"/>
                  <a:gd name="connsiteY6" fmla="*/ 83820 h 184784"/>
                  <a:gd name="connsiteX7" fmla="*/ 98108 w 158115"/>
                  <a:gd name="connsiteY7" fmla="*/ 82868 h 184784"/>
                  <a:gd name="connsiteX8" fmla="*/ 100965 w 158115"/>
                  <a:gd name="connsiteY8" fmla="*/ 80963 h 184784"/>
                  <a:gd name="connsiteX9" fmla="*/ 103823 w 158115"/>
                  <a:gd name="connsiteY9" fmla="*/ 76200 h 184784"/>
                  <a:gd name="connsiteX10" fmla="*/ 105728 w 158115"/>
                  <a:gd name="connsiteY10" fmla="*/ 68580 h 184784"/>
                  <a:gd name="connsiteX11" fmla="*/ 107633 w 158115"/>
                  <a:gd name="connsiteY11" fmla="*/ 60960 h 184784"/>
                  <a:gd name="connsiteX12" fmla="*/ 105728 w 158115"/>
                  <a:gd name="connsiteY12" fmla="*/ 52388 h 184784"/>
                  <a:gd name="connsiteX13" fmla="*/ 103823 w 158115"/>
                  <a:gd name="connsiteY13" fmla="*/ 50483 h 184784"/>
                  <a:gd name="connsiteX14" fmla="*/ 97155 w 158115"/>
                  <a:gd name="connsiteY14" fmla="*/ 18097 h 184784"/>
                  <a:gd name="connsiteX15" fmla="*/ 70485 w 158115"/>
                  <a:gd name="connsiteY15" fmla="*/ 953 h 184784"/>
                  <a:gd name="connsiteX16" fmla="*/ 62865 w 158115"/>
                  <a:gd name="connsiteY16" fmla="*/ 0 h 184784"/>
                  <a:gd name="connsiteX17" fmla="*/ 62865 w 158115"/>
                  <a:gd name="connsiteY17" fmla="*/ 0 h 184784"/>
                  <a:gd name="connsiteX18" fmla="*/ 62865 w 158115"/>
                  <a:gd name="connsiteY18" fmla="*/ 0 h 184784"/>
                  <a:gd name="connsiteX19" fmla="*/ 62865 w 158115"/>
                  <a:gd name="connsiteY19" fmla="*/ 0 h 184784"/>
                  <a:gd name="connsiteX20" fmla="*/ 62865 w 158115"/>
                  <a:gd name="connsiteY20" fmla="*/ 0 h 184784"/>
                  <a:gd name="connsiteX21" fmla="*/ 55245 w 158115"/>
                  <a:gd name="connsiteY21" fmla="*/ 953 h 184784"/>
                  <a:gd name="connsiteX22" fmla="*/ 28575 w 158115"/>
                  <a:gd name="connsiteY22" fmla="*/ 18097 h 184784"/>
                  <a:gd name="connsiteX23" fmla="*/ 21908 w 158115"/>
                  <a:gd name="connsiteY23" fmla="*/ 50483 h 184784"/>
                  <a:gd name="connsiteX24" fmla="*/ 20003 w 158115"/>
                  <a:gd name="connsiteY24" fmla="*/ 52388 h 184784"/>
                  <a:gd name="connsiteX25" fmla="*/ 18097 w 158115"/>
                  <a:gd name="connsiteY25" fmla="*/ 60960 h 184784"/>
                  <a:gd name="connsiteX26" fmla="*/ 20003 w 158115"/>
                  <a:gd name="connsiteY26" fmla="*/ 68580 h 184784"/>
                  <a:gd name="connsiteX27" fmla="*/ 21908 w 158115"/>
                  <a:gd name="connsiteY27" fmla="*/ 76200 h 184784"/>
                  <a:gd name="connsiteX28" fmla="*/ 24765 w 158115"/>
                  <a:gd name="connsiteY28" fmla="*/ 80963 h 184784"/>
                  <a:gd name="connsiteX29" fmla="*/ 27622 w 158115"/>
                  <a:gd name="connsiteY29" fmla="*/ 82868 h 184784"/>
                  <a:gd name="connsiteX30" fmla="*/ 27622 w 158115"/>
                  <a:gd name="connsiteY30" fmla="*/ 83820 h 184784"/>
                  <a:gd name="connsiteX31" fmla="*/ 35242 w 158115"/>
                  <a:gd name="connsiteY31" fmla="*/ 97155 h 184784"/>
                  <a:gd name="connsiteX32" fmla="*/ 35242 w 158115"/>
                  <a:gd name="connsiteY32" fmla="*/ 106680 h 184784"/>
                  <a:gd name="connsiteX33" fmla="*/ 29528 w 158115"/>
                  <a:gd name="connsiteY33" fmla="*/ 116205 h 184784"/>
                  <a:gd name="connsiteX34" fmla="*/ 9525 w 158115"/>
                  <a:gd name="connsiteY34" fmla="*/ 120967 h 184784"/>
                  <a:gd name="connsiteX35" fmla="*/ 9525 w 158115"/>
                  <a:gd name="connsiteY35" fmla="*/ 122873 h 184784"/>
                  <a:gd name="connsiteX36" fmla="*/ 5715 w 158115"/>
                  <a:gd name="connsiteY36" fmla="*/ 135255 h 184784"/>
                  <a:gd name="connsiteX37" fmla="*/ 953 w 158115"/>
                  <a:gd name="connsiteY37" fmla="*/ 142875 h 184784"/>
                  <a:gd name="connsiteX38" fmla="*/ 0 w 158115"/>
                  <a:gd name="connsiteY38" fmla="*/ 144780 h 184784"/>
                  <a:gd name="connsiteX39" fmla="*/ 0 w 158115"/>
                  <a:gd name="connsiteY39" fmla="*/ 145733 h 184784"/>
                  <a:gd name="connsiteX40" fmla="*/ 16193 w 158115"/>
                  <a:gd name="connsiteY40" fmla="*/ 148590 h 184784"/>
                  <a:gd name="connsiteX41" fmla="*/ 50483 w 158115"/>
                  <a:gd name="connsiteY41" fmla="*/ 184785 h 184784"/>
                  <a:gd name="connsiteX42" fmla="*/ 64770 w 158115"/>
                  <a:gd name="connsiteY42" fmla="*/ 184785 h 184784"/>
                  <a:gd name="connsiteX43" fmla="*/ 158115 w 158115"/>
                  <a:gd name="connsiteY43"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58115" h="184784">
                    <a:moveTo>
                      <a:pt x="158115" y="183833"/>
                    </a:moveTo>
                    <a:lnTo>
                      <a:pt x="145733" y="138113"/>
                    </a:lnTo>
                    <a:cubicBezTo>
                      <a:pt x="145733" y="138113"/>
                      <a:pt x="143828" y="126683"/>
                      <a:pt x="128588" y="122873"/>
                    </a:cubicBezTo>
                    <a:lnTo>
                      <a:pt x="97155" y="116205"/>
                    </a:lnTo>
                    <a:cubicBezTo>
                      <a:pt x="92392" y="113348"/>
                      <a:pt x="90488" y="107633"/>
                      <a:pt x="90488" y="106680"/>
                    </a:cubicBezTo>
                    <a:lnTo>
                      <a:pt x="90488" y="97155"/>
                    </a:lnTo>
                    <a:cubicBezTo>
                      <a:pt x="94298" y="93345"/>
                      <a:pt x="96203" y="87630"/>
                      <a:pt x="98108" y="83820"/>
                    </a:cubicBezTo>
                    <a:lnTo>
                      <a:pt x="98108" y="82868"/>
                    </a:lnTo>
                    <a:cubicBezTo>
                      <a:pt x="99060" y="82868"/>
                      <a:pt x="100013" y="81915"/>
                      <a:pt x="100965" y="80963"/>
                    </a:cubicBezTo>
                    <a:cubicBezTo>
                      <a:pt x="101917" y="79058"/>
                      <a:pt x="102870" y="78105"/>
                      <a:pt x="103823" y="76200"/>
                    </a:cubicBezTo>
                    <a:cubicBezTo>
                      <a:pt x="104775" y="73343"/>
                      <a:pt x="104775" y="70485"/>
                      <a:pt x="105728" y="68580"/>
                    </a:cubicBezTo>
                    <a:lnTo>
                      <a:pt x="107633" y="60960"/>
                    </a:lnTo>
                    <a:cubicBezTo>
                      <a:pt x="108585" y="57150"/>
                      <a:pt x="107633" y="54293"/>
                      <a:pt x="105728" y="52388"/>
                    </a:cubicBezTo>
                    <a:cubicBezTo>
                      <a:pt x="104775" y="51435"/>
                      <a:pt x="104775" y="51435"/>
                      <a:pt x="103823" y="50483"/>
                    </a:cubicBezTo>
                    <a:cubicBezTo>
                      <a:pt x="104775" y="37147"/>
                      <a:pt x="102870" y="26670"/>
                      <a:pt x="97155" y="18097"/>
                    </a:cubicBezTo>
                    <a:cubicBezTo>
                      <a:pt x="91440" y="8572"/>
                      <a:pt x="81915" y="2858"/>
                      <a:pt x="70485" y="953"/>
                    </a:cubicBezTo>
                    <a:cubicBezTo>
                      <a:pt x="67628" y="953"/>
                      <a:pt x="65723" y="0"/>
                      <a:pt x="62865" y="0"/>
                    </a:cubicBezTo>
                    <a:cubicBezTo>
                      <a:pt x="62865" y="0"/>
                      <a:pt x="62865" y="0"/>
                      <a:pt x="62865" y="0"/>
                    </a:cubicBezTo>
                    <a:cubicBezTo>
                      <a:pt x="62865" y="0"/>
                      <a:pt x="62865" y="0"/>
                      <a:pt x="62865" y="0"/>
                    </a:cubicBezTo>
                    <a:cubicBezTo>
                      <a:pt x="62865" y="0"/>
                      <a:pt x="62865" y="0"/>
                      <a:pt x="62865" y="0"/>
                    </a:cubicBezTo>
                    <a:cubicBezTo>
                      <a:pt x="62865" y="0"/>
                      <a:pt x="62865" y="0"/>
                      <a:pt x="62865" y="0"/>
                    </a:cubicBezTo>
                    <a:cubicBezTo>
                      <a:pt x="60008" y="0"/>
                      <a:pt x="58103" y="0"/>
                      <a:pt x="55245" y="953"/>
                    </a:cubicBezTo>
                    <a:cubicBezTo>
                      <a:pt x="43815" y="2858"/>
                      <a:pt x="34290" y="9525"/>
                      <a:pt x="28575" y="18097"/>
                    </a:cubicBezTo>
                    <a:cubicBezTo>
                      <a:pt x="22860" y="26670"/>
                      <a:pt x="20955" y="37147"/>
                      <a:pt x="21908" y="50483"/>
                    </a:cubicBezTo>
                    <a:cubicBezTo>
                      <a:pt x="20955" y="50483"/>
                      <a:pt x="20955" y="51435"/>
                      <a:pt x="20003" y="52388"/>
                    </a:cubicBezTo>
                    <a:cubicBezTo>
                      <a:pt x="19050" y="54293"/>
                      <a:pt x="17145" y="57150"/>
                      <a:pt x="18097" y="60960"/>
                    </a:cubicBezTo>
                    <a:lnTo>
                      <a:pt x="20003" y="68580"/>
                    </a:lnTo>
                    <a:cubicBezTo>
                      <a:pt x="20003" y="70485"/>
                      <a:pt x="20955" y="73343"/>
                      <a:pt x="21908" y="76200"/>
                    </a:cubicBezTo>
                    <a:cubicBezTo>
                      <a:pt x="22860" y="78105"/>
                      <a:pt x="22860" y="79058"/>
                      <a:pt x="24765" y="80963"/>
                    </a:cubicBezTo>
                    <a:cubicBezTo>
                      <a:pt x="25717" y="81915"/>
                      <a:pt x="26670" y="82868"/>
                      <a:pt x="27622" y="82868"/>
                    </a:cubicBezTo>
                    <a:lnTo>
                      <a:pt x="27622" y="83820"/>
                    </a:lnTo>
                    <a:cubicBezTo>
                      <a:pt x="29528" y="88583"/>
                      <a:pt x="31433" y="93345"/>
                      <a:pt x="35242" y="97155"/>
                    </a:cubicBezTo>
                    <a:lnTo>
                      <a:pt x="35242" y="106680"/>
                    </a:lnTo>
                    <a:cubicBezTo>
                      <a:pt x="35242" y="106680"/>
                      <a:pt x="34290" y="113348"/>
                      <a:pt x="29528" y="116205"/>
                    </a:cubicBezTo>
                    <a:lnTo>
                      <a:pt x="9525" y="120967"/>
                    </a:lnTo>
                    <a:lnTo>
                      <a:pt x="9525" y="122873"/>
                    </a:lnTo>
                    <a:cubicBezTo>
                      <a:pt x="8572" y="125730"/>
                      <a:pt x="7620" y="130492"/>
                      <a:pt x="5715" y="135255"/>
                    </a:cubicBezTo>
                    <a:cubicBezTo>
                      <a:pt x="4763" y="138113"/>
                      <a:pt x="2858" y="140017"/>
                      <a:pt x="953" y="142875"/>
                    </a:cubicBezTo>
                    <a:cubicBezTo>
                      <a:pt x="953" y="143828"/>
                      <a:pt x="0" y="143828"/>
                      <a:pt x="0" y="144780"/>
                    </a:cubicBezTo>
                    <a:cubicBezTo>
                      <a:pt x="0" y="144780"/>
                      <a:pt x="0" y="145733"/>
                      <a:pt x="0" y="145733"/>
                    </a:cubicBezTo>
                    <a:cubicBezTo>
                      <a:pt x="4763" y="146685"/>
                      <a:pt x="9525" y="147638"/>
                      <a:pt x="16193" y="148590"/>
                    </a:cubicBezTo>
                    <a:cubicBezTo>
                      <a:pt x="36195" y="150495"/>
                      <a:pt x="47625" y="167640"/>
                      <a:pt x="50483" y="184785"/>
                    </a:cubicBezTo>
                    <a:lnTo>
                      <a:pt x="64770" y="184785"/>
                    </a:lnTo>
                    <a:lnTo>
                      <a:pt x="158115" y="184785"/>
                    </a:lnTo>
                    <a:close/>
                  </a:path>
                </a:pathLst>
              </a:custGeom>
              <a:solidFill>
                <a:schemeClr val="tx1"/>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D01B625F-D230-FADA-1ACF-E91124B393DF}"/>
                  </a:ext>
                </a:extLst>
              </p:cNvPr>
              <p:cNvSpPr/>
              <p:nvPr/>
            </p:nvSpPr>
            <p:spPr>
              <a:xfrm>
                <a:off x="10734492" y="3291546"/>
                <a:ext cx="192405" cy="183832"/>
              </a:xfrm>
              <a:custGeom>
                <a:avLst/>
                <a:gdLst>
                  <a:gd name="connsiteX0" fmla="*/ 179070 w 192405"/>
                  <a:gd name="connsiteY0" fmla="*/ 138113 h 183832"/>
                  <a:gd name="connsiteX1" fmla="*/ 161925 w 192405"/>
                  <a:gd name="connsiteY1" fmla="*/ 122873 h 183832"/>
                  <a:gd name="connsiteX2" fmla="*/ 130493 w 192405"/>
                  <a:gd name="connsiteY2" fmla="*/ 116205 h 183832"/>
                  <a:gd name="connsiteX3" fmla="*/ 123825 w 192405"/>
                  <a:gd name="connsiteY3" fmla="*/ 106680 h 183832"/>
                  <a:gd name="connsiteX4" fmla="*/ 123825 w 192405"/>
                  <a:gd name="connsiteY4" fmla="*/ 97155 h 183832"/>
                  <a:gd name="connsiteX5" fmla="*/ 131445 w 192405"/>
                  <a:gd name="connsiteY5" fmla="*/ 83820 h 183832"/>
                  <a:gd name="connsiteX6" fmla="*/ 131445 w 192405"/>
                  <a:gd name="connsiteY6" fmla="*/ 82868 h 183832"/>
                  <a:gd name="connsiteX7" fmla="*/ 134303 w 192405"/>
                  <a:gd name="connsiteY7" fmla="*/ 80963 h 183832"/>
                  <a:gd name="connsiteX8" fmla="*/ 137160 w 192405"/>
                  <a:gd name="connsiteY8" fmla="*/ 76200 h 183832"/>
                  <a:gd name="connsiteX9" fmla="*/ 139065 w 192405"/>
                  <a:gd name="connsiteY9" fmla="*/ 68580 h 183832"/>
                  <a:gd name="connsiteX10" fmla="*/ 140970 w 192405"/>
                  <a:gd name="connsiteY10" fmla="*/ 60960 h 183832"/>
                  <a:gd name="connsiteX11" fmla="*/ 139065 w 192405"/>
                  <a:gd name="connsiteY11" fmla="*/ 52388 h 183832"/>
                  <a:gd name="connsiteX12" fmla="*/ 137160 w 192405"/>
                  <a:gd name="connsiteY12" fmla="*/ 50483 h 183832"/>
                  <a:gd name="connsiteX13" fmla="*/ 130493 w 192405"/>
                  <a:gd name="connsiteY13" fmla="*/ 18098 h 183832"/>
                  <a:gd name="connsiteX14" fmla="*/ 103823 w 192405"/>
                  <a:gd name="connsiteY14" fmla="*/ 953 h 183832"/>
                  <a:gd name="connsiteX15" fmla="*/ 96203 w 192405"/>
                  <a:gd name="connsiteY15" fmla="*/ 0 h 183832"/>
                  <a:gd name="connsiteX16" fmla="*/ 96203 w 192405"/>
                  <a:gd name="connsiteY16" fmla="*/ 0 h 183832"/>
                  <a:gd name="connsiteX17" fmla="*/ 96203 w 192405"/>
                  <a:gd name="connsiteY17" fmla="*/ 0 h 183832"/>
                  <a:gd name="connsiteX18" fmla="*/ 96203 w 192405"/>
                  <a:gd name="connsiteY18" fmla="*/ 0 h 183832"/>
                  <a:gd name="connsiteX19" fmla="*/ 96203 w 192405"/>
                  <a:gd name="connsiteY19" fmla="*/ 0 h 183832"/>
                  <a:gd name="connsiteX20" fmla="*/ 88582 w 192405"/>
                  <a:gd name="connsiteY20" fmla="*/ 953 h 183832"/>
                  <a:gd name="connsiteX21" fmla="*/ 61913 w 192405"/>
                  <a:gd name="connsiteY21" fmla="*/ 18098 h 183832"/>
                  <a:gd name="connsiteX22" fmla="*/ 55245 w 192405"/>
                  <a:gd name="connsiteY22" fmla="*/ 50483 h 183832"/>
                  <a:gd name="connsiteX23" fmla="*/ 53340 w 192405"/>
                  <a:gd name="connsiteY23" fmla="*/ 52388 h 183832"/>
                  <a:gd name="connsiteX24" fmla="*/ 51435 w 192405"/>
                  <a:gd name="connsiteY24" fmla="*/ 60960 h 183832"/>
                  <a:gd name="connsiteX25" fmla="*/ 53340 w 192405"/>
                  <a:gd name="connsiteY25" fmla="*/ 68580 h 183832"/>
                  <a:gd name="connsiteX26" fmla="*/ 55245 w 192405"/>
                  <a:gd name="connsiteY26" fmla="*/ 76200 h 183832"/>
                  <a:gd name="connsiteX27" fmla="*/ 58103 w 192405"/>
                  <a:gd name="connsiteY27" fmla="*/ 80963 h 183832"/>
                  <a:gd name="connsiteX28" fmla="*/ 60960 w 192405"/>
                  <a:gd name="connsiteY28" fmla="*/ 82868 h 183832"/>
                  <a:gd name="connsiteX29" fmla="*/ 60960 w 192405"/>
                  <a:gd name="connsiteY29" fmla="*/ 83820 h 183832"/>
                  <a:gd name="connsiteX30" fmla="*/ 68580 w 192405"/>
                  <a:gd name="connsiteY30" fmla="*/ 97155 h 183832"/>
                  <a:gd name="connsiteX31" fmla="*/ 68580 w 192405"/>
                  <a:gd name="connsiteY31" fmla="*/ 106680 h 183832"/>
                  <a:gd name="connsiteX32" fmla="*/ 62865 w 192405"/>
                  <a:gd name="connsiteY32" fmla="*/ 116205 h 183832"/>
                  <a:gd name="connsiteX33" fmla="*/ 30480 w 192405"/>
                  <a:gd name="connsiteY33" fmla="*/ 123825 h 183832"/>
                  <a:gd name="connsiteX34" fmla="*/ 13335 w 192405"/>
                  <a:gd name="connsiteY34" fmla="*/ 139065 h 183832"/>
                  <a:gd name="connsiteX35" fmla="*/ 0 w 192405"/>
                  <a:gd name="connsiteY35" fmla="*/ 183833 h 183832"/>
                  <a:gd name="connsiteX36" fmla="*/ 96203 w 192405"/>
                  <a:gd name="connsiteY36" fmla="*/ 183833 h 183832"/>
                  <a:gd name="connsiteX37" fmla="*/ 192405 w 192405"/>
                  <a:gd name="connsiteY37" fmla="*/ 183833 h 183832"/>
                  <a:gd name="connsiteX38" fmla="*/ 179070 w 192405"/>
                  <a:gd name="connsiteY38" fmla="*/ 138113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2405" h="183832">
                    <a:moveTo>
                      <a:pt x="179070" y="138113"/>
                    </a:moveTo>
                    <a:cubicBezTo>
                      <a:pt x="179070" y="138113"/>
                      <a:pt x="177165" y="126682"/>
                      <a:pt x="161925" y="122873"/>
                    </a:cubicBezTo>
                    <a:lnTo>
                      <a:pt x="130493" y="116205"/>
                    </a:lnTo>
                    <a:cubicBezTo>
                      <a:pt x="125730" y="113348"/>
                      <a:pt x="123825" y="106680"/>
                      <a:pt x="123825" y="106680"/>
                    </a:cubicBezTo>
                    <a:lnTo>
                      <a:pt x="123825" y="97155"/>
                    </a:lnTo>
                    <a:cubicBezTo>
                      <a:pt x="127635" y="93345"/>
                      <a:pt x="129540" y="87630"/>
                      <a:pt x="131445" y="83820"/>
                    </a:cubicBezTo>
                    <a:lnTo>
                      <a:pt x="131445" y="82868"/>
                    </a:lnTo>
                    <a:cubicBezTo>
                      <a:pt x="132398" y="82868"/>
                      <a:pt x="133350" y="81915"/>
                      <a:pt x="134303" y="80963"/>
                    </a:cubicBezTo>
                    <a:cubicBezTo>
                      <a:pt x="135255" y="79057"/>
                      <a:pt x="136208" y="78105"/>
                      <a:pt x="137160" y="76200"/>
                    </a:cubicBezTo>
                    <a:cubicBezTo>
                      <a:pt x="138113" y="73343"/>
                      <a:pt x="138113" y="70485"/>
                      <a:pt x="139065" y="68580"/>
                    </a:cubicBezTo>
                    <a:lnTo>
                      <a:pt x="140970" y="60960"/>
                    </a:lnTo>
                    <a:cubicBezTo>
                      <a:pt x="141923" y="57150"/>
                      <a:pt x="140970" y="54293"/>
                      <a:pt x="139065" y="52388"/>
                    </a:cubicBezTo>
                    <a:cubicBezTo>
                      <a:pt x="138113" y="51435"/>
                      <a:pt x="138113" y="51435"/>
                      <a:pt x="137160" y="50483"/>
                    </a:cubicBezTo>
                    <a:cubicBezTo>
                      <a:pt x="138113" y="37148"/>
                      <a:pt x="136208" y="26670"/>
                      <a:pt x="130493" y="18098"/>
                    </a:cubicBezTo>
                    <a:cubicBezTo>
                      <a:pt x="124778" y="8573"/>
                      <a:pt x="115253" y="2858"/>
                      <a:pt x="103823" y="953"/>
                    </a:cubicBezTo>
                    <a:cubicBezTo>
                      <a:pt x="100965" y="953"/>
                      <a:pt x="99060" y="0"/>
                      <a:pt x="96203" y="0"/>
                    </a:cubicBezTo>
                    <a:cubicBezTo>
                      <a:pt x="96203" y="0"/>
                      <a:pt x="96203" y="0"/>
                      <a:pt x="96203" y="0"/>
                    </a:cubicBezTo>
                    <a:cubicBezTo>
                      <a:pt x="96203" y="0"/>
                      <a:pt x="96203" y="0"/>
                      <a:pt x="96203" y="0"/>
                    </a:cubicBezTo>
                    <a:cubicBezTo>
                      <a:pt x="96203" y="0"/>
                      <a:pt x="96203" y="0"/>
                      <a:pt x="96203" y="0"/>
                    </a:cubicBezTo>
                    <a:cubicBezTo>
                      <a:pt x="96203" y="0"/>
                      <a:pt x="96203" y="0"/>
                      <a:pt x="96203" y="0"/>
                    </a:cubicBezTo>
                    <a:cubicBezTo>
                      <a:pt x="93345" y="0"/>
                      <a:pt x="91440" y="0"/>
                      <a:pt x="88582" y="953"/>
                    </a:cubicBezTo>
                    <a:cubicBezTo>
                      <a:pt x="77153" y="2858"/>
                      <a:pt x="67628" y="9525"/>
                      <a:pt x="61913" y="18098"/>
                    </a:cubicBezTo>
                    <a:cubicBezTo>
                      <a:pt x="56197" y="26670"/>
                      <a:pt x="54293" y="37148"/>
                      <a:pt x="55245" y="50483"/>
                    </a:cubicBezTo>
                    <a:cubicBezTo>
                      <a:pt x="54293" y="50483"/>
                      <a:pt x="54293" y="51435"/>
                      <a:pt x="53340" y="52388"/>
                    </a:cubicBezTo>
                    <a:cubicBezTo>
                      <a:pt x="52388" y="54293"/>
                      <a:pt x="50482" y="57150"/>
                      <a:pt x="51435" y="60960"/>
                    </a:cubicBezTo>
                    <a:lnTo>
                      <a:pt x="53340" y="68580"/>
                    </a:lnTo>
                    <a:cubicBezTo>
                      <a:pt x="53340" y="70485"/>
                      <a:pt x="54293" y="73343"/>
                      <a:pt x="55245" y="76200"/>
                    </a:cubicBezTo>
                    <a:cubicBezTo>
                      <a:pt x="56197" y="78105"/>
                      <a:pt x="56197" y="79057"/>
                      <a:pt x="58103" y="80963"/>
                    </a:cubicBezTo>
                    <a:cubicBezTo>
                      <a:pt x="59055" y="81915"/>
                      <a:pt x="60007" y="82868"/>
                      <a:pt x="60960" y="82868"/>
                    </a:cubicBezTo>
                    <a:lnTo>
                      <a:pt x="60960" y="83820"/>
                    </a:lnTo>
                    <a:cubicBezTo>
                      <a:pt x="62865" y="88582"/>
                      <a:pt x="64770" y="93345"/>
                      <a:pt x="68580" y="97155"/>
                    </a:cubicBezTo>
                    <a:lnTo>
                      <a:pt x="68580" y="106680"/>
                    </a:lnTo>
                    <a:cubicBezTo>
                      <a:pt x="68580" y="106680"/>
                      <a:pt x="67628" y="113348"/>
                      <a:pt x="62865" y="116205"/>
                    </a:cubicBezTo>
                    <a:lnTo>
                      <a:pt x="30480" y="123825"/>
                    </a:lnTo>
                    <a:cubicBezTo>
                      <a:pt x="15240" y="127635"/>
                      <a:pt x="13335" y="139065"/>
                      <a:pt x="13335" y="139065"/>
                    </a:cubicBezTo>
                    <a:lnTo>
                      <a:pt x="0" y="183833"/>
                    </a:lnTo>
                    <a:lnTo>
                      <a:pt x="96203" y="183833"/>
                    </a:lnTo>
                    <a:lnTo>
                      <a:pt x="192405" y="183833"/>
                    </a:lnTo>
                    <a:lnTo>
                      <a:pt x="179070" y="138113"/>
                    </a:lnTo>
                    <a:close/>
                  </a:path>
                </a:pathLst>
              </a:custGeom>
              <a:solidFill>
                <a:srgbClr val="40AA1D"/>
              </a:solidFill>
              <a:ln w="9525" cap="flat">
                <a:noFill/>
                <a:prstDash val="solid"/>
                <a:miter/>
              </a:ln>
            </p:spPr>
            <p:txBody>
              <a:bodyPr rtlCol="0" anchor="ctr"/>
              <a:lstStyle/>
              <a:p>
                <a:endParaRPr lang="en-US" dirty="0"/>
              </a:p>
            </p:txBody>
          </p:sp>
        </p:grpSp>
        <p:grpSp>
          <p:nvGrpSpPr>
            <p:cNvPr id="51" name="Graphic 207">
              <a:extLst>
                <a:ext uri="{FF2B5EF4-FFF2-40B4-BE49-F238E27FC236}">
                  <a16:creationId xmlns:a16="http://schemas.microsoft.com/office/drawing/2014/main" id="{5BC911F1-124F-E1CB-923D-DE665683D50D}"/>
                </a:ext>
              </a:extLst>
            </p:cNvPr>
            <p:cNvGrpSpPr/>
            <p:nvPr/>
          </p:nvGrpSpPr>
          <p:grpSpPr>
            <a:xfrm>
              <a:off x="10601142" y="3055327"/>
              <a:ext cx="609600" cy="609600"/>
              <a:chOff x="10601142" y="3055327"/>
              <a:chExt cx="609600" cy="609600"/>
            </a:xfrm>
          </p:grpSpPr>
          <p:sp>
            <p:nvSpPr>
              <p:cNvPr id="52" name="Freeform: Shape 51">
                <a:extLst>
                  <a:ext uri="{FF2B5EF4-FFF2-40B4-BE49-F238E27FC236}">
                    <a16:creationId xmlns:a16="http://schemas.microsoft.com/office/drawing/2014/main" id="{287B985B-4C06-97C1-B9D1-16A1E27A89C4}"/>
                  </a:ext>
                </a:extLst>
              </p:cNvPr>
              <p:cNvSpPr/>
              <p:nvPr/>
            </p:nvSpPr>
            <p:spPr>
              <a:xfrm>
                <a:off x="10601142" y="3055327"/>
                <a:ext cx="609600" cy="252412"/>
              </a:xfrm>
              <a:custGeom>
                <a:avLst/>
                <a:gdLst>
                  <a:gd name="connsiteX0" fmla="*/ 93345 w 609600"/>
                  <a:gd name="connsiteY0" fmla="*/ 190500 h 252412"/>
                  <a:gd name="connsiteX1" fmla="*/ 308610 w 609600"/>
                  <a:gd name="connsiteY1" fmla="*/ 61913 h 252412"/>
                  <a:gd name="connsiteX2" fmla="*/ 547688 w 609600"/>
                  <a:gd name="connsiteY2" fmla="*/ 252413 h 252412"/>
                  <a:gd name="connsiteX3" fmla="*/ 609600 w 609600"/>
                  <a:gd name="connsiteY3" fmla="*/ 252413 h 252412"/>
                  <a:gd name="connsiteX4" fmla="*/ 308610 w 609600"/>
                  <a:gd name="connsiteY4" fmla="*/ 0 h 252412"/>
                  <a:gd name="connsiteX5" fmla="*/ 308610 w 609600"/>
                  <a:gd name="connsiteY5" fmla="*/ 0 h 252412"/>
                  <a:gd name="connsiteX6" fmla="*/ 48578 w 609600"/>
                  <a:gd name="connsiteY6" fmla="*/ 143828 h 252412"/>
                  <a:gd name="connsiteX7" fmla="*/ 0 w 609600"/>
                  <a:gd name="connsiteY7" fmla="*/ 92393 h 252412"/>
                  <a:gd name="connsiteX8" fmla="*/ 0 w 609600"/>
                  <a:gd name="connsiteY8" fmla="*/ 252413 h 252412"/>
                  <a:gd name="connsiteX9" fmla="*/ 152400 w 609600"/>
                  <a:gd name="connsiteY9" fmla="*/ 252413 h 252412"/>
                  <a:gd name="connsiteX10" fmla="*/ 93345 w 609600"/>
                  <a:gd name="connsiteY10" fmla="*/ 190500 h 25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 h="252412">
                    <a:moveTo>
                      <a:pt x="93345" y="190500"/>
                    </a:moveTo>
                    <a:cubicBezTo>
                      <a:pt x="135255" y="114300"/>
                      <a:pt x="215265" y="61913"/>
                      <a:pt x="308610" y="61913"/>
                    </a:cubicBezTo>
                    <a:cubicBezTo>
                      <a:pt x="424815" y="61913"/>
                      <a:pt x="522923" y="143828"/>
                      <a:pt x="547688" y="252413"/>
                    </a:cubicBezTo>
                    <a:lnTo>
                      <a:pt x="609600" y="252413"/>
                    </a:lnTo>
                    <a:cubicBezTo>
                      <a:pt x="583883" y="108585"/>
                      <a:pt x="458153" y="0"/>
                      <a:pt x="308610" y="0"/>
                    </a:cubicBezTo>
                    <a:lnTo>
                      <a:pt x="308610" y="0"/>
                    </a:lnTo>
                    <a:cubicBezTo>
                      <a:pt x="199073" y="0"/>
                      <a:pt x="102870" y="57150"/>
                      <a:pt x="48578" y="143828"/>
                    </a:cubicBezTo>
                    <a:lnTo>
                      <a:pt x="0" y="92393"/>
                    </a:lnTo>
                    <a:lnTo>
                      <a:pt x="0" y="252413"/>
                    </a:lnTo>
                    <a:lnTo>
                      <a:pt x="152400" y="252413"/>
                    </a:lnTo>
                    <a:lnTo>
                      <a:pt x="93345" y="190500"/>
                    </a:lnTo>
                    <a:close/>
                  </a:path>
                </a:pathLst>
              </a:custGeom>
              <a:solidFill>
                <a:srgbClr val="3D4647"/>
              </a:solidFill>
              <a:ln w="9525"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54B6A998-E4B4-F8E5-33F3-14582C54A9D0}"/>
                  </a:ext>
                </a:extLst>
              </p:cNvPr>
              <p:cNvSpPr/>
              <p:nvPr/>
            </p:nvSpPr>
            <p:spPr>
              <a:xfrm>
                <a:off x="10601142" y="3413466"/>
                <a:ext cx="608647" cy="251460"/>
              </a:xfrm>
              <a:custGeom>
                <a:avLst/>
                <a:gdLst>
                  <a:gd name="connsiteX0" fmla="*/ 516255 w 608647"/>
                  <a:gd name="connsiteY0" fmla="*/ 60960 h 251460"/>
                  <a:gd name="connsiteX1" fmla="*/ 300990 w 608647"/>
                  <a:gd name="connsiteY1" fmla="*/ 189548 h 251460"/>
                  <a:gd name="connsiteX2" fmla="*/ 62865 w 608647"/>
                  <a:gd name="connsiteY2" fmla="*/ 0 h 251460"/>
                  <a:gd name="connsiteX3" fmla="*/ 0 w 608647"/>
                  <a:gd name="connsiteY3" fmla="*/ 0 h 251460"/>
                  <a:gd name="connsiteX4" fmla="*/ 300990 w 608647"/>
                  <a:gd name="connsiteY4" fmla="*/ 251460 h 251460"/>
                  <a:gd name="connsiteX5" fmla="*/ 300990 w 608647"/>
                  <a:gd name="connsiteY5" fmla="*/ 251460 h 251460"/>
                  <a:gd name="connsiteX6" fmla="*/ 560070 w 608647"/>
                  <a:gd name="connsiteY6" fmla="*/ 107633 h 251460"/>
                  <a:gd name="connsiteX7" fmla="*/ 608648 w 608647"/>
                  <a:gd name="connsiteY7" fmla="*/ 159068 h 251460"/>
                  <a:gd name="connsiteX8" fmla="*/ 608648 w 608647"/>
                  <a:gd name="connsiteY8" fmla="*/ 953 h 251460"/>
                  <a:gd name="connsiteX9" fmla="*/ 459105 w 608647"/>
                  <a:gd name="connsiteY9" fmla="*/ 953 h 251460"/>
                  <a:gd name="connsiteX10" fmla="*/ 516255 w 608647"/>
                  <a:gd name="connsiteY10" fmla="*/ 60960 h 25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8647" h="251460">
                    <a:moveTo>
                      <a:pt x="516255" y="60960"/>
                    </a:moveTo>
                    <a:cubicBezTo>
                      <a:pt x="474345" y="137160"/>
                      <a:pt x="394335" y="189548"/>
                      <a:pt x="300990" y="189548"/>
                    </a:cubicBezTo>
                    <a:cubicBezTo>
                      <a:pt x="184785" y="189548"/>
                      <a:pt x="87630" y="108585"/>
                      <a:pt x="62865" y="0"/>
                    </a:cubicBezTo>
                    <a:lnTo>
                      <a:pt x="0" y="0"/>
                    </a:lnTo>
                    <a:cubicBezTo>
                      <a:pt x="26670" y="142875"/>
                      <a:pt x="151448" y="251460"/>
                      <a:pt x="300990" y="251460"/>
                    </a:cubicBezTo>
                    <a:lnTo>
                      <a:pt x="300990" y="251460"/>
                    </a:lnTo>
                    <a:cubicBezTo>
                      <a:pt x="410528" y="251460"/>
                      <a:pt x="505778" y="194310"/>
                      <a:pt x="560070" y="107633"/>
                    </a:cubicBezTo>
                    <a:lnTo>
                      <a:pt x="608648" y="159068"/>
                    </a:lnTo>
                    <a:lnTo>
                      <a:pt x="608648" y="953"/>
                    </a:lnTo>
                    <a:lnTo>
                      <a:pt x="459105" y="953"/>
                    </a:lnTo>
                    <a:lnTo>
                      <a:pt x="516255" y="60960"/>
                    </a:lnTo>
                    <a:close/>
                  </a:path>
                </a:pathLst>
              </a:custGeom>
              <a:solidFill>
                <a:srgbClr val="40AA1D"/>
              </a:solidFill>
              <a:ln w="9525" cap="flat">
                <a:noFill/>
                <a:prstDash val="solid"/>
                <a:miter/>
              </a:ln>
            </p:spPr>
            <p:txBody>
              <a:bodyPr rtlCol="0" anchor="ctr"/>
              <a:lstStyle/>
              <a:p>
                <a:endParaRPr lang="en-US" dirty="0"/>
              </a:p>
            </p:txBody>
          </p:sp>
        </p:grpSp>
      </p:grpSp>
      <p:pic>
        <p:nvPicPr>
          <p:cNvPr id="213" name="Graphic 212">
            <a:extLst>
              <a:ext uri="{FF2B5EF4-FFF2-40B4-BE49-F238E27FC236}">
                <a16:creationId xmlns:a16="http://schemas.microsoft.com/office/drawing/2014/main" id="{E7007BDE-DDBC-D033-0A1C-46A5DE17CD4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715318" y="5720919"/>
            <a:ext cx="575622" cy="731520"/>
          </a:xfrm>
          <a:prstGeom prst="rect">
            <a:avLst/>
          </a:prstGeom>
        </p:spPr>
      </p:pic>
      <p:sp>
        <p:nvSpPr>
          <p:cNvPr id="214" name="object 29">
            <a:extLst>
              <a:ext uri="{FF2B5EF4-FFF2-40B4-BE49-F238E27FC236}">
                <a16:creationId xmlns:a16="http://schemas.microsoft.com/office/drawing/2014/main" id="{5C6E1A07-570C-2000-3519-169ED03048DF}"/>
              </a:ext>
            </a:extLst>
          </p:cNvPr>
          <p:cNvSpPr txBox="1"/>
          <p:nvPr/>
        </p:nvSpPr>
        <p:spPr>
          <a:xfrm>
            <a:off x="307164" y="5392673"/>
            <a:ext cx="1094893"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a:t>
            </a:r>
            <a:r>
              <a:rPr dirty="0"/>
              <a:t>ngagement</a:t>
            </a:r>
            <a:r>
              <a:rPr lang="en-US" dirty="0"/>
              <a:t> Culture</a:t>
            </a:r>
            <a:endParaRPr dirty="0"/>
          </a:p>
        </p:txBody>
      </p:sp>
      <p:pic>
        <p:nvPicPr>
          <p:cNvPr id="216" name="Graphic 215">
            <a:extLst>
              <a:ext uri="{FF2B5EF4-FFF2-40B4-BE49-F238E27FC236}">
                <a16:creationId xmlns:a16="http://schemas.microsoft.com/office/drawing/2014/main" id="{BD1E8E32-C535-399F-32CE-733CA9E32C7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67260" y="5781879"/>
            <a:ext cx="774700" cy="609600"/>
          </a:xfrm>
          <a:prstGeom prst="rect">
            <a:avLst/>
          </a:prstGeom>
        </p:spPr>
      </p:pic>
      <p:sp>
        <p:nvSpPr>
          <p:cNvPr id="219" name="object 21">
            <a:extLst>
              <a:ext uri="{FF2B5EF4-FFF2-40B4-BE49-F238E27FC236}">
                <a16:creationId xmlns:a16="http://schemas.microsoft.com/office/drawing/2014/main" id="{333E0B2B-8164-9EB2-E7BC-1ED29FEEBFC7}"/>
              </a:ext>
            </a:extLst>
          </p:cNvPr>
          <p:cNvSpPr txBox="1"/>
          <p:nvPr/>
        </p:nvSpPr>
        <p:spPr>
          <a:xfrm>
            <a:off x="1409564" y="2666746"/>
            <a:ext cx="118486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esign</a:t>
            </a:r>
            <a:endParaRPr dirty="0"/>
          </a:p>
        </p:txBody>
      </p:sp>
      <p:sp>
        <p:nvSpPr>
          <p:cNvPr id="3" name="TextBox 2">
            <a:extLst>
              <a:ext uri="{FF2B5EF4-FFF2-40B4-BE49-F238E27FC236}">
                <a16:creationId xmlns:a16="http://schemas.microsoft.com/office/drawing/2014/main" id="{B2C538DE-373C-ABE6-2D54-73E1B6550CA9}"/>
              </a:ext>
            </a:extLst>
          </p:cNvPr>
          <p:cNvSpPr txBox="1"/>
          <p:nvPr/>
        </p:nvSpPr>
        <p:spPr>
          <a:xfrm>
            <a:off x="11229921" y="1601632"/>
            <a:ext cx="60529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upport </a:t>
            </a:r>
          </a:p>
        </p:txBody>
      </p:sp>
      <p:sp>
        <p:nvSpPr>
          <p:cNvPr id="11" name="object 49">
            <a:extLst>
              <a:ext uri="{FF2B5EF4-FFF2-40B4-BE49-F238E27FC236}">
                <a16:creationId xmlns:a16="http://schemas.microsoft.com/office/drawing/2014/main" id="{EC31A396-DEBC-1BBE-F423-3DD5A9804B57}"/>
              </a:ext>
            </a:extLst>
          </p:cNvPr>
          <p:cNvSpPr txBox="1"/>
          <p:nvPr/>
        </p:nvSpPr>
        <p:spPr>
          <a:xfrm>
            <a:off x="255987" y="2666746"/>
            <a:ext cx="119724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ebinars, Events</a:t>
            </a:r>
            <a:endParaRPr dirty="0"/>
          </a:p>
        </p:txBody>
      </p:sp>
      <p:pic>
        <p:nvPicPr>
          <p:cNvPr id="17" name="Graphic 16">
            <a:extLst>
              <a:ext uri="{FF2B5EF4-FFF2-40B4-BE49-F238E27FC236}">
                <a16:creationId xmlns:a16="http://schemas.microsoft.com/office/drawing/2014/main" id="{C4C02B88-9D0D-D8D6-F83C-EA7B0874375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64085" y="3030966"/>
            <a:ext cx="781050" cy="609600"/>
          </a:xfrm>
          <a:prstGeom prst="rect">
            <a:avLst/>
          </a:prstGeom>
        </p:spPr>
      </p:pic>
      <p:pic>
        <p:nvPicPr>
          <p:cNvPr id="5" name="Graphic 4">
            <a:extLst>
              <a:ext uri="{FF2B5EF4-FFF2-40B4-BE49-F238E27FC236}">
                <a16:creationId xmlns:a16="http://schemas.microsoft.com/office/drawing/2014/main" id="{E3A13776-3C33-C7D0-B686-308F640CA10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1144198" y="1812286"/>
            <a:ext cx="781050" cy="609600"/>
          </a:xfrm>
          <a:prstGeom prst="rect">
            <a:avLst/>
          </a:prstGeom>
        </p:spPr>
      </p:pic>
      <p:grpSp>
        <p:nvGrpSpPr>
          <p:cNvPr id="38" name="Group 37">
            <a:extLst>
              <a:ext uri="{FF2B5EF4-FFF2-40B4-BE49-F238E27FC236}">
                <a16:creationId xmlns:a16="http://schemas.microsoft.com/office/drawing/2014/main" id="{490715CB-AFDD-B4C2-082B-C9761F3A3FED}"/>
              </a:ext>
            </a:extLst>
          </p:cNvPr>
          <p:cNvGrpSpPr/>
          <p:nvPr/>
        </p:nvGrpSpPr>
        <p:grpSpPr>
          <a:xfrm>
            <a:off x="7052250" y="1806416"/>
            <a:ext cx="567756" cy="615470"/>
            <a:chOff x="6984152" y="3185430"/>
            <a:chExt cx="567756" cy="615470"/>
          </a:xfrm>
        </p:grpSpPr>
        <p:pic>
          <p:nvPicPr>
            <p:cNvPr id="15" name="Graphic 14">
              <a:extLst>
                <a:ext uri="{FF2B5EF4-FFF2-40B4-BE49-F238E27FC236}">
                  <a16:creationId xmlns:a16="http://schemas.microsoft.com/office/drawing/2014/main" id="{2146F322-9179-3AE6-5734-55D43C6E82D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992517" y="3185430"/>
              <a:ext cx="554851" cy="612648"/>
            </a:xfrm>
            <a:prstGeom prst="rect">
              <a:avLst/>
            </a:prstGeom>
          </p:spPr>
        </p:pic>
        <p:sp>
          <p:nvSpPr>
            <p:cNvPr id="29" name="Freeform: Shape 28">
              <a:extLst>
                <a:ext uri="{FF2B5EF4-FFF2-40B4-BE49-F238E27FC236}">
                  <a16:creationId xmlns:a16="http://schemas.microsoft.com/office/drawing/2014/main" id="{AD72B29A-CD81-5F53-910B-F4DAB0EBFC14}"/>
                </a:ext>
              </a:extLst>
            </p:cNvPr>
            <p:cNvSpPr>
              <a:spLocks/>
            </p:cNvSpPr>
            <p:nvPr/>
          </p:nvSpPr>
          <p:spPr>
            <a:xfrm>
              <a:off x="6984152" y="3596762"/>
              <a:ext cx="567756" cy="204138"/>
            </a:xfrm>
            <a:custGeom>
              <a:avLst/>
              <a:gdLst>
                <a:gd name="connsiteX0" fmla="*/ 469042 w 503668"/>
                <a:gd name="connsiteY0" fmla="*/ 60105 h 181095"/>
                <a:gd name="connsiteX1" fmla="*/ 422610 w 503668"/>
                <a:gd name="connsiteY1" fmla="*/ 18734 h 181095"/>
                <a:gd name="connsiteX2" fmla="*/ 339977 w 503668"/>
                <a:gd name="connsiteY2" fmla="*/ 0 h 181095"/>
                <a:gd name="connsiteX3" fmla="*/ 321089 w 503668"/>
                <a:gd name="connsiteY3" fmla="*/ 13270 h 181095"/>
                <a:gd name="connsiteX4" fmla="*/ 251834 w 503668"/>
                <a:gd name="connsiteY4" fmla="*/ 69472 h 181095"/>
                <a:gd name="connsiteX5" fmla="*/ 183367 w 503668"/>
                <a:gd name="connsiteY5" fmla="*/ 14051 h 181095"/>
                <a:gd name="connsiteX6" fmla="*/ 164479 w 503668"/>
                <a:gd name="connsiteY6" fmla="*/ 0 h 181095"/>
                <a:gd name="connsiteX7" fmla="*/ 81059 w 503668"/>
                <a:gd name="connsiteY7" fmla="*/ 18734 h 181095"/>
                <a:gd name="connsiteX8" fmla="*/ 34627 w 503668"/>
                <a:gd name="connsiteY8" fmla="*/ 60105 h 181095"/>
                <a:gd name="connsiteX9" fmla="*/ 0 w 503668"/>
                <a:gd name="connsiteY9" fmla="*/ 181096 h 181095"/>
                <a:gd name="connsiteX10" fmla="*/ 503669 w 503668"/>
                <a:gd name="connsiteY10" fmla="*/ 181096 h 181095"/>
                <a:gd name="connsiteX11" fmla="*/ 469042 w 503668"/>
                <a:gd name="connsiteY11" fmla="*/ 60105 h 18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668" h="181095">
                  <a:moveTo>
                    <a:pt x="469042" y="60105"/>
                  </a:moveTo>
                  <a:cubicBezTo>
                    <a:pt x="468255" y="56983"/>
                    <a:pt x="461959" y="27320"/>
                    <a:pt x="422610" y="18734"/>
                  </a:cubicBezTo>
                  <a:lnTo>
                    <a:pt x="339977" y="0"/>
                  </a:lnTo>
                  <a:lnTo>
                    <a:pt x="321089" y="13270"/>
                  </a:lnTo>
                  <a:lnTo>
                    <a:pt x="251834" y="69472"/>
                  </a:lnTo>
                  <a:lnTo>
                    <a:pt x="183367" y="14051"/>
                  </a:lnTo>
                  <a:lnTo>
                    <a:pt x="164479" y="0"/>
                  </a:lnTo>
                  <a:lnTo>
                    <a:pt x="81059" y="18734"/>
                  </a:lnTo>
                  <a:cubicBezTo>
                    <a:pt x="39349" y="28101"/>
                    <a:pt x="34627" y="59325"/>
                    <a:pt x="34627" y="60105"/>
                  </a:cubicBezTo>
                  <a:lnTo>
                    <a:pt x="0" y="181096"/>
                  </a:lnTo>
                  <a:lnTo>
                    <a:pt x="503669" y="181096"/>
                  </a:lnTo>
                  <a:lnTo>
                    <a:pt x="469042" y="60105"/>
                  </a:lnTo>
                  <a:close/>
                </a:path>
              </a:pathLst>
            </a:custGeom>
            <a:solidFill>
              <a:srgbClr val="40AA1D"/>
            </a:solidFill>
            <a:ln w="7739" cap="flat">
              <a:noFill/>
              <a:prstDash val="solid"/>
              <a:miter/>
            </a:ln>
          </p:spPr>
          <p:txBody>
            <a:bodyPr rtlCol="0" anchor="ctr"/>
            <a:lstStyle/>
            <a:p>
              <a:endParaRPr lang="en-US" dirty="0"/>
            </a:p>
          </p:txBody>
        </p:sp>
      </p:grpSp>
      <p:grpSp>
        <p:nvGrpSpPr>
          <p:cNvPr id="34" name="Group 33">
            <a:extLst>
              <a:ext uri="{FF2B5EF4-FFF2-40B4-BE49-F238E27FC236}">
                <a16:creationId xmlns:a16="http://schemas.microsoft.com/office/drawing/2014/main" id="{57F93FE3-EE83-70D0-A68B-7B58C250CBDF}"/>
              </a:ext>
            </a:extLst>
          </p:cNvPr>
          <p:cNvGrpSpPr/>
          <p:nvPr/>
        </p:nvGrpSpPr>
        <p:grpSpPr>
          <a:xfrm>
            <a:off x="7846751" y="1807979"/>
            <a:ext cx="567756" cy="613907"/>
            <a:chOff x="7778653" y="3140457"/>
            <a:chExt cx="567756" cy="613907"/>
          </a:xfrm>
        </p:grpSpPr>
        <p:pic>
          <p:nvPicPr>
            <p:cNvPr id="31" name="Graphic 30">
              <a:extLst>
                <a:ext uri="{FF2B5EF4-FFF2-40B4-BE49-F238E27FC236}">
                  <a16:creationId xmlns:a16="http://schemas.microsoft.com/office/drawing/2014/main" id="{684F3FE4-0DAB-15CD-C5C0-968DB6E0BD57}"/>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785384" y="3140457"/>
              <a:ext cx="554851" cy="612648"/>
            </a:xfrm>
            <a:prstGeom prst="rect">
              <a:avLst/>
            </a:prstGeom>
          </p:spPr>
        </p:pic>
        <p:sp>
          <p:nvSpPr>
            <p:cNvPr id="32" name="Freeform: Shape 31">
              <a:extLst>
                <a:ext uri="{FF2B5EF4-FFF2-40B4-BE49-F238E27FC236}">
                  <a16:creationId xmlns:a16="http://schemas.microsoft.com/office/drawing/2014/main" id="{D0F043E0-2DD4-7FC4-0CC2-98BCABCB2251}"/>
                </a:ext>
              </a:extLst>
            </p:cNvPr>
            <p:cNvSpPr>
              <a:spLocks noChangeAspect="1"/>
            </p:cNvSpPr>
            <p:nvPr/>
          </p:nvSpPr>
          <p:spPr>
            <a:xfrm>
              <a:off x="7778653" y="3550226"/>
              <a:ext cx="567756" cy="204138"/>
            </a:xfrm>
            <a:custGeom>
              <a:avLst/>
              <a:gdLst>
                <a:gd name="connsiteX0" fmla="*/ 469042 w 503668"/>
                <a:gd name="connsiteY0" fmla="*/ 60105 h 181095"/>
                <a:gd name="connsiteX1" fmla="*/ 422610 w 503668"/>
                <a:gd name="connsiteY1" fmla="*/ 18734 h 181095"/>
                <a:gd name="connsiteX2" fmla="*/ 339977 w 503668"/>
                <a:gd name="connsiteY2" fmla="*/ 0 h 181095"/>
                <a:gd name="connsiteX3" fmla="*/ 321089 w 503668"/>
                <a:gd name="connsiteY3" fmla="*/ 13270 h 181095"/>
                <a:gd name="connsiteX4" fmla="*/ 251834 w 503668"/>
                <a:gd name="connsiteY4" fmla="*/ 69472 h 181095"/>
                <a:gd name="connsiteX5" fmla="*/ 183367 w 503668"/>
                <a:gd name="connsiteY5" fmla="*/ 14051 h 181095"/>
                <a:gd name="connsiteX6" fmla="*/ 164479 w 503668"/>
                <a:gd name="connsiteY6" fmla="*/ 0 h 181095"/>
                <a:gd name="connsiteX7" fmla="*/ 81059 w 503668"/>
                <a:gd name="connsiteY7" fmla="*/ 18734 h 181095"/>
                <a:gd name="connsiteX8" fmla="*/ 34627 w 503668"/>
                <a:gd name="connsiteY8" fmla="*/ 60105 h 181095"/>
                <a:gd name="connsiteX9" fmla="*/ 0 w 503668"/>
                <a:gd name="connsiteY9" fmla="*/ 181096 h 181095"/>
                <a:gd name="connsiteX10" fmla="*/ 503669 w 503668"/>
                <a:gd name="connsiteY10" fmla="*/ 181096 h 181095"/>
                <a:gd name="connsiteX11" fmla="*/ 469042 w 503668"/>
                <a:gd name="connsiteY11" fmla="*/ 60105 h 18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668" h="181095">
                  <a:moveTo>
                    <a:pt x="469042" y="60105"/>
                  </a:moveTo>
                  <a:cubicBezTo>
                    <a:pt x="468255" y="56983"/>
                    <a:pt x="461959" y="27320"/>
                    <a:pt x="422610" y="18734"/>
                  </a:cubicBezTo>
                  <a:lnTo>
                    <a:pt x="339977" y="0"/>
                  </a:lnTo>
                  <a:lnTo>
                    <a:pt x="321089" y="13270"/>
                  </a:lnTo>
                  <a:lnTo>
                    <a:pt x="251834" y="69472"/>
                  </a:lnTo>
                  <a:lnTo>
                    <a:pt x="183367" y="14051"/>
                  </a:lnTo>
                  <a:lnTo>
                    <a:pt x="164479" y="0"/>
                  </a:lnTo>
                  <a:lnTo>
                    <a:pt x="81059" y="18734"/>
                  </a:lnTo>
                  <a:cubicBezTo>
                    <a:pt x="39349" y="28101"/>
                    <a:pt x="34627" y="59325"/>
                    <a:pt x="34627" y="60105"/>
                  </a:cubicBezTo>
                  <a:lnTo>
                    <a:pt x="0" y="181096"/>
                  </a:lnTo>
                  <a:lnTo>
                    <a:pt x="503669" y="181096"/>
                  </a:lnTo>
                  <a:lnTo>
                    <a:pt x="469042" y="60105"/>
                  </a:lnTo>
                  <a:close/>
                </a:path>
              </a:pathLst>
            </a:custGeom>
            <a:solidFill>
              <a:srgbClr val="40AA1D"/>
            </a:solidFill>
            <a:ln w="7739" cap="flat">
              <a:noFill/>
              <a:prstDash val="solid"/>
              <a:miter/>
            </a:ln>
          </p:spPr>
          <p:txBody>
            <a:bodyPr rtlCol="0" anchor="ctr"/>
            <a:lstStyle/>
            <a:p>
              <a:endParaRPr lang="en-US" dirty="0"/>
            </a:p>
          </p:txBody>
        </p:sp>
      </p:grpSp>
      <p:sp>
        <p:nvSpPr>
          <p:cNvPr id="23" name="object 13">
            <a:extLst>
              <a:ext uri="{FF2B5EF4-FFF2-40B4-BE49-F238E27FC236}">
                <a16:creationId xmlns:a16="http://schemas.microsoft.com/office/drawing/2014/main" id="{02C14AF7-AB8D-02BF-4001-3C0483A2F3F8}"/>
              </a:ext>
            </a:extLst>
          </p:cNvPr>
          <p:cNvSpPr txBox="1"/>
          <p:nvPr/>
        </p:nvSpPr>
        <p:spPr>
          <a:xfrm>
            <a:off x="6073164" y="1532382"/>
            <a:ext cx="60529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ustomer </a:t>
            </a:r>
            <a:br>
              <a:rPr lang="en-US" dirty="0"/>
            </a:br>
            <a:r>
              <a:rPr lang="en-US" dirty="0"/>
              <a:t>Success</a:t>
            </a:r>
            <a:endParaRPr dirty="0"/>
          </a:p>
        </p:txBody>
      </p:sp>
      <p:sp>
        <p:nvSpPr>
          <p:cNvPr id="63" name="object 39">
            <a:extLst>
              <a:ext uri="{FF2B5EF4-FFF2-40B4-BE49-F238E27FC236}">
                <a16:creationId xmlns:a16="http://schemas.microsoft.com/office/drawing/2014/main" id="{62F0CD8E-11B6-2E20-8C2D-786DB5386F8E}"/>
              </a:ext>
            </a:extLst>
          </p:cNvPr>
          <p:cNvSpPr txBox="1"/>
          <p:nvPr/>
        </p:nvSpPr>
        <p:spPr>
          <a:xfrm>
            <a:off x="3183183" y="5392673"/>
            <a:ext cx="66395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a:t>
            </a:r>
            <a:r>
              <a:rPr dirty="0"/>
              <a:t>roup</a:t>
            </a:r>
            <a:r>
              <a:rPr lang="en-US" dirty="0"/>
              <a:t> Hand Click</a:t>
            </a:r>
            <a:endParaRPr dirty="0"/>
          </a:p>
        </p:txBody>
      </p:sp>
      <p:pic>
        <p:nvPicPr>
          <p:cNvPr id="204" name="Graphic 203">
            <a:extLst>
              <a:ext uri="{FF2B5EF4-FFF2-40B4-BE49-F238E27FC236}">
                <a16:creationId xmlns:a16="http://schemas.microsoft.com/office/drawing/2014/main" id="{7AAB3148-2833-E52B-A421-55E9B4EEAD9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34994" y="5748351"/>
            <a:ext cx="676656" cy="676656"/>
          </a:xfrm>
          <a:prstGeom prst="rect">
            <a:avLst/>
          </a:prstGeom>
        </p:spPr>
      </p:pic>
      <p:sp>
        <p:nvSpPr>
          <p:cNvPr id="220" name="object 21">
            <a:extLst>
              <a:ext uri="{FF2B5EF4-FFF2-40B4-BE49-F238E27FC236}">
                <a16:creationId xmlns:a16="http://schemas.microsoft.com/office/drawing/2014/main" id="{9DF109D3-16C8-2658-C08D-F0D3DD084E3A}"/>
              </a:ext>
            </a:extLst>
          </p:cNvPr>
          <p:cNvSpPr txBox="1"/>
          <p:nvPr/>
        </p:nvSpPr>
        <p:spPr>
          <a:xfrm>
            <a:off x="4110224" y="5392673"/>
            <a:ext cx="146513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equirements</a:t>
            </a:r>
            <a:r>
              <a:rPr lang="en-US" dirty="0"/>
              <a:t> M</a:t>
            </a:r>
            <a:r>
              <a:rPr dirty="0"/>
              <a:t>ana</a:t>
            </a:r>
            <a:r>
              <a:rPr lang="en-US" dirty="0"/>
              <a:t>gement</a:t>
            </a:r>
            <a:endParaRPr dirty="0"/>
          </a:p>
        </p:txBody>
      </p:sp>
      <p:pic>
        <p:nvPicPr>
          <p:cNvPr id="221" name="Graphic 220">
            <a:extLst>
              <a:ext uri="{FF2B5EF4-FFF2-40B4-BE49-F238E27FC236}">
                <a16:creationId xmlns:a16="http://schemas.microsoft.com/office/drawing/2014/main" id="{DCE2FA84-3CC0-657B-0973-A38170A6301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453367" y="5781879"/>
            <a:ext cx="774700" cy="609600"/>
          </a:xfrm>
          <a:prstGeom prst="rect">
            <a:avLst/>
          </a:prstGeom>
        </p:spPr>
      </p:pic>
      <p:sp>
        <p:nvSpPr>
          <p:cNvPr id="6" name="TextBox 5">
            <a:extLst>
              <a:ext uri="{FF2B5EF4-FFF2-40B4-BE49-F238E27FC236}">
                <a16:creationId xmlns:a16="http://schemas.microsoft.com/office/drawing/2014/main" id="{B8DE8B17-D602-D869-2B6C-7B53DF3FEA7C}"/>
              </a:ext>
            </a:extLst>
          </p:cNvPr>
          <p:cNvSpPr txBox="1"/>
          <p:nvPr/>
        </p:nvSpPr>
        <p:spPr>
          <a:xfrm>
            <a:off x="5714999" y="5461923"/>
            <a:ext cx="107576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llaboration</a:t>
            </a:r>
          </a:p>
        </p:txBody>
      </p:sp>
      <p:pic>
        <p:nvPicPr>
          <p:cNvPr id="19" name="Graphic 18">
            <a:extLst>
              <a:ext uri="{FF2B5EF4-FFF2-40B4-BE49-F238E27FC236}">
                <a16:creationId xmlns:a16="http://schemas.microsoft.com/office/drawing/2014/main" id="{50BB0D2D-A24C-ABF4-188B-248FB2E9C50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869784" y="5781879"/>
            <a:ext cx="781050" cy="609600"/>
          </a:xfrm>
          <a:prstGeom prst="rect">
            <a:avLst/>
          </a:prstGeom>
        </p:spPr>
      </p:pic>
      <p:sp>
        <p:nvSpPr>
          <p:cNvPr id="20" name="object 13">
            <a:extLst>
              <a:ext uri="{FF2B5EF4-FFF2-40B4-BE49-F238E27FC236}">
                <a16:creationId xmlns:a16="http://schemas.microsoft.com/office/drawing/2014/main" id="{8C97868B-358F-4D72-6B53-D44E0537A8F4}"/>
              </a:ext>
            </a:extLst>
          </p:cNvPr>
          <p:cNvSpPr txBox="1"/>
          <p:nvPr/>
        </p:nvSpPr>
        <p:spPr>
          <a:xfrm>
            <a:off x="6944994" y="5392673"/>
            <a:ext cx="131649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ustomer Service/Success</a:t>
            </a:r>
            <a:endParaRPr dirty="0"/>
          </a:p>
        </p:txBody>
      </p:sp>
      <p:pic>
        <p:nvPicPr>
          <p:cNvPr id="42" name="Graphic 41">
            <a:extLst>
              <a:ext uri="{FF2B5EF4-FFF2-40B4-BE49-F238E27FC236}">
                <a16:creationId xmlns:a16="http://schemas.microsoft.com/office/drawing/2014/main" id="{60EBB698-33D6-9E00-421D-E8FA6504DFB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985287" y="1812286"/>
            <a:ext cx="781050" cy="609600"/>
          </a:xfrm>
          <a:prstGeom prst="rect">
            <a:avLst/>
          </a:prstGeom>
        </p:spPr>
      </p:pic>
      <p:sp>
        <p:nvSpPr>
          <p:cNvPr id="9" name="object 9">
            <a:extLst>
              <a:ext uri="{FF2B5EF4-FFF2-40B4-BE49-F238E27FC236}">
                <a16:creationId xmlns:a16="http://schemas.microsoft.com/office/drawing/2014/main" id="{A7999CAA-5F91-9C70-90D6-E3C8ADA07539}"/>
              </a:ext>
            </a:extLst>
          </p:cNvPr>
          <p:cNvSpPr txBox="1"/>
          <p:nvPr/>
        </p:nvSpPr>
        <p:spPr>
          <a:xfrm>
            <a:off x="-29374" y="1601632"/>
            <a:ext cx="130144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a:t>
            </a:r>
            <a:r>
              <a:rPr dirty="0"/>
              <a:t>ser</a:t>
            </a:r>
            <a:r>
              <a:rPr lang="en-US" dirty="0"/>
              <a:t> </a:t>
            </a:r>
            <a:r>
              <a:rPr dirty="0"/>
              <a:t>person</a:t>
            </a:r>
          </a:p>
        </p:txBody>
      </p:sp>
      <p:sp>
        <p:nvSpPr>
          <p:cNvPr id="13" name="object 49">
            <a:extLst>
              <a:ext uri="{FF2B5EF4-FFF2-40B4-BE49-F238E27FC236}">
                <a16:creationId xmlns:a16="http://schemas.microsoft.com/office/drawing/2014/main" id="{F2861362-875A-C84A-CD86-AE05F7222FBA}"/>
              </a:ext>
            </a:extLst>
          </p:cNvPr>
          <p:cNvSpPr txBox="1"/>
          <p:nvPr/>
        </p:nvSpPr>
        <p:spPr>
          <a:xfrm>
            <a:off x="6330779" y="2666746"/>
            <a:ext cx="14058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alue Works</a:t>
            </a:r>
            <a:r>
              <a:rPr lang="en-US" dirty="0"/>
              <a:t>hop</a:t>
            </a:r>
            <a:endParaRPr dirty="0"/>
          </a:p>
        </p:txBody>
      </p:sp>
      <p:sp>
        <p:nvSpPr>
          <p:cNvPr id="16" name="object 25">
            <a:extLst>
              <a:ext uri="{FF2B5EF4-FFF2-40B4-BE49-F238E27FC236}">
                <a16:creationId xmlns:a16="http://schemas.microsoft.com/office/drawing/2014/main" id="{550F6E0E-EAFB-F872-5FFC-18B7FE151965}"/>
              </a:ext>
            </a:extLst>
          </p:cNvPr>
          <p:cNvSpPr txBox="1"/>
          <p:nvPr/>
        </p:nvSpPr>
        <p:spPr>
          <a:xfrm>
            <a:off x="7479383" y="2666746"/>
            <a:ext cx="13296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erson AR</a:t>
            </a:r>
          </a:p>
        </p:txBody>
      </p:sp>
      <p:sp>
        <p:nvSpPr>
          <p:cNvPr id="22" name="object 23">
            <a:extLst>
              <a:ext uri="{FF2B5EF4-FFF2-40B4-BE49-F238E27FC236}">
                <a16:creationId xmlns:a16="http://schemas.microsoft.com/office/drawing/2014/main" id="{2F5578A9-0738-26A4-7DD9-5787F419936B}"/>
              </a:ext>
            </a:extLst>
          </p:cNvPr>
          <p:cNvSpPr txBox="1"/>
          <p:nvPr/>
        </p:nvSpPr>
        <p:spPr>
          <a:xfrm>
            <a:off x="189765" y="4028902"/>
            <a:ext cx="13296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Group of Stu</a:t>
            </a:r>
            <a:r>
              <a:rPr lang="en-US" dirty="0"/>
              <a:t>dents</a:t>
            </a:r>
            <a:endParaRPr dirty="0"/>
          </a:p>
        </p:txBody>
      </p:sp>
      <p:sp>
        <p:nvSpPr>
          <p:cNvPr id="25" name="object 45">
            <a:extLst>
              <a:ext uri="{FF2B5EF4-FFF2-40B4-BE49-F238E27FC236}">
                <a16:creationId xmlns:a16="http://schemas.microsoft.com/office/drawing/2014/main" id="{9F57CAD7-0353-563A-A3F2-05B8BF56C719}"/>
              </a:ext>
            </a:extLst>
          </p:cNvPr>
          <p:cNvSpPr txBox="1"/>
          <p:nvPr/>
        </p:nvSpPr>
        <p:spPr>
          <a:xfrm>
            <a:off x="1529558" y="3971752"/>
            <a:ext cx="103630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Educator an</a:t>
            </a:r>
            <a:r>
              <a:rPr lang="en-US" dirty="0"/>
              <a:t>d Student</a:t>
            </a:r>
            <a:endParaRPr dirty="0"/>
          </a:p>
        </p:txBody>
      </p:sp>
      <p:sp>
        <p:nvSpPr>
          <p:cNvPr id="30" name="object 21">
            <a:extLst>
              <a:ext uri="{FF2B5EF4-FFF2-40B4-BE49-F238E27FC236}">
                <a16:creationId xmlns:a16="http://schemas.microsoft.com/office/drawing/2014/main" id="{6487F903-B64D-312B-E5E1-3A62CBB812DA}"/>
              </a:ext>
            </a:extLst>
          </p:cNvPr>
          <p:cNvSpPr txBox="1"/>
          <p:nvPr/>
        </p:nvSpPr>
        <p:spPr>
          <a:xfrm>
            <a:off x="6347983" y="4028902"/>
            <a:ext cx="118486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Customer F</a:t>
            </a:r>
            <a:r>
              <a:rPr lang="en-US" dirty="0"/>
              <a:t>acing</a:t>
            </a:r>
            <a:endParaRPr dirty="0"/>
          </a:p>
        </p:txBody>
      </p:sp>
      <p:sp>
        <p:nvSpPr>
          <p:cNvPr id="35" name="object 7">
            <a:extLst>
              <a:ext uri="{FF2B5EF4-FFF2-40B4-BE49-F238E27FC236}">
                <a16:creationId xmlns:a16="http://schemas.microsoft.com/office/drawing/2014/main" id="{2FF1F02D-9D9D-7C90-CF13-956B116F370B}"/>
              </a:ext>
            </a:extLst>
          </p:cNvPr>
          <p:cNvSpPr txBox="1"/>
          <p:nvPr/>
        </p:nvSpPr>
        <p:spPr>
          <a:xfrm>
            <a:off x="5129331" y="2666746"/>
            <a:ext cx="13550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ttracting th</a:t>
            </a:r>
            <a:r>
              <a:rPr lang="en-US" dirty="0"/>
              <a:t>e best</a:t>
            </a:r>
            <a:endParaRPr dirty="0"/>
          </a:p>
        </p:txBody>
      </p:sp>
      <p:sp>
        <p:nvSpPr>
          <p:cNvPr id="218" name="object 32">
            <a:extLst>
              <a:ext uri="{FF2B5EF4-FFF2-40B4-BE49-F238E27FC236}">
                <a16:creationId xmlns:a16="http://schemas.microsoft.com/office/drawing/2014/main" id="{A6E8E160-4F88-9B82-539E-FBB305B28B7D}"/>
              </a:ext>
            </a:extLst>
          </p:cNvPr>
          <p:cNvSpPr txBox="1"/>
          <p:nvPr/>
        </p:nvSpPr>
        <p:spPr>
          <a:xfrm>
            <a:off x="2498097" y="2666746"/>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dministrator CAD</a:t>
            </a:r>
            <a:endParaRPr dirty="0"/>
          </a:p>
        </p:txBody>
      </p:sp>
      <p:sp>
        <p:nvSpPr>
          <p:cNvPr id="240" name="object 7">
            <a:extLst>
              <a:ext uri="{FF2B5EF4-FFF2-40B4-BE49-F238E27FC236}">
                <a16:creationId xmlns:a16="http://schemas.microsoft.com/office/drawing/2014/main" id="{E90E0774-EA0D-28F3-7A1A-7479506138C1}"/>
              </a:ext>
            </a:extLst>
          </p:cNvPr>
          <p:cNvSpPr txBox="1"/>
          <p:nvPr/>
        </p:nvSpPr>
        <p:spPr>
          <a:xfrm>
            <a:off x="8687577" y="2666746"/>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ntrols Engineer</a:t>
            </a:r>
            <a:endParaRPr dirty="0"/>
          </a:p>
        </p:txBody>
      </p:sp>
      <p:sp>
        <p:nvSpPr>
          <p:cNvPr id="242" name="object 34">
            <a:extLst>
              <a:ext uri="{FF2B5EF4-FFF2-40B4-BE49-F238E27FC236}">
                <a16:creationId xmlns:a16="http://schemas.microsoft.com/office/drawing/2014/main" id="{4B452647-F39E-A6FF-E41C-54B78115AC68}"/>
              </a:ext>
            </a:extLst>
          </p:cNvPr>
          <p:cNvSpPr txBox="1"/>
          <p:nvPr/>
        </p:nvSpPr>
        <p:spPr>
          <a:xfrm>
            <a:off x="9866619" y="2666746"/>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esign Engineer</a:t>
            </a:r>
            <a:endParaRPr dirty="0"/>
          </a:p>
        </p:txBody>
      </p:sp>
      <p:sp>
        <p:nvSpPr>
          <p:cNvPr id="244" name="object 47">
            <a:extLst>
              <a:ext uri="{FF2B5EF4-FFF2-40B4-BE49-F238E27FC236}">
                <a16:creationId xmlns:a16="http://schemas.microsoft.com/office/drawing/2014/main" id="{E9525FD4-4B10-0E42-77D5-3AE7723530F0}"/>
              </a:ext>
            </a:extLst>
          </p:cNvPr>
          <p:cNvSpPr txBox="1"/>
          <p:nvPr/>
        </p:nvSpPr>
        <p:spPr>
          <a:xfrm>
            <a:off x="2498097" y="4028902"/>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eveloper IOT</a:t>
            </a:r>
            <a:endParaRPr dirty="0"/>
          </a:p>
        </p:txBody>
      </p:sp>
      <p:sp>
        <p:nvSpPr>
          <p:cNvPr id="246" name="object 9">
            <a:extLst>
              <a:ext uri="{FF2B5EF4-FFF2-40B4-BE49-F238E27FC236}">
                <a16:creationId xmlns:a16="http://schemas.microsoft.com/office/drawing/2014/main" id="{2108716B-4BE3-89EF-4394-DA68E21E2584}"/>
              </a:ext>
            </a:extLst>
          </p:cNvPr>
          <p:cNvSpPr txBox="1"/>
          <p:nvPr/>
        </p:nvSpPr>
        <p:spPr>
          <a:xfrm>
            <a:off x="3833447" y="3959652"/>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anufacturing Executive</a:t>
            </a:r>
            <a:endParaRPr dirty="0"/>
          </a:p>
        </p:txBody>
      </p:sp>
      <p:sp>
        <p:nvSpPr>
          <p:cNvPr id="248" name="object 23">
            <a:extLst>
              <a:ext uri="{FF2B5EF4-FFF2-40B4-BE49-F238E27FC236}">
                <a16:creationId xmlns:a16="http://schemas.microsoft.com/office/drawing/2014/main" id="{B820EA06-3B23-30BC-26B1-8547336096D3}"/>
              </a:ext>
            </a:extLst>
          </p:cNvPr>
          <p:cNvSpPr txBox="1"/>
          <p:nvPr/>
        </p:nvSpPr>
        <p:spPr>
          <a:xfrm>
            <a:off x="5030523" y="3959652"/>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Network Administrator</a:t>
            </a:r>
            <a:endParaRPr dirty="0"/>
          </a:p>
        </p:txBody>
      </p:sp>
      <p:sp>
        <p:nvSpPr>
          <p:cNvPr id="252" name="object 49">
            <a:extLst>
              <a:ext uri="{FF2B5EF4-FFF2-40B4-BE49-F238E27FC236}">
                <a16:creationId xmlns:a16="http://schemas.microsoft.com/office/drawing/2014/main" id="{DD7DA158-36A3-B510-88D8-54D49AE7BAB5}"/>
              </a:ext>
            </a:extLst>
          </p:cNvPr>
          <p:cNvSpPr txBox="1"/>
          <p:nvPr/>
        </p:nvSpPr>
        <p:spPr>
          <a:xfrm>
            <a:off x="7496384" y="4028902"/>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upervisor</a:t>
            </a:r>
            <a:endParaRPr dirty="0"/>
          </a:p>
        </p:txBody>
      </p:sp>
      <p:sp>
        <p:nvSpPr>
          <p:cNvPr id="254" name="object 62">
            <a:extLst>
              <a:ext uri="{FF2B5EF4-FFF2-40B4-BE49-F238E27FC236}">
                <a16:creationId xmlns:a16="http://schemas.microsoft.com/office/drawing/2014/main" id="{2494E79D-B5FA-03BC-8D9E-BE5B7CA7B2BD}"/>
              </a:ext>
            </a:extLst>
          </p:cNvPr>
          <p:cNvSpPr txBox="1"/>
          <p:nvPr/>
        </p:nvSpPr>
        <p:spPr>
          <a:xfrm>
            <a:off x="8687577" y="3959652"/>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ystems Administrator PLM</a:t>
            </a:r>
            <a:endParaRPr dirty="0"/>
          </a:p>
        </p:txBody>
      </p:sp>
      <p:sp>
        <p:nvSpPr>
          <p:cNvPr id="257" name="object 7">
            <a:extLst>
              <a:ext uri="{FF2B5EF4-FFF2-40B4-BE49-F238E27FC236}">
                <a16:creationId xmlns:a16="http://schemas.microsoft.com/office/drawing/2014/main" id="{6BBCBADD-605C-4593-9293-008F71196962}"/>
              </a:ext>
            </a:extLst>
          </p:cNvPr>
          <p:cNvSpPr txBox="1"/>
          <p:nvPr/>
        </p:nvSpPr>
        <p:spPr>
          <a:xfrm>
            <a:off x="1134952" y="1601632"/>
            <a:ext cx="12115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a:t>
            </a:r>
            <a:r>
              <a:rPr dirty="0"/>
              <a:t>roup</a:t>
            </a:r>
            <a:r>
              <a:rPr lang="en-US" dirty="0"/>
              <a:t> </a:t>
            </a:r>
            <a:endParaRPr dirty="0"/>
          </a:p>
        </p:txBody>
      </p:sp>
      <p:sp>
        <p:nvSpPr>
          <p:cNvPr id="259" name="object 11">
            <a:extLst>
              <a:ext uri="{FF2B5EF4-FFF2-40B4-BE49-F238E27FC236}">
                <a16:creationId xmlns:a16="http://schemas.microsoft.com/office/drawing/2014/main" id="{15ECA39F-78BC-86CA-3DC1-9EE33E914FE3}"/>
              </a:ext>
            </a:extLst>
          </p:cNvPr>
          <p:cNvSpPr txBox="1"/>
          <p:nvPr/>
        </p:nvSpPr>
        <p:spPr>
          <a:xfrm>
            <a:off x="9773100" y="3959652"/>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ystems Administrator</a:t>
            </a:r>
            <a:endParaRPr dirty="0"/>
          </a:p>
        </p:txBody>
      </p:sp>
      <p:sp>
        <p:nvSpPr>
          <p:cNvPr id="263" name="object 58">
            <a:extLst>
              <a:ext uri="{FF2B5EF4-FFF2-40B4-BE49-F238E27FC236}">
                <a16:creationId xmlns:a16="http://schemas.microsoft.com/office/drawing/2014/main" id="{E931538D-20CA-0010-3E7C-0E1590032C88}"/>
              </a:ext>
            </a:extLst>
          </p:cNvPr>
          <p:cNvSpPr txBox="1"/>
          <p:nvPr/>
        </p:nvSpPr>
        <p:spPr>
          <a:xfrm>
            <a:off x="10827733" y="3959652"/>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utomation </a:t>
            </a:r>
            <a:br>
              <a:rPr lang="en-US" dirty="0"/>
            </a:br>
            <a:r>
              <a:rPr lang="en-US" dirty="0"/>
              <a:t>Process Engineer</a:t>
            </a:r>
            <a:endParaRPr dirty="0"/>
          </a:p>
        </p:txBody>
      </p:sp>
      <p:pic>
        <p:nvPicPr>
          <p:cNvPr id="56" name="Graphic 55">
            <a:extLst>
              <a:ext uri="{FF2B5EF4-FFF2-40B4-BE49-F238E27FC236}">
                <a16:creationId xmlns:a16="http://schemas.microsoft.com/office/drawing/2014/main" id="{83BC76E4-0E78-FF83-2539-6A525400D142}"/>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6568942" y="4365711"/>
            <a:ext cx="742950" cy="733425"/>
          </a:xfrm>
          <a:prstGeom prst="rect">
            <a:avLst/>
          </a:prstGeom>
        </p:spPr>
      </p:pic>
      <p:pic>
        <p:nvPicPr>
          <p:cNvPr id="60" name="Graphic 59">
            <a:extLst>
              <a:ext uri="{FF2B5EF4-FFF2-40B4-BE49-F238E27FC236}">
                <a16:creationId xmlns:a16="http://schemas.microsoft.com/office/drawing/2014/main" id="{E7C05C33-C94C-2658-83BF-EFA41CFA2F13}"/>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611473" y="4318086"/>
            <a:ext cx="781050" cy="781050"/>
          </a:xfrm>
          <a:prstGeom prst="rect">
            <a:avLst/>
          </a:prstGeom>
        </p:spPr>
      </p:pic>
      <p:pic>
        <p:nvPicPr>
          <p:cNvPr id="197" name="Graphic 196">
            <a:extLst>
              <a:ext uri="{FF2B5EF4-FFF2-40B4-BE49-F238E27FC236}">
                <a16:creationId xmlns:a16="http://schemas.microsoft.com/office/drawing/2014/main" id="{10570699-D63C-B470-A171-DD22DBAA9D2C}"/>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464085" y="4318086"/>
            <a:ext cx="781050" cy="781050"/>
          </a:xfrm>
          <a:prstGeom prst="rect">
            <a:avLst/>
          </a:prstGeom>
        </p:spPr>
      </p:pic>
      <p:grpSp>
        <p:nvGrpSpPr>
          <p:cNvPr id="511" name="Group 510">
            <a:extLst>
              <a:ext uri="{FF2B5EF4-FFF2-40B4-BE49-F238E27FC236}">
                <a16:creationId xmlns:a16="http://schemas.microsoft.com/office/drawing/2014/main" id="{A841758D-DA2C-40B2-CA26-BF0C6B6B8EB7}"/>
              </a:ext>
            </a:extLst>
          </p:cNvPr>
          <p:cNvGrpSpPr/>
          <p:nvPr/>
        </p:nvGrpSpPr>
        <p:grpSpPr>
          <a:xfrm>
            <a:off x="11135057" y="4375236"/>
            <a:ext cx="723079" cy="723900"/>
            <a:chOff x="11135057" y="4363445"/>
            <a:chExt cx="723079" cy="723900"/>
          </a:xfrm>
        </p:grpSpPr>
        <p:grpSp>
          <p:nvGrpSpPr>
            <p:cNvPr id="444" name="Group 443">
              <a:extLst>
                <a:ext uri="{FF2B5EF4-FFF2-40B4-BE49-F238E27FC236}">
                  <a16:creationId xmlns:a16="http://schemas.microsoft.com/office/drawing/2014/main" id="{6821CF05-8D33-E837-B87A-1E2ED433FC26}"/>
                </a:ext>
              </a:extLst>
            </p:cNvPr>
            <p:cNvGrpSpPr/>
            <p:nvPr/>
          </p:nvGrpSpPr>
          <p:grpSpPr>
            <a:xfrm>
              <a:off x="11135057" y="4509178"/>
              <a:ext cx="609600" cy="578167"/>
              <a:chOff x="537926" y="1818419"/>
              <a:chExt cx="609600" cy="578167"/>
            </a:xfrm>
          </p:grpSpPr>
          <p:sp>
            <p:nvSpPr>
              <p:cNvPr id="445" name="Freeform: Shape 444">
                <a:extLst>
                  <a:ext uri="{FF2B5EF4-FFF2-40B4-BE49-F238E27FC236}">
                    <a16:creationId xmlns:a16="http://schemas.microsoft.com/office/drawing/2014/main" id="{5CAEAB41-2369-AFA9-D341-341E90382E64}"/>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446" name="Freeform: Shape 445">
                <a:extLst>
                  <a:ext uri="{FF2B5EF4-FFF2-40B4-BE49-F238E27FC236}">
                    <a16:creationId xmlns:a16="http://schemas.microsoft.com/office/drawing/2014/main" id="{B602025F-C29C-A7A7-A7D2-37180D6828A9}"/>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nvGrpSpPr>
            <p:cNvPr id="499" name="Graphic 214">
              <a:extLst>
                <a:ext uri="{FF2B5EF4-FFF2-40B4-BE49-F238E27FC236}">
                  <a16:creationId xmlns:a16="http://schemas.microsoft.com/office/drawing/2014/main" id="{49402895-7D0B-3AF9-1959-4199EB71F84E}"/>
                </a:ext>
              </a:extLst>
            </p:cNvPr>
            <p:cNvGrpSpPr/>
            <p:nvPr/>
          </p:nvGrpSpPr>
          <p:grpSpPr>
            <a:xfrm>
              <a:off x="11583816" y="4363445"/>
              <a:ext cx="274320" cy="309562"/>
              <a:chOff x="11583816" y="4363445"/>
              <a:chExt cx="274320" cy="309562"/>
            </a:xfrm>
          </p:grpSpPr>
          <p:sp>
            <p:nvSpPr>
              <p:cNvPr id="500" name="Freeform: Shape 499">
                <a:extLst>
                  <a:ext uri="{FF2B5EF4-FFF2-40B4-BE49-F238E27FC236}">
                    <a16:creationId xmlns:a16="http://schemas.microsoft.com/office/drawing/2014/main" id="{71D045FA-2A05-ED6A-4A98-2089C6873C02}"/>
                  </a:ext>
                </a:extLst>
              </p:cNvPr>
              <p:cNvSpPr/>
              <p:nvPr/>
            </p:nvSpPr>
            <p:spPr>
              <a:xfrm>
                <a:off x="11644776" y="4455837"/>
                <a:ext cx="112394" cy="114300"/>
              </a:xfrm>
              <a:custGeom>
                <a:avLst/>
                <a:gdLst>
                  <a:gd name="connsiteX0" fmla="*/ 101917 w 112394"/>
                  <a:gd name="connsiteY0" fmla="*/ 97155 h 114300"/>
                  <a:gd name="connsiteX1" fmla="*/ 112395 w 112394"/>
                  <a:gd name="connsiteY1" fmla="*/ 79058 h 114300"/>
                  <a:gd name="connsiteX2" fmla="*/ 99060 w 112394"/>
                  <a:gd name="connsiteY2" fmla="*/ 67627 h 114300"/>
                  <a:gd name="connsiteX3" fmla="*/ 99060 w 112394"/>
                  <a:gd name="connsiteY3" fmla="*/ 48577 h 114300"/>
                  <a:gd name="connsiteX4" fmla="*/ 112395 w 112394"/>
                  <a:gd name="connsiteY4" fmla="*/ 37148 h 114300"/>
                  <a:gd name="connsiteX5" fmla="*/ 101917 w 112394"/>
                  <a:gd name="connsiteY5" fmla="*/ 18098 h 114300"/>
                  <a:gd name="connsiteX6" fmla="*/ 85725 w 112394"/>
                  <a:gd name="connsiteY6" fmla="*/ 23813 h 114300"/>
                  <a:gd name="connsiteX7" fmla="*/ 69532 w 112394"/>
                  <a:gd name="connsiteY7" fmla="*/ 15240 h 114300"/>
                  <a:gd name="connsiteX8" fmla="*/ 66675 w 112394"/>
                  <a:gd name="connsiteY8" fmla="*/ 0 h 114300"/>
                  <a:gd name="connsiteX9" fmla="*/ 45720 w 112394"/>
                  <a:gd name="connsiteY9" fmla="*/ 0 h 114300"/>
                  <a:gd name="connsiteX10" fmla="*/ 42863 w 112394"/>
                  <a:gd name="connsiteY10" fmla="*/ 15240 h 114300"/>
                  <a:gd name="connsiteX11" fmla="*/ 25717 w 112394"/>
                  <a:gd name="connsiteY11" fmla="*/ 24765 h 114300"/>
                  <a:gd name="connsiteX12" fmla="*/ 10477 w 112394"/>
                  <a:gd name="connsiteY12" fmla="*/ 19050 h 114300"/>
                  <a:gd name="connsiteX13" fmla="*/ 0 w 112394"/>
                  <a:gd name="connsiteY13" fmla="*/ 37148 h 114300"/>
                  <a:gd name="connsiteX14" fmla="*/ 12382 w 112394"/>
                  <a:gd name="connsiteY14" fmla="*/ 47625 h 114300"/>
                  <a:gd name="connsiteX15" fmla="*/ 12382 w 112394"/>
                  <a:gd name="connsiteY15" fmla="*/ 66675 h 114300"/>
                  <a:gd name="connsiteX16" fmla="*/ 0 w 112394"/>
                  <a:gd name="connsiteY16" fmla="*/ 79058 h 114300"/>
                  <a:gd name="connsiteX17" fmla="*/ 10477 w 112394"/>
                  <a:gd name="connsiteY17" fmla="*/ 97155 h 114300"/>
                  <a:gd name="connsiteX18" fmla="*/ 26670 w 112394"/>
                  <a:gd name="connsiteY18" fmla="*/ 90488 h 114300"/>
                  <a:gd name="connsiteX19" fmla="*/ 42863 w 112394"/>
                  <a:gd name="connsiteY19" fmla="*/ 100013 h 114300"/>
                  <a:gd name="connsiteX20" fmla="*/ 45720 w 112394"/>
                  <a:gd name="connsiteY20" fmla="*/ 114300 h 114300"/>
                  <a:gd name="connsiteX21" fmla="*/ 66675 w 112394"/>
                  <a:gd name="connsiteY21" fmla="*/ 114300 h 114300"/>
                  <a:gd name="connsiteX22" fmla="*/ 69532 w 112394"/>
                  <a:gd name="connsiteY22" fmla="*/ 100013 h 114300"/>
                  <a:gd name="connsiteX23" fmla="*/ 85725 w 112394"/>
                  <a:gd name="connsiteY23" fmla="*/ 90488 h 114300"/>
                  <a:gd name="connsiteX24" fmla="*/ 101917 w 112394"/>
                  <a:gd name="connsiteY24" fmla="*/ 97155 h 114300"/>
                  <a:gd name="connsiteX25" fmla="*/ 66675 w 112394"/>
                  <a:gd name="connsiteY25" fmla="*/ 77152 h 114300"/>
                  <a:gd name="connsiteX26" fmla="*/ 53340 w 112394"/>
                  <a:gd name="connsiteY26" fmla="*/ 80010 h 114300"/>
                  <a:gd name="connsiteX27" fmla="*/ 40957 w 112394"/>
                  <a:gd name="connsiteY27" fmla="*/ 74295 h 114300"/>
                  <a:gd name="connsiteX28" fmla="*/ 35242 w 112394"/>
                  <a:gd name="connsiteY28" fmla="*/ 61913 h 114300"/>
                  <a:gd name="connsiteX29" fmla="*/ 38100 w 112394"/>
                  <a:gd name="connsiteY29" fmla="*/ 48577 h 114300"/>
                  <a:gd name="connsiteX30" fmla="*/ 48577 w 112394"/>
                  <a:gd name="connsiteY30" fmla="*/ 39052 h 114300"/>
                  <a:gd name="connsiteX31" fmla="*/ 61913 w 112394"/>
                  <a:gd name="connsiteY31" fmla="*/ 38100 h 114300"/>
                  <a:gd name="connsiteX32" fmla="*/ 73342 w 112394"/>
                  <a:gd name="connsiteY32" fmla="*/ 45720 h 114300"/>
                  <a:gd name="connsiteX33" fmla="*/ 78105 w 112394"/>
                  <a:gd name="connsiteY33" fmla="*/ 59055 h 114300"/>
                  <a:gd name="connsiteX34" fmla="*/ 75247 w 112394"/>
                  <a:gd name="connsiteY34" fmla="*/ 69533 h 114300"/>
                  <a:gd name="connsiteX35" fmla="*/ 66675 w 112394"/>
                  <a:gd name="connsiteY35" fmla="*/ 77152 h 114300"/>
                  <a:gd name="connsiteX36" fmla="*/ 66675 w 112394"/>
                  <a:gd name="connsiteY36" fmla="*/ 77152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2394" h="114300">
                    <a:moveTo>
                      <a:pt x="101917" y="97155"/>
                    </a:moveTo>
                    <a:lnTo>
                      <a:pt x="112395" y="79058"/>
                    </a:lnTo>
                    <a:lnTo>
                      <a:pt x="99060" y="67627"/>
                    </a:lnTo>
                    <a:lnTo>
                      <a:pt x="99060" y="48577"/>
                    </a:lnTo>
                    <a:lnTo>
                      <a:pt x="112395" y="37148"/>
                    </a:lnTo>
                    <a:lnTo>
                      <a:pt x="101917" y="18098"/>
                    </a:lnTo>
                    <a:lnTo>
                      <a:pt x="85725" y="23813"/>
                    </a:lnTo>
                    <a:lnTo>
                      <a:pt x="69532" y="15240"/>
                    </a:lnTo>
                    <a:lnTo>
                      <a:pt x="66675" y="0"/>
                    </a:lnTo>
                    <a:lnTo>
                      <a:pt x="45720" y="0"/>
                    </a:lnTo>
                    <a:lnTo>
                      <a:pt x="42863" y="15240"/>
                    </a:lnTo>
                    <a:lnTo>
                      <a:pt x="25717" y="24765"/>
                    </a:lnTo>
                    <a:lnTo>
                      <a:pt x="10477" y="19050"/>
                    </a:lnTo>
                    <a:lnTo>
                      <a:pt x="0" y="37148"/>
                    </a:lnTo>
                    <a:lnTo>
                      <a:pt x="12382" y="47625"/>
                    </a:lnTo>
                    <a:lnTo>
                      <a:pt x="12382" y="66675"/>
                    </a:lnTo>
                    <a:lnTo>
                      <a:pt x="0" y="79058"/>
                    </a:lnTo>
                    <a:lnTo>
                      <a:pt x="10477" y="97155"/>
                    </a:lnTo>
                    <a:lnTo>
                      <a:pt x="26670" y="90488"/>
                    </a:lnTo>
                    <a:lnTo>
                      <a:pt x="42863" y="100013"/>
                    </a:lnTo>
                    <a:lnTo>
                      <a:pt x="45720" y="114300"/>
                    </a:lnTo>
                    <a:lnTo>
                      <a:pt x="66675" y="114300"/>
                    </a:lnTo>
                    <a:lnTo>
                      <a:pt x="69532" y="100013"/>
                    </a:lnTo>
                    <a:lnTo>
                      <a:pt x="85725" y="90488"/>
                    </a:lnTo>
                    <a:lnTo>
                      <a:pt x="101917" y="97155"/>
                    </a:lnTo>
                    <a:close/>
                    <a:moveTo>
                      <a:pt x="66675" y="77152"/>
                    </a:moveTo>
                    <a:cubicBezTo>
                      <a:pt x="62865" y="79058"/>
                      <a:pt x="58102" y="80010"/>
                      <a:pt x="53340" y="80010"/>
                    </a:cubicBezTo>
                    <a:cubicBezTo>
                      <a:pt x="48577" y="79058"/>
                      <a:pt x="44767" y="77152"/>
                      <a:pt x="40957" y="74295"/>
                    </a:cubicBezTo>
                    <a:cubicBezTo>
                      <a:pt x="37147" y="70485"/>
                      <a:pt x="35242" y="66675"/>
                      <a:pt x="35242" y="61913"/>
                    </a:cubicBezTo>
                    <a:cubicBezTo>
                      <a:pt x="34290" y="57150"/>
                      <a:pt x="35242" y="52388"/>
                      <a:pt x="38100" y="48577"/>
                    </a:cubicBezTo>
                    <a:cubicBezTo>
                      <a:pt x="40005" y="44768"/>
                      <a:pt x="43815" y="40958"/>
                      <a:pt x="48577" y="39052"/>
                    </a:cubicBezTo>
                    <a:cubicBezTo>
                      <a:pt x="53340" y="37148"/>
                      <a:pt x="58102" y="37148"/>
                      <a:pt x="61913" y="38100"/>
                    </a:cubicBezTo>
                    <a:cubicBezTo>
                      <a:pt x="66675" y="39052"/>
                      <a:pt x="70485" y="41910"/>
                      <a:pt x="73342" y="45720"/>
                    </a:cubicBezTo>
                    <a:cubicBezTo>
                      <a:pt x="76200" y="49530"/>
                      <a:pt x="78105" y="54293"/>
                      <a:pt x="78105" y="59055"/>
                    </a:cubicBezTo>
                    <a:cubicBezTo>
                      <a:pt x="78105" y="62865"/>
                      <a:pt x="77152" y="66675"/>
                      <a:pt x="75247" y="69533"/>
                    </a:cubicBezTo>
                    <a:cubicBezTo>
                      <a:pt x="73342" y="72390"/>
                      <a:pt x="70485" y="75248"/>
                      <a:pt x="66675" y="77152"/>
                    </a:cubicBezTo>
                    <a:lnTo>
                      <a:pt x="66675" y="77152"/>
                    </a:lnTo>
                    <a:close/>
                  </a:path>
                </a:pathLst>
              </a:custGeom>
              <a:solidFill>
                <a:srgbClr val="40AA1D"/>
              </a:solidFill>
              <a:ln w="9525" cap="flat">
                <a:noFill/>
                <a:prstDash val="solid"/>
                <a:miter/>
              </a:ln>
            </p:spPr>
            <p:txBody>
              <a:bodyPr rtlCol="0" anchor="ctr"/>
              <a:lstStyle/>
              <a:p>
                <a:endParaRPr lang="en-US" dirty="0"/>
              </a:p>
            </p:txBody>
          </p:sp>
          <p:grpSp>
            <p:nvGrpSpPr>
              <p:cNvPr id="501" name="Graphic 214">
                <a:extLst>
                  <a:ext uri="{FF2B5EF4-FFF2-40B4-BE49-F238E27FC236}">
                    <a16:creationId xmlns:a16="http://schemas.microsoft.com/office/drawing/2014/main" id="{F9D266CF-F6B5-F297-8D6F-7D930576F6F3}"/>
                  </a:ext>
                </a:extLst>
              </p:cNvPr>
              <p:cNvGrpSpPr/>
              <p:nvPr/>
            </p:nvGrpSpPr>
            <p:grpSpPr>
              <a:xfrm>
                <a:off x="11595246" y="4409165"/>
                <a:ext cx="222884" cy="110489"/>
                <a:chOff x="11595246" y="4409165"/>
                <a:chExt cx="222884" cy="110489"/>
              </a:xfrm>
              <a:solidFill>
                <a:srgbClr val="3D4647"/>
              </a:solidFill>
            </p:grpSpPr>
            <p:sp>
              <p:nvSpPr>
                <p:cNvPr id="502" name="Freeform: Shape 501">
                  <a:extLst>
                    <a:ext uri="{FF2B5EF4-FFF2-40B4-BE49-F238E27FC236}">
                      <a16:creationId xmlns:a16="http://schemas.microsoft.com/office/drawing/2014/main" id="{B9E9CDFD-2ABF-5B6E-B95C-AA7797761F2A}"/>
                    </a:ext>
                  </a:extLst>
                </p:cNvPr>
                <p:cNvSpPr/>
                <p:nvPr/>
              </p:nvSpPr>
              <p:spPr>
                <a:xfrm>
                  <a:off x="11780983" y="4487270"/>
                  <a:ext cx="37147" cy="32384"/>
                </a:xfrm>
                <a:custGeom>
                  <a:avLst/>
                  <a:gdLst>
                    <a:gd name="connsiteX0" fmla="*/ 37148 w 37147"/>
                    <a:gd name="connsiteY0" fmla="*/ 0 h 32384"/>
                    <a:gd name="connsiteX1" fmla="*/ 18098 w 37147"/>
                    <a:gd name="connsiteY1" fmla="*/ 32385 h 32384"/>
                    <a:gd name="connsiteX2" fmla="*/ 0 w 37147"/>
                    <a:gd name="connsiteY2" fmla="*/ 0 h 32384"/>
                  </a:gdLst>
                  <a:ahLst/>
                  <a:cxnLst>
                    <a:cxn ang="0">
                      <a:pos x="connsiteX0" y="connsiteY0"/>
                    </a:cxn>
                    <a:cxn ang="0">
                      <a:pos x="connsiteX1" y="connsiteY1"/>
                    </a:cxn>
                    <a:cxn ang="0">
                      <a:pos x="connsiteX2" y="connsiteY2"/>
                    </a:cxn>
                  </a:cxnLst>
                  <a:rect l="l" t="t" r="r" b="b"/>
                  <a:pathLst>
                    <a:path w="37147" h="32384">
                      <a:moveTo>
                        <a:pt x="37148" y="0"/>
                      </a:moveTo>
                      <a:lnTo>
                        <a:pt x="18098" y="32385"/>
                      </a:lnTo>
                      <a:lnTo>
                        <a:pt x="0" y="0"/>
                      </a:lnTo>
                      <a:close/>
                    </a:path>
                  </a:pathLst>
                </a:custGeom>
                <a:solidFill>
                  <a:srgbClr val="3D4647"/>
                </a:solidFill>
                <a:ln w="9525" cap="flat">
                  <a:noFill/>
                  <a:prstDash val="solid"/>
                  <a:miter/>
                </a:ln>
              </p:spPr>
              <p:txBody>
                <a:bodyPr rtlCol="0" anchor="ctr"/>
                <a:lstStyle/>
                <a:p>
                  <a:endParaRPr lang="en-US" dirty="0"/>
                </a:p>
              </p:txBody>
            </p:sp>
            <p:sp>
              <p:nvSpPr>
                <p:cNvPr id="503" name="Freeform: Shape 502">
                  <a:extLst>
                    <a:ext uri="{FF2B5EF4-FFF2-40B4-BE49-F238E27FC236}">
                      <a16:creationId xmlns:a16="http://schemas.microsoft.com/office/drawing/2014/main" id="{9414B169-41F1-2FAB-C786-6216E7603CD0}"/>
                    </a:ext>
                  </a:extLst>
                </p:cNvPr>
                <p:cNvSpPr/>
                <p:nvPr/>
              </p:nvSpPr>
              <p:spPr>
                <a:xfrm>
                  <a:off x="11595246" y="4409165"/>
                  <a:ext cx="204787" cy="88582"/>
                </a:xfrm>
                <a:custGeom>
                  <a:avLst/>
                  <a:gdLst>
                    <a:gd name="connsiteX0" fmla="*/ 19050 w 204787"/>
                    <a:gd name="connsiteY0" fmla="*/ 88583 h 88582"/>
                    <a:gd name="connsiteX1" fmla="*/ 0 w 204787"/>
                    <a:gd name="connsiteY1" fmla="*/ 84773 h 88582"/>
                    <a:gd name="connsiteX2" fmla="*/ 6668 w 204787"/>
                    <a:gd name="connsiteY2" fmla="*/ 63818 h 88582"/>
                    <a:gd name="connsiteX3" fmla="*/ 105727 w 204787"/>
                    <a:gd name="connsiteY3" fmla="*/ 0 h 88582"/>
                    <a:gd name="connsiteX4" fmla="*/ 204787 w 204787"/>
                    <a:gd name="connsiteY4" fmla="*/ 63818 h 88582"/>
                    <a:gd name="connsiteX5" fmla="*/ 187643 w 204787"/>
                    <a:gd name="connsiteY5" fmla="*/ 71437 h 88582"/>
                    <a:gd name="connsiteX6" fmla="*/ 105727 w 204787"/>
                    <a:gd name="connsiteY6" fmla="*/ 19050 h 88582"/>
                    <a:gd name="connsiteX7" fmla="*/ 23813 w 204787"/>
                    <a:gd name="connsiteY7" fmla="*/ 71437 h 88582"/>
                    <a:gd name="connsiteX8" fmla="*/ 19050 w 204787"/>
                    <a:gd name="connsiteY8" fmla="*/ 88583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787" h="88582">
                      <a:moveTo>
                        <a:pt x="19050" y="88583"/>
                      </a:moveTo>
                      <a:lnTo>
                        <a:pt x="0" y="84773"/>
                      </a:lnTo>
                      <a:cubicBezTo>
                        <a:pt x="1905" y="77152"/>
                        <a:pt x="3810" y="70485"/>
                        <a:pt x="6668" y="63818"/>
                      </a:cubicBezTo>
                      <a:cubicBezTo>
                        <a:pt x="23813" y="25717"/>
                        <a:pt x="62865" y="0"/>
                        <a:pt x="105727" y="0"/>
                      </a:cubicBezTo>
                      <a:cubicBezTo>
                        <a:pt x="148590" y="0"/>
                        <a:pt x="187643" y="24765"/>
                        <a:pt x="204787" y="63818"/>
                      </a:cubicBezTo>
                      <a:lnTo>
                        <a:pt x="187643" y="71437"/>
                      </a:lnTo>
                      <a:cubicBezTo>
                        <a:pt x="173355" y="40005"/>
                        <a:pt x="141922" y="19050"/>
                        <a:pt x="105727" y="19050"/>
                      </a:cubicBezTo>
                      <a:cubicBezTo>
                        <a:pt x="70485" y="19050"/>
                        <a:pt x="38100" y="40005"/>
                        <a:pt x="23813" y="71437"/>
                      </a:cubicBezTo>
                      <a:cubicBezTo>
                        <a:pt x="21907" y="76200"/>
                        <a:pt x="20002" y="81915"/>
                        <a:pt x="19050" y="88583"/>
                      </a:cubicBezTo>
                      <a:close/>
                    </a:path>
                  </a:pathLst>
                </a:custGeom>
                <a:solidFill>
                  <a:srgbClr val="3D4647"/>
                </a:solidFill>
                <a:ln w="9525" cap="flat">
                  <a:noFill/>
                  <a:prstDash val="solid"/>
                  <a:miter/>
                </a:ln>
              </p:spPr>
              <p:txBody>
                <a:bodyPr rtlCol="0" anchor="ctr"/>
                <a:lstStyle/>
                <a:p>
                  <a:endParaRPr lang="en-US" dirty="0"/>
                </a:p>
              </p:txBody>
            </p:sp>
          </p:grpSp>
          <p:grpSp>
            <p:nvGrpSpPr>
              <p:cNvPr id="504" name="Graphic 214">
                <a:extLst>
                  <a:ext uri="{FF2B5EF4-FFF2-40B4-BE49-F238E27FC236}">
                    <a16:creationId xmlns:a16="http://schemas.microsoft.com/office/drawing/2014/main" id="{DC7B17BE-1C3B-DEC6-5033-8D8906CF8D99}"/>
                  </a:ext>
                </a:extLst>
              </p:cNvPr>
              <p:cNvGrpSpPr/>
              <p:nvPr/>
            </p:nvGrpSpPr>
            <p:grpSpPr>
              <a:xfrm>
                <a:off x="11583816" y="4509177"/>
                <a:ext cx="222885" cy="110490"/>
                <a:chOff x="11583816" y="4509177"/>
                <a:chExt cx="222885" cy="110490"/>
              </a:xfrm>
              <a:solidFill>
                <a:srgbClr val="40AA1D"/>
              </a:solidFill>
            </p:grpSpPr>
            <p:sp>
              <p:nvSpPr>
                <p:cNvPr id="505" name="Freeform: Shape 504">
                  <a:extLst>
                    <a:ext uri="{FF2B5EF4-FFF2-40B4-BE49-F238E27FC236}">
                      <a16:creationId xmlns:a16="http://schemas.microsoft.com/office/drawing/2014/main" id="{AEB1C581-97CD-0994-4914-9782EA5F4296}"/>
                    </a:ext>
                  </a:extLst>
                </p:cNvPr>
                <p:cNvSpPr/>
                <p:nvPr/>
              </p:nvSpPr>
              <p:spPr>
                <a:xfrm>
                  <a:off x="11601913" y="4532037"/>
                  <a:ext cx="204787" cy="87630"/>
                </a:xfrm>
                <a:custGeom>
                  <a:avLst/>
                  <a:gdLst>
                    <a:gd name="connsiteX0" fmla="*/ 99060 w 204787"/>
                    <a:gd name="connsiteY0" fmla="*/ 87630 h 87630"/>
                    <a:gd name="connsiteX1" fmla="*/ 0 w 204787"/>
                    <a:gd name="connsiteY1" fmla="*/ 23813 h 87630"/>
                    <a:gd name="connsiteX2" fmla="*/ 17145 w 204787"/>
                    <a:gd name="connsiteY2" fmla="*/ 16192 h 87630"/>
                    <a:gd name="connsiteX3" fmla="*/ 99060 w 204787"/>
                    <a:gd name="connsiteY3" fmla="*/ 68580 h 87630"/>
                    <a:gd name="connsiteX4" fmla="*/ 185738 w 204787"/>
                    <a:gd name="connsiteY4" fmla="*/ 0 h 87630"/>
                    <a:gd name="connsiteX5" fmla="*/ 204788 w 204787"/>
                    <a:gd name="connsiteY5" fmla="*/ 3810 h 87630"/>
                    <a:gd name="connsiteX6" fmla="*/ 99060 w 204787"/>
                    <a:gd name="connsiteY6" fmla="*/ 87630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787" h="87630">
                      <a:moveTo>
                        <a:pt x="99060" y="87630"/>
                      </a:moveTo>
                      <a:cubicBezTo>
                        <a:pt x="56197" y="87630"/>
                        <a:pt x="17145" y="62865"/>
                        <a:pt x="0" y="23813"/>
                      </a:cubicBezTo>
                      <a:lnTo>
                        <a:pt x="17145" y="16192"/>
                      </a:lnTo>
                      <a:cubicBezTo>
                        <a:pt x="31432" y="47625"/>
                        <a:pt x="62865" y="68580"/>
                        <a:pt x="99060" y="68580"/>
                      </a:cubicBezTo>
                      <a:cubicBezTo>
                        <a:pt x="140970" y="68580"/>
                        <a:pt x="178117" y="40005"/>
                        <a:pt x="185738" y="0"/>
                      </a:cubicBezTo>
                      <a:lnTo>
                        <a:pt x="204788" y="3810"/>
                      </a:lnTo>
                      <a:cubicBezTo>
                        <a:pt x="194310" y="52388"/>
                        <a:pt x="150495" y="87630"/>
                        <a:pt x="99060" y="87630"/>
                      </a:cubicBezTo>
                      <a:close/>
                    </a:path>
                  </a:pathLst>
                </a:custGeom>
                <a:solidFill>
                  <a:srgbClr val="40AA1D"/>
                </a:solidFill>
                <a:ln w="9525" cap="flat">
                  <a:noFill/>
                  <a:prstDash val="solid"/>
                  <a:miter/>
                </a:ln>
              </p:spPr>
              <p:txBody>
                <a:bodyPr rtlCol="0" anchor="ctr"/>
                <a:lstStyle/>
                <a:p>
                  <a:endParaRPr lang="en-US" dirty="0"/>
                </a:p>
              </p:txBody>
            </p:sp>
            <p:sp>
              <p:nvSpPr>
                <p:cNvPr id="506" name="Freeform: Shape 505">
                  <a:extLst>
                    <a:ext uri="{FF2B5EF4-FFF2-40B4-BE49-F238E27FC236}">
                      <a16:creationId xmlns:a16="http://schemas.microsoft.com/office/drawing/2014/main" id="{6F747411-E457-37A0-8E6F-A642CBF24DB8}"/>
                    </a:ext>
                  </a:extLst>
                </p:cNvPr>
                <p:cNvSpPr/>
                <p:nvPr/>
              </p:nvSpPr>
              <p:spPr>
                <a:xfrm>
                  <a:off x="11583816" y="4509177"/>
                  <a:ext cx="38100" cy="32385"/>
                </a:xfrm>
                <a:custGeom>
                  <a:avLst/>
                  <a:gdLst>
                    <a:gd name="connsiteX0" fmla="*/ 38100 w 38100"/>
                    <a:gd name="connsiteY0" fmla="*/ 32385 h 32385"/>
                    <a:gd name="connsiteX1" fmla="*/ 19050 w 38100"/>
                    <a:gd name="connsiteY1" fmla="*/ 0 h 32385"/>
                    <a:gd name="connsiteX2" fmla="*/ 0 w 38100"/>
                    <a:gd name="connsiteY2" fmla="*/ 32385 h 32385"/>
                  </a:gdLst>
                  <a:ahLst/>
                  <a:cxnLst>
                    <a:cxn ang="0">
                      <a:pos x="connsiteX0" y="connsiteY0"/>
                    </a:cxn>
                    <a:cxn ang="0">
                      <a:pos x="connsiteX1" y="connsiteY1"/>
                    </a:cxn>
                    <a:cxn ang="0">
                      <a:pos x="connsiteX2" y="connsiteY2"/>
                    </a:cxn>
                  </a:cxnLst>
                  <a:rect l="l" t="t" r="r" b="b"/>
                  <a:pathLst>
                    <a:path w="38100" h="32385">
                      <a:moveTo>
                        <a:pt x="38100" y="32385"/>
                      </a:moveTo>
                      <a:lnTo>
                        <a:pt x="19050" y="0"/>
                      </a:lnTo>
                      <a:lnTo>
                        <a:pt x="0" y="32385"/>
                      </a:lnTo>
                      <a:close/>
                    </a:path>
                  </a:pathLst>
                </a:custGeom>
                <a:solidFill>
                  <a:srgbClr val="40AA1D"/>
                </a:solidFill>
                <a:ln w="9525" cap="flat">
                  <a:noFill/>
                  <a:prstDash val="solid"/>
                  <a:miter/>
                </a:ln>
              </p:spPr>
              <p:txBody>
                <a:bodyPr rtlCol="0" anchor="ctr"/>
                <a:lstStyle/>
                <a:p>
                  <a:endParaRPr lang="en-US" dirty="0"/>
                </a:p>
              </p:txBody>
            </p:sp>
          </p:grpSp>
          <p:grpSp>
            <p:nvGrpSpPr>
              <p:cNvPr id="507" name="Graphic 214">
                <a:extLst>
                  <a:ext uri="{FF2B5EF4-FFF2-40B4-BE49-F238E27FC236}">
                    <a16:creationId xmlns:a16="http://schemas.microsoft.com/office/drawing/2014/main" id="{B9F929C7-3B62-4182-8DE8-425AFC7A0E88}"/>
                  </a:ext>
                </a:extLst>
              </p:cNvPr>
              <p:cNvGrpSpPr/>
              <p:nvPr/>
            </p:nvGrpSpPr>
            <p:grpSpPr>
              <a:xfrm>
                <a:off x="11611304" y="4363445"/>
                <a:ext cx="246831" cy="309562"/>
                <a:chOff x="11611304" y="4363445"/>
                <a:chExt cx="246831" cy="309562"/>
              </a:xfrm>
              <a:solidFill>
                <a:srgbClr val="3D4647"/>
              </a:solidFill>
            </p:grpSpPr>
            <p:sp>
              <p:nvSpPr>
                <p:cNvPr id="508" name="Freeform: Shape 507">
                  <a:extLst>
                    <a:ext uri="{FF2B5EF4-FFF2-40B4-BE49-F238E27FC236}">
                      <a16:creationId xmlns:a16="http://schemas.microsoft.com/office/drawing/2014/main" id="{90024F7D-B429-9C4A-88D9-1EF7BB150B69}"/>
                    </a:ext>
                  </a:extLst>
                </p:cNvPr>
                <p:cNvSpPr/>
                <p:nvPr/>
              </p:nvSpPr>
              <p:spPr>
                <a:xfrm>
                  <a:off x="11639060" y="4363445"/>
                  <a:ext cx="219075" cy="293369"/>
                </a:xfrm>
                <a:custGeom>
                  <a:avLst/>
                  <a:gdLst>
                    <a:gd name="connsiteX0" fmla="*/ 124778 w 219075"/>
                    <a:gd name="connsiteY0" fmla="*/ 293370 h 293369"/>
                    <a:gd name="connsiteX1" fmla="*/ 116205 w 219075"/>
                    <a:gd name="connsiteY1" fmla="*/ 274320 h 293369"/>
                    <a:gd name="connsiteX2" fmla="*/ 133350 w 219075"/>
                    <a:gd name="connsiteY2" fmla="*/ 265748 h 293369"/>
                    <a:gd name="connsiteX3" fmla="*/ 144780 w 219075"/>
                    <a:gd name="connsiteY3" fmla="*/ 283845 h 293369"/>
                    <a:gd name="connsiteX4" fmla="*/ 124778 w 219075"/>
                    <a:gd name="connsiteY4" fmla="*/ 293370 h 293369"/>
                    <a:gd name="connsiteX5" fmla="*/ 160020 w 219075"/>
                    <a:gd name="connsiteY5" fmla="*/ 271463 h 293369"/>
                    <a:gd name="connsiteX6" fmla="*/ 146685 w 219075"/>
                    <a:gd name="connsiteY6" fmla="*/ 255270 h 293369"/>
                    <a:gd name="connsiteX7" fmla="*/ 169545 w 219075"/>
                    <a:gd name="connsiteY7" fmla="*/ 231458 h 293369"/>
                    <a:gd name="connsiteX8" fmla="*/ 185738 w 219075"/>
                    <a:gd name="connsiteY8" fmla="*/ 243840 h 293369"/>
                    <a:gd name="connsiteX9" fmla="*/ 160020 w 219075"/>
                    <a:gd name="connsiteY9" fmla="*/ 271463 h 293369"/>
                    <a:gd name="connsiteX10" fmla="*/ 198120 w 219075"/>
                    <a:gd name="connsiteY10" fmla="*/ 228600 h 293369"/>
                    <a:gd name="connsiteX11" fmla="*/ 180022 w 219075"/>
                    <a:gd name="connsiteY11" fmla="*/ 218123 h 293369"/>
                    <a:gd name="connsiteX12" fmla="*/ 193358 w 219075"/>
                    <a:gd name="connsiteY12" fmla="*/ 187643 h 293369"/>
                    <a:gd name="connsiteX13" fmla="*/ 213360 w 219075"/>
                    <a:gd name="connsiteY13" fmla="*/ 193358 h 293369"/>
                    <a:gd name="connsiteX14" fmla="*/ 198120 w 219075"/>
                    <a:gd name="connsiteY14" fmla="*/ 228600 h 293369"/>
                    <a:gd name="connsiteX15" fmla="*/ 217170 w 219075"/>
                    <a:gd name="connsiteY15" fmla="*/ 173355 h 293369"/>
                    <a:gd name="connsiteX16" fmla="*/ 196215 w 219075"/>
                    <a:gd name="connsiteY16" fmla="*/ 170498 h 293369"/>
                    <a:gd name="connsiteX17" fmla="*/ 198120 w 219075"/>
                    <a:gd name="connsiteY17" fmla="*/ 150495 h 293369"/>
                    <a:gd name="connsiteX18" fmla="*/ 197168 w 219075"/>
                    <a:gd name="connsiteY18" fmla="*/ 137160 h 293369"/>
                    <a:gd name="connsiteX19" fmla="*/ 218122 w 219075"/>
                    <a:gd name="connsiteY19" fmla="*/ 135255 h 293369"/>
                    <a:gd name="connsiteX20" fmla="*/ 219075 w 219075"/>
                    <a:gd name="connsiteY20" fmla="*/ 151448 h 293369"/>
                    <a:gd name="connsiteX21" fmla="*/ 217170 w 219075"/>
                    <a:gd name="connsiteY21" fmla="*/ 173355 h 293369"/>
                    <a:gd name="connsiteX22" fmla="*/ 194310 w 219075"/>
                    <a:gd name="connsiteY22" fmla="*/ 120968 h 293369"/>
                    <a:gd name="connsiteX23" fmla="*/ 186690 w 219075"/>
                    <a:gd name="connsiteY23" fmla="*/ 98107 h 293369"/>
                    <a:gd name="connsiteX24" fmla="*/ 182880 w 219075"/>
                    <a:gd name="connsiteY24" fmla="*/ 89535 h 293369"/>
                    <a:gd name="connsiteX25" fmla="*/ 200978 w 219075"/>
                    <a:gd name="connsiteY25" fmla="*/ 80010 h 293369"/>
                    <a:gd name="connsiteX26" fmla="*/ 205740 w 219075"/>
                    <a:gd name="connsiteY26" fmla="*/ 89535 h 293369"/>
                    <a:gd name="connsiteX27" fmla="*/ 214313 w 219075"/>
                    <a:gd name="connsiteY27" fmla="*/ 116205 h 293369"/>
                    <a:gd name="connsiteX28" fmla="*/ 194310 w 219075"/>
                    <a:gd name="connsiteY28" fmla="*/ 120968 h 293369"/>
                    <a:gd name="connsiteX29" fmla="*/ 173355 w 219075"/>
                    <a:gd name="connsiteY29" fmla="*/ 75248 h 293369"/>
                    <a:gd name="connsiteX30" fmla="*/ 150495 w 219075"/>
                    <a:gd name="connsiteY30" fmla="*/ 50483 h 293369"/>
                    <a:gd name="connsiteX31" fmla="*/ 163830 w 219075"/>
                    <a:gd name="connsiteY31" fmla="*/ 35243 h 293369"/>
                    <a:gd name="connsiteX32" fmla="*/ 190500 w 219075"/>
                    <a:gd name="connsiteY32" fmla="*/ 63818 h 293369"/>
                    <a:gd name="connsiteX33" fmla="*/ 173355 w 219075"/>
                    <a:gd name="connsiteY33" fmla="*/ 75248 h 293369"/>
                    <a:gd name="connsiteX34" fmla="*/ 137160 w 219075"/>
                    <a:gd name="connsiteY34" fmla="*/ 40958 h 293369"/>
                    <a:gd name="connsiteX35" fmla="*/ 106680 w 219075"/>
                    <a:gd name="connsiteY35" fmla="*/ 26670 h 293369"/>
                    <a:gd name="connsiteX36" fmla="*/ 113347 w 219075"/>
                    <a:gd name="connsiteY36" fmla="*/ 6667 h 293369"/>
                    <a:gd name="connsiteX37" fmla="*/ 148590 w 219075"/>
                    <a:gd name="connsiteY37" fmla="*/ 22860 h 293369"/>
                    <a:gd name="connsiteX38" fmla="*/ 137160 w 219075"/>
                    <a:gd name="connsiteY38" fmla="*/ 40958 h 293369"/>
                    <a:gd name="connsiteX39" fmla="*/ 8573 w 219075"/>
                    <a:gd name="connsiteY39" fmla="*/ 33338 h 293369"/>
                    <a:gd name="connsiteX40" fmla="*/ 0 w 219075"/>
                    <a:gd name="connsiteY40" fmla="*/ 14288 h 293369"/>
                    <a:gd name="connsiteX41" fmla="*/ 37148 w 219075"/>
                    <a:gd name="connsiteY41" fmla="*/ 2858 h 293369"/>
                    <a:gd name="connsiteX42" fmla="*/ 40957 w 219075"/>
                    <a:gd name="connsiteY42" fmla="*/ 22860 h 293369"/>
                    <a:gd name="connsiteX43" fmla="*/ 8573 w 219075"/>
                    <a:gd name="connsiteY43" fmla="*/ 33338 h 293369"/>
                    <a:gd name="connsiteX44" fmla="*/ 90488 w 219075"/>
                    <a:gd name="connsiteY44" fmla="*/ 22860 h 293369"/>
                    <a:gd name="connsiteX45" fmla="*/ 64770 w 219075"/>
                    <a:gd name="connsiteY45" fmla="*/ 20003 h 293369"/>
                    <a:gd name="connsiteX46" fmla="*/ 57150 w 219075"/>
                    <a:gd name="connsiteY46" fmla="*/ 20003 h 293369"/>
                    <a:gd name="connsiteX47" fmla="*/ 56198 w 219075"/>
                    <a:gd name="connsiteY47" fmla="*/ 0 h 293369"/>
                    <a:gd name="connsiteX48" fmla="*/ 65723 w 219075"/>
                    <a:gd name="connsiteY48" fmla="*/ 0 h 293369"/>
                    <a:gd name="connsiteX49" fmla="*/ 95250 w 219075"/>
                    <a:gd name="connsiteY49" fmla="*/ 2858 h 293369"/>
                    <a:gd name="connsiteX50" fmla="*/ 90488 w 219075"/>
                    <a:gd name="connsiteY50" fmla="*/ 22860 h 29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19075" h="293369">
                      <a:moveTo>
                        <a:pt x="124778" y="293370"/>
                      </a:moveTo>
                      <a:lnTo>
                        <a:pt x="116205" y="274320"/>
                      </a:lnTo>
                      <a:cubicBezTo>
                        <a:pt x="121920" y="271463"/>
                        <a:pt x="127635" y="268605"/>
                        <a:pt x="133350" y="265748"/>
                      </a:cubicBezTo>
                      <a:lnTo>
                        <a:pt x="144780" y="283845"/>
                      </a:lnTo>
                      <a:cubicBezTo>
                        <a:pt x="138113" y="286703"/>
                        <a:pt x="131445" y="290513"/>
                        <a:pt x="124778" y="293370"/>
                      </a:cubicBezTo>
                      <a:close/>
                      <a:moveTo>
                        <a:pt x="160020" y="271463"/>
                      </a:moveTo>
                      <a:lnTo>
                        <a:pt x="146685" y="255270"/>
                      </a:lnTo>
                      <a:cubicBezTo>
                        <a:pt x="155258" y="248602"/>
                        <a:pt x="162878" y="240030"/>
                        <a:pt x="169545" y="231458"/>
                      </a:cubicBezTo>
                      <a:lnTo>
                        <a:pt x="185738" y="243840"/>
                      </a:lnTo>
                      <a:cubicBezTo>
                        <a:pt x="179070" y="254318"/>
                        <a:pt x="170497" y="263843"/>
                        <a:pt x="160020" y="271463"/>
                      </a:cubicBezTo>
                      <a:close/>
                      <a:moveTo>
                        <a:pt x="198120" y="228600"/>
                      </a:moveTo>
                      <a:lnTo>
                        <a:pt x="180022" y="218123"/>
                      </a:lnTo>
                      <a:cubicBezTo>
                        <a:pt x="185738" y="208598"/>
                        <a:pt x="190500" y="198120"/>
                        <a:pt x="193358" y="187643"/>
                      </a:cubicBezTo>
                      <a:lnTo>
                        <a:pt x="213360" y="193358"/>
                      </a:lnTo>
                      <a:cubicBezTo>
                        <a:pt x="209550" y="204788"/>
                        <a:pt x="203835" y="217170"/>
                        <a:pt x="198120" y="228600"/>
                      </a:cubicBezTo>
                      <a:close/>
                      <a:moveTo>
                        <a:pt x="217170" y="173355"/>
                      </a:moveTo>
                      <a:lnTo>
                        <a:pt x="196215" y="170498"/>
                      </a:lnTo>
                      <a:cubicBezTo>
                        <a:pt x="197168" y="163830"/>
                        <a:pt x="198120" y="157163"/>
                        <a:pt x="198120" y="150495"/>
                      </a:cubicBezTo>
                      <a:cubicBezTo>
                        <a:pt x="198120" y="145733"/>
                        <a:pt x="198120" y="140970"/>
                        <a:pt x="197168" y="137160"/>
                      </a:cubicBezTo>
                      <a:lnTo>
                        <a:pt x="218122" y="135255"/>
                      </a:lnTo>
                      <a:cubicBezTo>
                        <a:pt x="219075" y="140970"/>
                        <a:pt x="219075" y="145733"/>
                        <a:pt x="219075" y="151448"/>
                      </a:cubicBezTo>
                      <a:cubicBezTo>
                        <a:pt x="219075" y="158115"/>
                        <a:pt x="218122" y="165735"/>
                        <a:pt x="217170" y="173355"/>
                      </a:cubicBezTo>
                      <a:close/>
                      <a:moveTo>
                        <a:pt x="194310" y="120968"/>
                      </a:moveTo>
                      <a:cubicBezTo>
                        <a:pt x="192405" y="113348"/>
                        <a:pt x="189547" y="105728"/>
                        <a:pt x="186690" y="98107"/>
                      </a:cubicBezTo>
                      <a:cubicBezTo>
                        <a:pt x="185738" y="95250"/>
                        <a:pt x="183833" y="92393"/>
                        <a:pt x="182880" y="89535"/>
                      </a:cubicBezTo>
                      <a:lnTo>
                        <a:pt x="200978" y="80010"/>
                      </a:lnTo>
                      <a:cubicBezTo>
                        <a:pt x="202883" y="82868"/>
                        <a:pt x="204788" y="86678"/>
                        <a:pt x="205740" y="89535"/>
                      </a:cubicBezTo>
                      <a:cubicBezTo>
                        <a:pt x="209550" y="98107"/>
                        <a:pt x="212408" y="106680"/>
                        <a:pt x="214313" y="116205"/>
                      </a:cubicBezTo>
                      <a:lnTo>
                        <a:pt x="194310" y="120968"/>
                      </a:lnTo>
                      <a:close/>
                      <a:moveTo>
                        <a:pt x="173355" y="75248"/>
                      </a:moveTo>
                      <a:cubicBezTo>
                        <a:pt x="166688" y="66675"/>
                        <a:pt x="159068" y="58103"/>
                        <a:pt x="150495" y="50483"/>
                      </a:cubicBezTo>
                      <a:lnTo>
                        <a:pt x="163830" y="35243"/>
                      </a:lnTo>
                      <a:cubicBezTo>
                        <a:pt x="174308" y="43815"/>
                        <a:pt x="182880" y="53340"/>
                        <a:pt x="190500" y="63818"/>
                      </a:cubicBezTo>
                      <a:lnTo>
                        <a:pt x="173355" y="75248"/>
                      </a:lnTo>
                      <a:close/>
                      <a:moveTo>
                        <a:pt x="137160" y="40958"/>
                      </a:moveTo>
                      <a:cubicBezTo>
                        <a:pt x="127635" y="35243"/>
                        <a:pt x="117157" y="30480"/>
                        <a:pt x="106680" y="26670"/>
                      </a:cubicBezTo>
                      <a:lnTo>
                        <a:pt x="113347" y="6667"/>
                      </a:lnTo>
                      <a:cubicBezTo>
                        <a:pt x="125730" y="10477"/>
                        <a:pt x="137160" y="16192"/>
                        <a:pt x="148590" y="22860"/>
                      </a:cubicBezTo>
                      <a:lnTo>
                        <a:pt x="137160" y="40958"/>
                      </a:lnTo>
                      <a:close/>
                      <a:moveTo>
                        <a:pt x="8573" y="33338"/>
                      </a:moveTo>
                      <a:lnTo>
                        <a:pt x="0" y="14288"/>
                      </a:lnTo>
                      <a:cubicBezTo>
                        <a:pt x="11430" y="8573"/>
                        <a:pt x="23813" y="4763"/>
                        <a:pt x="37148" y="2858"/>
                      </a:cubicBezTo>
                      <a:lnTo>
                        <a:pt x="40957" y="22860"/>
                      </a:lnTo>
                      <a:cubicBezTo>
                        <a:pt x="29528" y="24765"/>
                        <a:pt x="19050" y="28575"/>
                        <a:pt x="8573" y="33338"/>
                      </a:cubicBezTo>
                      <a:close/>
                      <a:moveTo>
                        <a:pt x="90488" y="22860"/>
                      </a:moveTo>
                      <a:cubicBezTo>
                        <a:pt x="81915" y="20955"/>
                        <a:pt x="73343" y="20003"/>
                        <a:pt x="64770" y="20003"/>
                      </a:cubicBezTo>
                      <a:cubicBezTo>
                        <a:pt x="61913" y="20003"/>
                        <a:pt x="59055" y="20003"/>
                        <a:pt x="57150" y="20003"/>
                      </a:cubicBezTo>
                      <a:lnTo>
                        <a:pt x="56198" y="0"/>
                      </a:lnTo>
                      <a:cubicBezTo>
                        <a:pt x="59055" y="0"/>
                        <a:pt x="61913" y="0"/>
                        <a:pt x="65723" y="0"/>
                      </a:cubicBezTo>
                      <a:cubicBezTo>
                        <a:pt x="75248" y="0"/>
                        <a:pt x="85725" y="952"/>
                        <a:pt x="95250" y="2858"/>
                      </a:cubicBezTo>
                      <a:lnTo>
                        <a:pt x="90488" y="22860"/>
                      </a:lnTo>
                      <a:close/>
                    </a:path>
                  </a:pathLst>
                </a:custGeom>
                <a:solidFill>
                  <a:srgbClr val="3D4647"/>
                </a:solidFill>
                <a:ln w="9525" cap="flat">
                  <a:noFill/>
                  <a:prstDash val="solid"/>
                  <a:miter/>
                </a:ln>
              </p:spPr>
              <p:txBody>
                <a:bodyPr rtlCol="0" anchor="ctr"/>
                <a:lstStyle/>
                <a:p>
                  <a:endParaRPr lang="en-US" dirty="0"/>
                </a:p>
              </p:txBody>
            </p:sp>
            <p:sp>
              <p:nvSpPr>
                <p:cNvPr id="509" name="Freeform: Shape 508">
                  <a:extLst>
                    <a:ext uri="{FF2B5EF4-FFF2-40B4-BE49-F238E27FC236}">
                      <a16:creationId xmlns:a16="http://schemas.microsoft.com/office/drawing/2014/main" id="{8A1576F5-9C94-0B8D-7D16-511F8B4870D3}"/>
                    </a:ext>
                  </a:extLst>
                </p:cNvPr>
                <p:cNvSpPr/>
                <p:nvPr/>
              </p:nvSpPr>
              <p:spPr>
                <a:xfrm>
                  <a:off x="11723833" y="4639670"/>
                  <a:ext cx="31432" cy="33337"/>
                </a:xfrm>
                <a:custGeom>
                  <a:avLst/>
                  <a:gdLst>
                    <a:gd name="connsiteX0" fmla="*/ 18097 w 31432"/>
                    <a:gd name="connsiteY0" fmla="*/ 0 h 33337"/>
                    <a:gd name="connsiteX1" fmla="*/ 1905 w 31432"/>
                    <a:gd name="connsiteY1" fmla="*/ 6668 h 33337"/>
                    <a:gd name="connsiteX2" fmla="*/ 0 w 31432"/>
                    <a:gd name="connsiteY2" fmla="*/ 23813 h 33337"/>
                    <a:gd name="connsiteX3" fmla="*/ 14287 w 31432"/>
                    <a:gd name="connsiteY3" fmla="*/ 33338 h 33337"/>
                    <a:gd name="connsiteX4" fmla="*/ 29528 w 31432"/>
                    <a:gd name="connsiteY4" fmla="*/ 26670 h 33337"/>
                    <a:gd name="connsiteX5" fmla="*/ 31432 w 31432"/>
                    <a:gd name="connsiteY5" fmla="*/ 9525 h 3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32" h="33337">
                      <a:moveTo>
                        <a:pt x="18097" y="0"/>
                      </a:moveTo>
                      <a:lnTo>
                        <a:pt x="1905" y="6668"/>
                      </a:lnTo>
                      <a:lnTo>
                        <a:pt x="0" y="23813"/>
                      </a:lnTo>
                      <a:lnTo>
                        <a:pt x="14287" y="33338"/>
                      </a:lnTo>
                      <a:lnTo>
                        <a:pt x="29528" y="26670"/>
                      </a:lnTo>
                      <a:lnTo>
                        <a:pt x="31432" y="9525"/>
                      </a:lnTo>
                      <a:close/>
                    </a:path>
                  </a:pathLst>
                </a:custGeom>
                <a:solidFill>
                  <a:srgbClr val="3D4647"/>
                </a:solidFill>
                <a:ln w="9525" cap="flat">
                  <a:noFill/>
                  <a:prstDash val="solid"/>
                  <a:miter/>
                </a:ln>
              </p:spPr>
              <p:txBody>
                <a:bodyPr rtlCol="0" anchor="ctr"/>
                <a:lstStyle/>
                <a:p>
                  <a:endParaRPr lang="en-US" dirty="0"/>
                </a:p>
              </p:txBody>
            </p:sp>
            <p:sp>
              <p:nvSpPr>
                <p:cNvPr id="510" name="Freeform: Shape 509">
                  <a:extLst>
                    <a:ext uri="{FF2B5EF4-FFF2-40B4-BE49-F238E27FC236}">
                      <a16:creationId xmlns:a16="http://schemas.microsoft.com/office/drawing/2014/main" id="{86840775-8436-1FA1-EDAA-4EFDD9E5F8B3}"/>
                    </a:ext>
                  </a:extLst>
                </p:cNvPr>
                <p:cNvSpPr/>
                <p:nvPr/>
              </p:nvSpPr>
              <p:spPr>
                <a:xfrm>
                  <a:off x="11611304" y="4380590"/>
                  <a:ext cx="28843" cy="28575"/>
                </a:xfrm>
                <a:custGeom>
                  <a:avLst/>
                  <a:gdLst>
                    <a:gd name="connsiteX0" fmla="*/ 14422 w 28843"/>
                    <a:gd name="connsiteY0" fmla="*/ 0 h 28575"/>
                    <a:gd name="connsiteX1" fmla="*/ 8707 w 28843"/>
                    <a:gd name="connsiteY1" fmla="*/ 952 h 28575"/>
                    <a:gd name="connsiteX2" fmla="*/ 1087 w 28843"/>
                    <a:gd name="connsiteY2" fmla="*/ 20002 h 28575"/>
                    <a:gd name="connsiteX3" fmla="*/ 14422 w 28843"/>
                    <a:gd name="connsiteY3" fmla="*/ 28575 h 28575"/>
                    <a:gd name="connsiteX4" fmla="*/ 20137 w 28843"/>
                    <a:gd name="connsiteY4" fmla="*/ 27622 h 28575"/>
                    <a:gd name="connsiteX5" fmla="*/ 27757 w 28843"/>
                    <a:gd name="connsiteY5" fmla="*/ 8572 h 28575"/>
                    <a:gd name="connsiteX6" fmla="*/ 14422 w 28843"/>
                    <a:gd name="connsiteY6" fmla="*/ 0 h 28575"/>
                    <a:gd name="connsiteX7" fmla="*/ 14422 w 28843"/>
                    <a:gd name="connsiteY7"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43" h="28575">
                      <a:moveTo>
                        <a:pt x="14422" y="0"/>
                      </a:moveTo>
                      <a:cubicBezTo>
                        <a:pt x="12517" y="0"/>
                        <a:pt x="10612" y="0"/>
                        <a:pt x="8707" y="952"/>
                      </a:cubicBezTo>
                      <a:cubicBezTo>
                        <a:pt x="1087" y="4763"/>
                        <a:pt x="-1771" y="13335"/>
                        <a:pt x="1087" y="20002"/>
                      </a:cubicBezTo>
                      <a:cubicBezTo>
                        <a:pt x="3944" y="25717"/>
                        <a:pt x="8707" y="28575"/>
                        <a:pt x="14422" y="28575"/>
                      </a:cubicBezTo>
                      <a:cubicBezTo>
                        <a:pt x="16327" y="28575"/>
                        <a:pt x="18232" y="28575"/>
                        <a:pt x="20137" y="27622"/>
                      </a:cubicBezTo>
                      <a:cubicBezTo>
                        <a:pt x="27757" y="23813"/>
                        <a:pt x="30614" y="15240"/>
                        <a:pt x="27757" y="8572"/>
                      </a:cubicBezTo>
                      <a:cubicBezTo>
                        <a:pt x="25852" y="2858"/>
                        <a:pt x="20137" y="0"/>
                        <a:pt x="14422" y="0"/>
                      </a:cubicBezTo>
                      <a:lnTo>
                        <a:pt x="14422" y="0"/>
                      </a:lnTo>
                      <a:close/>
                    </a:path>
                  </a:pathLst>
                </a:custGeom>
                <a:solidFill>
                  <a:srgbClr val="3D4647"/>
                </a:solidFill>
                <a:ln w="9525" cap="flat">
                  <a:noFill/>
                  <a:prstDash val="solid"/>
                  <a:miter/>
                </a:ln>
              </p:spPr>
              <p:txBody>
                <a:bodyPr rtlCol="0" anchor="ctr"/>
                <a:lstStyle/>
                <a:p>
                  <a:endParaRPr lang="en-US" dirty="0"/>
                </a:p>
              </p:txBody>
            </p:sp>
          </p:grpSp>
        </p:grpSp>
      </p:grpSp>
      <p:grpSp>
        <p:nvGrpSpPr>
          <p:cNvPr id="392" name="Group 391">
            <a:extLst>
              <a:ext uri="{FF2B5EF4-FFF2-40B4-BE49-F238E27FC236}">
                <a16:creationId xmlns:a16="http://schemas.microsoft.com/office/drawing/2014/main" id="{A726BCE3-DA19-CAC7-828F-33315D430517}"/>
              </a:ext>
            </a:extLst>
          </p:cNvPr>
          <p:cNvGrpSpPr/>
          <p:nvPr/>
        </p:nvGrpSpPr>
        <p:grpSpPr>
          <a:xfrm>
            <a:off x="3981734" y="4321535"/>
            <a:ext cx="789481" cy="777601"/>
            <a:chOff x="3981734" y="4306295"/>
            <a:chExt cx="789481" cy="777601"/>
          </a:xfrm>
        </p:grpSpPr>
        <p:grpSp>
          <p:nvGrpSpPr>
            <p:cNvPr id="375" name="Group 374">
              <a:extLst>
                <a:ext uri="{FF2B5EF4-FFF2-40B4-BE49-F238E27FC236}">
                  <a16:creationId xmlns:a16="http://schemas.microsoft.com/office/drawing/2014/main" id="{E2A9A1C8-4F43-BCE1-9772-3E9EFEF249DA}"/>
                </a:ext>
              </a:extLst>
            </p:cNvPr>
            <p:cNvGrpSpPr/>
            <p:nvPr/>
          </p:nvGrpSpPr>
          <p:grpSpPr>
            <a:xfrm>
              <a:off x="3981734" y="4505729"/>
              <a:ext cx="609600" cy="578167"/>
              <a:chOff x="537926" y="1818419"/>
              <a:chExt cx="609600" cy="578167"/>
            </a:xfrm>
          </p:grpSpPr>
          <p:sp>
            <p:nvSpPr>
              <p:cNvPr id="376" name="Freeform: Shape 375">
                <a:extLst>
                  <a:ext uri="{FF2B5EF4-FFF2-40B4-BE49-F238E27FC236}">
                    <a16:creationId xmlns:a16="http://schemas.microsoft.com/office/drawing/2014/main" id="{562C5055-AEEA-84B1-66DA-DECE932E61F7}"/>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377" name="Freeform: Shape 376">
                <a:extLst>
                  <a:ext uri="{FF2B5EF4-FFF2-40B4-BE49-F238E27FC236}">
                    <a16:creationId xmlns:a16="http://schemas.microsoft.com/office/drawing/2014/main" id="{2BE832D6-B994-EDA5-63AB-16F629944DCF}"/>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nvGrpSpPr>
            <p:cNvPr id="388" name="Graphic 228">
              <a:extLst>
                <a:ext uri="{FF2B5EF4-FFF2-40B4-BE49-F238E27FC236}">
                  <a16:creationId xmlns:a16="http://schemas.microsoft.com/office/drawing/2014/main" id="{F7F31A94-9580-C677-A989-8DB8DC475397}"/>
                </a:ext>
              </a:extLst>
            </p:cNvPr>
            <p:cNvGrpSpPr/>
            <p:nvPr/>
          </p:nvGrpSpPr>
          <p:grpSpPr>
            <a:xfrm>
              <a:off x="4466415" y="4306295"/>
              <a:ext cx="304800" cy="303847"/>
              <a:chOff x="4466415" y="4306295"/>
              <a:chExt cx="304800" cy="303847"/>
            </a:xfrm>
          </p:grpSpPr>
          <p:sp>
            <p:nvSpPr>
              <p:cNvPr id="389" name="Freeform: Shape 388">
                <a:extLst>
                  <a:ext uri="{FF2B5EF4-FFF2-40B4-BE49-F238E27FC236}">
                    <a16:creationId xmlns:a16="http://schemas.microsoft.com/office/drawing/2014/main" id="{1989C3FF-7A4B-2AD8-553E-470CF4824D53}"/>
                  </a:ext>
                </a:extLst>
              </p:cNvPr>
              <p:cNvSpPr/>
              <p:nvPr/>
            </p:nvSpPr>
            <p:spPr>
              <a:xfrm>
                <a:off x="4575952" y="4461552"/>
                <a:ext cx="85725" cy="85725"/>
              </a:xfrm>
              <a:custGeom>
                <a:avLst/>
                <a:gdLst>
                  <a:gd name="connsiteX0" fmla="*/ 85725 w 85725"/>
                  <a:gd name="connsiteY0" fmla="*/ 42862 h 85725"/>
                  <a:gd name="connsiteX1" fmla="*/ 42863 w 85725"/>
                  <a:gd name="connsiteY1" fmla="*/ 85725 h 85725"/>
                  <a:gd name="connsiteX2" fmla="*/ 0 w 85725"/>
                  <a:gd name="connsiteY2" fmla="*/ 42862 h 85725"/>
                  <a:gd name="connsiteX3" fmla="*/ 42863 w 85725"/>
                  <a:gd name="connsiteY3" fmla="*/ 0 h 85725"/>
                  <a:gd name="connsiteX4" fmla="*/ 85725 w 85725"/>
                  <a:gd name="connsiteY4" fmla="*/ 42862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5725" y="42862"/>
                    </a:moveTo>
                    <a:cubicBezTo>
                      <a:pt x="85725" y="66535"/>
                      <a:pt x="66535" y="85725"/>
                      <a:pt x="42863" y="85725"/>
                    </a:cubicBezTo>
                    <a:cubicBezTo>
                      <a:pt x="19190" y="85725"/>
                      <a:pt x="0" y="66535"/>
                      <a:pt x="0" y="42862"/>
                    </a:cubicBezTo>
                    <a:cubicBezTo>
                      <a:pt x="0" y="19190"/>
                      <a:pt x="19190" y="0"/>
                      <a:pt x="42863" y="0"/>
                    </a:cubicBezTo>
                    <a:cubicBezTo>
                      <a:pt x="66535" y="0"/>
                      <a:pt x="85725" y="19190"/>
                      <a:pt x="85725" y="42862"/>
                    </a:cubicBezTo>
                    <a:close/>
                  </a:path>
                </a:pathLst>
              </a:custGeom>
              <a:solidFill>
                <a:srgbClr val="40AA1D"/>
              </a:solidFill>
              <a:ln w="9525" cap="flat">
                <a:noFill/>
                <a:prstDash val="solid"/>
                <a:miter/>
              </a:ln>
            </p:spPr>
            <p:txBody>
              <a:bodyPr rtlCol="0" anchor="ctr"/>
              <a:lstStyle/>
              <a:p>
                <a:endParaRPr lang="en-US" dirty="0"/>
              </a:p>
            </p:txBody>
          </p:sp>
          <p:sp>
            <p:nvSpPr>
              <p:cNvPr id="390" name="Freeform: Shape 389">
                <a:extLst>
                  <a:ext uri="{FF2B5EF4-FFF2-40B4-BE49-F238E27FC236}">
                    <a16:creationId xmlns:a16="http://schemas.microsoft.com/office/drawing/2014/main" id="{7E04DEE4-D0E2-3F4F-91E9-3E88B0F0CD90}"/>
                  </a:ext>
                </a:extLst>
              </p:cNvPr>
              <p:cNvSpPr/>
              <p:nvPr/>
            </p:nvSpPr>
            <p:spPr>
              <a:xfrm>
                <a:off x="4466415" y="4383447"/>
                <a:ext cx="304800" cy="226694"/>
              </a:xfrm>
              <a:custGeom>
                <a:avLst/>
                <a:gdLst>
                  <a:gd name="connsiteX0" fmla="*/ 194310 w 304800"/>
                  <a:gd name="connsiteY0" fmla="*/ 31432 h 226694"/>
                  <a:gd name="connsiteX1" fmla="*/ 266700 w 304800"/>
                  <a:gd name="connsiteY1" fmla="*/ 73343 h 226694"/>
                  <a:gd name="connsiteX2" fmla="*/ 266700 w 304800"/>
                  <a:gd name="connsiteY2" fmla="*/ 188595 h 226694"/>
                  <a:gd name="connsiteX3" fmla="*/ 38100 w 304800"/>
                  <a:gd name="connsiteY3" fmla="*/ 188595 h 226694"/>
                  <a:gd name="connsiteX4" fmla="*/ 38100 w 304800"/>
                  <a:gd name="connsiteY4" fmla="*/ 73343 h 226694"/>
                  <a:gd name="connsiteX5" fmla="*/ 110490 w 304800"/>
                  <a:gd name="connsiteY5" fmla="*/ 31432 h 226694"/>
                  <a:gd name="connsiteX6" fmla="*/ 87630 w 304800"/>
                  <a:gd name="connsiteY6" fmla="*/ 0 h 226694"/>
                  <a:gd name="connsiteX7" fmla="*/ 0 w 304800"/>
                  <a:gd name="connsiteY7" fmla="*/ 50482 h 226694"/>
                  <a:gd name="connsiteX8" fmla="*/ 0 w 304800"/>
                  <a:gd name="connsiteY8" fmla="*/ 226695 h 226694"/>
                  <a:gd name="connsiteX9" fmla="*/ 304800 w 304800"/>
                  <a:gd name="connsiteY9" fmla="*/ 226695 h 226694"/>
                  <a:gd name="connsiteX10" fmla="*/ 304800 w 304800"/>
                  <a:gd name="connsiteY10" fmla="*/ 51435 h 226694"/>
                  <a:gd name="connsiteX11" fmla="*/ 216217 w 304800"/>
                  <a:gd name="connsiteY11" fmla="*/ 0 h 22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800" h="226694">
                    <a:moveTo>
                      <a:pt x="194310" y="31432"/>
                    </a:moveTo>
                    <a:lnTo>
                      <a:pt x="266700" y="73343"/>
                    </a:lnTo>
                    <a:lnTo>
                      <a:pt x="266700" y="188595"/>
                    </a:lnTo>
                    <a:lnTo>
                      <a:pt x="38100" y="188595"/>
                    </a:lnTo>
                    <a:lnTo>
                      <a:pt x="38100" y="73343"/>
                    </a:lnTo>
                    <a:lnTo>
                      <a:pt x="110490" y="31432"/>
                    </a:lnTo>
                    <a:lnTo>
                      <a:pt x="87630" y="0"/>
                    </a:lnTo>
                    <a:lnTo>
                      <a:pt x="0" y="50482"/>
                    </a:lnTo>
                    <a:lnTo>
                      <a:pt x="0" y="226695"/>
                    </a:lnTo>
                    <a:lnTo>
                      <a:pt x="304800" y="226695"/>
                    </a:lnTo>
                    <a:lnTo>
                      <a:pt x="304800" y="51435"/>
                    </a:lnTo>
                    <a:lnTo>
                      <a:pt x="216217" y="0"/>
                    </a:lnTo>
                    <a:close/>
                  </a:path>
                </a:pathLst>
              </a:custGeom>
              <a:solidFill>
                <a:srgbClr val="3D4647"/>
              </a:solidFill>
              <a:ln w="9525" cap="flat">
                <a:noFill/>
                <a:prstDash val="solid"/>
                <a:miter/>
              </a:ln>
            </p:spPr>
            <p:txBody>
              <a:bodyPr rtlCol="0" anchor="ctr"/>
              <a:lstStyle/>
              <a:p>
                <a:endParaRPr lang="en-US" dirty="0"/>
              </a:p>
            </p:txBody>
          </p:sp>
          <p:sp>
            <p:nvSpPr>
              <p:cNvPr id="391" name="Freeform: Shape 390">
                <a:extLst>
                  <a:ext uri="{FF2B5EF4-FFF2-40B4-BE49-F238E27FC236}">
                    <a16:creationId xmlns:a16="http://schemas.microsoft.com/office/drawing/2014/main" id="{39EAED88-CB6C-708B-4673-63F5201E8DFE}"/>
                  </a:ext>
                </a:extLst>
              </p:cNvPr>
              <p:cNvSpPr/>
              <p:nvPr/>
            </p:nvSpPr>
            <p:spPr>
              <a:xfrm>
                <a:off x="4466415" y="4306295"/>
                <a:ext cx="304800" cy="135254"/>
              </a:xfrm>
              <a:custGeom>
                <a:avLst/>
                <a:gdLst>
                  <a:gd name="connsiteX0" fmla="*/ 0 w 304800"/>
                  <a:gd name="connsiteY0" fmla="*/ 0 h 135254"/>
                  <a:gd name="connsiteX1" fmla="*/ 0 w 304800"/>
                  <a:gd name="connsiteY1" fmla="*/ 34290 h 135254"/>
                  <a:gd name="connsiteX2" fmla="*/ 93345 w 304800"/>
                  <a:gd name="connsiteY2" fmla="*/ 34290 h 135254"/>
                  <a:gd name="connsiteX3" fmla="*/ 93345 w 304800"/>
                  <a:gd name="connsiteY3" fmla="*/ 55245 h 135254"/>
                  <a:gd name="connsiteX4" fmla="*/ 111443 w 304800"/>
                  <a:gd name="connsiteY4" fmla="*/ 55245 h 135254"/>
                  <a:gd name="connsiteX5" fmla="*/ 111443 w 304800"/>
                  <a:gd name="connsiteY5" fmla="*/ 77153 h 135254"/>
                  <a:gd name="connsiteX6" fmla="*/ 111443 w 304800"/>
                  <a:gd name="connsiteY6" fmla="*/ 77153 h 135254"/>
                  <a:gd name="connsiteX7" fmla="*/ 142875 w 304800"/>
                  <a:gd name="connsiteY7" fmla="*/ 121920 h 135254"/>
                  <a:gd name="connsiteX8" fmla="*/ 142875 w 304800"/>
                  <a:gd name="connsiteY8" fmla="*/ 135255 h 135254"/>
                  <a:gd name="connsiteX9" fmla="*/ 161925 w 304800"/>
                  <a:gd name="connsiteY9" fmla="*/ 135255 h 135254"/>
                  <a:gd name="connsiteX10" fmla="*/ 161925 w 304800"/>
                  <a:gd name="connsiteY10" fmla="*/ 121920 h 135254"/>
                  <a:gd name="connsiteX11" fmla="*/ 193358 w 304800"/>
                  <a:gd name="connsiteY11" fmla="*/ 77153 h 135254"/>
                  <a:gd name="connsiteX12" fmla="*/ 193358 w 304800"/>
                  <a:gd name="connsiteY12" fmla="*/ 77153 h 135254"/>
                  <a:gd name="connsiteX13" fmla="*/ 193358 w 304800"/>
                  <a:gd name="connsiteY13" fmla="*/ 55245 h 135254"/>
                  <a:gd name="connsiteX14" fmla="*/ 210502 w 304800"/>
                  <a:gd name="connsiteY14" fmla="*/ 55245 h 135254"/>
                  <a:gd name="connsiteX15" fmla="*/ 210502 w 304800"/>
                  <a:gd name="connsiteY15" fmla="*/ 34290 h 135254"/>
                  <a:gd name="connsiteX16" fmla="*/ 304800 w 304800"/>
                  <a:gd name="connsiteY16" fmla="*/ 34290 h 135254"/>
                  <a:gd name="connsiteX17" fmla="*/ 304800 w 304800"/>
                  <a:gd name="connsiteY17" fmla="*/ 0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135254">
                    <a:moveTo>
                      <a:pt x="0" y="0"/>
                    </a:moveTo>
                    <a:lnTo>
                      <a:pt x="0" y="34290"/>
                    </a:lnTo>
                    <a:lnTo>
                      <a:pt x="93345" y="34290"/>
                    </a:lnTo>
                    <a:lnTo>
                      <a:pt x="93345" y="55245"/>
                    </a:lnTo>
                    <a:lnTo>
                      <a:pt x="111443" y="55245"/>
                    </a:lnTo>
                    <a:lnTo>
                      <a:pt x="111443" y="77153"/>
                    </a:lnTo>
                    <a:lnTo>
                      <a:pt x="111443" y="77153"/>
                    </a:lnTo>
                    <a:lnTo>
                      <a:pt x="142875" y="121920"/>
                    </a:lnTo>
                    <a:lnTo>
                      <a:pt x="142875" y="135255"/>
                    </a:lnTo>
                    <a:lnTo>
                      <a:pt x="161925" y="135255"/>
                    </a:lnTo>
                    <a:lnTo>
                      <a:pt x="161925" y="121920"/>
                    </a:lnTo>
                    <a:lnTo>
                      <a:pt x="193358" y="77153"/>
                    </a:lnTo>
                    <a:lnTo>
                      <a:pt x="193358" y="77153"/>
                    </a:lnTo>
                    <a:lnTo>
                      <a:pt x="193358" y="55245"/>
                    </a:lnTo>
                    <a:lnTo>
                      <a:pt x="210502" y="55245"/>
                    </a:lnTo>
                    <a:lnTo>
                      <a:pt x="210502" y="34290"/>
                    </a:lnTo>
                    <a:lnTo>
                      <a:pt x="304800" y="34290"/>
                    </a:lnTo>
                    <a:lnTo>
                      <a:pt x="304800" y="0"/>
                    </a:lnTo>
                    <a:close/>
                  </a:path>
                </a:pathLst>
              </a:custGeom>
              <a:solidFill>
                <a:srgbClr val="3D4647"/>
              </a:solidFill>
              <a:ln w="9525" cap="flat">
                <a:noFill/>
                <a:prstDash val="solid"/>
                <a:miter/>
              </a:ln>
            </p:spPr>
            <p:txBody>
              <a:bodyPr rtlCol="0" anchor="ctr"/>
              <a:lstStyle/>
              <a:p>
                <a:endParaRPr lang="en-US" dirty="0"/>
              </a:p>
            </p:txBody>
          </p:sp>
        </p:grpSp>
      </p:grpSp>
      <p:grpSp>
        <p:nvGrpSpPr>
          <p:cNvPr id="412" name="Group 411">
            <a:extLst>
              <a:ext uri="{FF2B5EF4-FFF2-40B4-BE49-F238E27FC236}">
                <a16:creationId xmlns:a16="http://schemas.microsoft.com/office/drawing/2014/main" id="{A49205A7-D943-7822-271A-6405234BEE54}"/>
              </a:ext>
            </a:extLst>
          </p:cNvPr>
          <p:cNvGrpSpPr/>
          <p:nvPr/>
        </p:nvGrpSpPr>
        <p:grpSpPr>
          <a:xfrm>
            <a:off x="5265476" y="4320583"/>
            <a:ext cx="782633" cy="778553"/>
            <a:chOff x="5265476" y="4320583"/>
            <a:chExt cx="782633" cy="778553"/>
          </a:xfrm>
        </p:grpSpPr>
        <p:grpSp>
          <p:nvGrpSpPr>
            <p:cNvPr id="378" name="Group 377">
              <a:extLst>
                <a:ext uri="{FF2B5EF4-FFF2-40B4-BE49-F238E27FC236}">
                  <a16:creationId xmlns:a16="http://schemas.microsoft.com/office/drawing/2014/main" id="{C566F2DB-EBEB-E5C1-6488-A273C6F12897}"/>
                </a:ext>
              </a:extLst>
            </p:cNvPr>
            <p:cNvGrpSpPr/>
            <p:nvPr/>
          </p:nvGrpSpPr>
          <p:grpSpPr>
            <a:xfrm>
              <a:off x="5265476" y="4520969"/>
              <a:ext cx="609600" cy="578167"/>
              <a:chOff x="537926" y="1818419"/>
              <a:chExt cx="609600" cy="578167"/>
            </a:xfrm>
          </p:grpSpPr>
          <p:sp>
            <p:nvSpPr>
              <p:cNvPr id="379" name="Freeform: Shape 378">
                <a:extLst>
                  <a:ext uri="{FF2B5EF4-FFF2-40B4-BE49-F238E27FC236}">
                    <a16:creationId xmlns:a16="http://schemas.microsoft.com/office/drawing/2014/main" id="{F1BD9587-0BB8-5A05-F3CC-EBC346A76AEC}"/>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380" name="Freeform: Shape 379">
                <a:extLst>
                  <a:ext uri="{FF2B5EF4-FFF2-40B4-BE49-F238E27FC236}">
                    <a16:creationId xmlns:a16="http://schemas.microsoft.com/office/drawing/2014/main" id="{5CBB9E75-58D5-A493-A57D-47E8FB80C752}"/>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sp>
          <p:nvSpPr>
            <p:cNvPr id="399" name="Freeform: Shape 398">
              <a:extLst>
                <a:ext uri="{FF2B5EF4-FFF2-40B4-BE49-F238E27FC236}">
                  <a16:creationId xmlns:a16="http://schemas.microsoft.com/office/drawing/2014/main" id="{BE3DE02A-AD00-E8BB-4415-6F11CF356285}"/>
                </a:ext>
              </a:extLst>
            </p:cNvPr>
            <p:cNvSpPr/>
            <p:nvPr/>
          </p:nvSpPr>
          <p:spPr>
            <a:xfrm>
              <a:off x="5467085" y="4320583"/>
              <a:ext cx="552450" cy="361950"/>
            </a:xfrm>
            <a:custGeom>
              <a:avLst/>
              <a:gdLst>
                <a:gd name="connsiteX0" fmla="*/ 28575 w 552450"/>
                <a:gd name="connsiteY0" fmla="*/ 28575 h 361950"/>
                <a:gd name="connsiteX1" fmla="*/ 523875 w 552450"/>
                <a:gd name="connsiteY1" fmla="*/ 28575 h 361950"/>
                <a:gd name="connsiteX2" fmla="*/ 523875 w 552450"/>
                <a:gd name="connsiteY2" fmla="*/ 333375 h 361950"/>
                <a:gd name="connsiteX3" fmla="*/ 264795 w 552450"/>
                <a:gd name="connsiteY3" fmla="*/ 333375 h 361950"/>
                <a:gd name="connsiteX4" fmla="*/ 266700 w 552450"/>
                <a:gd name="connsiteY4" fmla="*/ 352425 h 361950"/>
                <a:gd name="connsiteX5" fmla="*/ 270510 w 552450"/>
                <a:gd name="connsiteY5" fmla="*/ 361950 h 361950"/>
                <a:gd name="connsiteX6" fmla="*/ 523875 w 552450"/>
                <a:gd name="connsiteY6" fmla="*/ 361950 h 361950"/>
                <a:gd name="connsiteX7" fmla="*/ 552450 w 552450"/>
                <a:gd name="connsiteY7" fmla="*/ 333375 h 361950"/>
                <a:gd name="connsiteX8" fmla="*/ 552450 w 552450"/>
                <a:gd name="connsiteY8" fmla="*/ 28575 h 361950"/>
                <a:gd name="connsiteX9" fmla="*/ 523875 w 552450"/>
                <a:gd name="connsiteY9" fmla="*/ 0 h 361950"/>
                <a:gd name="connsiteX10" fmla="*/ 28575 w 552450"/>
                <a:gd name="connsiteY10" fmla="*/ 0 h 361950"/>
                <a:gd name="connsiteX11" fmla="*/ 0 w 552450"/>
                <a:gd name="connsiteY11" fmla="*/ 28575 h 361950"/>
                <a:gd name="connsiteX12" fmla="*/ 0 w 552450"/>
                <a:gd name="connsiteY12" fmla="*/ 213360 h 361950"/>
                <a:gd name="connsiteX13" fmla="*/ 28575 w 552450"/>
                <a:gd name="connsiteY13" fmla="*/ 192405 h 361950"/>
                <a:gd name="connsiteX14" fmla="*/ 28575 w 552450"/>
                <a:gd name="connsiteY14" fmla="*/ 28575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2450" h="361950">
                  <a:moveTo>
                    <a:pt x="28575" y="28575"/>
                  </a:moveTo>
                  <a:lnTo>
                    <a:pt x="523875" y="28575"/>
                  </a:lnTo>
                  <a:lnTo>
                    <a:pt x="523875" y="333375"/>
                  </a:lnTo>
                  <a:lnTo>
                    <a:pt x="264795" y="333375"/>
                  </a:lnTo>
                  <a:cubicBezTo>
                    <a:pt x="265748" y="340043"/>
                    <a:pt x="265748" y="346710"/>
                    <a:pt x="266700" y="352425"/>
                  </a:cubicBezTo>
                  <a:cubicBezTo>
                    <a:pt x="268605" y="355283"/>
                    <a:pt x="269558" y="359093"/>
                    <a:pt x="270510" y="361950"/>
                  </a:cubicBezTo>
                  <a:lnTo>
                    <a:pt x="523875" y="361950"/>
                  </a:lnTo>
                  <a:cubicBezTo>
                    <a:pt x="539115" y="361950"/>
                    <a:pt x="552450" y="349568"/>
                    <a:pt x="552450" y="333375"/>
                  </a:cubicBezTo>
                  <a:lnTo>
                    <a:pt x="552450" y="28575"/>
                  </a:lnTo>
                  <a:cubicBezTo>
                    <a:pt x="552450" y="13335"/>
                    <a:pt x="540068" y="0"/>
                    <a:pt x="523875" y="0"/>
                  </a:cubicBezTo>
                  <a:lnTo>
                    <a:pt x="28575" y="0"/>
                  </a:lnTo>
                  <a:cubicBezTo>
                    <a:pt x="13335" y="0"/>
                    <a:pt x="0" y="12383"/>
                    <a:pt x="0" y="28575"/>
                  </a:cubicBezTo>
                  <a:lnTo>
                    <a:pt x="0" y="213360"/>
                  </a:lnTo>
                  <a:cubicBezTo>
                    <a:pt x="8572" y="204788"/>
                    <a:pt x="18097" y="198120"/>
                    <a:pt x="28575" y="192405"/>
                  </a:cubicBezTo>
                  <a:lnTo>
                    <a:pt x="28575" y="28575"/>
                  </a:lnTo>
                  <a:close/>
                </a:path>
              </a:pathLst>
            </a:custGeom>
            <a:solidFill>
              <a:srgbClr val="3D4647"/>
            </a:solidFill>
            <a:ln w="9525" cap="flat">
              <a:noFill/>
              <a:prstDash val="solid"/>
              <a:miter/>
            </a:ln>
          </p:spPr>
          <p:txBody>
            <a:bodyPr rtlCol="0" anchor="ctr"/>
            <a:lstStyle/>
            <a:p>
              <a:endParaRPr lang="en-US" dirty="0"/>
            </a:p>
          </p:txBody>
        </p:sp>
        <p:sp>
          <p:nvSpPr>
            <p:cNvPr id="400" name="Freeform: Shape 399">
              <a:extLst>
                <a:ext uri="{FF2B5EF4-FFF2-40B4-BE49-F238E27FC236}">
                  <a16:creationId xmlns:a16="http://schemas.microsoft.com/office/drawing/2014/main" id="{27D86DF0-B3CD-0213-A104-DC364EABD455}"/>
                </a:ext>
              </a:extLst>
            </p:cNvPr>
            <p:cNvSpPr/>
            <p:nvPr/>
          </p:nvSpPr>
          <p:spPr>
            <a:xfrm>
              <a:off x="5732832" y="4709202"/>
              <a:ext cx="315277" cy="47625"/>
            </a:xfrm>
            <a:custGeom>
              <a:avLst/>
              <a:gdLst>
                <a:gd name="connsiteX0" fmla="*/ 67627 w 315277"/>
                <a:gd name="connsiteY0" fmla="*/ 0 h 47625"/>
                <a:gd name="connsiteX1" fmla="*/ 67627 w 315277"/>
                <a:gd name="connsiteY1" fmla="*/ 19050 h 47625"/>
                <a:gd name="connsiteX2" fmla="*/ 6667 w 315277"/>
                <a:gd name="connsiteY2" fmla="*/ 19050 h 47625"/>
                <a:gd name="connsiteX3" fmla="*/ 0 w 315277"/>
                <a:gd name="connsiteY3" fmla="*/ 47625 h 47625"/>
                <a:gd name="connsiteX4" fmla="*/ 277178 w 315277"/>
                <a:gd name="connsiteY4" fmla="*/ 47625 h 47625"/>
                <a:gd name="connsiteX5" fmla="*/ 315278 w 315277"/>
                <a:gd name="connsiteY5" fmla="*/ 9525 h 47625"/>
                <a:gd name="connsiteX6" fmla="*/ 315278 w 315277"/>
                <a:gd name="connsiteY6" fmla="*/ 0 h 47625"/>
                <a:gd name="connsiteX7" fmla="*/ 67627 w 315277"/>
                <a:gd name="connsiteY7" fmla="*/ 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 h="47625">
                  <a:moveTo>
                    <a:pt x="67627" y="0"/>
                  </a:moveTo>
                  <a:lnTo>
                    <a:pt x="67627" y="19050"/>
                  </a:lnTo>
                  <a:lnTo>
                    <a:pt x="6667" y="19050"/>
                  </a:lnTo>
                  <a:lnTo>
                    <a:pt x="0" y="47625"/>
                  </a:lnTo>
                  <a:lnTo>
                    <a:pt x="277178" y="47625"/>
                  </a:lnTo>
                  <a:cubicBezTo>
                    <a:pt x="298132" y="47625"/>
                    <a:pt x="315278" y="30480"/>
                    <a:pt x="315278" y="9525"/>
                  </a:cubicBezTo>
                  <a:lnTo>
                    <a:pt x="315278" y="0"/>
                  </a:lnTo>
                  <a:lnTo>
                    <a:pt x="67627" y="0"/>
                  </a:lnTo>
                  <a:close/>
                </a:path>
              </a:pathLst>
            </a:custGeom>
            <a:solidFill>
              <a:srgbClr val="3D4647"/>
            </a:solidFill>
            <a:ln w="9525" cap="flat">
              <a:noFill/>
              <a:prstDash val="solid"/>
              <a:miter/>
            </a:ln>
          </p:spPr>
          <p:txBody>
            <a:bodyPr rtlCol="0" anchor="ctr"/>
            <a:lstStyle/>
            <a:p>
              <a:endParaRPr lang="en-US" dirty="0"/>
            </a:p>
          </p:txBody>
        </p:sp>
        <p:sp>
          <p:nvSpPr>
            <p:cNvPr id="401" name="Freeform: Shape 400">
              <a:extLst>
                <a:ext uri="{FF2B5EF4-FFF2-40B4-BE49-F238E27FC236}">
                  <a16:creationId xmlns:a16="http://schemas.microsoft.com/office/drawing/2014/main" id="{C986E24E-A0A1-B4D0-ACB4-460F6F7BFA1C}"/>
                </a:ext>
              </a:extLst>
            </p:cNvPr>
            <p:cNvSpPr/>
            <p:nvPr/>
          </p:nvSpPr>
          <p:spPr>
            <a:xfrm>
              <a:off x="5798554" y="4473935"/>
              <a:ext cx="153352" cy="151447"/>
            </a:xfrm>
            <a:custGeom>
              <a:avLst/>
              <a:gdLst>
                <a:gd name="connsiteX0" fmla="*/ 28575 w 153352"/>
                <a:gd name="connsiteY0" fmla="*/ 49530 h 151447"/>
                <a:gd name="connsiteX1" fmla="*/ 47625 w 153352"/>
                <a:gd name="connsiteY1" fmla="*/ 39053 h 151447"/>
                <a:gd name="connsiteX2" fmla="*/ 73343 w 153352"/>
                <a:gd name="connsiteY2" fmla="*/ 41910 h 151447"/>
                <a:gd name="connsiteX3" fmla="*/ 79057 w 153352"/>
                <a:gd name="connsiteY3" fmla="*/ 58103 h 151447"/>
                <a:gd name="connsiteX4" fmla="*/ 28575 w 153352"/>
                <a:gd name="connsiteY4" fmla="*/ 106680 h 151447"/>
                <a:gd name="connsiteX5" fmla="*/ 22860 w 153352"/>
                <a:gd name="connsiteY5" fmla="*/ 105728 h 151447"/>
                <a:gd name="connsiteX6" fmla="*/ 0 w 153352"/>
                <a:gd name="connsiteY6" fmla="*/ 128588 h 151447"/>
                <a:gd name="connsiteX7" fmla="*/ 22860 w 153352"/>
                <a:gd name="connsiteY7" fmla="*/ 151448 h 151447"/>
                <a:gd name="connsiteX8" fmla="*/ 45720 w 153352"/>
                <a:gd name="connsiteY8" fmla="*/ 128588 h 151447"/>
                <a:gd name="connsiteX9" fmla="*/ 43815 w 153352"/>
                <a:gd name="connsiteY9" fmla="*/ 120015 h 151447"/>
                <a:gd name="connsiteX10" fmla="*/ 93345 w 153352"/>
                <a:gd name="connsiteY10" fmla="*/ 71438 h 151447"/>
                <a:gd name="connsiteX11" fmla="*/ 111443 w 153352"/>
                <a:gd name="connsiteY11" fmla="*/ 76200 h 151447"/>
                <a:gd name="connsiteX12" fmla="*/ 111443 w 153352"/>
                <a:gd name="connsiteY12" fmla="*/ 76200 h 151447"/>
                <a:gd name="connsiteX13" fmla="*/ 118110 w 153352"/>
                <a:gd name="connsiteY13" fmla="*/ 108585 h 151447"/>
                <a:gd name="connsiteX14" fmla="*/ 107632 w 153352"/>
                <a:gd name="connsiteY14" fmla="*/ 128588 h 151447"/>
                <a:gd name="connsiteX15" fmla="*/ 130493 w 153352"/>
                <a:gd name="connsiteY15" fmla="*/ 151448 h 151447"/>
                <a:gd name="connsiteX16" fmla="*/ 153353 w 153352"/>
                <a:gd name="connsiteY16" fmla="*/ 128588 h 151447"/>
                <a:gd name="connsiteX17" fmla="*/ 137160 w 153352"/>
                <a:gd name="connsiteY17" fmla="*/ 106680 h 151447"/>
                <a:gd name="connsiteX18" fmla="*/ 129540 w 153352"/>
                <a:gd name="connsiteY18" fmla="*/ 71438 h 151447"/>
                <a:gd name="connsiteX19" fmla="*/ 148590 w 153352"/>
                <a:gd name="connsiteY19" fmla="*/ 38100 h 151447"/>
                <a:gd name="connsiteX20" fmla="*/ 110490 w 153352"/>
                <a:gd name="connsiteY20" fmla="*/ 0 h 151447"/>
                <a:gd name="connsiteX21" fmla="*/ 74295 w 153352"/>
                <a:gd name="connsiteY21" fmla="*/ 23813 h 151447"/>
                <a:gd name="connsiteX22" fmla="*/ 49530 w 153352"/>
                <a:gd name="connsiteY22" fmla="*/ 20003 h 151447"/>
                <a:gd name="connsiteX23" fmla="*/ 28575 w 153352"/>
                <a:gd name="connsiteY23" fmla="*/ 4763 h 151447"/>
                <a:gd name="connsiteX24" fmla="*/ 6668 w 153352"/>
                <a:gd name="connsiteY24" fmla="*/ 26670 h 151447"/>
                <a:gd name="connsiteX25" fmla="*/ 28575 w 153352"/>
                <a:gd name="connsiteY25" fmla="*/ 49530 h 151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3352" h="151447">
                  <a:moveTo>
                    <a:pt x="28575" y="49530"/>
                  </a:moveTo>
                  <a:cubicBezTo>
                    <a:pt x="36195" y="49530"/>
                    <a:pt x="42863" y="45720"/>
                    <a:pt x="47625" y="39053"/>
                  </a:cubicBezTo>
                  <a:lnTo>
                    <a:pt x="73343" y="41910"/>
                  </a:lnTo>
                  <a:cubicBezTo>
                    <a:pt x="74295" y="47625"/>
                    <a:pt x="76200" y="53340"/>
                    <a:pt x="79057" y="58103"/>
                  </a:cubicBezTo>
                  <a:lnTo>
                    <a:pt x="28575" y="106680"/>
                  </a:lnTo>
                  <a:cubicBezTo>
                    <a:pt x="26670" y="105728"/>
                    <a:pt x="24765" y="105728"/>
                    <a:pt x="22860" y="105728"/>
                  </a:cubicBezTo>
                  <a:cubicBezTo>
                    <a:pt x="10478" y="105728"/>
                    <a:pt x="0" y="116205"/>
                    <a:pt x="0" y="128588"/>
                  </a:cubicBezTo>
                  <a:cubicBezTo>
                    <a:pt x="0" y="140970"/>
                    <a:pt x="10478" y="151448"/>
                    <a:pt x="22860" y="151448"/>
                  </a:cubicBezTo>
                  <a:cubicBezTo>
                    <a:pt x="35243" y="151448"/>
                    <a:pt x="45720" y="140970"/>
                    <a:pt x="45720" y="128588"/>
                  </a:cubicBezTo>
                  <a:cubicBezTo>
                    <a:pt x="45720" y="125730"/>
                    <a:pt x="44768" y="122873"/>
                    <a:pt x="43815" y="120015"/>
                  </a:cubicBezTo>
                  <a:lnTo>
                    <a:pt x="93345" y="71438"/>
                  </a:lnTo>
                  <a:cubicBezTo>
                    <a:pt x="99060" y="74295"/>
                    <a:pt x="104775" y="76200"/>
                    <a:pt x="111443" y="76200"/>
                  </a:cubicBezTo>
                  <a:cubicBezTo>
                    <a:pt x="111443" y="76200"/>
                    <a:pt x="111443" y="76200"/>
                    <a:pt x="111443" y="76200"/>
                  </a:cubicBezTo>
                  <a:cubicBezTo>
                    <a:pt x="113347" y="84773"/>
                    <a:pt x="115253" y="96203"/>
                    <a:pt x="118110" y="108585"/>
                  </a:cubicBezTo>
                  <a:cubicBezTo>
                    <a:pt x="111443" y="112395"/>
                    <a:pt x="107632" y="120015"/>
                    <a:pt x="107632" y="128588"/>
                  </a:cubicBezTo>
                  <a:cubicBezTo>
                    <a:pt x="107632" y="141923"/>
                    <a:pt x="118110" y="151448"/>
                    <a:pt x="130493" y="151448"/>
                  </a:cubicBezTo>
                  <a:cubicBezTo>
                    <a:pt x="143828" y="151448"/>
                    <a:pt x="153353" y="140970"/>
                    <a:pt x="153353" y="128588"/>
                  </a:cubicBezTo>
                  <a:cubicBezTo>
                    <a:pt x="153353" y="118110"/>
                    <a:pt x="146685" y="109538"/>
                    <a:pt x="137160" y="106680"/>
                  </a:cubicBezTo>
                  <a:cubicBezTo>
                    <a:pt x="134303" y="94298"/>
                    <a:pt x="132397" y="81915"/>
                    <a:pt x="129540" y="71438"/>
                  </a:cubicBezTo>
                  <a:cubicBezTo>
                    <a:pt x="140970" y="64770"/>
                    <a:pt x="148590" y="52388"/>
                    <a:pt x="148590" y="38100"/>
                  </a:cubicBezTo>
                  <a:cubicBezTo>
                    <a:pt x="148590" y="17145"/>
                    <a:pt x="131445" y="0"/>
                    <a:pt x="110490" y="0"/>
                  </a:cubicBezTo>
                  <a:cubicBezTo>
                    <a:pt x="94297" y="0"/>
                    <a:pt x="80010" y="10478"/>
                    <a:pt x="74295" y="23813"/>
                  </a:cubicBezTo>
                  <a:lnTo>
                    <a:pt x="49530" y="20003"/>
                  </a:lnTo>
                  <a:cubicBezTo>
                    <a:pt x="46673" y="11430"/>
                    <a:pt x="38100" y="4763"/>
                    <a:pt x="28575" y="4763"/>
                  </a:cubicBezTo>
                  <a:cubicBezTo>
                    <a:pt x="16193" y="4763"/>
                    <a:pt x="6668" y="14288"/>
                    <a:pt x="6668" y="26670"/>
                  </a:cubicBezTo>
                  <a:cubicBezTo>
                    <a:pt x="6668" y="40005"/>
                    <a:pt x="16193" y="49530"/>
                    <a:pt x="28575" y="49530"/>
                  </a:cubicBezTo>
                  <a:close/>
                </a:path>
              </a:pathLst>
            </a:custGeom>
            <a:solidFill>
              <a:srgbClr val="3D4647"/>
            </a:solidFill>
            <a:ln w="9525" cap="flat">
              <a:noFill/>
              <a:prstDash val="solid"/>
              <a:miter/>
            </a:ln>
          </p:spPr>
          <p:txBody>
            <a:bodyPr rtlCol="0" anchor="ctr"/>
            <a:lstStyle/>
            <a:p>
              <a:endParaRPr lang="en-US" dirty="0"/>
            </a:p>
          </p:txBody>
        </p:sp>
        <p:grpSp>
          <p:nvGrpSpPr>
            <p:cNvPr id="402" name="Graphic 230">
              <a:extLst>
                <a:ext uri="{FF2B5EF4-FFF2-40B4-BE49-F238E27FC236}">
                  <a16:creationId xmlns:a16="http://schemas.microsoft.com/office/drawing/2014/main" id="{EE3E9272-D026-2F4A-AFAD-9D36BB1F993C}"/>
                </a:ext>
              </a:extLst>
            </p:cNvPr>
            <p:cNvGrpSpPr/>
            <p:nvPr/>
          </p:nvGrpSpPr>
          <p:grpSpPr>
            <a:xfrm>
              <a:off x="5609960" y="4368208"/>
              <a:ext cx="153352" cy="153352"/>
              <a:chOff x="5609960" y="4368208"/>
              <a:chExt cx="153352" cy="153352"/>
            </a:xfrm>
            <a:solidFill>
              <a:srgbClr val="40AA1D"/>
            </a:solidFill>
          </p:grpSpPr>
          <p:sp>
            <p:nvSpPr>
              <p:cNvPr id="403" name="Freeform: Shape 402">
                <a:extLst>
                  <a:ext uri="{FF2B5EF4-FFF2-40B4-BE49-F238E27FC236}">
                    <a16:creationId xmlns:a16="http://schemas.microsoft.com/office/drawing/2014/main" id="{38A6D325-6BDC-B434-320C-49C498AA5CCB}"/>
                  </a:ext>
                </a:extLst>
              </p:cNvPr>
              <p:cNvSpPr/>
              <p:nvPr/>
            </p:nvSpPr>
            <p:spPr>
              <a:xfrm>
                <a:off x="5618532" y="4479650"/>
                <a:ext cx="37147" cy="35242"/>
              </a:xfrm>
              <a:custGeom>
                <a:avLst/>
                <a:gdLst>
                  <a:gd name="connsiteX0" fmla="*/ 0 w 37147"/>
                  <a:gd name="connsiteY0" fmla="*/ 0 h 35242"/>
                  <a:gd name="connsiteX1" fmla="*/ 37147 w 37147"/>
                  <a:gd name="connsiteY1" fmla="*/ 35242 h 35242"/>
                  <a:gd name="connsiteX2" fmla="*/ 28575 w 37147"/>
                  <a:gd name="connsiteY2" fmla="*/ 0 h 35242"/>
                  <a:gd name="connsiteX3" fmla="*/ 0 w 37147"/>
                  <a:gd name="connsiteY3" fmla="*/ 0 h 35242"/>
                </a:gdLst>
                <a:ahLst/>
                <a:cxnLst>
                  <a:cxn ang="0">
                    <a:pos x="connsiteX0" y="connsiteY0"/>
                  </a:cxn>
                  <a:cxn ang="0">
                    <a:pos x="connsiteX1" y="connsiteY1"/>
                  </a:cxn>
                  <a:cxn ang="0">
                    <a:pos x="connsiteX2" y="connsiteY2"/>
                  </a:cxn>
                  <a:cxn ang="0">
                    <a:pos x="connsiteX3" y="connsiteY3"/>
                  </a:cxn>
                </a:cxnLst>
                <a:rect l="l" t="t" r="r" b="b"/>
                <a:pathLst>
                  <a:path w="37147" h="35242">
                    <a:moveTo>
                      <a:pt x="0" y="0"/>
                    </a:moveTo>
                    <a:cubicBezTo>
                      <a:pt x="7620" y="15240"/>
                      <a:pt x="20955" y="27622"/>
                      <a:pt x="37147" y="35242"/>
                    </a:cubicBezTo>
                    <a:cubicBezTo>
                      <a:pt x="34290" y="26670"/>
                      <a:pt x="31432" y="14288"/>
                      <a:pt x="28575" y="0"/>
                    </a:cubicBezTo>
                    <a:lnTo>
                      <a:pt x="0" y="0"/>
                    </a:lnTo>
                    <a:close/>
                  </a:path>
                </a:pathLst>
              </a:custGeom>
              <a:solidFill>
                <a:srgbClr val="40AA1D"/>
              </a:solidFill>
              <a:ln w="9525" cap="flat">
                <a:noFill/>
                <a:prstDash val="solid"/>
                <a:miter/>
              </a:ln>
            </p:spPr>
            <p:txBody>
              <a:bodyPr rtlCol="0" anchor="ctr"/>
              <a:lstStyle/>
              <a:p>
                <a:endParaRPr lang="en-US" dirty="0"/>
              </a:p>
            </p:txBody>
          </p:sp>
          <p:sp>
            <p:nvSpPr>
              <p:cNvPr id="404" name="Freeform: Shape 403">
                <a:extLst>
                  <a:ext uri="{FF2B5EF4-FFF2-40B4-BE49-F238E27FC236}">
                    <a16:creationId xmlns:a16="http://schemas.microsoft.com/office/drawing/2014/main" id="{D3E1E8D2-748A-E293-F186-E0A5FD1E593E}"/>
                  </a:ext>
                </a:extLst>
              </p:cNvPr>
              <p:cNvSpPr/>
              <p:nvPr/>
            </p:nvSpPr>
            <p:spPr>
              <a:xfrm>
                <a:off x="5617579" y="4376780"/>
                <a:ext cx="34290" cy="34289"/>
              </a:xfrm>
              <a:custGeom>
                <a:avLst/>
                <a:gdLst>
                  <a:gd name="connsiteX0" fmla="*/ 34290 w 34290"/>
                  <a:gd name="connsiteY0" fmla="*/ 0 h 34289"/>
                  <a:gd name="connsiteX1" fmla="*/ 0 w 34290"/>
                  <a:gd name="connsiteY1" fmla="*/ 34290 h 34289"/>
                  <a:gd name="connsiteX2" fmla="*/ 27623 w 34290"/>
                  <a:gd name="connsiteY2" fmla="*/ 34290 h 34289"/>
                  <a:gd name="connsiteX3" fmla="*/ 34290 w 34290"/>
                  <a:gd name="connsiteY3" fmla="*/ 0 h 34289"/>
                </a:gdLst>
                <a:ahLst/>
                <a:cxnLst>
                  <a:cxn ang="0">
                    <a:pos x="connsiteX0" y="connsiteY0"/>
                  </a:cxn>
                  <a:cxn ang="0">
                    <a:pos x="connsiteX1" y="connsiteY1"/>
                  </a:cxn>
                  <a:cxn ang="0">
                    <a:pos x="connsiteX2" y="connsiteY2"/>
                  </a:cxn>
                  <a:cxn ang="0">
                    <a:pos x="connsiteX3" y="connsiteY3"/>
                  </a:cxn>
                </a:cxnLst>
                <a:rect l="l" t="t" r="r" b="b"/>
                <a:pathLst>
                  <a:path w="34290" h="34289">
                    <a:moveTo>
                      <a:pt x="34290" y="0"/>
                    </a:moveTo>
                    <a:cubicBezTo>
                      <a:pt x="20003" y="7620"/>
                      <a:pt x="7620" y="19050"/>
                      <a:pt x="0" y="34290"/>
                    </a:cubicBezTo>
                    <a:lnTo>
                      <a:pt x="27623" y="34290"/>
                    </a:lnTo>
                    <a:cubicBezTo>
                      <a:pt x="29528" y="19050"/>
                      <a:pt x="32385" y="7620"/>
                      <a:pt x="34290" y="0"/>
                    </a:cubicBezTo>
                    <a:close/>
                  </a:path>
                </a:pathLst>
              </a:custGeom>
              <a:solidFill>
                <a:srgbClr val="40AA1D"/>
              </a:solidFill>
              <a:ln w="9525" cap="flat">
                <a:noFill/>
                <a:prstDash val="solid"/>
                <a:miter/>
              </a:ln>
            </p:spPr>
            <p:txBody>
              <a:bodyPr rtlCol="0" anchor="ctr"/>
              <a:lstStyle/>
              <a:p>
                <a:endParaRPr lang="en-US" dirty="0"/>
              </a:p>
            </p:txBody>
          </p:sp>
          <p:sp>
            <p:nvSpPr>
              <p:cNvPr id="405" name="Freeform: Shape 404">
                <a:extLst>
                  <a:ext uri="{FF2B5EF4-FFF2-40B4-BE49-F238E27FC236}">
                    <a16:creationId xmlns:a16="http://schemas.microsoft.com/office/drawing/2014/main" id="{28982EDA-5BFB-F7C9-E556-02F3AD80D64D}"/>
                  </a:ext>
                </a:extLst>
              </p:cNvPr>
              <p:cNvSpPr/>
              <p:nvPr/>
            </p:nvSpPr>
            <p:spPr>
              <a:xfrm>
                <a:off x="5609960" y="4419642"/>
                <a:ext cx="36194" cy="50482"/>
              </a:xfrm>
              <a:custGeom>
                <a:avLst/>
                <a:gdLst>
                  <a:gd name="connsiteX0" fmla="*/ 33338 w 36194"/>
                  <a:gd name="connsiteY0" fmla="*/ 24765 h 50482"/>
                  <a:gd name="connsiteX1" fmla="*/ 34290 w 36194"/>
                  <a:gd name="connsiteY1" fmla="*/ 0 h 50482"/>
                  <a:gd name="connsiteX2" fmla="*/ 3810 w 36194"/>
                  <a:gd name="connsiteY2" fmla="*/ 0 h 50482"/>
                  <a:gd name="connsiteX3" fmla="*/ 0 w 36194"/>
                  <a:gd name="connsiteY3" fmla="*/ 24765 h 50482"/>
                  <a:gd name="connsiteX4" fmla="*/ 4763 w 36194"/>
                  <a:gd name="connsiteY4" fmla="*/ 50483 h 50482"/>
                  <a:gd name="connsiteX5" fmla="*/ 36195 w 36194"/>
                  <a:gd name="connsiteY5" fmla="*/ 50483 h 50482"/>
                  <a:gd name="connsiteX6" fmla="*/ 33338 w 36194"/>
                  <a:gd name="connsiteY6" fmla="*/ 24765 h 5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94" h="50482">
                    <a:moveTo>
                      <a:pt x="33338" y="24765"/>
                    </a:moveTo>
                    <a:cubicBezTo>
                      <a:pt x="33338" y="16193"/>
                      <a:pt x="33338" y="7620"/>
                      <a:pt x="34290" y="0"/>
                    </a:cubicBezTo>
                    <a:lnTo>
                      <a:pt x="3810" y="0"/>
                    </a:lnTo>
                    <a:cubicBezTo>
                      <a:pt x="1905" y="7620"/>
                      <a:pt x="0" y="16193"/>
                      <a:pt x="0" y="24765"/>
                    </a:cubicBezTo>
                    <a:cubicBezTo>
                      <a:pt x="0" y="33338"/>
                      <a:pt x="1905" y="41910"/>
                      <a:pt x="4763" y="50483"/>
                    </a:cubicBezTo>
                    <a:lnTo>
                      <a:pt x="36195" y="50483"/>
                    </a:lnTo>
                    <a:cubicBezTo>
                      <a:pt x="34290" y="41910"/>
                      <a:pt x="33338" y="32385"/>
                      <a:pt x="33338" y="24765"/>
                    </a:cubicBezTo>
                    <a:close/>
                  </a:path>
                </a:pathLst>
              </a:custGeom>
              <a:solidFill>
                <a:srgbClr val="40AA1D"/>
              </a:solidFill>
              <a:ln w="9525" cap="flat">
                <a:noFill/>
                <a:prstDash val="solid"/>
                <a:miter/>
              </a:ln>
            </p:spPr>
            <p:txBody>
              <a:bodyPr rtlCol="0" anchor="ctr"/>
              <a:lstStyle/>
              <a:p>
                <a:endParaRPr lang="en-US" dirty="0"/>
              </a:p>
            </p:txBody>
          </p:sp>
          <p:sp>
            <p:nvSpPr>
              <p:cNvPr id="406" name="Freeform: Shape 405">
                <a:extLst>
                  <a:ext uri="{FF2B5EF4-FFF2-40B4-BE49-F238E27FC236}">
                    <a16:creationId xmlns:a16="http://schemas.microsoft.com/office/drawing/2014/main" id="{C7E40835-1F24-E72F-8EDD-408E261603A5}"/>
                  </a:ext>
                </a:extLst>
              </p:cNvPr>
              <p:cNvSpPr/>
              <p:nvPr/>
            </p:nvSpPr>
            <p:spPr>
              <a:xfrm>
                <a:off x="5655679" y="4368208"/>
                <a:ext cx="60007" cy="42862"/>
              </a:xfrm>
              <a:custGeom>
                <a:avLst/>
                <a:gdLst>
                  <a:gd name="connsiteX0" fmla="*/ 60007 w 60007"/>
                  <a:gd name="connsiteY0" fmla="*/ 41910 h 42862"/>
                  <a:gd name="connsiteX1" fmla="*/ 53340 w 60007"/>
                  <a:gd name="connsiteY1" fmla="*/ 2858 h 42862"/>
                  <a:gd name="connsiteX2" fmla="*/ 30480 w 60007"/>
                  <a:gd name="connsiteY2" fmla="*/ 0 h 42862"/>
                  <a:gd name="connsiteX3" fmla="*/ 7620 w 60007"/>
                  <a:gd name="connsiteY3" fmla="*/ 3810 h 42862"/>
                  <a:gd name="connsiteX4" fmla="*/ 0 w 60007"/>
                  <a:gd name="connsiteY4" fmla="*/ 42863 h 42862"/>
                  <a:gd name="connsiteX5" fmla="*/ 60007 w 60007"/>
                  <a:gd name="connsiteY5" fmla="*/ 42863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07" h="42862">
                    <a:moveTo>
                      <a:pt x="60007" y="41910"/>
                    </a:moveTo>
                    <a:cubicBezTo>
                      <a:pt x="58103" y="21908"/>
                      <a:pt x="54293" y="7620"/>
                      <a:pt x="53340" y="2858"/>
                    </a:cubicBezTo>
                    <a:cubicBezTo>
                      <a:pt x="45720" y="952"/>
                      <a:pt x="38100" y="0"/>
                      <a:pt x="30480" y="0"/>
                    </a:cubicBezTo>
                    <a:cubicBezTo>
                      <a:pt x="22860" y="0"/>
                      <a:pt x="15240" y="952"/>
                      <a:pt x="7620" y="3810"/>
                    </a:cubicBezTo>
                    <a:cubicBezTo>
                      <a:pt x="5715" y="10477"/>
                      <a:pt x="1905" y="24765"/>
                      <a:pt x="0" y="42863"/>
                    </a:cubicBezTo>
                    <a:lnTo>
                      <a:pt x="60007" y="42863"/>
                    </a:lnTo>
                    <a:close/>
                  </a:path>
                </a:pathLst>
              </a:custGeom>
              <a:solidFill>
                <a:srgbClr val="40AA1D"/>
              </a:solidFill>
              <a:ln w="9525" cap="flat">
                <a:noFill/>
                <a:prstDash val="solid"/>
                <a:miter/>
              </a:ln>
            </p:spPr>
            <p:txBody>
              <a:bodyPr rtlCol="0" anchor="ctr"/>
              <a:lstStyle/>
              <a:p>
                <a:endParaRPr lang="en-US" dirty="0"/>
              </a:p>
            </p:txBody>
          </p:sp>
          <p:sp>
            <p:nvSpPr>
              <p:cNvPr id="407" name="Freeform: Shape 406">
                <a:extLst>
                  <a:ext uri="{FF2B5EF4-FFF2-40B4-BE49-F238E27FC236}">
                    <a16:creationId xmlns:a16="http://schemas.microsoft.com/office/drawing/2014/main" id="{12CB4D85-5D6B-F6A2-694B-0EB98049CF26}"/>
                  </a:ext>
                </a:extLst>
              </p:cNvPr>
              <p:cNvSpPr/>
              <p:nvPr/>
            </p:nvSpPr>
            <p:spPr>
              <a:xfrm>
                <a:off x="5719497" y="4375828"/>
                <a:ext cx="35242" cy="34289"/>
              </a:xfrm>
              <a:custGeom>
                <a:avLst/>
                <a:gdLst>
                  <a:gd name="connsiteX0" fmla="*/ 35243 w 35242"/>
                  <a:gd name="connsiteY0" fmla="*/ 34290 h 34289"/>
                  <a:gd name="connsiteX1" fmla="*/ 0 w 35242"/>
                  <a:gd name="connsiteY1" fmla="*/ 0 h 34289"/>
                  <a:gd name="connsiteX2" fmla="*/ 5715 w 35242"/>
                  <a:gd name="connsiteY2" fmla="*/ 34290 h 34289"/>
                  <a:gd name="connsiteX3" fmla="*/ 35243 w 35242"/>
                  <a:gd name="connsiteY3" fmla="*/ 34290 h 34289"/>
                </a:gdLst>
                <a:ahLst/>
                <a:cxnLst>
                  <a:cxn ang="0">
                    <a:pos x="connsiteX0" y="connsiteY0"/>
                  </a:cxn>
                  <a:cxn ang="0">
                    <a:pos x="connsiteX1" y="connsiteY1"/>
                  </a:cxn>
                  <a:cxn ang="0">
                    <a:pos x="connsiteX2" y="connsiteY2"/>
                  </a:cxn>
                  <a:cxn ang="0">
                    <a:pos x="connsiteX3" y="connsiteY3"/>
                  </a:cxn>
                </a:cxnLst>
                <a:rect l="l" t="t" r="r" b="b"/>
                <a:pathLst>
                  <a:path w="35242" h="34289">
                    <a:moveTo>
                      <a:pt x="35243" y="34290"/>
                    </a:moveTo>
                    <a:cubicBezTo>
                      <a:pt x="27623" y="19050"/>
                      <a:pt x="15240" y="6667"/>
                      <a:pt x="0" y="0"/>
                    </a:cubicBezTo>
                    <a:cubicBezTo>
                      <a:pt x="1905" y="7620"/>
                      <a:pt x="3810" y="20003"/>
                      <a:pt x="5715" y="34290"/>
                    </a:cubicBezTo>
                    <a:lnTo>
                      <a:pt x="35243" y="34290"/>
                    </a:lnTo>
                    <a:close/>
                  </a:path>
                </a:pathLst>
              </a:custGeom>
              <a:solidFill>
                <a:srgbClr val="40AA1D"/>
              </a:solidFill>
              <a:ln w="9525" cap="flat">
                <a:noFill/>
                <a:prstDash val="solid"/>
                <a:miter/>
              </a:ln>
            </p:spPr>
            <p:txBody>
              <a:bodyPr rtlCol="0" anchor="ctr"/>
              <a:lstStyle/>
              <a:p>
                <a:endParaRPr lang="en-US" dirty="0"/>
              </a:p>
            </p:txBody>
          </p:sp>
          <p:sp>
            <p:nvSpPr>
              <p:cNvPr id="408" name="Freeform: Shape 407">
                <a:extLst>
                  <a:ext uri="{FF2B5EF4-FFF2-40B4-BE49-F238E27FC236}">
                    <a16:creationId xmlns:a16="http://schemas.microsoft.com/office/drawing/2014/main" id="{F3C4CF90-8B94-C6B7-1C24-95E9EC2CAF07}"/>
                  </a:ext>
                </a:extLst>
              </p:cNvPr>
              <p:cNvSpPr/>
              <p:nvPr/>
            </p:nvSpPr>
            <p:spPr>
              <a:xfrm>
                <a:off x="5652822" y="4419642"/>
                <a:ext cx="63817" cy="50482"/>
              </a:xfrm>
              <a:custGeom>
                <a:avLst/>
                <a:gdLst>
                  <a:gd name="connsiteX0" fmla="*/ 0 w 63817"/>
                  <a:gd name="connsiteY0" fmla="*/ 24765 h 50482"/>
                  <a:gd name="connsiteX1" fmla="*/ 1905 w 63817"/>
                  <a:gd name="connsiteY1" fmla="*/ 50483 h 50482"/>
                  <a:gd name="connsiteX2" fmla="*/ 61913 w 63817"/>
                  <a:gd name="connsiteY2" fmla="*/ 50483 h 50482"/>
                  <a:gd name="connsiteX3" fmla="*/ 63818 w 63817"/>
                  <a:gd name="connsiteY3" fmla="*/ 24765 h 50482"/>
                  <a:gd name="connsiteX4" fmla="*/ 62865 w 63817"/>
                  <a:gd name="connsiteY4" fmla="*/ 0 h 50482"/>
                  <a:gd name="connsiteX5" fmla="*/ 952 w 63817"/>
                  <a:gd name="connsiteY5" fmla="*/ 0 h 50482"/>
                  <a:gd name="connsiteX6" fmla="*/ 0 w 63817"/>
                  <a:gd name="connsiteY6" fmla="*/ 24765 h 5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817" h="50482">
                    <a:moveTo>
                      <a:pt x="0" y="24765"/>
                    </a:moveTo>
                    <a:cubicBezTo>
                      <a:pt x="0" y="32385"/>
                      <a:pt x="952" y="41910"/>
                      <a:pt x="1905" y="50483"/>
                    </a:cubicBezTo>
                    <a:lnTo>
                      <a:pt x="61913" y="50483"/>
                    </a:lnTo>
                    <a:cubicBezTo>
                      <a:pt x="62865" y="41910"/>
                      <a:pt x="63818" y="33338"/>
                      <a:pt x="63818" y="24765"/>
                    </a:cubicBezTo>
                    <a:cubicBezTo>
                      <a:pt x="63818" y="16193"/>
                      <a:pt x="63818" y="7620"/>
                      <a:pt x="62865" y="0"/>
                    </a:cubicBezTo>
                    <a:lnTo>
                      <a:pt x="952" y="0"/>
                    </a:lnTo>
                    <a:cubicBezTo>
                      <a:pt x="952" y="7620"/>
                      <a:pt x="0" y="16193"/>
                      <a:pt x="0" y="24765"/>
                    </a:cubicBezTo>
                    <a:close/>
                  </a:path>
                </a:pathLst>
              </a:custGeom>
              <a:solidFill>
                <a:srgbClr val="40AA1D"/>
              </a:solidFill>
              <a:ln w="9525" cap="flat">
                <a:noFill/>
                <a:prstDash val="solid"/>
                <a:miter/>
              </a:ln>
            </p:spPr>
            <p:txBody>
              <a:bodyPr rtlCol="0" anchor="ctr"/>
              <a:lstStyle/>
              <a:p>
                <a:endParaRPr lang="en-US" dirty="0"/>
              </a:p>
            </p:txBody>
          </p:sp>
          <p:sp>
            <p:nvSpPr>
              <p:cNvPr id="409" name="Freeform: Shape 408">
                <a:extLst>
                  <a:ext uri="{FF2B5EF4-FFF2-40B4-BE49-F238E27FC236}">
                    <a16:creationId xmlns:a16="http://schemas.microsoft.com/office/drawing/2014/main" id="{1CABFB64-7762-EEF5-93D5-9F4EE32D894E}"/>
                  </a:ext>
                </a:extLst>
              </p:cNvPr>
              <p:cNvSpPr/>
              <p:nvPr/>
            </p:nvSpPr>
            <p:spPr>
              <a:xfrm>
                <a:off x="5718545" y="4479650"/>
                <a:ext cx="35242" cy="33337"/>
              </a:xfrm>
              <a:custGeom>
                <a:avLst/>
                <a:gdLst>
                  <a:gd name="connsiteX0" fmla="*/ 0 w 35242"/>
                  <a:gd name="connsiteY0" fmla="*/ 33338 h 33337"/>
                  <a:gd name="connsiteX1" fmla="*/ 35242 w 35242"/>
                  <a:gd name="connsiteY1" fmla="*/ 0 h 33337"/>
                  <a:gd name="connsiteX2" fmla="*/ 5715 w 35242"/>
                  <a:gd name="connsiteY2" fmla="*/ 0 h 33337"/>
                  <a:gd name="connsiteX3" fmla="*/ 0 w 35242"/>
                  <a:gd name="connsiteY3" fmla="*/ 33338 h 33337"/>
                </a:gdLst>
                <a:ahLst/>
                <a:cxnLst>
                  <a:cxn ang="0">
                    <a:pos x="connsiteX0" y="connsiteY0"/>
                  </a:cxn>
                  <a:cxn ang="0">
                    <a:pos x="connsiteX1" y="connsiteY1"/>
                  </a:cxn>
                  <a:cxn ang="0">
                    <a:pos x="connsiteX2" y="connsiteY2"/>
                  </a:cxn>
                  <a:cxn ang="0">
                    <a:pos x="connsiteX3" y="connsiteY3"/>
                  </a:cxn>
                </a:cxnLst>
                <a:rect l="l" t="t" r="r" b="b"/>
                <a:pathLst>
                  <a:path w="35242" h="33337">
                    <a:moveTo>
                      <a:pt x="0" y="33338"/>
                    </a:moveTo>
                    <a:cubicBezTo>
                      <a:pt x="15240" y="25717"/>
                      <a:pt x="27622" y="14288"/>
                      <a:pt x="35242" y="0"/>
                    </a:cubicBezTo>
                    <a:lnTo>
                      <a:pt x="5715" y="0"/>
                    </a:lnTo>
                    <a:cubicBezTo>
                      <a:pt x="3810" y="13335"/>
                      <a:pt x="1905" y="25717"/>
                      <a:pt x="0" y="33338"/>
                    </a:cubicBezTo>
                    <a:close/>
                  </a:path>
                </a:pathLst>
              </a:custGeom>
              <a:solidFill>
                <a:srgbClr val="40AA1D"/>
              </a:solidFill>
              <a:ln w="9525" cap="flat">
                <a:noFill/>
                <a:prstDash val="solid"/>
                <a:miter/>
              </a:ln>
            </p:spPr>
            <p:txBody>
              <a:bodyPr rtlCol="0" anchor="ctr"/>
              <a:lstStyle/>
              <a:p>
                <a:endParaRPr lang="en-US" dirty="0"/>
              </a:p>
            </p:txBody>
          </p:sp>
          <p:sp>
            <p:nvSpPr>
              <p:cNvPr id="410" name="Freeform: Shape 409">
                <a:extLst>
                  <a:ext uri="{FF2B5EF4-FFF2-40B4-BE49-F238E27FC236}">
                    <a16:creationId xmlns:a16="http://schemas.microsoft.com/office/drawing/2014/main" id="{628321B2-5B6A-06DA-8FF5-2E73D10429E6}"/>
                  </a:ext>
                </a:extLst>
              </p:cNvPr>
              <p:cNvSpPr/>
              <p:nvPr/>
            </p:nvSpPr>
            <p:spPr>
              <a:xfrm>
                <a:off x="5726165" y="4419642"/>
                <a:ext cx="37147" cy="50482"/>
              </a:xfrm>
              <a:custGeom>
                <a:avLst/>
                <a:gdLst>
                  <a:gd name="connsiteX0" fmla="*/ 952 w 37147"/>
                  <a:gd name="connsiteY0" fmla="*/ 24765 h 50482"/>
                  <a:gd name="connsiteX1" fmla="*/ 0 w 37147"/>
                  <a:gd name="connsiteY1" fmla="*/ 50483 h 50482"/>
                  <a:gd name="connsiteX2" fmla="*/ 32385 w 37147"/>
                  <a:gd name="connsiteY2" fmla="*/ 50483 h 50482"/>
                  <a:gd name="connsiteX3" fmla="*/ 37147 w 37147"/>
                  <a:gd name="connsiteY3" fmla="*/ 24765 h 50482"/>
                  <a:gd name="connsiteX4" fmla="*/ 33338 w 37147"/>
                  <a:gd name="connsiteY4" fmla="*/ 0 h 50482"/>
                  <a:gd name="connsiteX5" fmla="*/ 952 w 37147"/>
                  <a:gd name="connsiteY5" fmla="*/ 0 h 50482"/>
                  <a:gd name="connsiteX6" fmla="*/ 952 w 37147"/>
                  <a:gd name="connsiteY6" fmla="*/ 24765 h 5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147" h="50482">
                    <a:moveTo>
                      <a:pt x="952" y="24765"/>
                    </a:moveTo>
                    <a:cubicBezTo>
                      <a:pt x="952" y="33338"/>
                      <a:pt x="0" y="41910"/>
                      <a:pt x="0" y="50483"/>
                    </a:cubicBezTo>
                    <a:lnTo>
                      <a:pt x="32385" y="50483"/>
                    </a:lnTo>
                    <a:cubicBezTo>
                      <a:pt x="35243" y="42863"/>
                      <a:pt x="37147" y="34290"/>
                      <a:pt x="37147" y="24765"/>
                    </a:cubicBezTo>
                    <a:cubicBezTo>
                      <a:pt x="37147" y="16193"/>
                      <a:pt x="35243" y="7620"/>
                      <a:pt x="33338" y="0"/>
                    </a:cubicBezTo>
                    <a:lnTo>
                      <a:pt x="952" y="0"/>
                    </a:lnTo>
                    <a:cubicBezTo>
                      <a:pt x="0" y="7620"/>
                      <a:pt x="952" y="16193"/>
                      <a:pt x="952" y="24765"/>
                    </a:cubicBezTo>
                    <a:close/>
                  </a:path>
                </a:pathLst>
              </a:custGeom>
              <a:solidFill>
                <a:srgbClr val="40AA1D"/>
              </a:solidFill>
              <a:ln w="9525" cap="flat">
                <a:noFill/>
                <a:prstDash val="solid"/>
                <a:miter/>
              </a:ln>
            </p:spPr>
            <p:txBody>
              <a:bodyPr rtlCol="0" anchor="ctr"/>
              <a:lstStyle/>
              <a:p>
                <a:endParaRPr lang="en-US" dirty="0"/>
              </a:p>
            </p:txBody>
          </p:sp>
          <p:sp>
            <p:nvSpPr>
              <p:cNvPr id="411" name="Freeform: Shape 410">
                <a:extLst>
                  <a:ext uri="{FF2B5EF4-FFF2-40B4-BE49-F238E27FC236}">
                    <a16:creationId xmlns:a16="http://schemas.microsoft.com/office/drawing/2014/main" id="{DB556673-2342-9B9E-E6CD-F74B85CC8972}"/>
                  </a:ext>
                </a:extLst>
              </p:cNvPr>
              <p:cNvSpPr/>
              <p:nvPr/>
            </p:nvSpPr>
            <p:spPr>
              <a:xfrm>
                <a:off x="5656632" y="4479650"/>
                <a:ext cx="57150" cy="41909"/>
              </a:xfrm>
              <a:custGeom>
                <a:avLst/>
                <a:gdLst>
                  <a:gd name="connsiteX0" fmla="*/ 0 w 57150"/>
                  <a:gd name="connsiteY0" fmla="*/ 0 h 41909"/>
                  <a:gd name="connsiteX1" fmla="*/ 9525 w 57150"/>
                  <a:gd name="connsiteY1" fmla="*/ 39052 h 41909"/>
                  <a:gd name="connsiteX2" fmla="*/ 28575 w 57150"/>
                  <a:gd name="connsiteY2" fmla="*/ 41910 h 41909"/>
                  <a:gd name="connsiteX3" fmla="*/ 50482 w 57150"/>
                  <a:gd name="connsiteY3" fmla="*/ 39052 h 41909"/>
                  <a:gd name="connsiteX4" fmla="*/ 57150 w 57150"/>
                  <a:gd name="connsiteY4" fmla="*/ 952 h 41909"/>
                  <a:gd name="connsiteX5" fmla="*/ 0 w 57150"/>
                  <a:gd name="connsiteY5" fmla="*/ 952 h 4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41909">
                    <a:moveTo>
                      <a:pt x="0" y="0"/>
                    </a:moveTo>
                    <a:cubicBezTo>
                      <a:pt x="3810" y="17145"/>
                      <a:pt x="7620" y="32385"/>
                      <a:pt x="9525" y="39052"/>
                    </a:cubicBezTo>
                    <a:cubicBezTo>
                      <a:pt x="15240" y="40957"/>
                      <a:pt x="21907" y="41910"/>
                      <a:pt x="28575" y="41910"/>
                    </a:cubicBezTo>
                    <a:cubicBezTo>
                      <a:pt x="36195" y="41910"/>
                      <a:pt x="43815" y="40957"/>
                      <a:pt x="50482" y="39052"/>
                    </a:cubicBezTo>
                    <a:cubicBezTo>
                      <a:pt x="51435" y="33338"/>
                      <a:pt x="54292" y="18097"/>
                      <a:pt x="57150" y="952"/>
                    </a:cubicBezTo>
                    <a:lnTo>
                      <a:pt x="0" y="952"/>
                    </a:lnTo>
                    <a:close/>
                  </a:path>
                </a:pathLst>
              </a:custGeom>
              <a:solidFill>
                <a:srgbClr val="40AA1D"/>
              </a:solidFill>
              <a:ln w="9525" cap="flat">
                <a:noFill/>
                <a:prstDash val="solid"/>
                <a:miter/>
              </a:ln>
            </p:spPr>
            <p:txBody>
              <a:bodyPr rtlCol="0" anchor="ctr"/>
              <a:lstStyle/>
              <a:p>
                <a:endParaRPr lang="en-US" dirty="0"/>
              </a:p>
            </p:txBody>
          </p:sp>
        </p:grpSp>
      </p:grpSp>
      <p:grpSp>
        <p:nvGrpSpPr>
          <p:cNvPr id="560" name="Group 559">
            <a:extLst>
              <a:ext uri="{FF2B5EF4-FFF2-40B4-BE49-F238E27FC236}">
                <a16:creationId xmlns:a16="http://schemas.microsoft.com/office/drawing/2014/main" id="{28E00662-41C4-4C7E-4719-4AB151EA42B9}"/>
              </a:ext>
            </a:extLst>
          </p:cNvPr>
          <p:cNvGrpSpPr/>
          <p:nvPr/>
        </p:nvGrpSpPr>
        <p:grpSpPr>
          <a:xfrm>
            <a:off x="7745965" y="4377140"/>
            <a:ext cx="707045" cy="721996"/>
            <a:chOff x="7745965" y="4365349"/>
            <a:chExt cx="707045" cy="721996"/>
          </a:xfrm>
        </p:grpSpPr>
        <p:grpSp>
          <p:nvGrpSpPr>
            <p:cNvPr id="544" name="Group 543">
              <a:extLst>
                <a:ext uri="{FF2B5EF4-FFF2-40B4-BE49-F238E27FC236}">
                  <a16:creationId xmlns:a16="http://schemas.microsoft.com/office/drawing/2014/main" id="{2B7B6F33-361E-A5B5-6BA3-00D7D2D59F95}"/>
                </a:ext>
              </a:extLst>
            </p:cNvPr>
            <p:cNvGrpSpPr/>
            <p:nvPr/>
          </p:nvGrpSpPr>
          <p:grpSpPr>
            <a:xfrm>
              <a:off x="7745965" y="4509178"/>
              <a:ext cx="609600" cy="578167"/>
              <a:chOff x="537926" y="1818419"/>
              <a:chExt cx="609600" cy="578167"/>
            </a:xfrm>
          </p:grpSpPr>
          <p:sp>
            <p:nvSpPr>
              <p:cNvPr id="545" name="Freeform: Shape 544">
                <a:extLst>
                  <a:ext uri="{FF2B5EF4-FFF2-40B4-BE49-F238E27FC236}">
                    <a16:creationId xmlns:a16="http://schemas.microsoft.com/office/drawing/2014/main" id="{7B222CC3-8C30-9592-45E8-6CD240CAAF28}"/>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546" name="Freeform: Shape 545">
                <a:extLst>
                  <a:ext uri="{FF2B5EF4-FFF2-40B4-BE49-F238E27FC236}">
                    <a16:creationId xmlns:a16="http://schemas.microsoft.com/office/drawing/2014/main" id="{76814E2B-2A0D-7E47-FEB0-060C063E7FE2}"/>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nvGrpSpPr>
            <p:cNvPr id="553" name="Graphic 232">
              <a:extLst>
                <a:ext uri="{FF2B5EF4-FFF2-40B4-BE49-F238E27FC236}">
                  <a16:creationId xmlns:a16="http://schemas.microsoft.com/office/drawing/2014/main" id="{7E4B768E-99E1-7698-CDF2-252C82872823}"/>
                </a:ext>
              </a:extLst>
            </p:cNvPr>
            <p:cNvGrpSpPr/>
            <p:nvPr/>
          </p:nvGrpSpPr>
          <p:grpSpPr>
            <a:xfrm>
              <a:off x="8237746" y="4365349"/>
              <a:ext cx="215264" cy="302895"/>
              <a:chOff x="8237746" y="4365349"/>
              <a:chExt cx="215264" cy="302895"/>
            </a:xfrm>
          </p:grpSpPr>
          <p:sp>
            <p:nvSpPr>
              <p:cNvPr id="554" name="Freeform: Shape 553">
                <a:extLst>
                  <a:ext uri="{FF2B5EF4-FFF2-40B4-BE49-F238E27FC236}">
                    <a16:creationId xmlns:a16="http://schemas.microsoft.com/office/drawing/2014/main" id="{BA7F6CEA-27D4-3CEF-CAFA-A656D3ED0F47}"/>
                  </a:ext>
                </a:extLst>
              </p:cNvPr>
              <p:cNvSpPr/>
              <p:nvPr/>
            </p:nvSpPr>
            <p:spPr>
              <a:xfrm>
                <a:off x="8237746" y="4572995"/>
                <a:ext cx="215264" cy="95250"/>
              </a:xfrm>
              <a:custGeom>
                <a:avLst/>
                <a:gdLst>
                  <a:gd name="connsiteX0" fmla="*/ 189548 w 215264"/>
                  <a:gd name="connsiteY0" fmla="*/ 0 h 95250"/>
                  <a:gd name="connsiteX1" fmla="*/ 145733 w 215264"/>
                  <a:gd name="connsiteY1" fmla="*/ 0 h 95250"/>
                  <a:gd name="connsiteX2" fmla="*/ 142875 w 215264"/>
                  <a:gd name="connsiteY2" fmla="*/ 6668 h 95250"/>
                  <a:gd name="connsiteX3" fmla="*/ 127635 w 215264"/>
                  <a:gd name="connsiteY3" fmla="*/ 21907 h 95250"/>
                  <a:gd name="connsiteX4" fmla="*/ 127635 w 215264"/>
                  <a:gd name="connsiteY4" fmla="*/ 21907 h 95250"/>
                  <a:gd name="connsiteX5" fmla="*/ 101918 w 215264"/>
                  <a:gd name="connsiteY5" fmla="*/ 26670 h 95250"/>
                  <a:gd name="connsiteX6" fmla="*/ 78105 w 215264"/>
                  <a:gd name="connsiteY6" fmla="*/ 15240 h 95250"/>
                  <a:gd name="connsiteX7" fmla="*/ 68580 w 215264"/>
                  <a:gd name="connsiteY7" fmla="*/ 0 h 95250"/>
                  <a:gd name="connsiteX8" fmla="*/ 24765 w 215264"/>
                  <a:gd name="connsiteY8" fmla="*/ 0 h 95250"/>
                  <a:gd name="connsiteX9" fmla="*/ 24765 w 215264"/>
                  <a:gd name="connsiteY9" fmla="*/ 4763 h 95250"/>
                  <a:gd name="connsiteX10" fmla="*/ 0 w 215264"/>
                  <a:gd name="connsiteY10" fmla="*/ 25718 h 95250"/>
                  <a:gd name="connsiteX11" fmla="*/ 20002 w 215264"/>
                  <a:gd name="connsiteY11" fmla="*/ 60960 h 95250"/>
                  <a:gd name="connsiteX12" fmla="*/ 51435 w 215264"/>
                  <a:gd name="connsiteY12" fmla="*/ 49530 h 95250"/>
                  <a:gd name="connsiteX13" fmla="*/ 81915 w 215264"/>
                  <a:gd name="connsiteY13" fmla="*/ 67627 h 95250"/>
                  <a:gd name="connsiteX14" fmla="*/ 86677 w 215264"/>
                  <a:gd name="connsiteY14" fmla="*/ 95250 h 95250"/>
                  <a:gd name="connsiteX15" fmla="*/ 127635 w 215264"/>
                  <a:gd name="connsiteY15" fmla="*/ 95250 h 95250"/>
                  <a:gd name="connsiteX16" fmla="*/ 132398 w 215264"/>
                  <a:gd name="connsiteY16" fmla="*/ 67627 h 95250"/>
                  <a:gd name="connsiteX17" fmla="*/ 163830 w 215264"/>
                  <a:gd name="connsiteY17" fmla="*/ 49530 h 95250"/>
                  <a:gd name="connsiteX18" fmla="*/ 195263 w 215264"/>
                  <a:gd name="connsiteY18" fmla="*/ 60960 h 95250"/>
                  <a:gd name="connsiteX19" fmla="*/ 215265 w 215264"/>
                  <a:gd name="connsiteY19" fmla="*/ 25718 h 95250"/>
                  <a:gd name="connsiteX20" fmla="*/ 189548 w 215264"/>
                  <a:gd name="connsiteY20" fmla="*/ 4763 h 95250"/>
                  <a:gd name="connsiteX21" fmla="*/ 189548 w 215264"/>
                  <a:gd name="connsiteY21"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5264" h="95250">
                    <a:moveTo>
                      <a:pt x="189548" y="0"/>
                    </a:moveTo>
                    <a:lnTo>
                      <a:pt x="145733" y="0"/>
                    </a:lnTo>
                    <a:cubicBezTo>
                      <a:pt x="144780" y="1905"/>
                      <a:pt x="143827" y="4763"/>
                      <a:pt x="142875" y="6668"/>
                    </a:cubicBezTo>
                    <a:cubicBezTo>
                      <a:pt x="139065" y="13335"/>
                      <a:pt x="134302" y="18097"/>
                      <a:pt x="127635" y="21907"/>
                    </a:cubicBezTo>
                    <a:lnTo>
                      <a:pt x="127635" y="21907"/>
                    </a:lnTo>
                    <a:cubicBezTo>
                      <a:pt x="120015" y="26670"/>
                      <a:pt x="110490" y="28575"/>
                      <a:pt x="101918" y="26670"/>
                    </a:cubicBezTo>
                    <a:cubicBezTo>
                      <a:pt x="93345" y="25718"/>
                      <a:pt x="84773" y="20955"/>
                      <a:pt x="78105" y="15240"/>
                    </a:cubicBezTo>
                    <a:cubicBezTo>
                      <a:pt x="74295" y="11430"/>
                      <a:pt x="70485" y="5715"/>
                      <a:pt x="68580" y="0"/>
                    </a:cubicBezTo>
                    <a:lnTo>
                      <a:pt x="24765" y="0"/>
                    </a:lnTo>
                    <a:lnTo>
                      <a:pt x="24765" y="4763"/>
                    </a:lnTo>
                    <a:lnTo>
                      <a:pt x="0" y="25718"/>
                    </a:lnTo>
                    <a:lnTo>
                      <a:pt x="20002" y="60960"/>
                    </a:lnTo>
                    <a:lnTo>
                      <a:pt x="51435" y="49530"/>
                    </a:lnTo>
                    <a:lnTo>
                      <a:pt x="81915" y="67627"/>
                    </a:lnTo>
                    <a:lnTo>
                      <a:pt x="86677" y="95250"/>
                    </a:lnTo>
                    <a:lnTo>
                      <a:pt x="127635" y="95250"/>
                    </a:lnTo>
                    <a:lnTo>
                      <a:pt x="132398" y="67627"/>
                    </a:lnTo>
                    <a:lnTo>
                      <a:pt x="163830" y="49530"/>
                    </a:lnTo>
                    <a:lnTo>
                      <a:pt x="195263" y="60960"/>
                    </a:lnTo>
                    <a:lnTo>
                      <a:pt x="215265" y="25718"/>
                    </a:lnTo>
                    <a:lnTo>
                      <a:pt x="189548" y="4763"/>
                    </a:lnTo>
                    <a:lnTo>
                      <a:pt x="189548" y="0"/>
                    </a:lnTo>
                    <a:close/>
                  </a:path>
                </a:pathLst>
              </a:custGeom>
              <a:solidFill>
                <a:srgbClr val="40AA1D"/>
              </a:solidFill>
              <a:ln w="9525" cap="flat">
                <a:noFill/>
                <a:prstDash val="solid"/>
                <a:miter/>
              </a:ln>
            </p:spPr>
            <p:txBody>
              <a:bodyPr rtlCol="0" anchor="ctr"/>
              <a:lstStyle/>
              <a:p>
                <a:endParaRPr lang="en-US" dirty="0"/>
              </a:p>
            </p:txBody>
          </p:sp>
          <p:sp>
            <p:nvSpPr>
              <p:cNvPr id="555" name="Freeform: Shape 554">
                <a:extLst>
                  <a:ext uri="{FF2B5EF4-FFF2-40B4-BE49-F238E27FC236}">
                    <a16:creationId xmlns:a16="http://schemas.microsoft.com/office/drawing/2014/main" id="{22B801DC-632C-7183-EBAC-20933AB54B2A}"/>
                  </a:ext>
                </a:extLst>
              </p:cNvPr>
              <p:cNvSpPr/>
              <p:nvPr/>
            </p:nvSpPr>
            <p:spPr>
              <a:xfrm>
                <a:off x="8239651" y="4539657"/>
                <a:ext cx="212407" cy="20002"/>
              </a:xfrm>
              <a:custGeom>
                <a:avLst/>
                <a:gdLst>
                  <a:gd name="connsiteX0" fmla="*/ 212408 w 212407"/>
                  <a:gd name="connsiteY0" fmla="*/ 20003 h 20002"/>
                  <a:gd name="connsiteX1" fmla="*/ 0 w 212407"/>
                  <a:gd name="connsiteY1" fmla="*/ 20003 h 20002"/>
                  <a:gd name="connsiteX2" fmla="*/ 2857 w 212407"/>
                  <a:gd name="connsiteY2" fmla="*/ 0 h 20002"/>
                  <a:gd name="connsiteX3" fmla="*/ 209550 w 212407"/>
                  <a:gd name="connsiteY3" fmla="*/ 0 h 20002"/>
                </a:gdLst>
                <a:ahLst/>
                <a:cxnLst>
                  <a:cxn ang="0">
                    <a:pos x="connsiteX0" y="connsiteY0"/>
                  </a:cxn>
                  <a:cxn ang="0">
                    <a:pos x="connsiteX1" y="connsiteY1"/>
                  </a:cxn>
                  <a:cxn ang="0">
                    <a:pos x="connsiteX2" y="connsiteY2"/>
                  </a:cxn>
                  <a:cxn ang="0">
                    <a:pos x="connsiteX3" y="connsiteY3"/>
                  </a:cxn>
                </a:cxnLst>
                <a:rect l="l" t="t" r="r" b="b"/>
                <a:pathLst>
                  <a:path w="212407" h="20002">
                    <a:moveTo>
                      <a:pt x="212408" y="20003"/>
                    </a:moveTo>
                    <a:lnTo>
                      <a:pt x="0" y="20003"/>
                    </a:lnTo>
                    <a:lnTo>
                      <a:pt x="2857" y="0"/>
                    </a:lnTo>
                    <a:lnTo>
                      <a:pt x="209550" y="0"/>
                    </a:lnTo>
                    <a:close/>
                  </a:path>
                </a:pathLst>
              </a:custGeom>
              <a:solidFill>
                <a:srgbClr val="40AA1D"/>
              </a:solidFill>
              <a:ln w="9525" cap="flat">
                <a:noFill/>
                <a:prstDash val="solid"/>
                <a:miter/>
              </a:ln>
            </p:spPr>
            <p:txBody>
              <a:bodyPr rtlCol="0" anchor="ctr"/>
              <a:lstStyle/>
              <a:p>
                <a:endParaRPr lang="en-US" dirty="0"/>
              </a:p>
            </p:txBody>
          </p:sp>
          <p:grpSp>
            <p:nvGrpSpPr>
              <p:cNvPr id="556" name="Graphic 232">
                <a:extLst>
                  <a:ext uri="{FF2B5EF4-FFF2-40B4-BE49-F238E27FC236}">
                    <a16:creationId xmlns:a16="http://schemas.microsoft.com/office/drawing/2014/main" id="{182B15C0-84F5-8102-74F1-1DE12819DEBB}"/>
                  </a:ext>
                </a:extLst>
              </p:cNvPr>
              <p:cNvGrpSpPr/>
              <p:nvPr/>
            </p:nvGrpSpPr>
            <p:grpSpPr>
              <a:xfrm>
                <a:off x="8237746" y="4365349"/>
                <a:ext cx="215264" cy="160972"/>
                <a:chOff x="8237746" y="4365349"/>
                <a:chExt cx="215264" cy="160972"/>
              </a:xfrm>
              <a:solidFill>
                <a:srgbClr val="3D4647"/>
              </a:solidFill>
            </p:grpSpPr>
            <p:sp>
              <p:nvSpPr>
                <p:cNvPr id="557" name="Freeform: Shape 556">
                  <a:extLst>
                    <a:ext uri="{FF2B5EF4-FFF2-40B4-BE49-F238E27FC236}">
                      <a16:creationId xmlns:a16="http://schemas.microsoft.com/office/drawing/2014/main" id="{BFC16C66-9D8B-9B22-79DB-77342B4D6EB7}"/>
                    </a:ext>
                  </a:extLst>
                </p:cNvPr>
                <p:cNvSpPr/>
                <p:nvPr/>
              </p:nvSpPr>
              <p:spPr>
                <a:xfrm>
                  <a:off x="8339663" y="4365349"/>
                  <a:ext cx="113347" cy="127635"/>
                </a:xfrm>
                <a:custGeom>
                  <a:avLst/>
                  <a:gdLst>
                    <a:gd name="connsiteX0" fmla="*/ 113347 w 113347"/>
                    <a:gd name="connsiteY0" fmla="*/ 127635 h 127635"/>
                    <a:gd name="connsiteX1" fmla="*/ 104775 w 113347"/>
                    <a:gd name="connsiteY1" fmla="*/ 95250 h 127635"/>
                    <a:gd name="connsiteX2" fmla="*/ 92393 w 113347"/>
                    <a:gd name="connsiteY2" fmla="*/ 84773 h 127635"/>
                    <a:gd name="connsiteX3" fmla="*/ 69532 w 113347"/>
                    <a:gd name="connsiteY3" fmla="*/ 80010 h 127635"/>
                    <a:gd name="connsiteX4" fmla="*/ 64770 w 113347"/>
                    <a:gd name="connsiteY4" fmla="*/ 73343 h 127635"/>
                    <a:gd name="connsiteX5" fmla="*/ 64770 w 113347"/>
                    <a:gd name="connsiteY5" fmla="*/ 66675 h 127635"/>
                    <a:gd name="connsiteX6" fmla="*/ 70485 w 113347"/>
                    <a:gd name="connsiteY6" fmla="*/ 57150 h 127635"/>
                    <a:gd name="connsiteX7" fmla="*/ 70485 w 113347"/>
                    <a:gd name="connsiteY7" fmla="*/ 56198 h 127635"/>
                    <a:gd name="connsiteX8" fmla="*/ 72390 w 113347"/>
                    <a:gd name="connsiteY8" fmla="*/ 55245 h 127635"/>
                    <a:gd name="connsiteX9" fmla="*/ 74295 w 113347"/>
                    <a:gd name="connsiteY9" fmla="*/ 52388 h 127635"/>
                    <a:gd name="connsiteX10" fmla="*/ 75247 w 113347"/>
                    <a:gd name="connsiteY10" fmla="*/ 46673 h 127635"/>
                    <a:gd name="connsiteX11" fmla="*/ 76200 w 113347"/>
                    <a:gd name="connsiteY11" fmla="*/ 41910 h 127635"/>
                    <a:gd name="connsiteX12" fmla="*/ 75247 w 113347"/>
                    <a:gd name="connsiteY12" fmla="*/ 36195 h 127635"/>
                    <a:gd name="connsiteX13" fmla="*/ 74295 w 113347"/>
                    <a:gd name="connsiteY13" fmla="*/ 35243 h 127635"/>
                    <a:gd name="connsiteX14" fmla="*/ 69532 w 113347"/>
                    <a:gd name="connsiteY14" fmla="*/ 12383 h 127635"/>
                    <a:gd name="connsiteX15" fmla="*/ 50482 w 113347"/>
                    <a:gd name="connsiteY15" fmla="*/ 0 h 127635"/>
                    <a:gd name="connsiteX16" fmla="*/ 44768 w 113347"/>
                    <a:gd name="connsiteY16" fmla="*/ 0 h 127635"/>
                    <a:gd name="connsiteX17" fmla="*/ 44768 w 113347"/>
                    <a:gd name="connsiteY17" fmla="*/ 0 h 127635"/>
                    <a:gd name="connsiteX18" fmla="*/ 44768 w 113347"/>
                    <a:gd name="connsiteY18" fmla="*/ 0 h 127635"/>
                    <a:gd name="connsiteX19" fmla="*/ 44768 w 113347"/>
                    <a:gd name="connsiteY19" fmla="*/ 0 h 127635"/>
                    <a:gd name="connsiteX20" fmla="*/ 44768 w 113347"/>
                    <a:gd name="connsiteY20" fmla="*/ 0 h 127635"/>
                    <a:gd name="connsiteX21" fmla="*/ 39053 w 113347"/>
                    <a:gd name="connsiteY21" fmla="*/ 0 h 127635"/>
                    <a:gd name="connsiteX22" fmla="*/ 20003 w 113347"/>
                    <a:gd name="connsiteY22" fmla="*/ 12383 h 127635"/>
                    <a:gd name="connsiteX23" fmla="*/ 15240 w 113347"/>
                    <a:gd name="connsiteY23" fmla="*/ 35243 h 127635"/>
                    <a:gd name="connsiteX24" fmla="*/ 14287 w 113347"/>
                    <a:gd name="connsiteY24" fmla="*/ 36195 h 127635"/>
                    <a:gd name="connsiteX25" fmla="*/ 13335 w 113347"/>
                    <a:gd name="connsiteY25" fmla="*/ 41910 h 127635"/>
                    <a:gd name="connsiteX26" fmla="*/ 14287 w 113347"/>
                    <a:gd name="connsiteY26" fmla="*/ 46673 h 127635"/>
                    <a:gd name="connsiteX27" fmla="*/ 15240 w 113347"/>
                    <a:gd name="connsiteY27" fmla="*/ 52388 h 127635"/>
                    <a:gd name="connsiteX28" fmla="*/ 17145 w 113347"/>
                    <a:gd name="connsiteY28" fmla="*/ 55245 h 127635"/>
                    <a:gd name="connsiteX29" fmla="*/ 19050 w 113347"/>
                    <a:gd name="connsiteY29" fmla="*/ 56198 h 127635"/>
                    <a:gd name="connsiteX30" fmla="*/ 19050 w 113347"/>
                    <a:gd name="connsiteY30" fmla="*/ 57150 h 127635"/>
                    <a:gd name="connsiteX31" fmla="*/ 24765 w 113347"/>
                    <a:gd name="connsiteY31" fmla="*/ 66675 h 127635"/>
                    <a:gd name="connsiteX32" fmla="*/ 24765 w 113347"/>
                    <a:gd name="connsiteY32" fmla="*/ 73343 h 127635"/>
                    <a:gd name="connsiteX33" fmla="*/ 20955 w 113347"/>
                    <a:gd name="connsiteY33" fmla="*/ 80010 h 127635"/>
                    <a:gd name="connsiteX34" fmla="*/ 6668 w 113347"/>
                    <a:gd name="connsiteY34" fmla="*/ 82868 h 127635"/>
                    <a:gd name="connsiteX35" fmla="*/ 6668 w 113347"/>
                    <a:gd name="connsiteY35" fmla="*/ 83820 h 127635"/>
                    <a:gd name="connsiteX36" fmla="*/ 3810 w 113347"/>
                    <a:gd name="connsiteY36" fmla="*/ 92393 h 127635"/>
                    <a:gd name="connsiteX37" fmla="*/ 952 w 113347"/>
                    <a:gd name="connsiteY37" fmla="*/ 97155 h 127635"/>
                    <a:gd name="connsiteX38" fmla="*/ 0 w 113347"/>
                    <a:gd name="connsiteY38" fmla="*/ 98108 h 127635"/>
                    <a:gd name="connsiteX39" fmla="*/ 0 w 113347"/>
                    <a:gd name="connsiteY39" fmla="*/ 99060 h 127635"/>
                    <a:gd name="connsiteX40" fmla="*/ 11430 w 113347"/>
                    <a:gd name="connsiteY40" fmla="*/ 100965 h 127635"/>
                    <a:gd name="connsiteX41" fmla="*/ 35243 w 113347"/>
                    <a:gd name="connsiteY41" fmla="*/ 126683 h 127635"/>
                    <a:gd name="connsiteX42" fmla="*/ 44768 w 113347"/>
                    <a:gd name="connsiteY42" fmla="*/ 126683 h 127635"/>
                    <a:gd name="connsiteX43" fmla="*/ 113347 w 113347"/>
                    <a:gd name="connsiteY43" fmla="*/ 126683 h 12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3347" h="127635">
                      <a:moveTo>
                        <a:pt x="113347" y="127635"/>
                      </a:moveTo>
                      <a:lnTo>
                        <a:pt x="104775" y="95250"/>
                      </a:lnTo>
                      <a:cubicBezTo>
                        <a:pt x="104775" y="95250"/>
                        <a:pt x="103822" y="86678"/>
                        <a:pt x="92393" y="84773"/>
                      </a:cubicBezTo>
                      <a:lnTo>
                        <a:pt x="69532" y="80010"/>
                      </a:lnTo>
                      <a:cubicBezTo>
                        <a:pt x="66675" y="78105"/>
                        <a:pt x="64770" y="73343"/>
                        <a:pt x="64770" y="73343"/>
                      </a:cubicBezTo>
                      <a:lnTo>
                        <a:pt x="64770" y="66675"/>
                      </a:lnTo>
                      <a:cubicBezTo>
                        <a:pt x="67628" y="63818"/>
                        <a:pt x="68580" y="60008"/>
                        <a:pt x="70485" y="57150"/>
                      </a:cubicBezTo>
                      <a:lnTo>
                        <a:pt x="70485" y="56198"/>
                      </a:lnTo>
                      <a:cubicBezTo>
                        <a:pt x="71437" y="56198"/>
                        <a:pt x="71437" y="55245"/>
                        <a:pt x="72390" y="55245"/>
                      </a:cubicBezTo>
                      <a:cubicBezTo>
                        <a:pt x="73343" y="54293"/>
                        <a:pt x="73343" y="53340"/>
                        <a:pt x="74295" y="52388"/>
                      </a:cubicBezTo>
                      <a:cubicBezTo>
                        <a:pt x="75247" y="50483"/>
                        <a:pt x="75247" y="48578"/>
                        <a:pt x="75247" y="46673"/>
                      </a:cubicBezTo>
                      <a:lnTo>
                        <a:pt x="76200" y="41910"/>
                      </a:lnTo>
                      <a:cubicBezTo>
                        <a:pt x="77153" y="39053"/>
                        <a:pt x="76200" y="37148"/>
                        <a:pt x="75247" y="36195"/>
                      </a:cubicBezTo>
                      <a:cubicBezTo>
                        <a:pt x="75247" y="35243"/>
                        <a:pt x="74295" y="35243"/>
                        <a:pt x="74295" y="35243"/>
                      </a:cubicBezTo>
                      <a:cubicBezTo>
                        <a:pt x="75247" y="25717"/>
                        <a:pt x="73343" y="18098"/>
                        <a:pt x="69532" y="12383"/>
                      </a:cubicBezTo>
                      <a:cubicBezTo>
                        <a:pt x="65722" y="5715"/>
                        <a:pt x="59055" y="1905"/>
                        <a:pt x="50482" y="0"/>
                      </a:cubicBezTo>
                      <a:cubicBezTo>
                        <a:pt x="48578" y="0"/>
                        <a:pt x="46672" y="0"/>
                        <a:pt x="44768" y="0"/>
                      </a:cubicBezTo>
                      <a:cubicBezTo>
                        <a:pt x="44768" y="0"/>
                        <a:pt x="44768" y="0"/>
                        <a:pt x="44768" y="0"/>
                      </a:cubicBezTo>
                      <a:cubicBezTo>
                        <a:pt x="44768" y="0"/>
                        <a:pt x="44768" y="0"/>
                        <a:pt x="44768" y="0"/>
                      </a:cubicBezTo>
                      <a:cubicBezTo>
                        <a:pt x="44768" y="0"/>
                        <a:pt x="44768" y="0"/>
                        <a:pt x="44768" y="0"/>
                      </a:cubicBezTo>
                      <a:cubicBezTo>
                        <a:pt x="44768" y="0"/>
                        <a:pt x="44768" y="0"/>
                        <a:pt x="44768" y="0"/>
                      </a:cubicBezTo>
                      <a:cubicBezTo>
                        <a:pt x="42862" y="0"/>
                        <a:pt x="40957" y="0"/>
                        <a:pt x="39053" y="0"/>
                      </a:cubicBezTo>
                      <a:cubicBezTo>
                        <a:pt x="31432" y="953"/>
                        <a:pt x="24765" y="5715"/>
                        <a:pt x="20003" y="12383"/>
                      </a:cubicBezTo>
                      <a:cubicBezTo>
                        <a:pt x="16193" y="18098"/>
                        <a:pt x="14287" y="25717"/>
                        <a:pt x="15240" y="35243"/>
                      </a:cubicBezTo>
                      <a:cubicBezTo>
                        <a:pt x="15240" y="35243"/>
                        <a:pt x="14287" y="36195"/>
                        <a:pt x="14287" y="36195"/>
                      </a:cubicBezTo>
                      <a:cubicBezTo>
                        <a:pt x="13335" y="37148"/>
                        <a:pt x="12382" y="39053"/>
                        <a:pt x="13335" y="41910"/>
                      </a:cubicBezTo>
                      <a:lnTo>
                        <a:pt x="14287" y="46673"/>
                      </a:lnTo>
                      <a:cubicBezTo>
                        <a:pt x="14287" y="48578"/>
                        <a:pt x="14287" y="50483"/>
                        <a:pt x="15240" y="52388"/>
                      </a:cubicBezTo>
                      <a:cubicBezTo>
                        <a:pt x="15240" y="53340"/>
                        <a:pt x="16193" y="54293"/>
                        <a:pt x="17145" y="55245"/>
                      </a:cubicBezTo>
                      <a:cubicBezTo>
                        <a:pt x="18097" y="56198"/>
                        <a:pt x="18097" y="56198"/>
                        <a:pt x="19050" y="56198"/>
                      </a:cubicBezTo>
                      <a:lnTo>
                        <a:pt x="19050" y="57150"/>
                      </a:lnTo>
                      <a:cubicBezTo>
                        <a:pt x="20003" y="60008"/>
                        <a:pt x="21907" y="63818"/>
                        <a:pt x="24765" y="66675"/>
                      </a:cubicBezTo>
                      <a:lnTo>
                        <a:pt x="24765" y="73343"/>
                      </a:lnTo>
                      <a:cubicBezTo>
                        <a:pt x="24765" y="73343"/>
                        <a:pt x="23812" y="78105"/>
                        <a:pt x="20955" y="80010"/>
                      </a:cubicBezTo>
                      <a:lnTo>
                        <a:pt x="6668" y="82868"/>
                      </a:lnTo>
                      <a:lnTo>
                        <a:pt x="6668" y="83820"/>
                      </a:lnTo>
                      <a:cubicBezTo>
                        <a:pt x="6668" y="85725"/>
                        <a:pt x="5715" y="89535"/>
                        <a:pt x="3810" y="92393"/>
                      </a:cubicBezTo>
                      <a:cubicBezTo>
                        <a:pt x="2857" y="94298"/>
                        <a:pt x="1905" y="96202"/>
                        <a:pt x="952" y="97155"/>
                      </a:cubicBezTo>
                      <a:cubicBezTo>
                        <a:pt x="952" y="97155"/>
                        <a:pt x="0" y="98108"/>
                        <a:pt x="0" y="98108"/>
                      </a:cubicBezTo>
                      <a:cubicBezTo>
                        <a:pt x="0" y="98108"/>
                        <a:pt x="0" y="98108"/>
                        <a:pt x="0" y="99060"/>
                      </a:cubicBezTo>
                      <a:cubicBezTo>
                        <a:pt x="2857" y="100013"/>
                        <a:pt x="6668" y="100013"/>
                        <a:pt x="11430" y="100965"/>
                      </a:cubicBezTo>
                      <a:cubicBezTo>
                        <a:pt x="25718" y="101918"/>
                        <a:pt x="33337" y="114300"/>
                        <a:pt x="35243" y="126683"/>
                      </a:cubicBezTo>
                      <a:lnTo>
                        <a:pt x="44768" y="126683"/>
                      </a:lnTo>
                      <a:lnTo>
                        <a:pt x="113347" y="126683"/>
                      </a:lnTo>
                      <a:close/>
                    </a:path>
                  </a:pathLst>
                </a:custGeom>
                <a:solidFill>
                  <a:srgbClr val="3D4647"/>
                </a:solidFill>
                <a:ln w="9525" cap="flat">
                  <a:noFill/>
                  <a:prstDash val="solid"/>
                  <a:miter/>
                </a:ln>
              </p:spPr>
              <p:txBody>
                <a:bodyPr rtlCol="0" anchor="ctr"/>
                <a:lstStyle/>
                <a:p>
                  <a:endParaRPr lang="en-US" dirty="0"/>
                </a:p>
              </p:txBody>
            </p:sp>
            <p:sp>
              <p:nvSpPr>
                <p:cNvPr id="558" name="Freeform: Shape 557">
                  <a:extLst>
                    <a:ext uri="{FF2B5EF4-FFF2-40B4-BE49-F238E27FC236}">
                      <a16:creationId xmlns:a16="http://schemas.microsoft.com/office/drawing/2014/main" id="{7725F03A-795B-D177-5445-8BEF6BC0077B}"/>
                    </a:ext>
                  </a:extLst>
                </p:cNvPr>
                <p:cNvSpPr/>
                <p:nvPr/>
              </p:nvSpPr>
              <p:spPr>
                <a:xfrm>
                  <a:off x="8237746" y="4397735"/>
                  <a:ext cx="135254" cy="128587"/>
                </a:xfrm>
                <a:custGeom>
                  <a:avLst/>
                  <a:gdLst>
                    <a:gd name="connsiteX0" fmla="*/ 126683 w 135254"/>
                    <a:gd name="connsiteY0" fmla="*/ 96203 h 128587"/>
                    <a:gd name="connsiteX1" fmla="*/ 114300 w 135254"/>
                    <a:gd name="connsiteY1" fmla="*/ 85725 h 128587"/>
                    <a:gd name="connsiteX2" fmla="*/ 92393 w 135254"/>
                    <a:gd name="connsiteY2" fmla="*/ 80010 h 128587"/>
                    <a:gd name="connsiteX3" fmla="*/ 87630 w 135254"/>
                    <a:gd name="connsiteY3" fmla="*/ 73342 h 128587"/>
                    <a:gd name="connsiteX4" fmla="*/ 87630 w 135254"/>
                    <a:gd name="connsiteY4" fmla="*/ 66675 h 128587"/>
                    <a:gd name="connsiteX5" fmla="*/ 93345 w 135254"/>
                    <a:gd name="connsiteY5" fmla="*/ 57150 h 128587"/>
                    <a:gd name="connsiteX6" fmla="*/ 93345 w 135254"/>
                    <a:gd name="connsiteY6" fmla="*/ 56197 h 128587"/>
                    <a:gd name="connsiteX7" fmla="*/ 95250 w 135254"/>
                    <a:gd name="connsiteY7" fmla="*/ 55245 h 128587"/>
                    <a:gd name="connsiteX8" fmla="*/ 97155 w 135254"/>
                    <a:gd name="connsiteY8" fmla="*/ 52388 h 128587"/>
                    <a:gd name="connsiteX9" fmla="*/ 98107 w 135254"/>
                    <a:gd name="connsiteY9" fmla="*/ 46672 h 128587"/>
                    <a:gd name="connsiteX10" fmla="*/ 99060 w 135254"/>
                    <a:gd name="connsiteY10" fmla="*/ 41910 h 128587"/>
                    <a:gd name="connsiteX11" fmla="*/ 98107 w 135254"/>
                    <a:gd name="connsiteY11" fmla="*/ 36195 h 128587"/>
                    <a:gd name="connsiteX12" fmla="*/ 97155 w 135254"/>
                    <a:gd name="connsiteY12" fmla="*/ 35243 h 128587"/>
                    <a:gd name="connsiteX13" fmla="*/ 92393 w 135254"/>
                    <a:gd name="connsiteY13" fmla="*/ 12382 h 128587"/>
                    <a:gd name="connsiteX14" fmla="*/ 73343 w 135254"/>
                    <a:gd name="connsiteY14" fmla="*/ 0 h 128587"/>
                    <a:gd name="connsiteX15" fmla="*/ 67627 w 135254"/>
                    <a:gd name="connsiteY15" fmla="*/ 0 h 128587"/>
                    <a:gd name="connsiteX16" fmla="*/ 67627 w 135254"/>
                    <a:gd name="connsiteY16" fmla="*/ 0 h 128587"/>
                    <a:gd name="connsiteX17" fmla="*/ 67627 w 135254"/>
                    <a:gd name="connsiteY17" fmla="*/ 0 h 128587"/>
                    <a:gd name="connsiteX18" fmla="*/ 67627 w 135254"/>
                    <a:gd name="connsiteY18" fmla="*/ 0 h 128587"/>
                    <a:gd name="connsiteX19" fmla="*/ 67627 w 135254"/>
                    <a:gd name="connsiteY19" fmla="*/ 0 h 128587"/>
                    <a:gd name="connsiteX20" fmla="*/ 61913 w 135254"/>
                    <a:gd name="connsiteY20" fmla="*/ 0 h 128587"/>
                    <a:gd name="connsiteX21" fmla="*/ 42863 w 135254"/>
                    <a:gd name="connsiteY21" fmla="*/ 12382 h 128587"/>
                    <a:gd name="connsiteX22" fmla="*/ 38100 w 135254"/>
                    <a:gd name="connsiteY22" fmla="*/ 35243 h 128587"/>
                    <a:gd name="connsiteX23" fmla="*/ 37148 w 135254"/>
                    <a:gd name="connsiteY23" fmla="*/ 36195 h 128587"/>
                    <a:gd name="connsiteX24" fmla="*/ 36195 w 135254"/>
                    <a:gd name="connsiteY24" fmla="*/ 41910 h 128587"/>
                    <a:gd name="connsiteX25" fmla="*/ 37148 w 135254"/>
                    <a:gd name="connsiteY25" fmla="*/ 46672 h 128587"/>
                    <a:gd name="connsiteX26" fmla="*/ 38100 w 135254"/>
                    <a:gd name="connsiteY26" fmla="*/ 52388 h 128587"/>
                    <a:gd name="connsiteX27" fmla="*/ 40005 w 135254"/>
                    <a:gd name="connsiteY27" fmla="*/ 55245 h 128587"/>
                    <a:gd name="connsiteX28" fmla="*/ 41910 w 135254"/>
                    <a:gd name="connsiteY28" fmla="*/ 56197 h 128587"/>
                    <a:gd name="connsiteX29" fmla="*/ 41910 w 135254"/>
                    <a:gd name="connsiteY29" fmla="*/ 57150 h 128587"/>
                    <a:gd name="connsiteX30" fmla="*/ 47625 w 135254"/>
                    <a:gd name="connsiteY30" fmla="*/ 66675 h 128587"/>
                    <a:gd name="connsiteX31" fmla="*/ 47625 w 135254"/>
                    <a:gd name="connsiteY31" fmla="*/ 73342 h 128587"/>
                    <a:gd name="connsiteX32" fmla="*/ 43815 w 135254"/>
                    <a:gd name="connsiteY32" fmla="*/ 80010 h 128587"/>
                    <a:gd name="connsiteX33" fmla="*/ 20955 w 135254"/>
                    <a:gd name="connsiteY33" fmla="*/ 84773 h 128587"/>
                    <a:gd name="connsiteX34" fmla="*/ 8573 w 135254"/>
                    <a:gd name="connsiteY34" fmla="*/ 95250 h 128587"/>
                    <a:gd name="connsiteX35" fmla="*/ 0 w 135254"/>
                    <a:gd name="connsiteY35" fmla="*/ 128588 h 128587"/>
                    <a:gd name="connsiteX36" fmla="*/ 67627 w 135254"/>
                    <a:gd name="connsiteY36" fmla="*/ 128588 h 128587"/>
                    <a:gd name="connsiteX37" fmla="*/ 135255 w 135254"/>
                    <a:gd name="connsiteY37" fmla="*/ 128588 h 128587"/>
                    <a:gd name="connsiteX38" fmla="*/ 126683 w 135254"/>
                    <a:gd name="connsiteY38" fmla="*/ 96203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5254" h="128587">
                      <a:moveTo>
                        <a:pt x="126683" y="96203"/>
                      </a:moveTo>
                      <a:cubicBezTo>
                        <a:pt x="126683" y="96203"/>
                        <a:pt x="125730" y="87630"/>
                        <a:pt x="114300" y="85725"/>
                      </a:cubicBezTo>
                      <a:lnTo>
                        <a:pt x="92393" y="80010"/>
                      </a:lnTo>
                      <a:cubicBezTo>
                        <a:pt x="89535" y="78105"/>
                        <a:pt x="87630" y="73342"/>
                        <a:pt x="87630" y="73342"/>
                      </a:cubicBezTo>
                      <a:lnTo>
                        <a:pt x="87630" y="66675"/>
                      </a:lnTo>
                      <a:cubicBezTo>
                        <a:pt x="90488" y="63817"/>
                        <a:pt x="91440" y="60007"/>
                        <a:pt x="93345" y="57150"/>
                      </a:cubicBezTo>
                      <a:lnTo>
                        <a:pt x="93345" y="56197"/>
                      </a:lnTo>
                      <a:cubicBezTo>
                        <a:pt x="94298" y="56197"/>
                        <a:pt x="94298" y="55245"/>
                        <a:pt x="95250" y="55245"/>
                      </a:cubicBezTo>
                      <a:cubicBezTo>
                        <a:pt x="96202" y="54293"/>
                        <a:pt x="96202" y="53340"/>
                        <a:pt x="97155" y="52388"/>
                      </a:cubicBezTo>
                      <a:cubicBezTo>
                        <a:pt x="98107" y="50482"/>
                        <a:pt x="98107" y="48577"/>
                        <a:pt x="98107" y="46672"/>
                      </a:cubicBezTo>
                      <a:lnTo>
                        <a:pt x="99060" y="41910"/>
                      </a:lnTo>
                      <a:cubicBezTo>
                        <a:pt x="100013" y="39052"/>
                        <a:pt x="99060" y="37147"/>
                        <a:pt x="98107" y="36195"/>
                      </a:cubicBezTo>
                      <a:cubicBezTo>
                        <a:pt x="98107" y="35243"/>
                        <a:pt x="97155" y="35243"/>
                        <a:pt x="97155" y="35243"/>
                      </a:cubicBezTo>
                      <a:cubicBezTo>
                        <a:pt x="98107" y="25717"/>
                        <a:pt x="96202" y="18097"/>
                        <a:pt x="92393" y="12382"/>
                      </a:cubicBezTo>
                      <a:cubicBezTo>
                        <a:pt x="88582" y="5715"/>
                        <a:pt x="81915" y="1905"/>
                        <a:pt x="73343" y="0"/>
                      </a:cubicBezTo>
                      <a:cubicBezTo>
                        <a:pt x="71438" y="0"/>
                        <a:pt x="69532" y="0"/>
                        <a:pt x="67627" y="0"/>
                      </a:cubicBezTo>
                      <a:cubicBezTo>
                        <a:pt x="67627" y="0"/>
                        <a:pt x="67627" y="0"/>
                        <a:pt x="67627" y="0"/>
                      </a:cubicBezTo>
                      <a:cubicBezTo>
                        <a:pt x="67627" y="0"/>
                        <a:pt x="67627" y="0"/>
                        <a:pt x="67627" y="0"/>
                      </a:cubicBezTo>
                      <a:cubicBezTo>
                        <a:pt x="67627" y="0"/>
                        <a:pt x="67627" y="0"/>
                        <a:pt x="67627" y="0"/>
                      </a:cubicBezTo>
                      <a:cubicBezTo>
                        <a:pt x="67627" y="0"/>
                        <a:pt x="67627" y="0"/>
                        <a:pt x="67627" y="0"/>
                      </a:cubicBezTo>
                      <a:cubicBezTo>
                        <a:pt x="65723" y="0"/>
                        <a:pt x="63818" y="0"/>
                        <a:pt x="61913" y="0"/>
                      </a:cubicBezTo>
                      <a:cubicBezTo>
                        <a:pt x="54293" y="952"/>
                        <a:pt x="47625" y="5715"/>
                        <a:pt x="42863" y="12382"/>
                      </a:cubicBezTo>
                      <a:cubicBezTo>
                        <a:pt x="39052" y="18097"/>
                        <a:pt x="37148" y="25717"/>
                        <a:pt x="38100" y="35243"/>
                      </a:cubicBezTo>
                      <a:cubicBezTo>
                        <a:pt x="38100" y="35243"/>
                        <a:pt x="37148" y="36195"/>
                        <a:pt x="37148" y="36195"/>
                      </a:cubicBezTo>
                      <a:cubicBezTo>
                        <a:pt x="36195" y="37147"/>
                        <a:pt x="35243" y="39052"/>
                        <a:pt x="36195" y="41910"/>
                      </a:cubicBezTo>
                      <a:lnTo>
                        <a:pt x="37148" y="46672"/>
                      </a:lnTo>
                      <a:cubicBezTo>
                        <a:pt x="37148" y="48577"/>
                        <a:pt x="37148" y="50482"/>
                        <a:pt x="38100" y="52388"/>
                      </a:cubicBezTo>
                      <a:cubicBezTo>
                        <a:pt x="38100" y="53340"/>
                        <a:pt x="39052" y="54293"/>
                        <a:pt x="40005" y="55245"/>
                      </a:cubicBezTo>
                      <a:cubicBezTo>
                        <a:pt x="40957" y="56197"/>
                        <a:pt x="40957" y="56197"/>
                        <a:pt x="41910" y="56197"/>
                      </a:cubicBezTo>
                      <a:lnTo>
                        <a:pt x="41910" y="57150"/>
                      </a:lnTo>
                      <a:cubicBezTo>
                        <a:pt x="42863" y="60007"/>
                        <a:pt x="44768" y="63817"/>
                        <a:pt x="47625" y="66675"/>
                      </a:cubicBezTo>
                      <a:lnTo>
                        <a:pt x="47625" y="73342"/>
                      </a:lnTo>
                      <a:cubicBezTo>
                        <a:pt x="47625" y="73342"/>
                        <a:pt x="46673" y="78105"/>
                        <a:pt x="43815" y="80010"/>
                      </a:cubicBezTo>
                      <a:lnTo>
                        <a:pt x="20955" y="84773"/>
                      </a:lnTo>
                      <a:cubicBezTo>
                        <a:pt x="10477" y="87630"/>
                        <a:pt x="8573" y="95250"/>
                        <a:pt x="8573" y="95250"/>
                      </a:cubicBezTo>
                      <a:lnTo>
                        <a:pt x="0" y="128588"/>
                      </a:lnTo>
                      <a:lnTo>
                        <a:pt x="67627" y="128588"/>
                      </a:lnTo>
                      <a:lnTo>
                        <a:pt x="135255" y="128588"/>
                      </a:lnTo>
                      <a:lnTo>
                        <a:pt x="126683" y="96203"/>
                      </a:lnTo>
                      <a:close/>
                    </a:path>
                  </a:pathLst>
                </a:custGeom>
                <a:solidFill>
                  <a:srgbClr val="3D4647"/>
                </a:solidFill>
                <a:ln w="9525" cap="flat">
                  <a:noFill/>
                  <a:prstDash val="solid"/>
                  <a:miter/>
                </a:ln>
              </p:spPr>
              <p:txBody>
                <a:bodyPr rtlCol="0" anchor="ctr"/>
                <a:lstStyle/>
                <a:p>
                  <a:endParaRPr lang="en-US" dirty="0"/>
                </a:p>
              </p:txBody>
            </p:sp>
          </p:grpSp>
        </p:grpSp>
      </p:grpSp>
      <p:grpSp>
        <p:nvGrpSpPr>
          <p:cNvPr id="491" name="Group 490">
            <a:extLst>
              <a:ext uri="{FF2B5EF4-FFF2-40B4-BE49-F238E27FC236}">
                <a16:creationId xmlns:a16="http://schemas.microsoft.com/office/drawing/2014/main" id="{0176C290-40E4-3C01-1DCF-4C44BEF725EC}"/>
              </a:ext>
            </a:extLst>
          </p:cNvPr>
          <p:cNvGrpSpPr/>
          <p:nvPr/>
        </p:nvGrpSpPr>
        <p:grpSpPr>
          <a:xfrm>
            <a:off x="10006999" y="4318086"/>
            <a:ext cx="783688" cy="781050"/>
            <a:chOff x="10006999" y="4306295"/>
            <a:chExt cx="783688" cy="781050"/>
          </a:xfrm>
        </p:grpSpPr>
        <p:grpSp>
          <p:nvGrpSpPr>
            <p:cNvPr id="441" name="Group 440">
              <a:extLst>
                <a:ext uri="{FF2B5EF4-FFF2-40B4-BE49-F238E27FC236}">
                  <a16:creationId xmlns:a16="http://schemas.microsoft.com/office/drawing/2014/main" id="{86BE4694-6027-CA59-1054-3886CB30A760}"/>
                </a:ext>
              </a:extLst>
            </p:cNvPr>
            <p:cNvGrpSpPr/>
            <p:nvPr/>
          </p:nvGrpSpPr>
          <p:grpSpPr>
            <a:xfrm>
              <a:off x="10006999" y="4509178"/>
              <a:ext cx="609600" cy="578167"/>
              <a:chOff x="537926" y="1818419"/>
              <a:chExt cx="609600" cy="578167"/>
            </a:xfrm>
          </p:grpSpPr>
          <p:sp>
            <p:nvSpPr>
              <p:cNvPr id="442" name="Freeform: Shape 441">
                <a:extLst>
                  <a:ext uri="{FF2B5EF4-FFF2-40B4-BE49-F238E27FC236}">
                    <a16:creationId xmlns:a16="http://schemas.microsoft.com/office/drawing/2014/main" id="{4C21702B-59D4-3785-0DA7-CD0FD3417CC0}"/>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443" name="Freeform: Shape 442">
                <a:extLst>
                  <a:ext uri="{FF2B5EF4-FFF2-40B4-BE49-F238E27FC236}">
                    <a16:creationId xmlns:a16="http://schemas.microsoft.com/office/drawing/2014/main" id="{4C006E85-2E19-96CA-0D99-19AE644DD7BB}"/>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sp>
          <p:nvSpPr>
            <p:cNvPr id="449" name="Freeform: Shape 448">
              <a:extLst>
                <a:ext uri="{FF2B5EF4-FFF2-40B4-BE49-F238E27FC236}">
                  <a16:creationId xmlns:a16="http://schemas.microsoft.com/office/drawing/2014/main" id="{BA89E497-6CC7-B9B3-A88F-8E9E90E11E4E}"/>
                </a:ext>
              </a:extLst>
            </p:cNvPr>
            <p:cNvSpPr/>
            <p:nvPr/>
          </p:nvSpPr>
          <p:spPr>
            <a:xfrm>
              <a:off x="10485887" y="4306295"/>
              <a:ext cx="304800" cy="133350"/>
            </a:xfrm>
            <a:custGeom>
              <a:avLst/>
              <a:gdLst>
                <a:gd name="connsiteX0" fmla="*/ 0 w 304800"/>
                <a:gd name="connsiteY0" fmla="*/ 0 h 133350"/>
                <a:gd name="connsiteX1" fmla="*/ 0 w 304800"/>
                <a:gd name="connsiteY1" fmla="*/ 133350 h 133350"/>
                <a:gd name="connsiteX2" fmla="*/ 304800 w 304800"/>
                <a:gd name="connsiteY2" fmla="*/ 133350 h 133350"/>
                <a:gd name="connsiteX3" fmla="*/ 304800 w 304800"/>
                <a:gd name="connsiteY3" fmla="*/ 0 h 133350"/>
                <a:gd name="connsiteX4" fmla="*/ 0 w 304800"/>
                <a:gd name="connsiteY4" fmla="*/ 0 h 133350"/>
                <a:gd name="connsiteX5" fmla="*/ 68580 w 304800"/>
                <a:gd name="connsiteY5" fmla="*/ 95250 h 133350"/>
                <a:gd name="connsiteX6" fmla="*/ 35243 w 304800"/>
                <a:gd name="connsiteY6" fmla="*/ 95250 h 133350"/>
                <a:gd name="connsiteX7" fmla="*/ 19050 w 304800"/>
                <a:gd name="connsiteY7" fmla="*/ 66675 h 133350"/>
                <a:gd name="connsiteX8" fmla="*/ 35243 w 304800"/>
                <a:gd name="connsiteY8" fmla="*/ 38100 h 133350"/>
                <a:gd name="connsiteX9" fmla="*/ 68580 w 304800"/>
                <a:gd name="connsiteY9" fmla="*/ 38100 h 133350"/>
                <a:gd name="connsiteX10" fmla="*/ 85725 w 304800"/>
                <a:gd name="connsiteY10" fmla="*/ 66675 h 133350"/>
                <a:gd name="connsiteX11" fmla="*/ 68580 w 304800"/>
                <a:gd name="connsiteY11" fmla="*/ 95250 h 133350"/>
                <a:gd name="connsiteX12" fmla="*/ 209550 w 304800"/>
                <a:gd name="connsiteY12" fmla="*/ 76200 h 133350"/>
                <a:gd name="connsiteX13" fmla="*/ 190500 w 304800"/>
                <a:gd name="connsiteY13" fmla="*/ 76200 h 133350"/>
                <a:gd name="connsiteX14" fmla="*/ 190500 w 304800"/>
                <a:gd name="connsiteY14" fmla="*/ 57150 h 133350"/>
                <a:gd name="connsiteX15" fmla="*/ 209550 w 304800"/>
                <a:gd name="connsiteY15" fmla="*/ 57150 h 133350"/>
                <a:gd name="connsiteX16" fmla="*/ 209550 w 304800"/>
                <a:gd name="connsiteY16" fmla="*/ 76200 h 133350"/>
                <a:gd name="connsiteX17" fmla="*/ 247650 w 304800"/>
                <a:gd name="connsiteY17" fmla="*/ 76200 h 133350"/>
                <a:gd name="connsiteX18" fmla="*/ 228600 w 304800"/>
                <a:gd name="connsiteY18" fmla="*/ 76200 h 133350"/>
                <a:gd name="connsiteX19" fmla="*/ 228600 w 304800"/>
                <a:gd name="connsiteY19" fmla="*/ 57150 h 133350"/>
                <a:gd name="connsiteX20" fmla="*/ 247650 w 304800"/>
                <a:gd name="connsiteY20" fmla="*/ 57150 h 133350"/>
                <a:gd name="connsiteX21" fmla="*/ 247650 w 304800"/>
                <a:gd name="connsiteY21" fmla="*/ 76200 h 133350"/>
                <a:gd name="connsiteX22" fmla="*/ 285750 w 304800"/>
                <a:gd name="connsiteY22" fmla="*/ 76200 h 133350"/>
                <a:gd name="connsiteX23" fmla="*/ 266700 w 304800"/>
                <a:gd name="connsiteY23" fmla="*/ 76200 h 133350"/>
                <a:gd name="connsiteX24" fmla="*/ 266700 w 304800"/>
                <a:gd name="connsiteY24" fmla="*/ 57150 h 133350"/>
                <a:gd name="connsiteX25" fmla="*/ 285750 w 304800"/>
                <a:gd name="connsiteY25" fmla="*/ 57150 h 133350"/>
                <a:gd name="connsiteX26" fmla="*/ 285750 w 304800"/>
                <a:gd name="connsiteY26" fmla="*/ 7620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4800" h="133350">
                  <a:moveTo>
                    <a:pt x="0" y="0"/>
                  </a:moveTo>
                  <a:lnTo>
                    <a:pt x="0" y="133350"/>
                  </a:lnTo>
                  <a:lnTo>
                    <a:pt x="304800" y="133350"/>
                  </a:lnTo>
                  <a:lnTo>
                    <a:pt x="304800" y="0"/>
                  </a:lnTo>
                  <a:lnTo>
                    <a:pt x="0" y="0"/>
                  </a:lnTo>
                  <a:close/>
                  <a:moveTo>
                    <a:pt x="68580" y="95250"/>
                  </a:moveTo>
                  <a:lnTo>
                    <a:pt x="35243" y="95250"/>
                  </a:lnTo>
                  <a:lnTo>
                    <a:pt x="19050" y="66675"/>
                  </a:lnTo>
                  <a:lnTo>
                    <a:pt x="35243" y="38100"/>
                  </a:lnTo>
                  <a:lnTo>
                    <a:pt x="68580" y="38100"/>
                  </a:lnTo>
                  <a:lnTo>
                    <a:pt x="85725" y="66675"/>
                  </a:lnTo>
                  <a:lnTo>
                    <a:pt x="68580" y="95250"/>
                  </a:lnTo>
                  <a:close/>
                  <a:moveTo>
                    <a:pt x="209550" y="76200"/>
                  </a:moveTo>
                  <a:lnTo>
                    <a:pt x="190500" y="76200"/>
                  </a:lnTo>
                  <a:lnTo>
                    <a:pt x="190500" y="57150"/>
                  </a:lnTo>
                  <a:lnTo>
                    <a:pt x="209550" y="57150"/>
                  </a:lnTo>
                  <a:lnTo>
                    <a:pt x="209550" y="76200"/>
                  </a:lnTo>
                  <a:close/>
                  <a:moveTo>
                    <a:pt x="247650" y="76200"/>
                  </a:moveTo>
                  <a:lnTo>
                    <a:pt x="228600" y="76200"/>
                  </a:lnTo>
                  <a:lnTo>
                    <a:pt x="228600" y="57150"/>
                  </a:lnTo>
                  <a:lnTo>
                    <a:pt x="247650" y="57150"/>
                  </a:lnTo>
                  <a:lnTo>
                    <a:pt x="247650" y="76200"/>
                  </a:lnTo>
                  <a:close/>
                  <a:moveTo>
                    <a:pt x="285750" y="76200"/>
                  </a:moveTo>
                  <a:lnTo>
                    <a:pt x="266700" y="76200"/>
                  </a:lnTo>
                  <a:lnTo>
                    <a:pt x="266700" y="57150"/>
                  </a:lnTo>
                  <a:lnTo>
                    <a:pt x="285750" y="57150"/>
                  </a:lnTo>
                  <a:lnTo>
                    <a:pt x="285750" y="76200"/>
                  </a:lnTo>
                  <a:close/>
                </a:path>
              </a:pathLst>
            </a:custGeom>
            <a:solidFill>
              <a:srgbClr val="3D4647"/>
            </a:solidFill>
            <a:ln w="9525" cap="flat">
              <a:noFill/>
              <a:prstDash val="solid"/>
              <a:miter/>
            </a:ln>
          </p:spPr>
          <p:txBody>
            <a:bodyPr rtlCol="0" anchor="ctr"/>
            <a:lstStyle/>
            <a:p>
              <a:endParaRPr lang="en-US" dirty="0"/>
            </a:p>
          </p:txBody>
        </p:sp>
        <p:sp>
          <p:nvSpPr>
            <p:cNvPr id="455" name="Freeform: Shape 454">
              <a:extLst>
                <a:ext uri="{FF2B5EF4-FFF2-40B4-BE49-F238E27FC236}">
                  <a16:creationId xmlns:a16="http://schemas.microsoft.com/office/drawing/2014/main" id="{08BAF69A-64BD-F7A7-9B2A-021C5F754D54}"/>
                </a:ext>
              </a:extLst>
            </p:cNvPr>
            <p:cNvSpPr/>
            <p:nvPr/>
          </p:nvSpPr>
          <p:spPr>
            <a:xfrm>
              <a:off x="10485887" y="4458695"/>
              <a:ext cx="304800" cy="134302"/>
            </a:xfrm>
            <a:custGeom>
              <a:avLst/>
              <a:gdLst>
                <a:gd name="connsiteX0" fmla="*/ 304800 w 304800"/>
                <a:gd name="connsiteY0" fmla="*/ 0 h 134302"/>
                <a:gd name="connsiteX1" fmla="*/ 0 w 304800"/>
                <a:gd name="connsiteY1" fmla="*/ 0 h 134302"/>
                <a:gd name="connsiteX2" fmla="*/ 0 w 304800"/>
                <a:gd name="connsiteY2" fmla="*/ 37147 h 134302"/>
                <a:gd name="connsiteX3" fmla="*/ 23813 w 304800"/>
                <a:gd name="connsiteY3" fmla="*/ 37147 h 134302"/>
                <a:gd name="connsiteX4" fmla="*/ 80963 w 304800"/>
                <a:gd name="connsiteY4" fmla="*/ 37147 h 134302"/>
                <a:gd name="connsiteX5" fmla="*/ 104775 w 304800"/>
                <a:gd name="connsiteY5" fmla="*/ 37147 h 134302"/>
                <a:gd name="connsiteX6" fmla="*/ 108585 w 304800"/>
                <a:gd name="connsiteY6" fmla="*/ 60960 h 134302"/>
                <a:gd name="connsiteX7" fmla="*/ 112395 w 304800"/>
                <a:gd name="connsiteY7" fmla="*/ 86678 h 134302"/>
                <a:gd name="connsiteX8" fmla="*/ 132398 w 304800"/>
                <a:gd name="connsiteY8" fmla="*/ 98107 h 134302"/>
                <a:gd name="connsiteX9" fmla="*/ 163830 w 304800"/>
                <a:gd name="connsiteY9" fmla="*/ 86678 h 134302"/>
                <a:gd name="connsiteX10" fmla="*/ 186690 w 304800"/>
                <a:gd name="connsiteY10" fmla="*/ 78105 h 134302"/>
                <a:gd name="connsiteX11" fmla="*/ 199073 w 304800"/>
                <a:gd name="connsiteY11" fmla="*/ 99060 h 134302"/>
                <a:gd name="connsiteX12" fmla="*/ 219075 w 304800"/>
                <a:gd name="connsiteY12" fmla="*/ 134303 h 134302"/>
                <a:gd name="connsiteX13" fmla="*/ 304800 w 304800"/>
                <a:gd name="connsiteY13" fmla="*/ 134303 h 134302"/>
                <a:gd name="connsiteX14" fmla="*/ 304800 w 304800"/>
                <a:gd name="connsiteY14" fmla="*/ 0 h 134302"/>
                <a:gd name="connsiteX15" fmla="*/ 209550 w 304800"/>
                <a:gd name="connsiteY15" fmla="*/ 76200 h 134302"/>
                <a:gd name="connsiteX16" fmla="*/ 190500 w 304800"/>
                <a:gd name="connsiteY16" fmla="*/ 76200 h 134302"/>
                <a:gd name="connsiteX17" fmla="*/ 190500 w 304800"/>
                <a:gd name="connsiteY17" fmla="*/ 57150 h 134302"/>
                <a:gd name="connsiteX18" fmla="*/ 209550 w 304800"/>
                <a:gd name="connsiteY18" fmla="*/ 57150 h 134302"/>
                <a:gd name="connsiteX19" fmla="*/ 209550 w 304800"/>
                <a:gd name="connsiteY19" fmla="*/ 76200 h 134302"/>
                <a:gd name="connsiteX20" fmla="*/ 247650 w 304800"/>
                <a:gd name="connsiteY20" fmla="*/ 76200 h 134302"/>
                <a:gd name="connsiteX21" fmla="*/ 228600 w 304800"/>
                <a:gd name="connsiteY21" fmla="*/ 76200 h 134302"/>
                <a:gd name="connsiteX22" fmla="*/ 228600 w 304800"/>
                <a:gd name="connsiteY22" fmla="*/ 57150 h 134302"/>
                <a:gd name="connsiteX23" fmla="*/ 247650 w 304800"/>
                <a:gd name="connsiteY23" fmla="*/ 57150 h 134302"/>
                <a:gd name="connsiteX24" fmla="*/ 247650 w 304800"/>
                <a:gd name="connsiteY24" fmla="*/ 76200 h 134302"/>
                <a:gd name="connsiteX25" fmla="*/ 285750 w 304800"/>
                <a:gd name="connsiteY25" fmla="*/ 76200 h 134302"/>
                <a:gd name="connsiteX26" fmla="*/ 266700 w 304800"/>
                <a:gd name="connsiteY26" fmla="*/ 76200 h 134302"/>
                <a:gd name="connsiteX27" fmla="*/ 266700 w 304800"/>
                <a:gd name="connsiteY27" fmla="*/ 57150 h 134302"/>
                <a:gd name="connsiteX28" fmla="*/ 285750 w 304800"/>
                <a:gd name="connsiteY28" fmla="*/ 57150 h 134302"/>
                <a:gd name="connsiteX29" fmla="*/ 285750 w 304800"/>
                <a:gd name="connsiteY29" fmla="*/ 76200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4800" h="134302">
                  <a:moveTo>
                    <a:pt x="304800" y="0"/>
                  </a:moveTo>
                  <a:lnTo>
                    <a:pt x="0" y="0"/>
                  </a:lnTo>
                  <a:lnTo>
                    <a:pt x="0" y="37147"/>
                  </a:lnTo>
                  <a:lnTo>
                    <a:pt x="23813" y="37147"/>
                  </a:lnTo>
                  <a:lnTo>
                    <a:pt x="80963" y="37147"/>
                  </a:lnTo>
                  <a:lnTo>
                    <a:pt x="104775" y="37147"/>
                  </a:lnTo>
                  <a:lnTo>
                    <a:pt x="108585" y="60960"/>
                  </a:lnTo>
                  <a:lnTo>
                    <a:pt x="112395" y="86678"/>
                  </a:lnTo>
                  <a:lnTo>
                    <a:pt x="132398" y="98107"/>
                  </a:lnTo>
                  <a:lnTo>
                    <a:pt x="163830" y="86678"/>
                  </a:lnTo>
                  <a:lnTo>
                    <a:pt x="186690" y="78105"/>
                  </a:lnTo>
                  <a:lnTo>
                    <a:pt x="199073" y="99060"/>
                  </a:lnTo>
                  <a:lnTo>
                    <a:pt x="219075" y="134303"/>
                  </a:lnTo>
                  <a:lnTo>
                    <a:pt x="304800" y="134303"/>
                  </a:lnTo>
                  <a:lnTo>
                    <a:pt x="304800" y="0"/>
                  </a:lnTo>
                  <a:close/>
                  <a:moveTo>
                    <a:pt x="209550" y="76200"/>
                  </a:moveTo>
                  <a:lnTo>
                    <a:pt x="190500" y="76200"/>
                  </a:lnTo>
                  <a:lnTo>
                    <a:pt x="190500" y="57150"/>
                  </a:lnTo>
                  <a:lnTo>
                    <a:pt x="209550" y="57150"/>
                  </a:lnTo>
                  <a:lnTo>
                    <a:pt x="209550" y="76200"/>
                  </a:lnTo>
                  <a:close/>
                  <a:moveTo>
                    <a:pt x="247650" y="76200"/>
                  </a:moveTo>
                  <a:lnTo>
                    <a:pt x="228600" y="76200"/>
                  </a:lnTo>
                  <a:lnTo>
                    <a:pt x="228600" y="57150"/>
                  </a:lnTo>
                  <a:lnTo>
                    <a:pt x="247650" y="57150"/>
                  </a:lnTo>
                  <a:lnTo>
                    <a:pt x="247650" y="76200"/>
                  </a:lnTo>
                  <a:close/>
                  <a:moveTo>
                    <a:pt x="285750" y="76200"/>
                  </a:moveTo>
                  <a:lnTo>
                    <a:pt x="266700" y="76200"/>
                  </a:lnTo>
                  <a:lnTo>
                    <a:pt x="266700" y="57150"/>
                  </a:lnTo>
                  <a:lnTo>
                    <a:pt x="285750" y="57150"/>
                  </a:lnTo>
                  <a:lnTo>
                    <a:pt x="285750" y="76200"/>
                  </a:lnTo>
                  <a:close/>
                </a:path>
              </a:pathLst>
            </a:custGeom>
            <a:solidFill>
              <a:srgbClr val="3D4647"/>
            </a:solidFill>
            <a:ln w="9525" cap="flat">
              <a:noFill/>
              <a:prstDash val="solid"/>
              <a:miter/>
            </a:ln>
          </p:spPr>
          <p:txBody>
            <a:bodyPr rtlCol="0" anchor="ctr"/>
            <a:lstStyle/>
            <a:p>
              <a:endParaRPr lang="en-US" dirty="0"/>
            </a:p>
          </p:txBody>
        </p:sp>
        <p:sp>
          <p:nvSpPr>
            <p:cNvPr id="463" name="Freeform: Shape 462">
              <a:extLst>
                <a:ext uri="{FF2B5EF4-FFF2-40B4-BE49-F238E27FC236}">
                  <a16:creationId xmlns:a16="http://schemas.microsoft.com/office/drawing/2014/main" id="{75605627-AD64-3F54-DB93-E43FBEB37D1F}"/>
                </a:ext>
              </a:extLst>
            </p:cNvPr>
            <p:cNvSpPr/>
            <p:nvPr/>
          </p:nvSpPr>
          <p:spPr>
            <a:xfrm>
              <a:off x="10466703" y="4518638"/>
              <a:ext cx="227647" cy="303847"/>
            </a:xfrm>
            <a:custGeom>
              <a:avLst/>
              <a:gdLst>
                <a:gd name="connsiteX0" fmla="*/ 190500 w 227647"/>
                <a:gd name="connsiteY0" fmla="*/ 126683 h 303847"/>
                <a:gd name="connsiteX1" fmla="*/ 226695 w 227647"/>
                <a:gd name="connsiteY1" fmla="*/ 97155 h 303847"/>
                <a:gd name="connsiteX2" fmla="*/ 198120 w 227647"/>
                <a:gd name="connsiteY2" fmla="*/ 47625 h 303847"/>
                <a:gd name="connsiteX3" fmla="*/ 155258 w 227647"/>
                <a:gd name="connsiteY3" fmla="*/ 63818 h 303847"/>
                <a:gd name="connsiteX4" fmla="*/ 110490 w 227647"/>
                <a:gd name="connsiteY4" fmla="*/ 39053 h 303847"/>
                <a:gd name="connsiteX5" fmla="*/ 103823 w 227647"/>
                <a:gd name="connsiteY5" fmla="*/ 0 h 303847"/>
                <a:gd name="connsiteX6" fmla="*/ 46673 w 227647"/>
                <a:gd name="connsiteY6" fmla="*/ 0 h 303847"/>
                <a:gd name="connsiteX7" fmla="*/ 40005 w 227647"/>
                <a:gd name="connsiteY7" fmla="*/ 39053 h 303847"/>
                <a:gd name="connsiteX8" fmla="*/ 0 w 227647"/>
                <a:gd name="connsiteY8" fmla="*/ 62865 h 303847"/>
                <a:gd name="connsiteX9" fmla="*/ 13335 w 227647"/>
                <a:gd name="connsiteY9" fmla="*/ 134303 h 303847"/>
                <a:gd name="connsiteX10" fmla="*/ 19050 w 227647"/>
                <a:gd name="connsiteY10" fmla="*/ 147638 h 303847"/>
                <a:gd name="connsiteX11" fmla="*/ 26670 w 227647"/>
                <a:gd name="connsiteY11" fmla="*/ 122873 h 303847"/>
                <a:gd name="connsiteX12" fmla="*/ 54293 w 227647"/>
                <a:gd name="connsiteY12" fmla="*/ 99060 h 303847"/>
                <a:gd name="connsiteX13" fmla="*/ 90488 w 227647"/>
                <a:gd name="connsiteY13" fmla="*/ 96203 h 303847"/>
                <a:gd name="connsiteX14" fmla="*/ 120968 w 227647"/>
                <a:gd name="connsiteY14" fmla="*/ 116205 h 303847"/>
                <a:gd name="connsiteX15" fmla="*/ 132398 w 227647"/>
                <a:gd name="connsiteY15" fmla="*/ 151448 h 303847"/>
                <a:gd name="connsiteX16" fmla="*/ 124778 w 227647"/>
                <a:gd name="connsiteY16" fmla="*/ 180023 h 303847"/>
                <a:gd name="connsiteX17" fmla="*/ 103823 w 227647"/>
                <a:gd name="connsiteY17" fmla="*/ 200978 h 303847"/>
                <a:gd name="connsiteX18" fmla="*/ 103823 w 227647"/>
                <a:gd name="connsiteY18" fmla="*/ 200978 h 303847"/>
                <a:gd name="connsiteX19" fmla="*/ 67628 w 227647"/>
                <a:gd name="connsiteY19" fmla="*/ 208598 h 303847"/>
                <a:gd name="connsiteX20" fmla="*/ 34290 w 227647"/>
                <a:gd name="connsiteY20" fmla="*/ 192405 h 303847"/>
                <a:gd name="connsiteX21" fmla="*/ 22860 w 227647"/>
                <a:gd name="connsiteY21" fmla="*/ 174308 h 303847"/>
                <a:gd name="connsiteX22" fmla="*/ 21908 w 227647"/>
                <a:gd name="connsiteY22" fmla="*/ 177165 h 303847"/>
                <a:gd name="connsiteX23" fmla="*/ 9525 w 227647"/>
                <a:gd name="connsiteY23" fmla="*/ 229553 h 303847"/>
                <a:gd name="connsiteX24" fmla="*/ 9525 w 227647"/>
                <a:gd name="connsiteY24" fmla="*/ 230505 h 303847"/>
                <a:gd name="connsiteX25" fmla="*/ 9525 w 227647"/>
                <a:gd name="connsiteY25" fmla="*/ 231458 h 303847"/>
                <a:gd name="connsiteX26" fmla="*/ 3810 w 227647"/>
                <a:gd name="connsiteY26" fmla="*/ 243840 h 303847"/>
                <a:gd name="connsiteX27" fmla="*/ 40958 w 227647"/>
                <a:gd name="connsiteY27" fmla="*/ 264795 h 303847"/>
                <a:gd name="connsiteX28" fmla="*/ 47625 w 227647"/>
                <a:gd name="connsiteY28" fmla="*/ 303848 h 303847"/>
                <a:gd name="connsiteX29" fmla="*/ 104775 w 227647"/>
                <a:gd name="connsiteY29" fmla="*/ 303848 h 303847"/>
                <a:gd name="connsiteX30" fmla="*/ 111443 w 227647"/>
                <a:gd name="connsiteY30" fmla="*/ 264795 h 303847"/>
                <a:gd name="connsiteX31" fmla="*/ 155258 w 227647"/>
                <a:gd name="connsiteY31" fmla="*/ 239078 h 303847"/>
                <a:gd name="connsiteX32" fmla="*/ 199073 w 227647"/>
                <a:gd name="connsiteY32" fmla="*/ 254317 h 303847"/>
                <a:gd name="connsiteX33" fmla="*/ 227648 w 227647"/>
                <a:gd name="connsiteY33" fmla="*/ 204788 h 303847"/>
                <a:gd name="connsiteX34" fmla="*/ 191452 w 227647"/>
                <a:gd name="connsiteY34" fmla="*/ 175260 h 303847"/>
                <a:gd name="connsiteX35" fmla="*/ 191452 w 227647"/>
                <a:gd name="connsiteY35" fmla="*/ 126683 h 30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7647" h="303847">
                  <a:moveTo>
                    <a:pt x="190500" y="126683"/>
                  </a:moveTo>
                  <a:lnTo>
                    <a:pt x="226695" y="97155"/>
                  </a:lnTo>
                  <a:lnTo>
                    <a:pt x="198120" y="47625"/>
                  </a:lnTo>
                  <a:lnTo>
                    <a:pt x="155258" y="63818"/>
                  </a:lnTo>
                  <a:lnTo>
                    <a:pt x="110490" y="39053"/>
                  </a:lnTo>
                  <a:lnTo>
                    <a:pt x="103823" y="0"/>
                  </a:lnTo>
                  <a:lnTo>
                    <a:pt x="46673" y="0"/>
                  </a:lnTo>
                  <a:lnTo>
                    <a:pt x="40005" y="39053"/>
                  </a:lnTo>
                  <a:lnTo>
                    <a:pt x="0" y="62865"/>
                  </a:lnTo>
                  <a:cubicBezTo>
                    <a:pt x="9525" y="90488"/>
                    <a:pt x="12383" y="117158"/>
                    <a:pt x="13335" y="134303"/>
                  </a:cubicBezTo>
                  <a:cubicBezTo>
                    <a:pt x="15240" y="138113"/>
                    <a:pt x="17145" y="142875"/>
                    <a:pt x="19050" y="147638"/>
                  </a:cubicBezTo>
                  <a:cubicBezTo>
                    <a:pt x="20003" y="139065"/>
                    <a:pt x="21908" y="130492"/>
                    <a:pt x="26670" y="122873"/>
                  </a:cubicBezTo>
                  <a:cubicBezTo>
                    <a:pt x="33338" y="112395"/>
                    <a:pt x="42863" y="103823"/>
                    <a:pt x="54293" y="99060"/>
                  </a:cubicBezTo>
                  <a:cubicBezTo>
                    <a:pt x="65723" y="94298"/>
                    <a:pt x="79058" y="93345"/>
                    <a:pt x="90488" y="96203"/>
                  </a:cubicBezTo>
                  <a:cubicBezTo>
                    <a:pt x="101918" y="99060"/>
                    <a:pt x="113348" y="106680"/>
                    <a:pt x="120968" y="116205"/>
                  </a:cubicBezTo>
                  <a:cubicBezTo>
                    <a:pt x="128588" y="125730"/>
                    <a:pt x="132398" y="138113"/>
                    <a:pt x="132398" y="151448"/>
                  </a:cubicBezTo>
                  <a:cubicBezTo>
                    <a:pt x="132398" y="160973"/>
                    <a:pt x="129540" y="171450"/>
                    <a:pt x="124778" y="180023"/>
                  </a:cubicBezTo>
                  <a:cubicBezTo>
                    <a:pt x="120015" y="188595"/>
                    <a:pt x="112395" y="196215"/>
                    <a:pt x="103823" y="200978"/>
                  </a:cubicBezTo>
                  <a:lnTo>
                    <a:pt x="103823" y="200978"/>
                  </a:lnTo>
                  <a:cubicBezTo>
                    <a:pt x="93345" y="207645"/>
                    <a:pt x="80010" y="209550"/>
                    <a:pt x="67628" y="208598"/>
                  </a:cubicBezTo>
                  <a:cubicBezTo>
                    <a:pt x="55245" y="206692"/>
                    <a:pt x="43815" y="200978"/>
                    <a:pt x="34290" y="192405"/>
                  </a:cubicBezTo>
                  <a:cubicBezTo>
                    <a:pt x="29528" y="187642"/>
                    <a:pt x="25718" y="180975"/>
                    <a:pt x="22860" y="174308"/>
                  </a:cubicBezTo>
                  <a:lnTo>
                    <a:pt x="21908" y="177165"/>
                  </a:lnTo>
                  <a:lnTo>
                    <a:pt x="9525" y="229553"/>
                  </a:lnTo>
                  <a:lnTo>
                    <a:pt x="9525" y="230505"/>
                  </a:lnTo>
                  <a:lnTo>
                    <a:pt x="9525" y="231458"/>
                  </a:lnTo>
                  <a:cubicBezTo>
                    <a:pt x="8573" y="236220"/>
                    <a:pt x="6668" y="240030"/>
                    <a:pt x="3810" y="243840"/>
                  </a:cubicBezTo>
                  <a:lnTo>
                    <a:pt x="40958" y="264795"/>
                  </a:lnTo>
                  <a:lnTo>
                    <a:pt x="47625" y="303848"/>
                  </a:lnTo>
                  <a:lnTo>
                    <a:pt x="104775" y="303848"/>
                  </a:lnTo>
                  <a:lnTo>
                    <a:pt x="111443" y="264795"/>
                  </a:lnTo>
                  <a:lnTo>
                    <a:pt x="155258" y="239078"/>
                  </a:lnTo>
                  <a:lnTo>
                    <a:pt x="199073" y="254317"/>
                  </a:lnTo>
                  <a:lnTo>
                    <a:pt x="227648" y="204788"/>
                  </a:lnTo>
                  <a:lnTo>
                    <a:pt x="191452" y="175260"/>
                  </a:lnTo>
                  <a:lnTo>
                    <a:pt x="191452" y="126683"/>
                  </a:lnTo>
                  <a:close/>
                </a:path>
              </a:pathLst>
            </a:custGeom>
            <a:solidFill>
              <a:srgbClr val="40AA1D"/>
            </a:solidFill>
            <a:ln w="9525" cap="flat">
              <a:noFill/>
              <a:prstDash val="solid"/>
              <a:miter/>
            </a:ln>
          </p:spPr>
          <p:txBody>
            <a:bodyPr rtlCol="0" anchor="ctr"/>
            <a:lstStyle/>
            <a:p>
              <a:endParaRPr lang="en-US" dirty="0"/>
            </a:p>
          </p:txBody>
        </p:sp>
      </p:grpSp>
      <p:grpSp>
        <p:nvGrpSpPr>
          <p:cNvPr id="559" name="Group 558">
            <a:extLst>
              <a:ext uri="{FF2B5EF4-FFF2-40B4-BE49-F238E27FC236}">
                <a16:creationId xmlns:a16="http://schemas.microsoft.com/office/drawing/2014/main" id="{88BABC76-39CD-CA05-4055-05148FA3EB98}"/>
              </a:ext>
            </a:extLst>
          </p:cNvPr>
          <p:cNvGrpSpPr/>
          <p:nvPr/>
        </p:nvGrpSpPr>
        <p:grpSpPr>
          <a:xfrm>
            <a:off x="8927273" y="4318086"/>
            <a:ext cx="777891" cy="781050"/>
            <a:chOff x="8927273" y="4306295"/>
            <a:chExt cx="777891" cy="781050"/>
          </a:xfrm>
        </p:grpSpPr>
        <p:grpSp>
          <p:nvGrpSpPr>
            <p:cNvPr id="413" name="Group 412">
              <a:extLst>
                <a:ext uri="{FF2B5EF4-FFF2-40B4-BE49-F238E27FC236}">
                  <a16:creationId xmlns:a16="http://schemas.microsoft.com/office/drawing/2014/main" id="{6E3AA5A3-CE43-B517-839A-E58D40C9881E}"/>
                </a:ext>
              </a:extLst>
            </p:cNvPr>
            <p:cNvGrpSpPr/>
            <p:nvPr/>
          </p:nvGrpSpPr>
          <p:grpSpPr>
            <a:xfrm>
              <a:off x="8927273" y="4509178"/>
              <a:ext cx="609600" cy="578167"/>
              <a:chOff x="537926" y="1818419"/>
              <a:chExt cx="609600" cy="578167"/>
            </a:xfrm>
          </p:grpSpPr>
          <p:sp>
            <p:nvSpPr>
              <p:cNvPr id="414" name="Freeform: Shape 413">
                <a:extLst>
                  <a:ext uri="{FF2B5EF4-FFF2-40B4-BE49-F238E27FC236}">
                    <a16:creationId xmlns:a16="http://schemas.microsoft.com/office/drawing/2014/main" id="{CBCE782F-EEA3-BB4C-4E59-7D250B7904D2}"/>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415" name="Freeform: Shape 414">
                <a:extLst>
                  <a:ext uri="{FF2B5EF4-FFF2-40B4-BE49-F238E27FC236}">
                    <a16:creationId xmlns:a16="http://schemas.microsoft.com/office/drawing/2014/main" id="{FB44EDCC-F95D-EEF2-EA1E-7450F7C089A5}"/>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sp>
          <p:nvSpPr>
            <p:cNvPr id="422" name="Freeform: Shape 421">
              <a:extLst>
                <a:ext uri="{FF2B5EF4-FFF2-40B4-BE49-F238E27FC236}">
                  <a16:creationId xmlns:a16="http://schemas.microsoft.com/office/drawing/2014/main" id="{719DDE70-2D21-9106-E04E-BE81FB6D2F65}"/>
                </a:ext>
              </a:extLst>
            </p:cNvPr>
            <p:cNvSpPr/>
            <p:nvPr/>
          </p:nvSpPr>
          <p:spPr>
            <a:xfrm>
              <a:off x="9400364" y="4306295"/>
              <a:ext cx="304800" cy="133350"/>
            </a:xfrm>
            <a:custGeom>
              <a:avLst/>
              <a:gdLst>
                <a:gd name="connsiteX0" fmla="*/ 0 w 304800"/>
                <a:gd name="connsiteY0" fmla="*/ 0 h 133350"/>
                <a:gd name="connsiteX1" fmla="*/ 0 w 304800"/>
                <a:gd name="connsiteY1" fmla="*/ 133350 h 133350"/>
                <a:gd name="connsiteX2" fmla="*/ 304800 w 304800"/>
                <a:gd name="connsiteY2" fmla="*/ 133350 h 133350"/>
                <a:gd name="connsiteX3" fmla="*/ 304800 w 304800"/>
                <a:gd name="connsiteY3" fmla="*/ 0 h 133350"/>
                <a:gd name="connsiteX4" fmla="*/ 0 w 304800"/>
                <a:gd name="connsiteY4" fmla="*/ 0 h 133350"/>
                <a:gd name="connsiteX5" fmla="*/ 68580 w 304800"/>
                <a:gd name="connsiteY5" fmla="*/ 95250 h 133350"/>
                <a:gd name="connsiteX6" fmla="*/ 35243 w 304800"/>
                <a:gd name="connsiteY6" fmla="*/ 95250 h 133350"/>
                <a:gd name="connsiteX7" fmla="*/ 19050 w 304800"/>
                <a:gd name="connsiteY7" fmla="*/ 66675 h 133350"/>
                <a:gd name="connsiteX8" fmla="*/ 35243 w 304800"/>
                <a:gd name="connsiteY8" fmla="*/ 38100 h 133350"/>
                <a:gd name="connsiteX9" fmla="*/ 68580 w 304800"/>
                <a:gd name="connsiteY9" fmla="*/ 38100 h 133350"/>
                <a:gd name="connsiteX10" fmla="*/ 85725 w 304800"/>
                <a:gd name="connsiteY10" fmla="*/ 66675 h 133350"/>
                <a:gd name="connsiteX11" fmla="*/ 68580 w 304800"/>
                <a:gd name="connsiteY11" fmla="*/ 95250 h 133350"/>
                <a:gd name="connsiteX12" fmla="*/ 209550 w 304800"/>
                <a:gd name="connsiteY12" fmla="*/ 76200 h 133350"/>
                <a:gd name="connsiteX13" fmla="*/ 190500 w 304800"/>
                <a:gd name="connsiteY13" fmla="*/ 76200 h 133350"/>
                <a:gd name="connsiteX14" fmla="*/ 190500 w 304800"/>
                <a:gd name="connsiteY14" fmla="*/ 57150 h 133350"/>
                <a:gd name="connsiteX15" fmla="*/ 209550 w 304800"/>
                <a:gd name="connsiteY15" fmla="*/ 57150 h 133350"/>
                <a:gd name="connsiteX16" fmla="*/ 209550 w 304800"/>
                <a:gd name="connsiteY16" fmla="*/ 76200 h 133350"/>
                <a:gd name="connsiteX17" fmla="*/ 247650 w 304800"/>
                <a:gd name="connsiteY17" fmla="*/ 76200 h 133350"/>
                <a:gd name="connsiteX18" fmla="*/ 228600 w 304800"/>
                <a:gd name="connsiteY18" fmla="*/ 76200 h 133350"/>
                <a:gd name="connsiteX19" fmla="*/ 228600 w 304800"/>
                <a:gd name="connsiteY19" fmla="*/ 57150 h 133350"/>
                <a:gd name="connsiteX20" fmla="*/ 247650 w 304800"/>
                <a:gd name="connsiteY20" fmla="*/ 57150 h 133350"/>
                <a:gd name="connsiteX21" fmla="*/ 247650 w 304800"/>
                <a:gd name="connsiteY21" fmla="*/ 76200 h 133350"/>
                <a:gd name="connsiteX22" fmla="*/ 285750 w 304800"/>
                <a:gd name="connsiteY22" fmla="*/ 76200 h 133350"/>
                <a:gd name="connsiteX23" fmla="*/ 266700 w 304800"/>
                <a:gd name="connsiteY23" fmla="*/ 76200 h 133350"/>
                <a:gd name="connsiteX24" fmla="*/ 266700 w 304800"/>
                <a:gd name="connsiteY24" fmla="*/ 57150 h 133350"/>
                <a:gd name="connsiteX25" fmla="*/ 285750 w 304800"/>
                <a:gd name="connsiteY25" fmla="*/ 57150 h 133350"/>
                <a:gd name="connsiteX26" fmla="*/ 285750 w 304800"/>
                <a:gd name="connsiteY26" fmla="*/ 7620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4800" h="133350">
                  <a:moveTo>
                    <a:pt x="0" y="0"/>
                  </a:moveTo>
                  <a:lnTo>
                    <a:pt x="0" y="133350"/>
                  </a:lnTo>
                  <a:lnTo>
                    <a:pt x="304800" y="133350"/>
                  </a:lnTo>
                  <a:lnTo>
                    <a:pt x="304800" y="0"/>
                  </a:lnTo>
                  <a:lnTo>
                    <a:pt x="0" y="0"/>
                  </a:lnTo>
                  <a:close/>
                  <a:moveTo>
                    <a:pt x="68580" y="95250"/>
                  </a:moveTo>
                  <a:lnTo>
                    <a:pt x="35243" y="95250"/>
                  </a:lnTo>
                  <a:lnTo>
                    <a:pt x="19050" y="66675"/>
                  </a:lnTo>
                  <a:lnTo>
                    <a:pt x="35243" y="38100"/>
                  </a:lnTo>
                  <a:lnTo>
                    <a:pt x="68580" y="38100"/>
                  </a:lnTo>
                  <a:lnTo>
                    <a:pt x="85725" y="66675"/>
                  </a:lnTo>
                  <a:lnTo>
                    <a:pt x="68580" y="95250"/>
                  </a:lnTo>
                  <a:close/>
                  <a:moveTo>
                    <a:pt x="209550" y="76200"/>
                  </a:moveTo>
                  <a:lnTo>
                    <a:pt x="190500" y="76200"/>
                  </a:lnTo>
                  <a:lnTo>
                    <a:pt x="190500" y="57150"/>
                  </a:lnTo>
                  <a:lnTo>
                    <a:pt x="209550" y="57150"/>
                  </a:lnTo>
                  <a:lnTo>
                    <a:pt x="209550" y="76200"/>
                  </a:lnTo>
                  <a:close/>
                  <a:moveTo>
                    <a:pt x="247650" y="76200"/>
                  </a:moveTo>
                  <a:lnTo>
                    <a:pt x="228600" y="76200"/>
                  </a:lnTo>
                  <a:lnTo>
                    <a:pt x="228600" y="57150"/>
                  </a:lnTo>
                  <a:lnTo>
                    <a:pt x="247650" y="57150"/>
                  </a:lnTo>
                  <a:lnTo>
                    <a:pt x="247650" y="76200"/>
                  </a:lnTo>
                  <a:close/>
                  <a:moveTo>
                    <a:pt x="285750" y="76200"/>
                  </a:moveTo>
                  <a:lnTo>
                    <a:pt x="266700" y="76200"/>
                  </a:lnTo>
                  <a:lnTo>
                    <a:pt x="266700" y="57150"/>
                  </a:lnTo>
                  <a:lnTo>
                    <a:pt x="285750" y="57150"/>
                  </a:lnTo>
                  <a:lnTo>
                    <a:pt x="285750" y="76200"/>
                  </a:lnTo>
                  <a:close/>
                </a:path>
              </a:pathLst>
            </a:custGeom>
            <a:solidFill>
              <a:srgbClr val="3D4647"/>
            </a:solidFill>
            <a:ln w="9525" cap="flat">
              <a:noFill/>
              <a:prstDash val="solid"/>
              <a:miter/>
            </a:ln>
          </p:spPr>
          <p:txBody>
            <a:bodyPr rtlCol="0" anchor="ctr"/>
            <a:lstStyle/>
            <a:p>
              <a:endParaRPr lang="en-US" dirty="0"/>
            </a:p>
          </p:txBody>
        </p:sp>
        <p:grpSp>
          <p:nvGrpSpPr>
            <p:cNvPr id="423" name="Graphic 237">
              <a:extLst>
                <a:ext uri="{FF2B5EF4-FFF2-40B4-BE49-F238E27FC236}">
                  <a16:creationId xmlns:a16="http://schemas.microsoft.com/office/drawing/2014/main" id="{486FCBD6-2B97-0FCC-8DDF-3D5C0E95DC6F}"/>
                </a:ext>
              </a:extLst>
            </p:cNvPr>
            <p:cNvGrpSpPr/>
            <p:nvPr/>
          </p:nvGrpSpPr>
          <p:grpSpPr>
            <a:xfrm>
              <a:off x="9209864" y="4325345"/>
              <a:ext cx="152400" cy="152400"/>
              <a:chOff x="9209864" y="4325345"/>
              <a:chExt cx="152400" cy="152400"/>
            </a:xfrm>
            <a:solidFill>
              <a:srgbClr val="40AA1D"/>
            </a:solidFill>
          </p:grpSpPr>
          <p:sp>
            <p:nvSpPr>
              <p:cNvPr id="424" name="Freeform: Shape 423">
                <a:extLst>
                  <a:ext uri="{FF2B5EF4-FFF2-40B4-BE49-F238E27FC236}">
                    <a16:creationId xmlns:a16="http://schemas.microsoft.com/office/drawing/2014/main" id="{45689059-4189-8754-4F4A-2CF52B326CB7}"/>
                  </a:ext>
                </a:extLst>
              </p:cNvPr>
              <p:cNvSpPr/>
              <p:nvPr/>
            </p:nvSpPr>
            <p:spPr>
              <a:xfrm>
                <a:off x="9333689" y="4449170"/>
                <a:ext cx="28575" cy="28575"/>
              </a:xfrm>
              <a:custGeom>
                <a:avLst/>
                <a:gdLst>
                  <a:gd name="connsiteX0" fmla="*/ 23813 w 28575"/>
                  <a:gd name="connsiteY0" fmla="*/ 0 h 28575"/>
                  <a:gd name="connsiteX1" fmla="*/ 0 w 28575"/>
                  <a:gd name="connsiteY1" fmla="*/ 23813 h 28575"/>
                  <a:gd name="connsiteX2" fmla="*/ 28575 w 28575"/>
                  <a:gd name="connsiteY2" fmla="*/ 28575 h 28575"/>
                  <a:gd name="connsiteX3" fmla="*/ 23813 w 28575"/>
                  <a:gd name="connsiteY3" fmla="*/ 0 h 28575"/>
                </a:gdLst>
                <a:ahLst/>
                <a:cxnLst>
                  <a:cxn ang="0">
                    <a:pos x="connsiteX0" y="connsiteY0"/>
                  </a:cxn>
                  <a:cxn ang="0">
                    <a:pos x="connsiteX1" y="connsiteY1"/>
                  </a:cxn>
                  <a:cxn ang="0">
                    <a:pos x="connsiteX2" y="connsiteY2"/>
                  </a:cxn>
                  <a:cxn ang="0">
                    <a:pos x="connsiteX3" y="connsiteY3"/>
                  </a:cxn>
                </a:cxnLst>
                <a:rect l="l" t="t" r="r" b="b"/>
                <a:pathLst>
                  <a:path w="28575" h="28575">
                    <a:moveTo>
                      <a:pt x="23813" y="0"/>
                    </a:moveTo>
                    <a:lnTo>
                      <a:pt x="0" y="23813"/>
                    </a:lnTo>
                    <a:lnTo>
                      <a:pt x="28575" y="28575"/>
                    </a:lnTo>
                    <a:lnTo>
                      <a:pt x="23813" y="0"/>
                    </a:lnTo>
                    <a:close/>
                  </a:path>
                </a:pathLst>
              </a:custGeom>
              <a:solidFill>
                <a:srgbClr val="40AA1D"/>
              </a:solidFill>
              <a:ln w="9525" cap="flat">
                <a:noFill/>
                <a:prstDash val="solid"/>
                <a:miter/>
              </a:ln>
            </p:spPr>
            <p:txBody>
              <a:bodyPr rtlCol="0" anchor="ctr"/>
              <a:lstStyle/>
              <a:p>
                <a:endParaRPr lang="en-US" dirty="0"/>
              </a:p>
            </p:txBody>
          </p:sp>
          <p:sp>
            <p:nvSpPr>
              <p:cNvPr id="425" name="Freeform: Shape 424">
                <a:extLst>
                  <a:ext uri="{FF2B5EF4-FFF2-40B4-BE49-F238E27FC236}">
                    <a16:creationId xmlns:a16="http://schemas.microsoft.com/office/drawing/2014/main" id="{280F8418-A7FE-65EB-FBCF-990C80F1B5B6}"/>
                  </a:ext>
                </a:extLst>
              </p:cNvPr>
              <p:cNvSpPr/>
              <p:nvPr/>
            </p:nvSpPr>
            <p:spPr>
              <a:xfrm>
                <a:off x="9267966" y="4325345"/>
                <a:ext cx="33337" cy="23812"/>
              </a:xfrm>
              <a:custGeom>
                <a:avLst/>
                <a:gdLst>
                  <a:gd name="connsiteX0" fmla="*/ 0 w 33337"/>
                  <a:gd name="connsiteY0" fmla="*/ 23813 h 23812"/>
                  <a:gd name="connsiteX1" fmla="*/ 33338 w 33337"/>
                  <a:gd name="connsiteY1" fmla="*/ 23813 h 23812"/>
                  <a:gd name="connsiteX2" fmla="*/ 17145 w 33337"/>
                  <a:gd name="connsiteY2" fmla="*/ 0 h 23812"/>
                  <a:gd name="connsiteX3" fmla="*/ 0 w 33337"/>
                  <a:gd name="connsiteY3" fmla="*/ 23813 h 23812"/>
                </a:gdLst>
                <a:ahLst/>
                <a:cxnLst>
                  <a:cxn ang="0">
                    <a:pos x="connsiteX0" y="connsiteY0"/>
                  </a:cxn>
                  <a:cxn ang="0">
                    <a:pos x="connsiteX1" y="connsiteY1"/>
                  </a:cxn>
                  <a:cxn ang="0">
                    <a:pos x="connsiteX2" y="connsiteY2"/>
                  </a:cxn>
                  <a:cxn ang="0">
                    <a:pos x="connsiteX3" y="connsiteY3"/>
                  </a:cxn>
                </a:cxnLst>
                <a:rect l="l" t="t" r="r" b="b"/>
                <a:pathLst>
                  <a:path w="33337" h="23812">
                    <a:moveTo>
                      <a:pt x="0" y="23813"/>
                    </a:moveTo>
                    <a:lnTo>
                      <a:pt x="33338" y="23813"/>
                    </a:lnTo>
                    <a:lnTo>
                      <a:pt x="17145" y="0"/>
                    </a:lnTo>
                    <a:lnTo>
                      <a:pt x="0" y="23813"/>
                    </a:lnTo>
                    <a:close/>
                  </a:path>
                </a:pathLst>
              </a:custGeom>
              <a:solidFill>
                <a:srgbClr val="40AA1D"/>
              </a:solidFill>
              <a:ln w="9525" cap="flat">
                <a:noFill/>
                <a:prstDash val="solid"/>
                <a:miter/>
              </a:ln>
            </p:spPr>
            <p:txBody>
              <a:bodyPr rtlCol="0" anchor="ctr"/>
              <a:lstStyle/>
              <a:p>
                <a:endParaRPr lang="en-US" dirty="0"/>
              </a:p>
            </p:txBody>
          </p:sp>
          <p:sp>
            <p:nvSpPr>
              <p:cNvPr id="426" name="Freeform: Shape 425">
                <a:extLst>
                  <a:ext uri="{FF2B5EF4-FFF2-40B4-BE49-F238E27FC236}">
                    <a16:creationId xmlns:a16="http://schemas.microsoft.com/office/drawing/2014/main" id="{8A5C3CFD-32D4-EF8B-CBE6-99D5344E9D61}"/>
                  </a:ext>
                </a:extLst>
              </p:cNvPr>
              <p:cNvSpPr/>
              <p:nvPr/>
            </p:nvSpPr>
            <p:spPr>
              <a:xfrm>
                <a:off x="9209864" y="4449170"/>
                <a:ext cx="28575" cy="28575"/>
              </a:xfrm>
              <a:custGeom>
                <a:avLst/>
                <a:gdLst>
                  <a:gd name="connsiteX0" fmla="*/ 4763 w 28575"/>
                  <a:gd name="connsiteY0" fmla="*/ 0 h 28575"/>
                  <a:gd name="connsiteX1" fmla="*/ 28575 w 28575"/>
                  <a:gd name="connsiteY1" fmla="*/ 23813 h 28575"/>
                  <a:gd name="connsiteX2" fmla="*/ 0 w 28575"/>
                  <a:gd name="connsiteY2" fmla="*/ 28575 h 28575"/>
                  <a:gd name="connsiteX3" fmla="*/ 4763 w 28575"/>
                  <a:gd name="connsiteY3" fmla="*/ 0 h 28575"/>
                </a:gdLst>
                <a:ahLst/>
                <a:cxnLst>
                  <a:cxn ang="0">
                    <a:pos x="connsiteX0" y="connsiteY0"/>
                  </a:cxn>
                  <a:cxn ang="0">
                    <a:pos x="connsiteX1" y="connsiteY1"/>
                  </a:cxn>
                  <a:cxn ang="0">
                    <a:pos x="connsiteX2" y="connsiteY2"/>
                  </a:cxn>
                  <a:cxn ang="0">
                    <a:pos x="connsiteX3" y="connsiteY3"/>
                  </a:cxn>
                </a:cxnLst>
                <a:rect l="l" t="t" r="r" b="b"/>
                <a:pathLst>
                  <a:path w="28575" h="28575">
                    <a:moveTo>
                      <a:pt x="4763" y="0"/>
                    </a:moveTo>
                    <a:lnTo>
                      <a:pt x="28575" y="23813"/>
                    </a:lnTo>
                    <a:lnTo>
                      <a:pt x="0" y="28575"/>
                    </a:lnTo>
                    <a:lnTo>
                      <a:pt x="4763" y="0"/>
                    </a:lnTo>
                    <a:close/>
                  </a:path>
                </a:pathLst>
              </a:custGeom>
              <a:solidFill>
                <a:srgbClr val="40AA1D"/>
              </a:solidFill>
              <a:ln w="9525" cap="flat">
                <a:noFill/>
                <a:prstDash val="solid"/>
                <a:miter/>
              </a:ln>
            </p:spPr>
            <p:txBody>
              <a:bodyPr rtlCol="0" anchor="ctr"/>
              <a:lstStyle/>
              <a:p>
                <a:endParaRPr lang="en-US" dirty="0"/>
              </a:p>
            </p:txBody>
          </p:sp>
          <p:grpSp>
            <p:nvGrpSpPr>
              <p:cNvPr id="427" name="Graphic 237">
                <a:extLst>
                  <a:ext uri="{FF2B5EF4-FFF2-40B4-BE49-F238E27FC236}">
                    <a16:creationId xmlns:a16="http://schemas.microsoft.com/office/drawing/2014/main" id="{F2C2B49A-AAAE-D5AD-17BB-3C43B6704EA2}"/>
                  </a:ext>
                </a:extLst>
              </p:cNvPr>
              <p:cNvGrpSpPr/>
              <p:nvPr/>
            </p:nvGrpSpPr>
            <p:grpSpPr>
              <a:xfrm>
                <a:off x="9237486" y="4362492"/>
                <a:ext cx="97154" cy="109537"/>
                <a:chOff x="9237486" y="4362492"/>
                <a:chExt cx="97154" cy="109537"/>
              </a:xfrm>
              <a:solidFill>
                <a:srgbClr val="40AA1D"/>
              </a:solidFill>
            </p:grpSpPr>
            <p:sp>
              <p:nvSpPr>
                <p:cNvPr id="428" name="Freeform: Shape 427">
                  <a:extLst>
                    <a:ext uri="{FF2B5EF4-FFF2-40B4-BE49-F238E27FC236}">
                      <a16:creationId xmlns:a16="http://schemas.microsoft.com/office/drawing/2014/main" id="{C7B2F973-39FE-020F-6F57-0A62F03B35BF}"/>
                    </a:ext>
                  </a:extLst>
                </p:cNvPr>
                <p:cNvSpPr/>
                <p:nvPr/>
              </p:nvSpPr>
              <p:spPr>
                <a:xfrm>
                  <a:off x="9242249" y="4362492"/>
                  <a:ext cx="87629" cy="50482"/>
                </a:xfrm>
                <a:custGeom>
                  <a:avLst/>
                  <a:gdLst>
                    <a:gd name="connsiteX0" fmla="*/ 87630 w 87629"/>
                    <a:gd name="connsiteY0" fmla="*/ 25718 h 50482"/>
                    <a:gd name="connsiteX1" fmla="*/ 43815 w 87629"/>
                    <a:gd name="connsiteY1" fmla="*/ 50482 h 50482"/>
                    <a:gd name="connsiteX2" fmla="*/ 0 w 87629"/>
                    <a:gd name="connsiteY2" fmla="*/ 25718 h 50482"/>
                    <a:gd name="connsiteX3" fmla="*/ 43815 w 87629"/>
                    <a:gd name="connsiteY3" fmla="*/ 0 h 50482"/>
                  </a:gdLst>
                  <a:ahLst/>
                  <a:cxnLst>
                    <a:cxn ang="0">
                      <a:pos x="connsiteX0" y="connsiteY0"/>
                    </a:cxn>
                    <a:cxn ang="0">
                      <a:pos x="connsiteX1" y="connsiteY1"/>
                    </a:cxn>
                    <a:cxn ang="0">
                      <a:pos x="connsiteX2" y="connsiteY2"/>
                    </a:cxn>
                    <a:cxn ang="0">
                      <a:pos x="connsiteX3" y="connsiteY3"/>
                    </a:cxn>
                  </a:cxnLst>
                  <a:rect l="l" t="t" r="r" b="b"/>
                  <a:pathLst>
                    <a:path w="87629" h="50482">
                      <a:moveTo>
                        <a:pt x="87630" y="25718"/>
                      </a:moveTo>
                      <a:lnTo>
                        <a:pt x="43815" y="50482"/>
                      </a:lnTo>
                      <a:lnTo>
                        <a:pt x="0" y="25718"/>
                      </a:lnTo>
                      <a:lnTo>
                        <a:pt x="43815" y="0"/>
                      </a:lnTo>
                      <a:close/>
                    </a:path>
                  </a:pathLst>
                </a:custGeom>
                <a:solidFill>
                  <a:srgbClr val="40AA1D"/>
                </a:solidFill>
                <a:ln w="9525" cap="flat">
                  <a:noFill/>
                  <a:prstDash val="solid"/>
                  <a:miter/>
                </a:ln>
              </p:spPr>
              <p:txBody>
                <a:bodyPr rtlCol="0" anchor="ctr"/>
                <a:lstStyle/>
                <a:p>
                  <a:endParaRPr lang="en-US" dirty="0"/>
                </a:p>
              </p:txBody>
            </p:sp>
            <p:sp>
              <p:nvSpPr>
                <p:cNvPr id="429" name="Freeform: Shape 428">
                  <a:extLst>
                    <a:ext uri="{FF2B5EF4-FFF2-40B4-BE49-F238E27FC236}">
                      <a16:creationId xmlns:a16="http://schemas.microsoft.com/office/drawing/2014/main" id="{9F3F0C67-1B24-B8D2-6670-66AE6459D282}"/>
                    </a:ext>
                  </a:extLst>
                </p:cNvPr>
                <p:cNvSpPr/>
                <p:nvPr/>
              </p:nvSpPr>
              <p:spPr>
                <a:xfrm>
                  <a:off x="9237486" y="4395829"/>
                  <a:ext cx="43814" cy="76200"/>
                </a:xfrm>
                <a:custGeom>
                  <a:avLst/>
                  <a:gdLst>
                    <a:gd name="connsiteX0" fmla="*/ 0 w 43814"/>
                    <a:gd name="connsiteY0" fmla="*/ 50483 h 76200"/>
                    <a:gd name="connsiteX1" fmla="*/ 0 w 43814"/>
                    <a:gd name="connsiteY1" fmla="*/ 0 h 76200"/>
                    <a:gd name="connsiteX2" fmla="*/ 43815 w 43814"/>
                    <a:gd name="connsiteY2" fmla="*/ 25718 h 76200"/>
                    <a:gd name="connsiteX3" fmla="*/ 43815 w 4381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43814" h="76200">
                      <a:moveTo>
                        <a:pt x="0" y="50483"/>
                      </a:moveTo>
                      <a:lnTo>
                        <a:pt x="0" y="0"/>
                      </a:lnTo>
                      <a:lnTo>
                        <a:pt x="43815" y="25718"/>
                      </a:lnTo>
                      <a:lnTo>
                        <a:pt x="43815" y="76200"/>
                      </a:lnTo>
                      <a:close/>
                    </a:path>
                  </a:pathLst>
                </a:custGeom>
                <a:solidFill>
                  <a:srgbClr val="40AA1D"/>
                </a:solidFill>
                <a:ln w="9525" cap="flat">
                  <a:noFill/>
                  <a:prstDash val="solid"/>
                  <a:miter/>
                </a:ln>
              </p:spPr>
              <p:txBody>
                <a:bodyPr rtlCol="0" anchor="ctr"/>
                <a:lstStyle/>
                <a:p>
                  <a:endParaRPr lang="en-US" dirty="0"/>
                </a:p>
              </p:txBody>
            </p:sp>
            <p:sp>
              <p:nvSpPr>
                <p:cNvPr id="430" name="Freeform: Shape 429">
                  <a:extLst>
                    <a:ext uri="{FF2B5EF4-FFF2-40B4-BE49-F238E27FC236}">
                      <a16:creationId xmlns:a16="http://schemas.microsoft.com/office/drawing/2014/main" id="{5654DE90-B6F4-E207-48BD-E811E2053CA5}"/>
                    </a:ext>
                  </a:extLst>
                </p:cNvPr>
                <p:cNvSpPr/>
                <p:nvPr/>
              </p:nvSpPr>
              <p:spPr>
                <a:xfrm>
                  <a:off x="9290826" y="4395829"/>
                  <a:ext cx="43814" cy="76200"/>
                </a:xfrm>
                <a:custGeom>
                  <a:avLst/>
                  <a:gdLst>
                    <a:gd name="connsiteX0" fmla="*/ 43815 w 43814"/>
                    <a:gd name="connsiteY0" fmla="*/ 0 h 76200"/>
                    <a:gd name="connsiteX1" fmla="*/ 43815 w 43814"/>
                    <a:gd name="connsiteY1" fmla="*/ 50483 h 76200"/>
                    <a:gd name="connsiteX2" fmla="*/ 0 w 43814"/>
                    <a:gd name="connsiteY2" fmla="*/ 76200 h 76200"/>
                    <a:gd name="connsiteX3" fmla="*/ 0 w 43814"/>
                    <a:gd name="connsiteY3" fmla="*/ 25718 h 76200"/>
                  </a:gdLst>
                  <a:ahLst/>
                  <a:cxnLst>
                    <a:cxn ang="0">
                      <a:pos x="connsiteX0" y="connsiteY0"/>
                    </a:cxn>
                    <a:cxn ang="0">
                      <a:pos x="connsiteX1" y="connsiteY1"/>
                    </a:cxn>
                    <a:cxn ang="0">
                      <a:pos x="connsiteX2" y="connsiteY2"/>
                    </a:cxn>
                    <a:cxn ang="0">
                      <a:pos x="connsiteX3" y="connsiteY3"/>
                    </a:cxn>
                  </a:cxnLst>
                  <a:rect l="l" t="t" r="r" b="b"/>
                  <a:pathLst>
                    <a:path w="43814" h="76200">
                      <a:moveTo>
                        <a:pt x="43815" y="0"/>
                      </a:moveTo>
                      <a:lnTo>
                        <a:pt x="43815" y="50483"/>
                      </a:lnTo>
                      <a:lnTo>
                        <a:pt x="0" y="76200"/>
                      </a:lnTo>
                      <a:lnTo>
                        <a:pt x="0" y="25718"/>
                      </a:lnTo>
                      <a:close/>
                    </a:path>
                  </a:pathLst>
                </a:custGeom>
                <a:solidFill>
                  <a:srgbClr val="40AA1D"/>
                </a:solidFill>
                <a:ln w="9525" cap="flat">
                  <a:noFill/>
                  <a:prstDash val="solid"/>
                  <a:miter/>
                </a:ln>
              </p:spPr>
              <p:txBody>
                <a:bodyPr rtlCol="0" anchor="ctr"/>
                <a:lstStyle/>
                <a:p>
                  <a:endParaRPr lang="en-US" dirty="0"/>
                </a:p>
              </p:txBody>
            </p:sp>
          </p:grpSp>
        </p:grpSp>
        <p:sp>
          <p:nvSpPr>
            <p:cNvPr id="432" name="Freeform: Shape 431">
              <a:extLst>
                <a:ext uri="{FF2B5EF4-FFF2-40B4-BE49-F238E27FC236}">
                  <a16:creationId xmlns:a16="http://schemas.microsoft.com/office/drawing/2014/main" id="{F36FCD8A-9B5A-7E38-538B-74FE931A3DF4}"/>
                </a:ext>
              </a:extLst>
            </p:cNvPr>
            <p:cNvSpPr/>
            <p:nvPr/>
          </p:nvSpPr>
          <p:spPr>
            <a:xfrm>
              <a:off x="9457514" y="4569682"/>
              <a:ext cx="151447" cy="152400"/>
            </a:xfrm>
            <a:custGeom>
              <a:avLst/>
              <a:gdLst>
                <a:gd name="connsiteX0" fmla="*/ 137160 w 151447"/>
                <a:gd name="connsiteY0" fmla="*/ 127635 h 152400"/>
                <a:gd name="connsiteX1" fmla="*/ 151448 w 151447"/>
                <a:gd name="connsiteY1" fmla="*/ 102870 h 152400"/>
                <a:gd name="connsiteX2" fmla="*/ 133350 w 151447"/>
                <a:gd name="connsiteY2" fmla="*/ 88582 h 152400"/>
                <a:gd name="connsiteX3" fmla="*/ 133350 w 151447"/>
                <a:gd name="connsiteY3" fmla="*/ 63818 h 152400"/>
                <a:gd name="connsiteX4" fmla="*/ 151448 w 151447"/>
                <a:gd name="connsiteY4" fmla="*/ 48577 h 152400"/>
                <a:gd name="connsiteX5" fmla="*/ 137160 w 151447"/>
                <a:gd name="connsiteY5" fmla="*/ 23813 h 152400"/>
                <a:gd name="connsiteX6" fmla="*/ 115252 w 151447"/>
                <a:gd name="connsiteY6" fmla="*/ 32385 h 152400"/>
                <a:gd name="connsiteX7" fmla="*/ 93345 w 151447"/>
                <a:gd name="connsiteY7" fmla="*/ 20003 h 152400"/>
                <a:gd name="connsiteX8" fmla="*/ 89535 w 151447"/>
                <a:gd name="connsiteY8" fmla="*/ 0 h 152400"/>
                <a:gd name="connsiteX9" fmla="*/ 60960 w 151447"/>
                <a:gd name="connsiteY9" fmla="*/ 0 h 152400"/>
                <a:gd name="connsiteX10" fmla="*/ 57150 w 151447"/>
                <a:gd name="connsiteY10" fmla="*/ 20003 h 152400"/>
                <a:gd name="connsiteX11" fmla="*/ 35243 w 151447"/>
                <a:gd name="connsiteY11" fmla="*/ 33338 h 152400"/>
                <a:gd name="connsiteX12" fmla="*/ 14288 w 151447"/>
                <a:gd name="connsiteY12" fmla="*/ 25718 h 152400"/>
                <a:gd name="connsiteX13" fmla="*/ 0 w 151447"/>
                <a:gd name="connsiteY13" fmla="*/ 50482 h 152400"/>
                <a:gd name="connsiteX14" fmla="*/ 17145 w 151447"/>
                <a:gd name="connsiteY14" fmla="*/ 64770 h 152400"/>
                <a:gd name="connsiteX15" fmla="*/ 17145 w 151447"/>
                <a:gd name="connsiteY15" fmla="*/ 90488 h 152400"/>
                <a:gd name="connsiteX16" fmla="*/ 0 w 151447"/>
                <a:gd name="connsiteY16" fmla="*/ 103823 h 152400"/>
                <a:gd name="connsiteX17" fmla="*/ 14288 w 151447"/>
                <a:gd name="connsiteY17" fmla="*/ 128588 h 152400"/>
                <a:gd name="connsiteX18" fmla="*/ 36195 w 151447"/>
                <a:gd name="connsiteY18" fmla="*/ 120015 h 152400"/>
                <a:gd name="connsiteX19" fmla="*/ 58102 w 151447"/>
                <a:gd name="connsiteY19" fmla="*/ 132398 h 152400"/>
                <a:gd name="connsiteX20" fmla="*/ 61913 w 151447"/>
                <a:gd name="connsiteY20" fmla="*/ 152400 h 152400"/>
                <a:gd name="connsiteX21" fmla="*/ 90488 w 151447"/>
                <a:gd name="connsiteY21" fmla="*/ 152400 h 152400"/>
                <a:gd name="connsiteX22" fmla="*/ 93345 w 151447"/>
                <a:gd name="connsiteY22" fmla="*/ 132398 h 152400"/>
                <a:gd name="connsiteX23" fmla="*/ 115252 w 151447"/>
                <a:gd name="connsiteY23" fmla="*/ 120015 h 152400"/>
                <a:gd name="connsiteX24" fmla="*/ 137160 w 151447"/>
                <a:gd name="connsiteY24" fmla="*/ 127635 h 152400"/>
                <a:gd name="connsiteX25" fmla="*/ 89535 w 151447"/>
                <a:gd name="connsiteY25" fmla="*/ 100965 h 152400"/>
                <a:gd name="connsiteX26" fmla="*/ 71438 w 151447"/>
                <a:gd name="connsiteY26" fmla="*/ 104775 h 152400"/>
                <a:gd name="connsiteX27" fmla="*/ 55245 w 151447"/>
                <a:gd name="connsiteY27" fmla="*/ 96202 h 152400"/>
                <a:gd name="connsiteX28" fmla="*/ 46673 w 151447"/>
                <a:gd name="connsiteY28" fmla="*/ 80010 h 152400"/>
                <a:gd name="connsiteX29" fmla="*/ 50482 w 151447"/>
                <a:gd name="connsiteY29" fmla="*/ 61913 h 152400"/>
                <a:gd name="connsiteX30" fmla="*/ 63818 w 151447"/>
                <a:gd name="connsiteY30" fmla="*/ 49530 h 152400"/>
                <a:gd name="connsiteX31" fmla="*/ 81915 w 151447"/>
                <a:gd name="connsiteY31" fmla="*/ 48577 h 152400"/>
                <a:gd name="connsiteX32" fmla="*/ 97155 w 151447"/>
                <a:gd name="connsiteY32" fmla="*/ 59055 h 152400"/>
                <a:gd name="connsiteX33" fmla="*/ 102870 w 151447"/>
                <a:gd name="connsiteY33" fmla="*/ 76200 h 152400"/>
                <a:gd name="connsiteX34" fmla="*/ 99060 w 151447"/>
                <a:gd name="connsiteY34" fmla="*/ 90488 h 152400"/>
                <a:gd name="connsiteX35" fmla="*/ 89535 w 151447"/>
                <a:gd name="connsiteY35" fmla="*/ 100965 h 152400"/>
                <a:gd name="connsiteX36" fmla="*/ 89535 w 151447"/>
                <a:gd name="connsiteY36" fmla="*/ 10096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1447" h="152400">
                  <a:moveTo>
                    <a:pt x="137160" y="127635"/>
                  </a:moveTo>
                  <a:lnTo>
                    <a:pt x="151448" y="102870"/>
                  </a:lnTo>
                  <a:lnTo>
                    <a:pt x="133350" y="88582"/>
                  </a:lnTo>
                  <a:lnTo>
                    <a:pt x="133350" y="63818"/>
                  </a:lnTo>
                  <a:lnTo>
                    <a:pt x="151448" y="48577"/>
                  </a:lnTo>
                  <a:lnTo>
                    <a:pt x="137160" y="23813"/>
                  </a:lnTo>
                  <a:lnTo>
                    <a:pt x="115252" y="32385"/>
                  </a:lnTo>
                  <a:lnTo>
                    <a:pt x="93345" y="20003"/>
                  </a:lnTo>
                  <a:lnTo>
                    <a:pt x="89535" y="0"/>
                  </a:lnTo>
                  <a:lnTo>
                    <a:pt x="60960" y="0"/>
                  </a:lnTo>
                  <a:lnTo>
                    <a:pt x="57150" y="20003"/>
                  </a:lnTo>
                  <a:lnTo>
                    <a:pt x="35243" y="33338"/>
                  </a:lnTo>
                  <a:lnTo>
                    <a:pt x="14288" y="25718"/>
                  </a:lnTo>
                  <a:lnTo>
                    <a:pt x="0" y="50482"/>
                  </a:lnTo>
                  <a:lnTo>
                    <a:pt x="17145" y="64770"/>
                  </a:lnTo>
                  <a:lnTo>
                    <a:pt x="17145" y="90488"/>
                  </a:lnTo>
                  <a:lnTo>
                    <a:pt x="0" y="103823"/>
                  </a:lnTo>
                  <a:lnTo>
                    <a:pt x="14288" y="128588"/>
                  </a:lnTo>
                  <a:lnTo>
                    <a:pt x="36195" y="120015"/>
                  </a:lnTo>
                  <a:lnTo>
                    <a:pt x="58102" y="132398"/>
                  </a:lnTo>
                  <a:lnTo>
                    <a:pt x="61913" y="152400"/>
                  </a:lnTo>
                  <a:lnTo>
                    <a:pt x="90488" y="152400"/>
                  </a:lnTo>
                  <a:lnTo>
                    <a:pt x="93345" y="132398"/>
                  </a:lnTo>
                  <a:lnTo>
                    <a:pt x="115252" y="120015"/>
                  </a:lnTo>
                  <a:lnTo>
                    <a:pt x="137160" y="127635"/>
                  </a:lnTo>
                  <a:close/>
                  <a:moveTo>
                    <a:pt x="89535" y="100965"/>
                  </a:moveTo>
                  <a:cubicBezTo>
                    <a:pt x="83820" y="103823"/>
                    <a:pt x="78105" y="105727"/>
                    <a:pt x="71438" y="104775"/>
                  </a:cubicBezTo>
                  <a:cubicBezTo>
                    <a:pt x="64770" y="103823"/>
                    <a:pt x="59055" y="100965"/>
                    <a:pt x="55245" y="96202"/>
                  </a:cubicBezTo>
                  <a:cubicBezTo>
                    <a:pt x="50482" y="91440"/>
                    <a:pt x="47625" y="85725"/>
                    <a:pt x="46673" y="80010"/>
                  </a:cubicBezTo>
                  <a:cubicBezTo>
                    <a:pt x="45720" y="73343"/>
                    <a:pt x="46673" y="67627"/>
                    <a:pt x="50482" y="61913"/>
                  </a:cubicBezTo>
                  <a:cubicBezTo>
                    <a:pt x="54293" y="56198"/>
                    <a:pt x="58102" y="52388"/>
                    <a:pt x="63818" y="49530"/>
                  </a:cubicBezTo>
                  <a:cubicBezTo>
                    <a:pt x="69532" y="46673"/>
                    <a:pt x="76200" y="46673"/>
                    <a:pt x="81915" y="48577"/>
                  </a:cubicBezTo>
                  <a:cubicBezTo>
                    <a:pt x="87630" y="50482"/>
                    <a:pt x="93345" y="53340"/>
                    <a:pt x="97155" y="59055"/>
                  </a:cubicBezTo>
                  <a:cubicBezTo>
                    <a:pt x="100965" y="63818"/>
                    <a:pt x="102870" y="70485"/>
                    <a:pt x="102870" y="76200"/>
                  </a:cubicBezTo>
                  <a:cubicBezTo>
                    <a:pt x="102870" y="80963"/>
                    <a:pt x="101917" y="85725"/>
                    <a:pt x="99060" y="90488"/>
                  </a:cubicBezTo>
                  <a:cubicBezTo>
                    <a:pt x="98108" y="94298"/>
                    <a:pt x="94298" y="98107"/>
                    <a:pt x="89535" y="100965"/>
                  </a:cubicBezTo>
                  <a:lnTo>
                    <a:pt x="89535" y="100965"/>
                  </a:lnTo>
                  <a:close/>
                </a:path>
              </a:pathLst>
            </a:custGeom>
            <a:solidFill>
              <a:srgbClr val="40AA1D"/>
            </a:solidFill>
            <a:ln w="9525" cap="flat">
              <a:noFill/>
              <a:prstDash val="solid"/>
              <a:miter/>
            </a:ln>
          </p:spPr>
          <p:txBody>
            <a:bodyPr rtlCol="0" anchor="ctr"/>
            <a:lstStyle/>
            <a:p>
              <a:endParaRPr lang="en-US" dirty="0"/>
            </a:p>
          </p:txBody>
        </p:sp>
        <p:sp>
          <p:nvSpPr>
            <p:cNvPr id="439" name="Freeform: Shape 438">
              <a:extLst>
                <a:ext uri="{FF2B5EF4-FFF2-40B4-BE49-F238E27FC236}">
                  <a16:creationId xmlns:a16="http://schemas.microsoft.com/office/drawing/2014/main" id="{F519E584-176D-E660-5FA5-22B37CADBA92}"/>
                </a:ext>
              </a:extLst>
            </p:cNvPr>
            <p:cNvSpPr/>
            <p:nvPr/>
          </p:nvSpPr>
          <p:spPr>
            <a:xfrm>
              <a:off x="9400364" y="4461552"/>
              <a:ext cx="304800" cy="133350"/>
            </a:xfrm>
            <a:custGeom>
              <a:avLst/>
              <a:gdLst>
                <a:gd name="connsiteX0" fmla="*/ 304800 w 304800"/>
                <a:gd name="connsiteY0" fmla="*/ 0 h 133350"/>
                <a:gd name="connsiteX1" fmla="*/ 0 w 304800"/>
                <a:gd name="connsiteY1" fmla="*/ 0 h 133350"/>
                <a:gd name="connsiteX2" fmla="*/ 0 w 304800"/>
                <a:gd name="connsiteY2" fmla="*/ 133350 h 133350"/>
                <a:gd name="connsiteX3" fmla="*/ 42863 w 304800"/>
                <a:gd name="connsiteY3" fmla="*/ 133350 h 133350"/>
                <a:gd name="connsiteX4" fmla="*/ 47625 w 304800"/>
                <a:gd name="connsiteY4" fmla="*/ 124778 h 133350"/>
                <a:gd name="connsiteX5" fmla="*/ 60007 w 304800"/>
                <a:gd name="connsiteY5" fmla="*/ 103823 h 133350"/>
                <a:gd name="connsiteX6" fmla="*/ 82868 w 304800"/>
                <a:gd name="connsiteY6" fmla="*/ 112395 h 133350"/>
                <a:gd name="connsiteX7" fmla="*/ 89535 w 304800"/>
                <a:gd name="connsiteY7" fmla="*/ 115253 h 133350"/>
                <a:gd name="connsiteX8" fmla="*/ 90488 w 304800"/>
                <a:gd name="connsiteY8" fmla="*/ 109538 h 133350"/>
                <a:gd name="connsiteX9" fmla="*/ 94298 w 304800"/>
                <a:gd name="connsiteY9" fmla="*/ 85725 h 133350"/>
                <a:gd name="connsiteX10" fmla="*/ 118110 w 304800"/>
                <a:gd name="connsiteY10" fmla="*/ 85725 h 133350"/>
                <a:gd name="connsiteX11" fmla="*/ 146685 w 304800"/>
                <a:gd name="connsiteY11" fmla="*/ 85725 h 133350"/>
                <a:gd name="connsiteX12" fmla="*/ 171450 w 304800"/>
                <a:gd name="connsiteY12" fmla="*/ 85725 h 133350"/>
                <a:gd name="connsiteX13" fmla="*/ 175260 w 304800"/>
                <a:gd name="connsiteY13" fmla="*/ 109538 h 133350"/>
                <a:gd name="connsiteX14" fmla="*/ 176213 w 304800"/>
                <a:gd name="connsiteY14" fmla="*/ 114300 h 133350"/>
                <a:gd name="connsiteX15" fmla="*/ 183833 w 304800"/>
                <a:gd name="connsiteY15" fmla="*/ 111443 h 133350"/>
                <a:gd name="connsiteX16" fmla="*/ 206692 w 304800"/>
                <a:gd name="connsiteY16" fmla="*/ 102870 h 133350"/>
                <a:gd name="connsiteX17" fmla="*/ 219075 w 304800"/>
                <a:gd name="connsiteY17" fmla="*/ 123825 h 133350"/>
                <a:gd name="connsiteX18" fmla="*/ 224790 w 304800"/>
                <a:gd name="connsiteY18" fmla="*/ 133350 h 133350"/>
                <a:gd name="connsiteX19" fmla="*/ 304800 w 304800"/>
                <a:gd name="connsiteY19" fmla="*/ 133350 h 133350"/>
                <a:gd name="connsiteX20" fmla="*/ 304800 w 304800"/>
                <a:gd name="connsiteY20" fmla="*/ 0 h 133350"/>
                <a:gd name="connsiteX21" fmla="*/ 68580 w 304800"/>
                <a:gd name="connsiteY21" fmla="*/ 95250 h 133350"/>
                <a:gd name="connsiteX22" fmla="*/ 35243 w 304800"/>
                <a:gd name="connsiteY22" fmla="*/ 95250 h 133350"/>
                <a:gd name="connsiteX23" fmla="*/ 19050 w 304800"/>
                <a:gd name="connsiteY23" fmla="*/ 66675 h 133350"/>
                <a:gd name="connsiteX24" fmla="*/ 35243 w 304800"/>
                <a:gd name="connsiteY24" fmla="*/ 38100 h 133350"/>
                <a:gd name="connsiteX25" fmla="*/ 68580 w 304800"/>
                <a:gd name="connsiteY25" fmla="*/ 38100 h 133350"/>
                <a:gd name="connsiteX26" fmla="*/ 84773 w 304800"/>
                <a:gd name="connsiteY26" fmla="*/ 66675 h 133350"/>
                <a:gd name="connsiteX27" fmla="*/ 68580 w 304800"/>
                <a:gd name="connsiteY27" fmla="*/ 95250 h 133350"/>
                <a:gd name="connsiteX28" fmla="*/ 209550 w 304800"/>
                <a:gd name="connsiteY28" fmla="*/ 76200 h 133350"/>
                <a:gd name="connsiteX29" fmla="*/ 190500 w 304800"/>
                <a:gd name="connsiteY29" fmla="*/ 76200 h 133350"/>
                <a:gd name="connsiteX30" fmla="*/ 190500 w 304800"/>
                <a:gd name="connsiteY30" fmla="*/ 57150 h 133350"/>
                <a:gd name="connsiteX31" fmla="*/ 209550 w 304800"/>
                <a:gd name="connsiteY31" fmla="*/ 57150 h 133350"/>
                <a:gd name="connsiteX32" fmla="*/ 209550 w 304800"/>
                <a:gd name="connsiteY32" fmla="*/ 76200 h 133350"/>
                <a:gd name="connsiteX33" fmla="*/ 247650 w 304800"/>
                <a:gd name="connsiteY33" fmla="*/ 76200 h 133350"/>
                <a:gd name="connsiteX34" fmla="*/ 228600 w 304800"/>
                <a:gd name="connsiteY34" fmla="*/ 76200 h 133350"/>
                <a:gd name="connsiteX35" fmla="*/ 228600 w 304800"/>
                <a:gd name="connsiteY35" fmla="*/ 57150 h 133350"/>
                <a:gd name="connsiteX36" fmla="*/ 247650 w 304800"/>
                <a:gd name="connsiteY36" fmla="*/ 57150 h 133350"/>
                <a:gd name="connsiteX37" fmla="*/ 247650 w 304800"/>
                <a:gd name="connsiteY37" fmla="*/ 76200 h 133350"/>
                <a:gd name="connsiteX38" fmla="*/ 285750 w 304800"/>
                <a:gd name="connsiteY38" fmla="*/ 76200 h 133350"/>
                <a:gd name="connsiteX39" fmla="*/ 266700 w 304800"/>
                <a:gd name="connsiteY39" fmla="*/ 76200 h 133350"/>
                <a:gd name="connsiteX40" fmla="*/ 266700 w 304800"/>
                <a:gd name="connsiteY40" fmla="*/ 57150 h 133350"/>
                <a:gd name="connsiteX41" fmla="*/ 285750 w 304800"/>
                <a:gd name="connsiteY41" fmla="*/ 57150 h 133350"/>
                <a:gd name="connsiteX42" fmla="*/ 285750 w 304800"/>
                <a:gd name="connsiteY42" fmla="*/ 7620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04800" h="133350">
                  <a:moveTo>
                    <a:pt x="304800" y="0"/>
                  </a:moveTo>
                  <a:lnTo>
                    <a:pt x="0" y="0"/>
                  </a:lnTo>
                  <a:lnTo>
                    <a:pt x="0" y="133350"/>
                  </a:lnTo>
                  <a:lnTo>
                    <a:pt x="42863" y="133350"/>
                  </a:lnTo>
                  <a:lnTo>
                    <a:pt x="47625" y="124778"/>
                  </a:lnTo>
                  <a:lnTo>
                    <a:pt x="60007" y="103823"/>
                  </a:lnTo>
                  <a:lnTo>
                    <a:pt x="82868" y="112395"/>
                  </a:lnTo>
                  <a:lnTo>
                    <a:pt x="89535" y="115253"/>
                  </a:lnTo>
                  <a:lnTo>
                    <a:pt x="90488" y="109538"/>
                  </a:lnTo>
                  <a:lnTo>
                    <a:pt x="94298" y="85725"/>
                  </a:lnTo>
                  <a:lnTo>
                    <a:pt x="118110" y="85725"/>
                  </a:lnTo>
                  <a:lnTo>
                    <a:pt x="146685" y="85725"/>
                  </a:lnTo>
                  <a:lnTo>
                    <a:pt x="171450" y="85725"/>
                  </a:lnTo>
                  <a:lnTo>
                    <a:pt x="175260" y="109538"/>
                  </a:lnTo>
                  <a:lnTo>
                    <a:pt x="176213" y="114300"/>
                  </a:lnTo>
                  <a:lnTo>
                    <a:pt x="183833" y="111443"/>
                  </a:lnTo>
                  <a:lnTo>
                    <a:pt x="206692" y="102870"/>
                  </a:lnTo>
                  <a:lnTo>
                    <a:pt x="219075" y="123825"/>
                  </a:lnTo>
                  <a:lnTo>
                    <a:pt x="224790" y="133350"/>
                  </a:lnTo>
                  <a:lnTo>
                    <a:pt x="304800" y="133350"/>
                  </a:lnTo>
                  <a:lnTo>
                    <a:pt x="304800" y="0"/>
                  </a:lnTo>
                  <a:close/>
                  <a:moveTo>
                    <a:pt x="68580" y="95250"/>
                  </a:moveTo>
                  <a:lnTo>
                    <a:pt x="35243" y="95250"/>
                  </a:lnTo>
                  <a:lnTo>
                    <a:pt x="19050" y="66675"/>
                  </a:lnTo>
                  <a:lnTo>
                    <a:pt x="35243" y="38100"/>
                  </a:lnTo>
                  <a:lnTo>
                    <a:pt x="68580" y="38100"/>
                  </a:lnTo>
                  <a:lnTo>
                    <a:pt x="84773" y="66675"/>
                  </a:lnTo>
                  <a:lnTo>
                    <a:pt x="68580" y="95250"/>
                  </a:lnTo>
                  <a:close/>
                  <a:moveTo>
                    <a:pt x="209550" y="76200"/>
                  </a:moveTo>
                  <a:lnTo>
                    <a:pt x="190500" y="76200"/>
                  </a:lnTo>
                  <a:lnTo>
                    <a:pt x="190500" y="57150"/>
                  </a:lnTo>
                  <a:lnTo>
                    <a:pt x="209550" y="57150"/>
                  </a:lnTo>
                  <a:lnTo>
                    <a:pt x="209550" y="76200"/>
                  </a:lnTo>
                  <a:close/>
                  <a:moveTo>
                    <a:pt x="247650" y="76200"/>
                  </a:moveTo>
                  <a:lnTo>
                    <a:pt x="228600" y="76200"/>
                  </a:lnTo>
                  <a:lnTo>
                    <a:pt x="228600" y="57150"/>
                  </a:lnTo>
                  <a:lnTo>
                    <a:pt x="247650" y="57150"/>
                  </a:lnTo>
                  <a:lnTo>
                    <a:pt x="247650" y="76200"/>
                  </a:lnTo>
                  <a:close/>
                  <a:moveTo>
                    <a:pt x="285750" y="76200"/>
                  </a:moveTo>
                  <a:lnTo>
                    <a:pt x="266700" y="76200"/>
                  </a:lnTo>
                  <a:lnTo>
                    <a:pt x="266700" y="57150"/>
                  </a:lnTo>
                  <a:lnTo>
                    <a:pt x="285750" y="57150"/>
                  </a:lnTo>
                  <a:lnTo>
                    <a:pt x="285750" y="76200"/>
                  </a:lnTo>
                  <a:close/>
                </a:path>
              </a:pathLst>
            </a:custGeom>
            <a:solidFill>
              <a:srgbClr val="3D4647"/>
            </a:solidFill>
            <a:ln w="9525" cap="flat">
              <a:noFill/>
              <a:prstDash val="solid"/>
              <a:miter/>
            </a:ln>
          </p:spPr>
          <p:txBody>
            <a:bodyPr rtlCol="0" anchor="ctr"/>
            <a:lstStyle/>
            <a:p>
              <a:endParaRPr lang="en-US" dirty="0"/>
            </a:p>
          </p:txBody>
        </p:sp>
      </p:grpSp>
      <p:pic>
        <p:nvPicPr>
          <p:cNvPr id="265" name="Graphic 264">
            <a:extLst>
              <a:ext uri="{FF2B5EF4-FFF2-40B4-BE49-F238E27FC236}">
                <a16:creationId xmlns:a16="http://schemas.microsoft.com/office/drawing/2014/main" id="{2DD8236D-F477-232E-6468-71FC59FFECF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7791803" y="2983008"/>
            <a:ext cx="704850" cy="704850"/>
          </a:xfrm>
          <a:prstGeom prst="rect">
            <a:avLst/>
          </a:prstGeom>
        </p:spPr>
      </p:pic>
      <p:pic>
        <p:nvPicPr>
          <p:cNvPr id="267" name="Graphic 266">
            <a:extLst>
              <a:ext uri="{FF2B5EF4-FFF2-40B4-BE49-F238E27FC236}">
                <a16:creationId xmlns:a16="http://schemas.microsoft.com/office/drawing/2014/main" id="{30CC118C-B9A1-5F33-52FA-ADD1108A946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6549892" y="2906808"/>
            <a:ext cx="781050" cy="781050"/>
          </a:xfrm>
          <a:prstGeom prst="rect">
            <a:avLst/>
          </a:prstGeom>
        </p:spPr>
      </p:pic>
      <p:sp>
        <p:nvSpPr>
          <p:cNvPr id="59" name="object 32">
            <a:extLst>
              <a:ext uri="{FF2B5EF4-FFF2-40B4-BE49-F238E27FC236}">
                <a16:creationId xmlns:a16="http://schemas.microsoft.com/office/drawing/2014/main" id="{3DAE8295-7F1E-782A-88F1-AEB0F1144810}"/>
              </a:ext>
            </a:extLst>
          </p:cNvPr>
          <p:cNvSpPr txBox="1"/>
          <p:nvPr/>
        </p:nvSpPr>
        <p:spPr>
          <a:xfrm>
            <a:off x="3902919" y="2666746"/>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dministrator PLM</a:t>
            </a:r>
            <a:endParaRPr dirty="0"/>
          </a:p>
        </p:txBody>
      </p:sp>
      <p:sp>
        <p:nvSpPr>
          <p:cNvPr id="196" name="object 32">
            <a:extLst>
              <a:ext uri="{FF2B5EF4-FFF2-40B4-BE49-F238E27FC236}">
                <a16:creationId xmlns:a16="http://schemas.microsoft.com/office/drawing/2014/main" id="{3D15FB17-6345-65AA-4219-7A1E3C03A9F3}"/>
              </a:ext>
            </a:extLst>
          </p:cNvPr>
          <p:cNvSpPr txBox="1"/>
          <p:nvPr/>
        </p:nvSpPr>
        <p:spPr>
          <a:xfrm>
            <a:off x="11008348" y="2597496"/>
            <a:ext cx="101758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chitect Solutions</a:t>
            </a:r>
            <a:endParaRPr dirty="0"/>
          </a:p>
        </p:txBody>
      </p:sp>
      <p:pic>
        <p:nvPicPr>
          <p:cNvPr id="201" name="Graphic 200">
            <a:extLst>
              <a:ext uri="{FF2B5EF4-FFF2-40B4-BE49-F238E27FC236}">
                <a16:creationId xmlns:a16="http://schemas.microsoft.com/office/drawing/2014/main" id="{709D3ECC-B98B-3C67-928E-39B0947E012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5267060" y="2906808"/>
            <a:ext cx="781050" cy="781050"/>
          </a:xfrm>
          <a:prstGeom prst="rect">
            <a:avLst/>
          </a:prstGeom>
        </p:spPr>
      </p:pic>
      <p:grpSp>
        <p:nvGrpSpPr>
          <p:cNvPr id="24" name="Group 23">
            <a:extLst>
              <a:ext uri="{FF2B5EF4-FFF2-40B4-BE49-F238E27FC236}">
                <a16:creationId xmlns:a16="http://schemas.microsoft.com/office/drawing/2014/main" id="{F919D04C-0CE1-4E8D-4BEE-C9FDBDE5F62E}"/>
              </a:ext>
            </a:extLst>
          </p:cNvPr>
          <p:cNvGrpSpPr/>
          <p:nvPr/>
        </p:nvGrpSpPr>
        <p:grpSpPr>
          <a:xfrm>
            <a:off x="304663" y="1843719"/>
            <a:ext cx="609600" cy="578167"/>
            <a:chOff x="537926" y="1818419"/>
            <a:chExt cx="609600" cy="578167"/>
          </a:xfrm>
        </p:grpSpPr>
        <p:sp>
          <p:nvSpPr>
            <p:cNvPr id="14" name="Freeform: Shape 13">
              <a:extLst>
                <a:ext uri="{FF2B5EF4-FFF2-40B4-BE49-F238E27FC236}">
                  <a16:creationId xmlns:a16="http://schemas.microsoft.com/office/drawing/2014/main" id="{0BB3BD9F-9D8B-A5C5-730E-405742AB2723}"/>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9C06FB03-173B-9AF6-6C6C-1AC71510A792}"/>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nvGrpSpPr>
          <p:cNvPr id="226" name="Group 225">
            <a:extLst>
              <a:ext uri="{FF2B5EF4-FFF2-40B4-BE49-F238E27FC236}">
                <a16:creationId xmlns:a16="http://schemas.microsoft.com/office/drawing/2014/main" id="{4D66107C-7E85-D247-26D4-22B1988CD2BA}"/>
              </a:ext>
            </a:extLst>
          </p:cNvPr>
          <p:cNvGrpSpPr/>
          <p:nvPr/>
        </p:nvGrpSpPr>
        <p:grpSpPr>
          <a:xfrm>
            <a:off x="1256714" y="1764877"/>
            <a:ext cx="906478" cy="657009"/>
            <a:chOff x="1678459" y="1868686"/>
            <a:chExt cx="628338" cy="455415"/>
          </a:xfrm>
        </p:grpSpPr>
        <p:sp>
          <p:nvSpPr>
            <p:cNvPr id="209" name="Freeform: Shape 208">
              <a:extLst>
                <a:ext uri="{FF2B5EF4-FFF2-40B4-BE49-F238E27FC236}">
                  <a16:creationId xmlns:a16="http://schemas.microsoft.com/office/drawing/2014/main" id="{5CA2F3F4-2149-BF44-A13C-9DBD56C95643}"/>
                </a:ext>
              </a:extLst>
            </p:cNvPr>
            <p:cNvSpPr/>
            <p:nvPr/>
          </p:nvSpPr>
          <p:spPr>
            <a:xfrm>
              <a:off x="1976097" y="2094543"/>
              <a:ext cx="330700" cy="138112"/>
            </a:xfrm>
            <a:custGeom>
              <a:avLst/>
              <a:gdLst>
                <a:gd name="connsiteX0" fmla="*/ 304983 w 330700"/>
                <a:gd name="connsiteY0" fmla="*/ 46672 h 138112"/>
                <a:gd name="connsiteX1" fmla="*/ 269740 w 330700"/>
                <a:gd name="connsiteY1" fmla="*/ 15240 h 138112"/>
                <a:gd name="connsiteX2" fmla="*/ 206875 w 330700"/>
                <a:gd name="connsiteY2" fmla="*/ 953 h 138112"/>
                <a:gd name="connsiteX3" fmla="*/ 192588 w 330700"/>
                <a:gd name="connsiteY3" fmla="*/ 11430 h 138112"/>
                <a:gd name="connsiteX4" fmla="*/ 140200 w 330700"/>
                <a:gd name="connsiteY4" fmla="*/ 53340 h 138112"/>
                <a:gd name="connsiteX5" fmla="*/ 87813 w 330700"/>
                <a:gd name="connsiteY5" fmla="*/ 10478 h 138112"/>
                <a:gd name="connsiteX6" fmla="*/ 73525 w 330700"/>
                <a:gd name="connsiteY6" fmla="*/ 0 h 138112"/>
                <a:gd name="connsiteX7" fmla="*/ 23995 w 330700"/>
                <a:gd name="connsiteY7" fmla="*/ 11430 h 138112"/>
                <a:gd name="connsiteX8" fmla="*/ 18280 w 330700"/>
                <a:gd name="connsiteY8" fmla="*/ 31433 h 138112"/>
                <a:gd name="connsiteX9" fmla="*/ 11613 w 330700"/>
                <a:gd name="connsiteY9" fmla="*/ 42862 h 138112"/>
                <a:gd name="connsiteX10" fmla="*/ 7803 w 330700"/>
                <a:gd name="connsiteY10" fmla="*/ 48578 h 138112"/>
                <a:gd name="connsiteX11" fmla="*/ 3993 w 330700"/>
                <a:gd name="connsiteY11" fmla="*/ 56197 h 138112"/>
                <a:gd name="connsiteX12" fmla="*/ 182 w 330700"/>
                <a:gd name="connsiteY12" fmla="*/ 63817 h 138112"/>
                <a:gd name="connsiteX13" fmla="*/ 6850 w 330700"/>
                <a:gd name="connsiteY13" fmla="*/ 73342 h 138112"/>
                <a:gd name="connsiteX14" fmla="*/ 64000 w 330700"/>
                <a:gd name="connsiteY14" fmla="*/ 84773 h 138112"/>
                <a:gd name="connsiteX15" fmla="*/ 105910 w 330700"/>
                <a:gd name="connsiteY15" fmla="*/ 138112 h 138112"/>
                <a:gd name="connsiteX16" fmla="*/ 330700 w 330700"/>
                <a:gd name="connsiteY16" fmla="*/ 138112 h 138112"/>
                <a:gd name="connsiteX17" fmla="*/ 304983 w 330700"/>
                <a:gd name="connsiteY17" fmla="*/ 46672 h 138112"/>
                <a:gd name="connsiteX18" fmla="*/ 8755 w 330700"/>
                <a:gd name="connsiteY18" fmla="*/ 70485 h 138112"/>
                <a:gd name="connsiteX19" fmla="*/ 8755 w 330700"/>
                <a:gd name="connsiteY19" fmla="*/ 70485 h 138112"/>
                <a:gd name="connsiteX20" fmla="*/ 8755 w 330700"/>
                <a:gd name="connsiteY20" fmla="*/ 70485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0700" h="138112">
                  <a:moveTo>
                    <a:pt x="304983" y="46672"/>
                  </a:moveTo>
                  <a:cubicBezTo>
                    <a:pt x="304983" y="43815"/>
                    <a:pt x="300220" y="21908"/>
                    <a:pt x="269740" y="15240"/>
                  </a:cubicBezTo>
                  <a:lnTo>
                    <a:pt x="206875" y="953"/>
                  </a:lnTo>
                  <a:lnTo>
                    <a:pt x="192588" y="11430"/>
                  </a:lnTo>
                  <a:lnTo>
                    <a:pt x="140200" y="53340"/>
                  </a:lnTo>
                  <a:lnTo>
                    <a:pt x="87813" y="10478"/>
                  </a:lnTo>
                  <a:lnTo>
                    <a:pt x="73525" y="0"/>
                  </a:lnTo>
                  <a:lnTo>
                    <a:pt x="23995" y="11430"/>
                  </a:lnTo>
                  <a:cubicBezTo>
                    <a:pt x="23043" y="17145"/>
                    <a:pt x="21138" y="24765"/>
                    <a:pt x="18280" y="31433"/>
                  </a:cubicBezTo>
                  <a:cubicBezTo>
                    <a:pt x="16375" y="36195"/>
                    <a:pt x="13518" y="40005"/>
                    <a:pt x="11613" y="42862"/>
                  </a:cubicBezTo>
                  <a:cubicBezTo>
                    <a:pt x="10660" y="44767"/>
                    <a:pt x="9707" y="46672"/>
                    <a:pt x="7803" y="48578"/>
                  </a:cubicBezTo>
                  <a:cubicBezTo>
                    <a:pt x="6850" y="50483"/>
                    <a:pt x="5897" y="53340"/>
                    <a:pt x="3993" y="56197"/>
                  </a:cubicBezTo>
                  <a:cubicBezTo>
                    <a:pt x="3040" y="59055"/>
                    <a:pt x="2088" y="60960"/>
                    <a:pt x="182" y="63817"/>
                  </a:cubicBezTo>
                  <a:cubicBezTo>
                    <a:pt x="-770" y="65723"/>
                    <a:pt x="2088" y="72390"/>
                    <a:pt x="6850" y="73342"/>
                  </a:cubicBezTo>
                  <a:cubicBezTo>
                    <a:pt x="24948" y="76200"/>
                    <a:pt x="56380" y="82867"/>
                    <a:pt x="64000" y="84773"/>
                  </a:cubicBezTo>
                  <a:cubicBezTo>
                    <a:pt x="91623" y="89535"/>
                    <a:pt x="99243" y="117158"/>
                    <a:pt x="105910" y="138112"/>
                  </a:cubicBezTo>
                  <a:lnTo>
                    <a:pt x="330700" y="138112"/>
                  </a:lnTo>
                  <a:lnTo>
                    <a:pt x="304983" y="46672"/>
                  </a:lnTo>
                  <a:close/>
                  <a:moveTo>
                    <a:pt x="8755" y="70485"/>
                  </a:moveTo>
                  <a:cubicBezTo>
                    <a:pt x="8755" y="70485"/>
                    <a:pt x="8755" y="70485"/>
                    <a:pt x="8755" y="70485"/>
                  </a:cubicBezTo>
                  <a:cubicBezTo>
                    <a:pt x="8755" y="70485"/>
                    <a:pt x="8755" y="70485"/>
                    <a:pt x="8755" y="70485"/>
                  </a:cubicBezTo>
                  <a:close/>
                </a:path>
              </a:pathLst>
            </a:custGeom>
            <a:solidFill>
              <a:srgbClr val="40AA1D"/>
            </a:solidFill>
            <a:ln w="9525"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21969C82-3BA4-4E3E-7951-044A2EF5B01F}"/>
                </a:ext>
              </a:extLst>
            </p:cNvPr>
            <p:cNvSpPr/>
            <p:nvPr/>
          </p:nvSpPr>
          <p:spPr>
            <a:xfrm>
              <a:off x="1781332" y="1956783"/>
              <a:ext cx="181541" cy="238424"/>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1950D7F0-7A53-2476-A968-829732B2A58F}"/>
                </a:ext>
              </a:extLst>
            </p:cNvPr>
            <p:cNvSpPr/>
            <p:nvPr/>
          </p:nvSpPr>
          <p:spPr>
            <a:xfrm>
              <a:off x="1678459" y="2183709"/>
              <a:ext cx="387288" cy="140392"/>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sp>
          <p:nvSpPr>
            <p:cNvPr id="222" name="Freeform: Shape 221">
              <a:extLst>
                <a:ext uri="{FF2B5EF4-FFF2-40B4-BE49-F238E27FC236}">
                  <a16:creationId xmlns:a16="http://schemas.microsoft.com/office/drawing/2014/main" id="{8AAD55E8-8142-4C68-DE12-BBB777208FE4}"/>
                </a:ext>
              </a:extLst>
            </p:cNvPr>
            <p:cNvSpPr/>
            <p:nvPr/>
          </p:nvSpPr>
          <p:spPr>
            <a:xfrm>
              <a:off x="2030340" y="1868686"/>
              <a:ext cx="181541" cy="238424"/>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grpSp>
      <p:grpSp>
        <p:nvGrpSpPr>
          <p:cNvPr id="303" name="Group 302">
            <a:extLst>
              <a:ext uri="{FF2B5EF4-FFF2-40B4-BE49-F238E27FC236}">
                <a16:creationId xmlns:a16="http://schemas.microsoft.com/office/drawing/2014/main" id="{C895537A-8A53-7067-78F3-F7786338F8AE}"/>
              </a:ext>
            </a:extLst>
          </p:cNvPr>
          <p:cNvGrpSpPr/>
          <p:nvPr/>
        </p:nvGrpSpPr>
        <p:grpSpPr>
          <a:xfrm>
            <a:off x="8861028" y="2906808"/>
            <a:ext cx="781050" cy="781501"/>
            <a:chOff x="8861028" y="2906808"/>
            <a:chExt cx="781050" cy="781501"/>
          </a:xfrm>
        </p:grpSpPr>
        <p:grpSp>
          <p:nvGrpSpPr>
            <p:cNvPr id="247" name="Graphic 222">
              <a:extLst>
                <a:ext uri="{FF2B5EF4-FFF2-40B4-BE49-F238E27FC236}">
                  <a16:creationId xmlns:a16="http://schemas.microsoft.com/office/drawing/2014/main" id="{5B5A9284-CE9D-94AD-DC89-F8B5C6A0E983}"/>
                </a:ext>
              </a:extLst>
            </p:cNvPr>
            <p:cNvGrpSpPr/>
            <p:nvPr/>
          </p:nvGrpSpPr>
          <p:grpSpPr>
            <a:xfrm>
              <a:off x="8861028" y="2906808"/>
              <a:ext cx="781050" cy="307657"/>
              <a:chOff x="8861028" y="2906808"/>
              <a:chExt cx="781050" cy="307657"/>
            </a:xfrm>
          </p:grpSpPr>
          <p:grpSp>
            <p:nvGrpSpPr>
              <p:cNvPr id="249" name="Graphic 222">
                <a:extLst>
                  <a:ext uri="{FF2B5EF4-FFF2-40B4-BE49-F238E27FC236}">
                    <a16:creationId xmlns:a16="http://schemas.microsoft.com/office/drawing/2014/main" id="{0FF8CECB-302A-50A1-9B0C-9EF26093AE2C}"/>
                  </a:ext>
                </a:extLst>
              </p:cNvPr>
              <p:cNvGrpSpPr/>
              <p:nvPr/>
            </p:nvGrpSpPr>
            <p:grpSpPr>
              <a:xfrm>
                <a:off x="9338230" y="2963958"/>
                <a:ext cx="303847" cy="207644"/>
                <a:chOff x="9338230" y="2963958"/>
                <a:chExt cx="303847" cy="207644"/>
              </a:xfrm>
              <a:solidFill>
                <a:srgbClr val="3D4647"/>
              </a:solidFill>
            </p:grpSpPr>
            <p:sp>
              <p:nvSpPr>
                <p:cNvPr id="250" name="Freeform: Shape 249">
                  <a:extLst>
                    <a:ext uri="{FF2B5EF4-FFF2-40B4-BE49-F238E27FC236}">
                      <a16:creationId xmlns:a16="http://schemas.microsoft.com/office/drawing/2014/main" id="{51FB0A7C-6117-93B8-766F-16F96B3C3E81}"/>
                    </a:ext>
                  </a:extLst>
                </p:cNvPr>
                <p:cNvSpPr/>
                <p:nvPr/>
              </p:nvSpPr>
              <p:spPr>
                <a:xfrm>
                  <a:off x="9419192" y="3019068"/>
                  <a:ext cx="52387" cy="41091"/>
                </a:xfrm>
                <a:custGeom>
                  <a:avLst/>
                  <a:gdLst>
                    <a:gd name="connsiteX0" fmla="*/ 19050 w 52387"/>
                    <a:gd name="connsiteY0" fmla="*/ 41092 h 41091"/>
                    <a:gd name="connsiteX1" fmla="*/ 0 w 52387"/>
                    <a:gd name="connsiteY1" fmla="*/ 40139 h 41091"/>
                    <a:gd name="connsiteX2" fmla="*/ 16193 w 52387"/>
                    <a:gd name="connsiteY2" fmla="*/ 8707 h 41091"/>
                    <a:gd name="connsiteX3" fmla="*/ 52388 w 52387"/>
                    <a:gd name="connsiteY3" fmla="*/ 1087 h 41091"/>
                    <a:gd name="connsiteX4" fmla="*/ 48578 w 52387"/>
                    <a:gd name="connsiteY4" fmla="*/ 20137 h 41091"/>
                    <a:gd name="connsiteX5" fmla="*/ 27623 w 52387"/>
                    <a:gd name="connsiteY5" fmla="*/ 24899 h 41091"/>
                    <a:gd name="connsiteX6" fmla="*/ 19050 w 52387"/>
                    <a:gd name="connsiteY6" fmla="*/ 41092 h 41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387" h="41091">
                      <a:moveTo>
                        <a:pt x="19050" y="41092"/>
                      </a:moveTo>
                      <a:lnTo>
                        <a:pt x="0" y="40139"/>
                      </a:lnTo>
                      <a:cubicBezTo>
                        <a:pt x="953" y="26804"/>
                        <a:pt x="6668" y="16327"/>
                        <a:pt x="16193" y="8707"/>
                      </a:cubicBezTo>
                      <a:cubicBezTo>
                        <a:pt x="25718" y="1087"/>
                        <a:pt x="39053" y="-1771"/>
                        <a:pt x="52388" y="1087"/>
                      </a:cubicBezTo>
                      <a:lnTo>
                        <a:pt x="48578" y="20137"/>
                      </a:lnTo>
                      <a:cubicBezTo>
                        <a:pt x="40958" y="18232"/>
                        <a:pt x="33338" y="20137"/>
                        <a:pt x="27623" y="24899"/>
                      </a:cubicBezTo>
                      <a:cubicBezTo>
                        <a:pt x="22860" y="27757"/>
                        <a:pt x="19050" y="33472"/>
                        <a:pt x="19050" y="41092"/>
                      </a:cubicBezTo>
                      <a:close/>
                    </a:path>
                  </a:pathLst>
                </a:custGeom>
                <a:solidFill>
                  <a:srgbClr val="3D4647"/>
                </a:solidFill>
                <a:ln w="9525" cap="flat">
                  <a:noFill/>
                  <a:prstDash val="solid"/>
                  <a:miter/>
                </a:ln>
              </p:spPr>
              <p:txBody>
                <a:bodyPr rtlCol="0" anchor="ctr"/>
                <a:lstStyle/>
                <a:p>
                  <a:endParaRPr lang="en-US" dirty="0"/>
                </a:p>
              </p:txBody>
            </p:sp>
            <p:grpSp>
              <p:nvGrpSpPr>
                <p:cNvPr id="251" name="Graphic 222">
                  <a:extLst>
                    <a:ext uri="{FF2B5EF4-FFF2-40B4-BE49-F238E27FC236}">
                      <a16:creationId xmlns:a16="http://schemas.microsoft.com/office/drawing/2014/main" id="{E1BE58D8-F0A5-DEC5-FCF4-BF4DD5215596}"/>
                    </a:ext>
                  </a:extLst>
                </p:cNvPr>
                <p:cNvGrpSpPr/>
                <p:nvPr/>
              </p:nvGrpSpPr>
              <p:grpSpPr>
                <a:xfrm>
                  <a:off x="9547780" y="2963958"/>
                  <a:ext cx="94297" cy="82867"/>
                  <a:chOff x="9547780" y="2963958"/>
                  <a:chExt cx="94297" cy="82867"/>
                </a:xfrm>
                <a:solidFill>
                  <a:srgbClr val="3D4647"/>
                </a:solidFill>
              </p:grpSpPr>
              <p:sp>
                <p:nvSpPr>
                  <p:cNvPr id="253" name="Freeform: Shape 252">
                    <a:extLst>
                      <a:ext uri="{FF2B5EF4-FFF2-40B4-BE49-F238E27FC236}">
                        <a16:creationId xmlns:a16="http://schemas.microsoft.com/office/drawing/2014/main" id="{6DD98EC9-E0C9-1A36-6564-2F3C53145E27}"/>
                      </a:ext>
                    </a:extLst>
                  </p:cNvPr>
                  <p:cNvSpPr/>
                  <p:nvPr/>
                </p:nvSpPr>
                <p:spPr>
                  <a:xfrm>
                    <a:off x="9547780" y="2963958"/>
                    <a:ext cx="94297" cy="80962"/>
                  </a:xfrm>
                  <a:custGeom>
                    <a:avLst/>
                    <a:gdLst>
                      <a:gd name="connsiteX0" fmla="*/ 91440 w 94297"/>
                      <a:gd name="connsiteY0" fmla="*/ 74295 h 80962"/>
                      <a:gd name="connsiteX1" fmla="*/ 61913 w 94297"/>
                      <a:gd name="connsiteY1" fmla="*/ 30480 h 80962"/>
                      <a:gd name="connsiteX2" fmla="*/ 14288 w 94297"/>
                      <a:gd name="connsiteY2" fmla="*/ 2858 h 80962"/>
                      <a:gd name="connsiteX3" fmla="*/ 0 w 94297"/>
                      <a:gd name="connsiteY3" fmla="*/ 0 h 80962"/>
                      <a:gd name="connsiteX4" fmla="*/ 0 w 94297"/>
                      <a:gd name="connsiteY4" fmla="*/ 19050 h 80962"/>
                      <a:gd name="connsiteX5" fmla="*/ 8573 w 94297"/>
                      <a:gd name="connsiteY5" fmla="*/ 20955 h 80962"/>
                      <a:gd name="connsiteX6" fmla="*/ 48577 w 94297"/>
                      <a:gd name="connsiteY6" fmla="*/ 43815 h 80962"/>
                      <a:gd name="connsiteX7" fmla="*/ 73343 w 94297"/>
                      <a:gd name="connsiteY7" fmla="*/ 80010 h 80962"/>
                      <a:gd name="connsiteX8" fmla="*/ 73343 w 94297"/>
                      <a:gd name="connsiteY8" fmla="*/ 80963 h 80962"/>
                      <a:gd name="connsiteX9" fmla="*/ 94298 w 94297"/>
                      <a:gd name="connsiteY9" fmla="*/ 80963 h 80962"/>
                      <a:gd name="connsiteX10" fmla="*/ 91440 w 94297"/>
                      <a:gd name="connsiteY10" fmla="*/ 74295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297" h="80962">
                        <a:moveTo>
                          <a:pt x="91440" y="74295"/>
                        </a:moveTo>
                        <a:cubicBezTo>
                          <a:pt x="84773" y="58103"/>
                          <a:pt x="75248" y="42863"/>
                          <a:pt x="61913" y="30480"/>
                        </a:cubicBezTo>
                        <a:cubicBezTo>
                          <a:pt x="48577" y="17145"/>
                          <a:pt x="32385" y="8573"/>
                          <a:pt x="14288" y="2858"/>
                        </a:cubicBezTo>
                        <a:cubicBezTo>
                          <a:pt x="9525" y="1905"/>
                          <a:pt x="4763" y="0"/>
                          <a:pt x="0" y="0"/>
                        </a:cubicBezTo>
                        <a:lnTo>
                          <a:pt x="0" y="19050"/>
                        </a:lnTo>
                        <a:cubicBezTo>
                          <a:pt x="2858" y="20003"/>
                          <a:pt x="5715" y="20003"/>
                          <a:pt x="8573" y="20955"/>
                        </a:cubicBezTo>
                        <a:cubicBezTo>
                          <a:pt x="23813" y="25717"/>
                          <a:pt x="37148" y="33338"/>
                          <a:pt x="48577" y="43815"/>
                        </a:cubicBezTo>
                        <a:cubicBezTo>
                          <a:pt x="59055" y="54293"/>
                          <a:pt x="67627" y="66675"/>
                          <a:pt x="73343" y="80010"/>
                        </a:cubicBezTo>
                        <a:cubicBezTo>
                          <a:pt x="73343" y="80010"/>
                          <a:pt x="73343" y="80963"/>
                          <a:pt x="73343" y="80963"/>
                        </a:cubicBezTo>
                        <a:lnTo>
                          <a:pt x="94298" y="80963"/>
                        </a:lnTo>
                        <a:cubicBezTo>
                          <a:pt x="93345" y="79058"/>
                          <a:pt x="92393" y="77153"/>
                          <a:pt x="91440" y="74295"/>
                        </a:cubicBezTo>
                        <a:close/>
                      </a:path>
                    </a:pathLst>
                  </a:custGeom>
                  <a:solidFill>
                    <a:srgbClr val="3D4647"/>
                  </a:solidFill>
                  <a:ln w="9525" cap="flat">
                    <a:noFill/>
                    <a:prstDash val="solid"/>
                    <a:miter/>
                  </a:ln>
                </p:spPr>
                <p:txBody>
                  <a:bodyPr rtlCol="0" anchor="ctr"/>
                  <a:lstStyle/>
                  <a:p>
                    <a:endParaRPr lang="en-US" dirty="0"/>
                  </a:p>
                </p:txBody>
              </p:sp>
              <p:sp>
                <p:nvSpPr>
                  <p:cNvPr id="255" name="Freeform: Shape 254">
                    <a:extLst>
                      <a:ext uri="{FF2B5EF4-FFF2-40B4-BE49-F238E27FC236}">
                        <a16:creationId xmlns:a16="http://schemas.microsoft.com/office/drawing/2014/main" id="{521CF2E4-B858-22E7-8462-7EC7F3448DC4}"/>
                      </a:ext>
                    </a:extLst>
                  </p:cNvPr>
                  <p:cNvSpPr/>
                  <p:nvPr/>
                </p:nvSpPr>
                <p:spPr>
                  <a:xfrm>
                    <a:off x="9549685" y="2991580"/>
                    <a:ext cx="63817" cy="55245"/>
                  </a:xfrm>
                  <a:custGeom>
                    <a:avLst/>
                    <a:gdLst>
                      <a:gd name="connsiteX0" fmla="*/ 63817 w 63817"/>
                      <a:gd name="connsiteY0" fmla="*/ 53340 h 55245"/>
                      <a:gd name="connsiteX1" fmla="*/ 42863 w 63817"/>
                      <a:gd name="connsiteY1" fmla="*/ 21908 h 55245"/>
                      <a:gd name="connsiteX2" fmla="*/ 7620 w 63817"/>
                      <a:gd name="connsiteY2" fmla="*/ 1905 h 55245"/>
                      <a:gd name="connsiteX3" fmla="*/ 0 w 63817"/>
                      <a:gd name="connsiteY3" fmla="*/ 0 h 55245"/>
                      <a:gd name="connsiteX4" fmla="*/ 0 w 63817"/>
                      <a:gd name="connsiteY4" fmla="*/ 20003 h 55245"/>
                      <a:gd name="connsiteX5" fmla="*/ 1905 w 63817"/>
                      <a:gd name="connsiteY5" fmla="*/ 20955 h 55245"/>
                      <a:gd name="connsiteX6" fmla="*/ 29527 w 63817"/>
                      <a:gd name="connsiteY6" fmla="*/ 36195 h 55245"/>
                      <a:gd name="connsiteX7" fmla="*/ 43815 w 63817"/>
                      <a:gd name="connsiteY7" fmla="*/ 55245 h 55245"/>
                      <a:gd name="connsiteX8" fmla="*/ 63817 w 63817"/>
                      <a:gd name="connsiteY8" fmla="*/ 53340 h 55245"/>
                      <a:gd name="connsiteX9" fmla="*/ 63817 w 63817"/>
                      <a:gd name="connsiteY9" fmla="*/ 53340 h 5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817" h="55245">
                        <a:moveTo>
                          <a:pt x="63817" y="53340"/>
                        </a:moveTo>
                        <a:cubicBezTo>
                          <a:pt x="59055" y="40958"/>
                          <a:pt x="52388" y="30480"/>
                          <a:pt x="42863" y="21908"/>
                        </a:cubicBezTo>
                        <a:cubicBezTo>
                          <a:pt x="33338" y="12383"/>
                          <a:pt x="20955" y="5715"/>
                          <a:pt x="7620" y="1905"/>
                        </a:cubicBezTo>
                        <a:cubicBezTo>
                          <a:pt x="4763" y="953"/>
                          <a:pt x="2857" y="953"/>
                          <a:pt x="0" y="0"/>
                        </a:cubicBezTo>
                        <a:lnTo>
                          <a:pt x="0" y="20003"/>
                        </a:lnTo>
                        <a:cubicBezTo>
                          <a:pt x="952" y="20003"/>
                          <a:pt x="1905" y="20003"/>
                          <a:pt x="1905" y="20955"/>
                        </a:cubicBezTo>
                        <a:cubicBezTo>
                          <a:pt x="12382" y="23813"/>
                          <a:pt x="20955" y="29528"/>
                          <a:pt x="29527" y="36195"/>
                        </a:cubicBezTo>
                        <a:cubicBezTo>
                          <a:pt x="35242" y="41910"/>
                          <a:pt x="40005" y="47625"/>
                          <a:pt x="43815" y="55245"/>
                        </a:cubicBezTo>
                        <a:lnTo>
                          <a:pt x="63817" y="53340"/>
                        </a:lnTo>
                        <a:cubicBezTo>
                          <a:pt x="63817" y="54293"/>
                          <a:pt x="63817" y="54293"/>
                          <a:pt x="63817" y="53340"/>
                        </a:cubicBezTo>
                        <a:close/>
                      </a:path>
                    </a:pathLst>
                  </a:custGeom>
                  <a:solidFill>
                    <a:srgbClr val="3D4647"/>
                  </a:solidFill>
                  <a:ln w="9525" cap="flat">
                    <a:noFill/>
                    <a:prstDash val="solid"/>
                    <a:miter/>
                  </a:ln>
                </p:spPr>
                <p:txBody>
                  <a:bodyPr rtlCol="0" anchor="ctr"/>
                  <a:lstStyle/>
                  <a:p>
                    <a:endParaRPr lang="en-US" dirty="0"/>
                  </a:p>
                </p:txBody>
              </p:sp>
            </p:grpSp>
            <p:sp>
              <p:nvSpPr>
                <p:cNvPr id="256" name="Freeform: Shape 255">
                  <a:extLst>
                    <a:ext uri="{FF2B5EF4-FFF2-40B4-BE49-F238E27FC236}">
                      <a16:creationId xmlns:a16="http://schemas.microsoft.com/office/drawing/2014/main" id="{7FA492DB-A014-82EB-0B70-EABEAF1D5CAF}"/>
                    </a:ext>
                  </a:extLst>
                </p:cNvPr>
                <p:cNvSpPr/>
                <p:nvPr/>
              </p:nvSpPr>
              <p:spPr>
                <a:xfrm>
                  <a:off x="9338230" y="2988723"/>
                  <a:ext cx="286702" cy="182879"/>
                </a:xfrm>
                <a:custGeom>
                  <a:avLst/>
                  <a:gdLst>
                    <a:gd name="connsiteX0" fmla="*/ 66675 w 286702"/>
                    <a:gd name="connsiteY0" fmla="*/ 182880 h 182879"/>
                    <a:gd name="connsiteX1" fmla="*/ 0 w 286702"/>
                    <a:gd name="connsiteY1" fmla="*/ 115253 h 182879"/>
                    <a:gd name="connsiteX2" fmla="*/ 54293 w 286702"/>
                    <a:gd name="connsiteY2" fmla="*/ 49530 h 182879"/>
                    <a:gd name="connsiteX3" fmla="*/ 123825 w 286702"/>
                    <a:gd name="connsiteY3" fmla="*/ 0 h 182879"/>
                    <a:gd name="connsiteX4" fmla="*/ 184785 w 286702"/>
                    <a:gd name="connsiteY4" fmla="*/ 32385 h 182879"/>
                    <a:gd name="connsiteX5" fmla="*/ 197168 w 286702"/>
                    <a:gd name="connsiteY5" fmla="*/ 31432 h 182879"/>
                    <a:gd name="connsiteX6" fmla="*/ 251460 w 286702"/>
                    <a:gd name="connsiteY6" fmla="*/ 84773 h 182879"/>
                    <a:gd name="connsiteX7" fmla="*/ 286703 w 286702"/>
                    <a:gd name="connsiteY7" fmla="*/ 132398 h 182879"/>
                    <a:gd name="connsiteX8" fmla="*/ 236220 w 286702"/>
                    <a:gd name="connsiteY8" fmla="*/ 182880 h 182879"/>
                    <a:gd name="connsiteX9" fmla="*/ 66675 w 286702"/>
                    <a:gd name="connsiteY9" fmla="*/ 182880 h 182879"/>
                    <a:gd name="connsiteX10" fmla="*/ 123825 w 286702"/>
                    <a:gd name="connsiteY10" fmla="*/ 20002 h 182879"/>
                    <a:gd name="connsiteX11" fmla="*/ 70485 w 286702"/>
                    <a:gd name="connsiteY11" fmla="*/ 60960 h 182879"/>
                    <a:gd name="connsiteX12" fmla="*/ 68580 w 286702"/>
                    <a:gd name="connsiteY12" fmla="*/ 67627 h 182879"/>
                    <a:gd name="connsiteX13" fmla="*/ 61913 w 286702"/>
                    <a:gd name="connsiteY13" fmla="*/ 68580 h 182879"/>
                    <a:gd name="connsiteX14" fmla="*/ 18098 w 286702"/>
                    <a:gd name="connsiteY14" fmla="*/ 116205 h 182879"/>
                    <a:gd name="connsiteX15" fmla="*/ 65723 w 286702"/>
                    <a:gd name="connsiteY15" fmla="*/ 164783 h 182879"/>
                    <a:gd name="connsiteX16" fmla="*/ 236220 w 286702"/>
                    <a:gd name="connsiteY16" fmla="*/ 164783 h 182879"/>
                    <a:gd name="connsiteX17" fmla="*/ 267653 w 286702"/>
                    <a:gd name="connsiteY17" fmla="*/ 133350 h 182879"/>
                    <a:gd name="connsiteX18" fmla="*/ 240030 w 286702"/>
                    <a:gd name="connsiteY18" fmla="*/ 102870 h 182879"/>
                    <a:gd name="connsiteX19" fmla="*/ 230505 w 286702"/>
                    <a:gd name="connsiteY19" fmla="*/ 101917 h 182879"/>
                    <a:gd name="connsiteX20" fmla="*/ 232410 w 286702"/>
                    <a:gd name="connsiteY20" fmla="*/ 92392 h 182879"/>
                    <a:gd name="connsiteX21" fmla="*/ 232410 w 286702"/>
                    <a:gd name="connsiteY21" fmla="*/ 86678 h 182879"/>
                    <a:gd name="connsiteX22" fmla="*/ 197168 w 286702"/>
                    <a:gd name="connsiteY22" fmla="*/ 51435 h 182879"/>
                    <a:gd name="connsiteX23" fmla="*/ 183833 w 286702"/>
                    <a:gd name="connsiteY23" fmla="*/ 54293 h 182879"/>
                    <a:gd name="connsiteX24" fmla="*/ 176213 w 286702"/>
                    <a:gd name="connsiteY24" fmla="*/ 57150 h 182879"/>
                    <a:gd name="connsiteX25" fmla="*/ 172402 w 286702"/>
                    <a:gd name="connsiteY25" fmla="*/ 49530 h 182879"/>
                    <a:gd name="connsiteX26" fmla="*/ 123825 w 286702"/>
                    <a:gd name="connsiteY26" fmla="*/ 20002 h 18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6702" h="182879">
                      <a:moveTo>
                        <a:pt x="66675" y="182880"/>
                      </a:moveTo>
                      <a:cubicBezTo>
                        <a:pt x="29528" y="182880"/>
                        <a:pt x="0" y="152400"/>
                        <a:pt x="0" y="115253"/>
                      </a:cubicBezTo>
                      <a:cubicBezTo>
                        <a:pt x="0" y="81915"/>
                        <a:pt x="22860" y="55245"/>
                        <a:pt x="54293" y="49530"/>
                      </a:cubicBezTo>
                      <a:cubicBezTo>
                        <a:pt x="64770" y="20002"/>
                        <a:pt x="92393" y="0"/>
                        <a:pt x="123825" y="0"/>
                      </a:cubicBezTo>
                      <a:cubicBezTo>
                        <a:pt x="148590" y="0"/>
                        <a:pt x="171450" y="12382"/>
                        <a:pt x="184785" y="32385"/>
                      </a:cubicBezTo>
                      <a:cubicBezTo>
                        <a:pt x="188595" y="31432"/>
                        <a:pt x="193358" y="31432"/>
                        <a:pt x="197168" y="31432"/>
                      </a:cubicBezTo>
                      <a:cubicBezTo>
                        <a:pt x="226695" y="31432"/>
                        <a:pt x="250508" y="55245"/>
                        <a:pt x="251460" y="84773"/>
                      </a:cubicBezTo>
                      <a:cubicBezTo>
                        <a:pt x="272415" y="91440"/>
                        <a:pt x="286703" y="110490"/>
                        <a:pt x="286703" y="132398"/>
                      </a:cubicBezTo>
                      <a:cubicBezTo>
                        <a:pt x="286703" y="160020"/>
                        <a:pt x="263843" y="182880"/>
                        <a:pt x="236220" y="182880"/>
                      </a:cubicBezTo>
                      <a:cubicBezTo>
                        <a:pt x="237173" y="182880"/>
                        <a:pt x="66675" y="182880"/>
                        <a:pt x="66675" y="182880"/>
                      </a:cubicBezTo>
                      <a:close/>
                      <a:moveTo>
                        <a:pt x="123825" y="20002"/>
                      </a:moveTo>
                      <a:cubicBezTo>
                        <a:pt x="99060" y="20002"/>
                        <a:pt x="77153" y="37147"/>
                        <a:pt x="70485" y="60960"/>
                      </a:cubicBezTo>
                      <a:lnTo>
                        <a:pt x="68580" y="67627"/>
                      </a:lnTo>
                      <a:lnTo>
                        <a:pt x="61913" y="68580"/>
                      </a:lnTo>
                      <a:cubicBezTo>
                        <a:pt x="37148" y="70485"/>
                        <a:pt x="18098" y="91440"/>
                        <a:pt x="18098" y="116205"/>
                      </a:cubicBezTo>
                      <a:cubicBezTo>
                        <a:pt x="18098" y="142875"/>
                        <a:pt x="40005" y="164783"/>
                        <a:pt x="65723" y="164783"/>
                      </a:cubicBezTo>
                      <a:cubicBezTo>
                        <a:pt x="66675" y="164783"/>
                        <a:pt x="236220" y="164783"/>
                        <a:pt x="236220" y="164783"/>
                      </a:cubicBezTo>
                      <a:cubicBezTo>
                        <a:pt x="253365" y="164783"/>
                        <a:pt x="267653" y="150495"/>
                        <a:pt x="267653" y="133350"/>
                      </a:cubicBezTo>
                      <a:cubicBezTo>
                        <a:pt x="267653" y="117157"/>
                        <a:pt x="256223" y="103823"/>
                        <a:pt x="240030" y="102870"/>
                      </a:cubicBezTo>
                      <a:lnTo>
                        <a:pt x="230505" y="101917"/>
                      </a:lnTo>
                      <a:lnTo>
                        <a:pt x="232410" y="92392"/>
                      </a:lnTo>
                      <a:cubicBezTo>
                        <a:pt x="232410" y="90488"/>
                        <a:pt x="232410" y="88582"/>
                        <a:pt x="232410" y="86678"/>
                      </a:cubicBezTo>
                      <a:cubicBezTo>
                        <a:pt x="232410" y="67627"/>
                        <a:pt x="216218" y="51435"/>
                        <a:pt x="197168" y="51435"/>
                      </a:cubicBezTo>
                      <a:cubicBezTo>
                        <a:pt x="192405" y="51435"/>
                        <a:pt x="188595" y="52388"/>
                        <a:pt x="183833" y="54293"/>
                      </a:cubicBezTo>
                      <a:lnTo>
                        <a:pt x="176213" y="57150"/>
                      </a:lnTo>
                      <a:lnTo>
                        <a:pt x="172402" y="49530"/>
                      </a:lnTo>
                      <a:cubicBezTo>
                        <a:pt x="162877" y="30480"/>
                        <a:pt x="144780" y="20002"/>
                        <a:pt x="123825" y="20002"/>
                      </a:cubicBezTo>
                      <a:close/>
                    </a:path>
                  </a:pathLst>
                </a:custGeom>
                <a:solidFill>
                  <a:srgbClr val="3D4647"/>
                </a:solidFill>
                <a:ln w="9525" cap="flat">
                  <a:noFill/>
                  <a:prstDash val="solid"/>
                  <a:miter/>
                </a:ln>
              </p:spPr>
              <p:txBody>
                <a:bodyPr rtlCol="0" anchor="ctr"/>
                <a:lstStyle/>
                <a:p>
                  <a:endParaRPr lang="en-US" dirty="0"/>
                </a:p>
              </p:txBody>
            </p:sp>
          </p:grpSp>
          <p:grpSp>
            <p:nvGrpSpPr>
              <p:cNvPr id="258" name="Graphic 222">
                <a:extLst>
                  <a:ext uri="{FF2B5EF4-FFF2-40B4-BE49-F238E27FC236}">
                    <a16:creationId xmlns:a16="http://schemas.microsoft.com/office/drawing/2014/main" id="{3243CFB9-01E0-3F81-C200-F0DE8D13AD77}"/>
                  </a:ext>
                </a:extLst>
              </p:cNvPr>
              <p:cNvGrpSpPr/>
              <p:nvPr/>
            </p:nvGrpSpPr>
            <p:grpSpPr>
              <a:xfrm>
                <a:off x="8861028" y="2906808"/>
                <a:ext cx="490537" cy="307657"/>
                <a:chOff x="8861028" y="2906808"/>
                <a:chExt cx="490537" cy="307657"/>
              </a:xfrm>
              <a:solidFill>
                <a:srgbClr val="40AA1D"/>
              </a:solidFill>
            </p:grpSpPr>
            <p:sp>
              <p:nvSpPr>
                <p:cNvPr id="260" name="Freeform: Shape 259">
                  <a:extLst>
                    <a:ext uri="{FF2B5EF4-FFF2-40B4-BE49-F238E27FC236}">
                      <a16:creationId xmlns:a16="http://schemas.microsoft.com/office/drawing/2014/main" id="{768C4BC2-AA2B-81B4-3008-29E60ED7A576}"/>
                    </a:ext>
                  </a:extLst>
                </p:cNvPr>
                <p:cNvSpPr/>
                <p:nvPr/>
              </p:nvSpPr>
              <p:spPr>
                <a:xfrm>
                  <a:off x="9314417" y="3171602"/>
                  <a:ext cx="37147" cy="33337"/>
                </a:xfrm>
                <a:custGeom>
                  <a:avLst/>
                  <a:gdLst>
                    <a:gd name="connsiteX0" fmla="*/ 37148 w 37147"/>
                    <a:gd name="connsiteY0" fmla="*/ 12383 h 33337"/>
                    <a:gd name="connsiteX1" fmla="*/ 22860 w 37147"/>
                    <a:gd name="connsiteY1" fmla="*/ 0 h 33337"/>
                    <a:gd name="connsiteX2" fmla="*/ 0 w 37147"/>
                    <a:gd name="connsiteY2" fmla="*/ 15240 h 33337"/>
                    <a:gd name="connsiteX3" fmla="*/ 5715 w 37147"/>
                    <a:gd name="connsiteY3" fmla="*/ 33338 h 33337"/>
                    <a:gd name="connsiteX4" fmla="*/ 37148 w 37147"/>
                    <a:gd name="connsiteY4" fmla="*/ 12383 h 33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 h="33337">
                      <a:moveTo>
                        <a:pt x="37148" y="12383"/>
                      </a:moveTo>
                      <a:cubicBezTo>
                        <a:pt x="31433" y="8573"/>
                        <a:pt x="26670" y="4763"/>
                        <a:pt x="22860" y="0"/>
                      </a:cubicBezTo>
                      <a:cubicBezTo>
                        <a:pt x="16193" y="6668"/>
                        <a:pt x="8573" y="11430"/>
                        <a:pt x="0" y="15240"/>
                      </a:cubicBezTo>
                      <a:cubicBezTo>
                        <a:pt x="1905" y="21908"/>
                        <a:pt x="3810" y="27623"/>
                        <a:pt x="5715" y="33338"/>
                      </a:cubicBezTo>
                      <a:cubicBezTo>
                        <a:pt x="17145" y="28575"/>
                        <a:pt x="27623" y="21908"/>
                        <a:pt x="37148" y="12383"/>
                      </a:cubicBezTo>
                      <a:close/>
                    </a:path>
                  </a:pathLst>
                </a:custGeom>
                <a:solidFill>
                  <a:srgbClr val="40AA1D"/>
                </a:solidFill>
                <a:ln w="9525" cap="flat">
                  <a:noFill/>
                  <a:prstDash val="solid"/>
                  <a:miter/>
                </a:ln>
              </p:spPr>
              <p:txBody>
                <a:bodyPr rtlCol="0" anchor="ctr"/>
                <a:lstStyle/>
                <a:p>
                  <a:endParaRPr lang="en-US" dirty="0"/>
                </a:p>
              </p:txBody>
            </p:sp>
            <p:sp>
              <p:nvSpPr>
                <p:cNvPr id="261" name="Freeform: Shape 260">
                  <a:extLst>
                    <a:ext uri="{FF2B5EF4-FFF2-40B4-BE49-F238E27FC236}">
                      <a16:creationId xmlns:a16="http://schemas.microsoft.com/office/drawing/2014/main" id="{CF9F9C74-6004-A6F5-6B15-43C20B67A778}"/>
                    </a:ext>
                  </a:extLst>
                </p:cNvPr>
                <p:cNvSpPr/>
                <p:nvPr/>
              </p:nvSpPr>
              <p:spPr>
                <a:xfrm>
                  <a:off x="8861028" y="2906808"/>
                  <a:ext cx="487680" cy="307657"/>
                </a:xfrm>
                <a:custGeom>
                  <a:avLst/>
                  <a:gdLst>
                    <a:gd name="connsiteX0" fmla="*/ 108585 w 487680"/>
                    <a:gd name="connsiteY0" fmla="*/ 289560 h 307657"/>
                    <a:gd name="connsiteX1" fmla="*/ 19050 w 487680"/>
                    <a:gd name="connsiteY1" fmla="*/ 200025 h 307657"/>
                    <a:gd name="connsiteX2" fmla="*/ 100013 w 487680"/>
                    <a:gd name="connsiteY2" fmla="*/ 110490 h 307657"/>
                    <a:gd name="connsiteX3" fmla="*/ 113348 w 487680"/>
                    <a:gd name="connsiteY3" fmla="*/ 109538 h 307657"/>
                    <a:gd name="connsiteX4" fmla="*/ 117158 w 487680"/>
                    <a:gd name="connsiteY4" fmla="*/ 96203 h 307657"/>
                    <a:gd name="connsiteX5" fmla="*/ 216218 w 487680"/>
                    <a:gd name="connsiteY5" fmla="*/ 19050 h 307657"/>
                    <a:gd name="connsiteX6" fmla="*/ 306705 w 487680"/>
                    <a:gd name="connsiteY6" fmla="*/ 73343 h 307657"/>
                    <a:gd name="connsiteX7" fmla="*/ 314325 w 487680"/>
                    <a:gd name="connsiteY7" fmla="*/ 87630 h 307657"/>
                    <a:gd name="connsiteX8" fmla="*/ 330518 w 487680"/>
                    <a:gd name="connsiteY8" fmla="*/ 80963 h 307657"/>
                    <a:gd name="connsiteX9" fmla="*/ 354330 w 487680"/>
                    <a:gd name="connsiteY9" fmla="*/ 76200 h 307657"/>
                    <a:gd name="connsiteX10" fmla="*/ 405765 w 487680"/>
                    <a:gd name="connsiteY10" fmla="*/ 101918 h 307657"/>
                    <a:gd name="connsiteX11" fmla="*/ 411480 w 487680"/>
                    <a:gd name="connsiteY11" fmla="*/ 109538 h 307657"/>
                    <a:gd name="connsiteX12" fmla="*/ 419100 w 487680"/>
                    <a:gd name="connsiteY12" fmla="*/ 109538 h 307657"/>
                    <a:gd name="connsiteX13" fmla="*/ 473393 w 487680"/>
                    <a:gd name="connsiteY13" fmla="*/ 132398 h 307657"/>
                    <a:gd name="connsiteX14" fmla="*/ 487680 w 487680"/>
                    <a:gd name="connsiteY14" fmla="*/ 120015 h 307657"/>
                    <a:gd name="connsiteX15" fmla="*/ 420053 w 487680"/>
                    <a:gd name="connsiteY15" fmla="*/ 90488 h 307657"/>
                    <a:gd name="connsiteX16" fmla="*/ 420053 w 487680"/>
                    <a:gd name="connsiteY16" fmla="*/ 90488 h 307657"/>
                    <a:gd name="connsiteX17" fmla="*/ 353378 w 487680"/>
                    <a:gd name="connsiteY17" fmla="*/ 57150 h 307657"/>
                    <a:gd name="connsiteX18" fmla="*/ 321945 w 487680"/>
                    <a:gd name="connsiteY18" fmla="*/ 62865 h 307657"/>
                    <a:gd name="connsiteX19" fmla="*/ 216218 w 487680"/>
                    <a:gd name="connsiteY19" fmla="*/ 0 h 307657"/>
                    <a:gd name="connsiteX20" fmla="*/ 99060 w 487680"/>
                    <a:gd name="connsiteY20" fmla="*/ 91440 h 307657"/>
                    <a:gd name="connsiteX21" fmla="*/ 0 w 487680"/>
                    <a:gd name="connsiteY21" fmla="*/ 199073 h 307657"/>
                    <a:gd name="connsiteX22" fmla="*/ 108585 w 487680"/>
                    <a:gd name="connsiteY22" fmla="*/ 307658 h 307657"/>
                    <a:gd name="connsiteX23" fmla="*/ 149543 w 487680"/>
                    <a:gd name="connsiteY23" fmla="*/ 307658 h 307657"/>
                    <a:gd name="connsiteX24" fmla="*/ 154305 w 487680"/>
                    <a:gd name="connsiteY24" fmla="*/ 288608 h 307657"/>
                    <a:gd name="connsiteX25" fmla="*/ 108585 w 487680"/>
                    <a:gd name="connsiteY25" fmla="*/ 288608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7680" h="307657">
                      <a:moveTo>
                        <a:pt x="108585" y="289560"/>
                      </a:moveTo>
                      <a:cubicBezTo>
                        <a:pt x="59055" y="289560"/>
                        <a:pt x="19050" y="249555"/>
                        <a:pt x="19050" y="200025"/>
                      </a:cubicBezTo>
                      <a:cubicBezTo>
                        <a:pt x="19050" y="154305"/>
                        <a:pt x="54293" y="115253"/>
                        <a:pt x="100013" y="110490"/>
                      </a:cubicBezTo>
                      <a:lnTo>
                        <a:pt x="113348" y="109538"/>
                      </a:lnTo>
                      <a:lnTo>
                        <a:pt x="117158" y="96203"/>
                      </a:lnTo>
                      <a:cubicBezTo>
                        <a:pt x="128588" y="50483"/>
                        <a:pt x="169545" y="19050"/>
                        <a:pt x="216218" y="19050"/>
                      </a:cubicBezTo>
                      <a:cubicBezTo>
                        <a:pt x="253365" y="19050"/>
                        <a:pt x="288608" y="40005"/>
                        <a:pt x="306705" y="73343"/>
                      </a:cubicBezTo>
                      <a:lnTo>
                        <a:pt x="314325" y="87630"/>
                      </a:lnTo>
                      <a:lnTo>
                        <a:pt x="330518" y="80963"/>
                      </a:lnTo>
                      <a:cubicBezTo>
                        <a:pt x="338138" y="78105"/>
                        <a:pt x="345758" y="76200"/>
                        <a:pt x="354330" y="76200"/>
                      </a:cubicBezTo>
                      <a:cubicBezTo>
                        <a:pt x="374333" y="76200"/>
                        <a:pt x="393383" y="85725"/>
                        <a:pt x="405765" y="101918"/>
                      </a:cubicBezTo>
                      <a:lnTo>
                        <a:pt x="411480" y="109538"/>
                      </a:lnTo>
                      <a:lnTo>
                        <a:pt x="419100" y="109538"/>
                      </a:lnTo>
                      <a:cubicBezTo>
                        <a:pt x="440055" y="111443"/>
                        <a:pt x="459105" y="120015"/>
                        <a:pt x="473393" y="132398"/>
                      </a:cubicBezTo>
                      <a:cubicBezTo>
                        <a:pt x="478155" y="127635"/>
                        <a:pt x="482918" y="123825"/>
                        <a:pt x="487680" y="120015"/>
                      </a:cubicBezTo>
                      <a:cubicBezTo>
                        <a:pt x="469583" y="103823"/>
                        <a:pt x="446723" y="93345"/>
                        <a:pt x="420053" y="90488"/>
                      </a:cubicBezTo>
                      <a:cubicBezTo>
                        <a:pt x="420053" y="90488"/>
                        <a:pt x="420053" y="90488"/>
                        <a:pt x="420053" y="90488"/>
                      </a:cubicBezTo>
                      <a:cubicBezTo>
                        <a:pt x="404813" y="70485"/>
                        <a:pt x="381000" y="57150"/>
                        <a:pt x="353378" y="57150"/>
                      </a:cubicBezTo>
                      <a:cubicBezTo>
                        <a:pt x="342900" y="57150"/>
                        <a:pt x="332423" y="59055"/>
                        <a:pt x="321945" y="62865"/>
                      </a:cubicBezTo>
                      <a:cubicBezTo>
                        <a:pt x="302895" y="25718"/>
                        <a:pt x="261938" y="0"/>
                        <a:pt x="216218" y="0"/>
                      </a:cubicBezTo>
                      <a:cubicBezTo>
                        <a:pt x="160020" y="0"/>
                        <a:pt x="112395" y="39053"/>
                        <a:pt x="99060" y="91440"/>
                      </a:cubicBezTo>
                      <a:cubicBezTo>
                        <a:pt x="42863" y="96203"/>
                        <a:pt x="0" y="142875"/>
                        <a:pt x="0" y="199073"/>
                      </a:cubicBezTo>
                      <a:cubicBezTo>
                        <a:pt x="0" y="259080"/>
                        <a:pt x="48578" y="307658"/>
                        <a:pt x="108585" y="307658"/>
                      </a:cubicBezTo>
                      <a:cubicBezTo>
                        <a:pt x="108585" y="307658"/>
                        <a:pt x="124778" y="307658"/>
                        <a:pt x="149543" y="307658"/>
                      </a:cubicBezTo>
                      <a:cubicBezTo>
                        <a:pt x="150495" y="301943"/>
                        <a:pt x="152400" y="295275"/>
                        <a:pt x="154305" y="288608"/>
                      </a:cubicBezTo>
                      <a:lnTo>
                        <a:pt x="108585" y="288608"/>
                      </a:lnTo>
                      <a:close/>
                    </a:path>
                  </a:pathLst>
                </a:custGeom>
                <a:solidFill>
                  <a:srgbClr val="40AA1D"/>
                </a:solidFill>
                <a:ln w="9525" cap="flat">
                  <a:noFill/>
                  <a:prstDash val="solid"/>
                  <a:miter/>
                </a:ln>
              </p:spPr>
              <p:txBody>
                <a:bodyPr rtlCol="0" anchor="ctr"/>
                <a:lstStyle/>
                <a:p>
                  <a:endParaRPr lang="en-US" dirty="0"/>
                </a:p>
              </p:txBody>
            </p:sp>
          </p:grpSp>
        </p:grpSp>
        <p:grpSp>
          <p:nvGrpSpPr>
            <p:cNvPr id="228" name="Group 227">
              <a:extLst>
                <a:ext uri="{FF2B5EF4-FFF2-40B4-BE49-F238E27FC236}">
                  <a16:creationId xmlns:a16="http://schemas.microsoft.com/office/drawing/2014/main" id="{B0367853-AAC6-5DD0-7ABF-2DD58BF4DD1E}"/>
                </a:ext>
              </a:extLst>
            </p:cNvPr>
            <p:cNvGrpSpPr/>
            <p:nvPr/>
          </p:nvGrpSpPr>
          <p:grpSpPr>
            <a:xfrm>
              <a:off x="8861979" y="3110142"/>
              <a:ext cx="609600" cy="578167"/>
              <a:chOff x="537926" y="1818419"/>
              <a:chExt cx="609600" cy="578167"/>
            </a:xfrm>
          </p:grpSpPr>
          <p:sp>
            <p:nvSpPr>
              <p:cNvPr id="230" name="Freeform: Shape 229">
                <a:extLst>
                  <a:ext uri="{FF2B5EF4-FFF2-40B4-BE49-F238E27FC236}">
                    <a16:creationId xmlns:a16="http://schemas.microsoft.com/office/drawing/2014/main" id="{4A07482E-43A5-2686-1EAD-A40C2DD5E4F9}"/>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232" name="Freeform: Shape 231">
                <a:extLst>
                  <a:ext uri="{FF2B5EF4-FFF2-40B4-BE49-F238E27FC236}">
                    <a16:creationId xmlns:a16="http://schemas.microsoft.com/office/drawing/2014/main" id="{D54D0908-99E2-DFFC-864F-46197EAAB756}"/>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grpSp>
        <p:nvGrpSpPr>
          <p:cNvPr id="302" name="Group 301">
            <a:extLst>
              <a:ext uri="{FF2B5EF4-FFF2-40B4-BE49-F238E27FC236}">
                <a16:creationId xmlns:a16="http://schemas.microsoft.com/office/drawing/2014/main" id="{FE5CCBFF-264F-AF59-9F5C-D02B5A364919}"/>
              </a:ext>
            </a:extLst>
          </p:cNvPr>
          <p:cNvGrpSpPr/>
          <p:nvPr/>
        </p:nvGrpSpPr>
        <p:grpSpPr>
          <a:xfrm>
            <a:off x="10106080" y="2908713"/>
            <a:ext cx="696210" cy="779596"/>
            <a:chOff x="10106080" y="2908713"/>
            <a:chExt cx="696210" cy="779596"/>
          </a:xfrm>
        </p:grpSpPr>
        <p:sp>
          <p:nvSpPr>
            <p:cNvPr id="271" name="Freeform: Shape 270">
              <a:extLst>
                <a:ext uri="{FF2B5EF4-FFF2-40B4-BE49-F238E27FC236}">
                  <a16:creationId xmlns:a16="http://schemas.microsoft.com/office/drawing/2014/main" id="{7ABAA703-1CC2-86A3-F047-12CB3D3A373B}"/>
                </a:ext>
              </a:extLst>
            </p:cNvPr>
            <p:cNvSpPr/>
            <p:nvPr/>
          </p:nvSpPr>
          <p:spPr>
            <a:xfrm>
              <a:off x="10110776" y="2908713"/>
              <a:ext cx="443865" cy="314325"/>
            </a:xfrm>
            <a:custGeom>
              <a:avLst/>
              <a:gdLst>
                <a:gd name="connsiteX0" fmla="*/ 109538 w 443865"/>
                <a:gd name="connsiteY0" fmla="*/ 294323 h 314325"/>
                <a:gd name="connsiteX1" fmla="*/ 19050 w 443865"/>
                <a:gd name="connsiteY1" fmla="*/ 202883 h 314325"/>
                <a:gd name="connsiteX2" fmla="*/ 101918 w 443865"/>
                <a:gd name="connsiteY2" fmla="*/ 112395 h 314325"/>
                <a:gd name="connsiteX3" fmla="*/ 115253 w 443865"/>
                <a:gd name="connsiteY3" fmla="*/ 111443 h 314325"/>
                <a:gd name="connsiteX4" fmla="*/ 119063 w 443865"/>
                <a:gd name="connsiteY4" fmla="*/ 98108 h 314325"/>
                <a:gd name="connsiteX5" fmla="*/ 220028 w 443865"/>
                <a:gd name="connsiteY5" fmla="*/ 20003 h 314325"/>
                <a:gd name="connsiteX6" fmla="*/ 311468 w 443865"/>
                <a:gd name="connsiteY6" fmla="*/ 74295 h 314325"/>
                <a:gd name="connsiteX7" fmla="*/ 319088 w 443865"/>
                <a:gd name="connsiteY7" fmla="*/ 89535 h 314325"/>
                <a:gd name="connsiteX8" fmla="*/ 334328 w 443865"/>
                <a:gd name="connsiteY8" fmla="*/ 82868 h 314325"/>
                <a:gd name="connsiteX9" fmla="*/ 359093 w 443865"/>
                <a:gd name="connsiteY9" fmla="*/ 78105 h 314325"/>
                <a:gd name="connsiteX10" fmla="*/ 424815 w 443865"/>
                <a:gd name="connsiteY10" fmla="*/ 143828 h 314325"/>
                <a:gd name="connsiteX11" fmla="*/ 423863 w 443865"/>
                <a:gd name="connsiteY11" fmla="*/ 153353 h 314325"/>
                <a:gd name="connsiteX12" fmla="*/ 421005 w 443865"/>
                <a:gd name="connsiteY12" fmla="*/ 173355 h 314325"/>
                <a:gd name="connsiteX13" fmla="*/ 442913 w 443865"/>
                <a:gd name="connsiteY13" fmla="*/ 156210 h 314325"/>
                <a:gd name="connsiteX14" fmla="*/ 443865 w 443865"/>
                <a:gd name="connsiteY14" fmla="*/ 143828 h 314325"/>
                <a:gd name="connsiteX15" fmla="*/ 359093 w 443865"/>
                <a:gd name="connsiteY15" fmla="*/ 59055 h 314325"/>
                <a:gd name="connsiteX16" fmla="*/ 327660 w 443865"/>
                <a:gd name="connsiteY16" fmla="*/ 64770 h 314325"/>
                <a:gd name="connsiteX17" fmla="*/ 219075 w 443865"/>
                <a:gd name="connsiteY17" fmla="*/ 0 h 314325"/>
                <a:gd name="connsiteX18" fmla="*/ 100013 w 443865"/>
                <a:gd name="connsiteY18" fmla="*/ 92393 h 314325"/>
                <a:gd name="connsiteX19" fmla="*/ 0 w 443865"/>
                <a:gd name="connsiteY19" fmla="*/ 203835 h 314325"/>
                <a:gd name="connsiteX20" fmla="*/ 109538 w 443865"/>
                <a:gd name="connsiteY20" fmla="*/ 314325 h 314325"/>
                <a:gd name="connsiteX21" fmla="*/ 140018 w 443865"/>
                <a:gd name="connsiteY21" fmla="*/ 314325 h 314325"/>
                <a:gd name="connsiteX22" fmla="*/ 144780 w 443865"/>
                <a:gd name="connsiteY22" fmla="*/ 295275 h 314325"/>
                <a:gd name="connsiteX23" fmla="*/ 109538 w 443865"/>
                <a:gd name="connsiteY23" fmla="*/ 294323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3865" h="314325">
                  <a:moveTo>
                    <a:pt x="109538" y="294323"/>
                  </a:moveTo>
                  <a:cubicBezTo>
                    <a:pt x="59055" y="294323"/>
                    <a:pt x="19050" y="253365"/>
                    <a:pt x="19050" y="202883"/>
                  </a:cubicBezTo>
                  <a:cubicBezTo>
                    <a:pt x="19050" y="156210"/>
                    <a:pt x="55245" y="116205"/>
                    <a:pt x="101918" y="112395"/>
                  </a:cubicBezTo>
                  <a:lnTo>
                    <a:pt x="115253" y="111443"/>
                  </a:lnTo>
                  <a:lnTo>
                    <a:pt x="119063" y="98108"/>
                  </a:lnTo>
                  <a:cubicBezTo>
                    <a:pt x="131445" y="52388"/>
                    <a:pt x="172403" y="20003"/>
                    <a:pt x="220028" y="20003"/>
                  </a:cubicBezTo>
                  <a:cubicBezTo>
                    <a:pt x="258128" y="20003"/>
                    <a:pt x="293370" y="40958"/>
                    <a:pt x="311468" y="74295"/>
                  </a:cubicBezTo>
                  <a:lnTo>
                    <a:pt x="319088" y="89535"/>
                  </a:lnTo>
                  <a:lnTo>
                    <a:pt x="334328" y="82868"/>
                  </a:lnTo>
                  <a:cubicBezTo>
                    <a:pt x="341948" y="80010"/>
                    <a:pt x="350520" y="78105"/>
                    <a:pt x="359093" y="78105"/>
                  </a:cubicBezTo>
                  <a:cubicBezTo>
                    <a:pt x="395288" y="78105"/>
                    <a:pt x="424815" y="107633"/>
                    <a:pt x="424815" y="143828"/>
                  </a:cubicBezTo>
                  <a:cubicBezTo>
                    <a:pt x="424815" y="146685"/>
                    <a:pt x="424815" y="150495"/>
                    <a:pt x="423863" y="153353"/>
                  </a:cubicBezTo>
                  <a:lnTo>
                    <a:pt x="421005" y="173355"/>
                  </a:lnTo>
                  <a:lnTo>
                    <a:pt x="442913" y="156210"/>
                  </a:lnTo>
                  <a:cubicBezTo>
                    <a:pt x="443865" y="152400"/>
                    <a:pt x="443865" y="147638"/>
                    <a:pt x="443865" y="143828"/>
                  </a:cubicBezTo>
                  <a:cubicBezTo>
                    <a:pt x="443865" y="97155"/>
                    <a:pt x="405765" y="59055"/>
                    <a:pt x="359093" y="59055"/>
                  </a:cubicBezTo>
                  <a:cubicBezTo>
                    <a:pt x="347663" y="59055"/>
                    <a:pt x="337185" y="60960"/>
                    <a:pt x="327660" y="64770"/>
                  </a:cubicBezTo>
                  <a:cubicBezTo>
                    <a:pt x="306705" y="26670"/>
                    <a:pt x="265748" y="0"/>
                    <a:pt x="219075" y="0"/>
                  </a:cubicBezTo>
                  <a:cubicBezTo>
                    <a:pt x="161925" y="0"/>
                    <a:pt x="113348" y="39053"/>
                    <a:pt x="100013" y="92393"/>
                  </a:cubicBezTo>
                  <a:cubicBezTo>
                    <a:pt x="43815" y="99060"/>
                    <a:pt x="0" y="145733"/>
                    <a:pt x="0" y="203835"/>
                  </a:cubicBezTo>
                  <a:cubicBezTo>
                    <a:pt x="0" y="264795"/>
                    <a:pt x="49530" y="314325"/>
                    <a:pt x="109538" y="314325"/>
                  </a:cubicBezTo>
                  <a:cubicBezTo>
                    <a:pt x="109538" y="314325"/>
                    <a:pt x="120968" y="314325"/>
                    <a:pt x="140018" y="314325"/>
                  </a:cubicBezTo>
                  <a:cubicBezTo>
                    <a:pt x="140970" y="308610"/>
                    <a:pt x="142875" y="301943"/>
                    <a:pt x="144780" y="295275"/>
                  </a:cubicBezTo>
                  <a:cubicBezTo>
                    <a:pt x="123825" y="294323"/>
                    <a:pt x="109538" y="294323"/>
                    <a:pt x="109538" y="294323"/>
                  </a:cubicBezTo>
                  <a:close/>
                </a:path>
              </a:pathLst>
            </a:custGeom>
            <a:solidFill>
              <a:srgbClr val="3D4647"/>
            </a:solidFill>
            <a:ln w="9525" cap="flat">
              <a:noFill/>
              <a:prstDash val="solid"/>
              <a:miter/>
            </a:ln>
          </p:spPr>
          <p:txBody>
            <a:bodyPr rtlCol="0" anchor="ctr"/>
            <a:lstStyle/>
            <a:p>
              <a:endParaRPr lang="en-US" dirty="0"/>
            </a:p>
          </p:txBody>
        </p:sp>
        <p:sp>
          <p:nvSpPr>
            <p:cNvPr id="272" name="Freeform: Shape 271">
              <a:extLst>
                <a:ext uri="{FF2B5EF4-FFF2-40B4-BE49-F238E27FC236}">
                  <a16:creationId xmlns:a16="http://schemas.microsoft.com/office/drawing/2014/main" id="{4E56FEA1-B1DC-F668-C8FA-330D59DE1DDC}"/>
                </a:ext>
              </a:extLst>
            </p:cNvPr>
            <p:cNvSpPr/>
            <p:nvPr/>
          </p:nvSpPr>
          <p:spPr>
            <a:xfrm>
              <a:off x="10679418" y="3217322"/>
              <a:ext cx="122872" cy="152400"/>
            </a:xfrm>
            <a:custGeom>
              <a:avLst/>
              <a:gdLst>
                <a:gd name="connsiteX0" fmla="*/ 122873 w 122872"/>
                <a:gd name="connsiteY0" fmla="*/ 147638 h 152400"/>
                <a:gd name="connsiteX1" fmla="*/ 113348 w 122872"/>
                <a:gd name="connsiteY1" fmla="*/ 131445 h 152400"/>
                <a:gd name="connsiteX2" fmla="*/ 119063 w 122872"/>
                <a:gd name="connsiteY2" fmla="*/ 127635 h 152400"/>
                <a:gd name="connsiteX3" fmla="*/ 90488 w 122872"/>
                <a:gd name="connsiteY3" fmla="*/ 79058 h 152400"/>
                <a:gd name="connsiteX4" fmla="*/ 100013 w 122872"/>
                <a:gd name="connsiteY4" fmla="*/ 55245 h 152400"/>
                <a:gd name="connsiteX5" fmla="*/ 72390 w 122872"/>
                <a:gd name="connsiteY5" fmla="*/ 19050 h 152400"/>
                <a:gd name="connsiteX6" fmla="*/ 72390 w 122872"/>
                <a:gd name="connsiteY6" fmla="*/ 0 h 152400"/>
                <a:gd name="connsiteX7" fmla="*/ 53340 w 122872"/>
                <a:gd name="connsiteY7" fmla="*/ 0 h 152400"/>
                <a:gd name="connsiteX8" fmla="*/ 53340 w 122872"/>
                <a:gd name="connsiteY8" fmla="*/ 19050 h 152400"/>
                <a:gd name="connsiteX9" fmla="*/ 25718 w 122872"/>
                <a:gd name="connsiteY9" fmla="*/ 54293 h 152400"/>
                <a:gd name="connsiteX10" fmla="*/ 33338 w 122872"/>
                <a:gd name="connsiteY10" fmla="*/ 78105 h 152400"/>
                <a:gd name="connsiteX11" fmla="*/ 3810 w 122872"/>
                <a:gd name="connsiteY11" fmla="*/ 126683 h 152400"/>
                <a:gd name="connsiteX12" fmla="*/ 9525 w 122872"/>
                <a:gd name="connsiteY12" fmla="*/ 130493 h 152400"/>
                <a:gd name="connsiteX13" fmla="*/ 0 w 122872"/>
                <a:gd name="connsiteY13" fmla="*/ 146685 h 152400"/>
                <a:gd name="connsiteX14" fmla="*/ 8573 w 122872"/>
                <a:gd name="connsiteY14" fmla="*/ 151448 h 152400"/>
                <a:gd name="connsiteX15" fmla="*/ 18098 w 122872"/>
                <a:gd name="connsiteY15" fmla="*/ 135255 h 152400"/>
                <a:gd name="connsiteX16" fmla="*/ 22860 w 122872"/>
                <a:gd name="connsiteY16" fmla="*/ 138113 h 152400"/>
                <a:gd name="connsiteX17" fmla="*/ 32385 w 122872"/>
                <a:gd name="connsiteY17" fmla="*/ 121920 h 152400"/>
                <a:gd name="connsiteX18" fmla="*/ 89535 w 122872"/>
                <a:gd name="connsiteY18" fmla="*/ 122873 h 152400"/>
                <a:gd name="connsiteX19" fmla="*/ 99060 w 122872"/>
                <a:gd name="connsiteY19" fmla="*/ 139065 h 152400"/>
                <a:gd name="connsiteX20" fmla="*/ 103823 w 122872"/>
                <a:gd name="connsiteY20" fmla="*/ 136208 h 152400"/>
                <a:gd name="connsiteX21" fmla="*/ 113348 w 122872"/>
                <a:gd name="connsiteY21" fmla="*/ 152400 h 152400"/>
                <a:gd name="connsiteX22" fmla="*/ 122873 w 122872"/>
                <a:gd name="connsiteY22" fmla="*/ 147638 h 152400"/>
                <a:gd name="connsiteX23" fmla="*/ 63817 w 122872"/>
                <a:gd name="connsiteY23" fmla="*/ 37148 h 152400"/>
                <a:gd name="connsiteX24" fmla="*/ 81915 w 122872"/>
                <a:gd name="connsiteY24" fmla="*/ 55245 h 152400"/>
                <a:gd name="connsiteX25" fmla="*/ 63817 w 122872"/>
                <a:gd name="connsiteY25" fmla="*/ 73343 h 152400"/>
                <a:gd name="connsiteX26" fmla="*/ 45720 w 122872"/>
                <a:gd name="connsiteY26" fmla="*/ 55245 h 152400"/>
                <a:gd name="connsiteX27" fmla="*/ 63817 w 122872"/>
                <a:gd name="connsiteY27" fmla="*/ 37148 h 152400"/>
                <a:gd name="connsiteX28" fmla="*/ 42863 w 122872"/>
                <a:gd name="connsiteY28" fmla="*/ 105728 h 152400"/>
                <a:gd name="connsiteX29" fmla="*/ 52388 w 122872"/>
                <a:gd name="connsiteY29" fmla="*/ 90488 h 152400"/>
                <a:gd name="connsiteX30" fmla="*/ 62865 w 122872"/>
                <a:gd name="connsiteY30" fmla="*/ 92393 h 152400"/>
                <a:gd name="connsiteX31" fmla="*/ 72390 w 122872"/>
                <a:gd name="connsiteY31" fmla="*/ 91440 h 152400"/>
                <a:gd name="connsiteX32" fmla="*/ 80963 w 122872"/>
                <a:gd name="connsiteY32" fmla="*/ 106680 h 152400"/>
                <a:gd name="connsiteX33" fmla="*/ 42863 w 122872"/>
                <a:gd name="connsiteY33" fmla="*/ 1057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2872" h="152400">
                  <a:moveTo>
                    <a:pt x="122873" y="147638"/>
                  </a:moveTo>
                  <a:lnTo>
                    <a:pt x="113348" y="131445"/>
                  </a:lnTo>
                  <a:lnTo>
                    <a:pt x="119063" y="127635"/>
                  </a:lnTo>
                  <a:lnTo>
                    <a:pt x="90488" y="79058"/>
                  </a:lnTo>
                  <a:cubicBezTo>
                    <a:pt x="96202" y="72390"/>
                    <a:pt x="100013" y="63818"/>
                    <a:pt x="100013" y="55245"/>
                  </a:cubicBezTo>
                  <a:cubicBezTo>
                    <a:pt x="100013" y="38100"/>
                    <a:pt x="88583" y="22860"/>
                    <a:pt x="72390" y="19050"/>
                  </a:cubicBezTo>
                  <a:lnTo>
                    <a:pt x="72390" y="0"/>
                  </a:lnTo>
                  <a:lnTo>
                    <a:pt x="53340" y="0"/>
                  </a:lnTo>
                  <a:lnTo>
                    <a:pt x="53340" y="19050"/>
                  </a:lnTo>
                  <a:cubicBezTo>
                    <a:pt x="38100" y="23813"/>
                    <a:pt x="25718" y="37148"/>
                    <a:pt x="25718" y="54293"/>
                  </a:cubicBezTo>
                  <a:cubicBezTo>
                    <a:pt x="25718" y="62865"/>
                    <a:pt x="28575" y="71438"/>
                    <a:pt x="33338" y="78105"/>
                  </a:cubicBezTo>
                  <a:lnTo>
                    <a:pt x="3810" y="126683"/>
                  </a:lnTo>
                  <a:lnTo>
                    <a:pt x="9525" y="130493"/>
                  </a:lnTo>
                  <a:lnTo>
                    <a:pt x="0" y="146685"/>
                  </a:lnTo>
                  <a:lnTo>
                    <a:pt x="8573" y="151448"/>
                  </a:lnTo>
                  <a:lnTo>
                    <a:pt x="18098" y="135255"/>
                  </a:lnTo>
                  <a:lnTo>
                    <a:pt x="22860" y="138113"/>
                  </a:lnTo>
                  <a:lnTo>
                    <a:pt x="32385" y="121920"/>
                  </a:lnTo>
                  <a:lnTo>
                    <a:pt x="89535" y="122873"/>
                  </a:lnTo>
                  <a:lnTo>
                    <a:pt x="99060" y="139065"/>
                  </a:lnTo>
                  <a:lnTo>
                    <a:pt x="103823" y="136208"/>
                  </a:lnTo>
                  <a:lnTo>
                    <a:pt x="113348" y="152400"/>
                  </a:lnTo>
                  <a:lnTo>
                    <a:pt x="122873" y="147638"/>
                  </a:lnTo>
                  <a:close/>
                  <a:moveTo>
                    <a:pt x="63817" y="37148"/>
                  </a:moveTo>
                  <a:cubicBezTo>
                    <a:pt x="73342" y="37148"/>
                    <a:pt x="81915" y="45720"/>
                    <a:pt x="81915" y="55245"/>
                  </a:cubicBezTo>
                  <a:cubicBezTo>
                    <a:pt x="81915" y="64770"/>
                    <a:pt x="73342" y="73343"/>
                    <a:pt x="63817" y="73343"/>
                  </a:cubicBezTo>
                  <a:cubicBezTo>
                    <a:pt x="54292" y="73343"/>
                    <a:pt x="45720" y="64770"/>
                    <a:pt x="45720" y="55245"/>
                  </a:cubicBezTo>
                  <a:cubicBezTo>
                    <a:pt x="45720" y="44768"/>
                    <a:pt x="53340" y="37148"/>
                    <a:pt x="63817" y="37148"/>
                  </a:cubicBezTo>
                  <a:close/>
                  <a:moveTo>
                    <a:pt x="42863" y="105728"/>
                  </a:moveTo>
                  <a:lnTo>
                    <a:pt x="52388" y="90488"/>
                  </a:lnTo>
                  <a:cubicBezTo>
                    <a:pt x="55245" y="91440"/>
                    <a:pt x="59055" y="92393"/>
                    <a:pt x="62865" y="92393"/>
                  </a:cubicBezTo>
                  <a:cubicBezTo>
                    <a:pt x="65723" y="92393"/>
                    <a:pt x="69533" y="92393"/>
                    <a:pt x="72390" y="91440"/>
                  </a:cubicBezTo>
                  <a:lnTo>
                    <a:pt x="80963" y="106680"/>
                  </a:lnTo>
                  <a:lnTo>
                    <a:pt x="42863" y="105728"/>
                  </a:lnTo>
                  <a:close/>
                </a:path>
              </a:pathLst>
            </a:custGeom>
            <a:solidFill>
              <a:srgbClr val="40AA1D"/>
            </a:solidFill>
            <a:ln w="9525" cap="flat">
              <a:noFill/>
              <a:prstDash val="solid"/>
              <a:miter/>
            </a:ln>
          </p:spPr>
          <p:txBody>
            <a:bodyPr rtlCol="0" anchor="ctr"/>
            <a:lstStyle/>
            <a:p>
              <a:endParaRPr lang="en-US" dirty="0"/>
            </a:p>
          </p:txBody>
        </p:sp>
        <p:grpSp>
          <p:nvGrpSpPr>
            <p:cNvPr id="273" name="Graphic 224">
              <a:extLst>
                <a:ext uri="{FF2B5EF4-FFF2-40B4-BE49-F238E27FC236}">
                  <a16:creationId xmlns:a16="http://schemas.microsoft.com/office/drawing/2014/main" id="{1D16B831-8909-DEED-5EC6-93A7F495B315}"/>
                </a:ext>
              </a:extLst>
            </p:cNvPr>
            <p:cNvGrpSpPr/>
            <p:nvPr/>
          </p:nvGrpSpPr>
          <p:grpSpPr>
            <a:xfrm>
              <a:off x="10557498" y="3023012"/>
              <a:ext cx="234315" cy="211455"/>
              <a:chOff x="10557498" y="3023012"/>
              <a:chExt cx="234315" cy="211455"/>
            </a:xfrm>
          </p:grpSpPr>
          <p:sp>
            <p:nvSpPr>
              <p:cNvPr id="274" name="Freeform: Shape 273">
                <a:extLst>
                  <a:ext uri="{FF2B5EF4-FFF2-40B4-BE49-F238E27FC236}">
                    <a16:creationId xmlns:a16="http://schemas.microsoft.com/office/drawing/2014/main" id="{2CEA06EB-7293-BD56-2307-99BD4C3EDA25}"/>
                  </a:ext>
                </a:extLst>
              </p:cNvPr>
              <p:cNvSpPr/>
              <p:nvPr/>
            </p:nvSpPr>
            <p:spPr>
              <a:xfrm>
                <a:off x="10617506" y="3069685"/>
                <a:ext cx="113347" cy="113347"/>
              </a:xfrm>
              <a:custGeom>
                <a:avLst/>
                <a:gdLst>
                  <a:gd name="connsiteX0" fmla="*/ 102870 w 113347"/>
                  <a:gd name="connsiteY0" fmla="*/ 97155 h 113347"/>
                  <a:gd name="connsiteX1" fmla="*/ 113348 w 113347"/>
                  <a:gd name="connsiteY1" fmla="*/ 79057 h 113347"/>
                  <a:gd name="connsiteX2" fmla="*/ 100013 w 113347"/>
                  <a:gd name="connsiteY2" fmla="*/ 67628 h 113347"/>
                  <a:gd name="connsiteX3" fmla="*/ 100013 w 113347"/>
                  <a:gd name="connsiteY3" fmla="*/ 48578 h 113347"/>
                  <a:gd name="connsiteX4" fmla="*/ 113348 w 113347"/>
                  <a:gd name="connsiteY4" fmla="*/ 37147 h 113347"/>
                  <a:gd name="connsiteX5" fmla="*/ 102870 w 113347"/>
                  <a:gd name="connsiteY5" fmla="*/ 18097 h 113347"/>
                  <a:gd name="connsiteX6" fmla="*/ 86677 w 113347"/>
                  <a:gd name="connsiteY6" fmla="*/ 23813 h 113347"/>
                  <a:gd name="connsiteX7" fmla="*/ 70485 w 113347"/>
                  <a:gd name="connsiteY7" fmla="*/ 15240 h 113347"/>
                  <a:gd name="connsiteX8" fmla="*/ 67627 w 113347"/>
                  <a:gd name="connsiteY8" fmla="*/ 0 h 113347"/>
                  <a:gd name="connsiteX9" fmla="*/ 46673 w 113347"/>
                  <a:gd name="connsiteY9" fmla="*/ 0 h 113347"/>
                  <a:gd name="connsiteX10" fmla="*/ 43815 w 113347"/>
                  <a:gd name="connsiteY10" fmla="*/ 15240 h 113347"/>
                  <a:gd name="connsiteX11" fmla="*/ 26670 w 113347"/>
                  <a:gd name="connsiteY11" fmla="*/ 24765 h 113347"/>
                  <a:gd name="connsiteX12" fmla="*/ 11430 w 113347"/>
                  <a:gd name="connsiteY12" fmla="*/ 19050 h 113347"/>
                  <a:gd name="connsiteX13" fmla="*/ 952 w 113347"/>
                  <a:gd name="connsiteY13" fmla="*/ 37147 h 113347"/>
                  <a:gd name="connsiteX14" fmla="*/ 13335 w 113347"/>
                  <a:gd name="connsiteY14" fmla="*/ 47625 h 113347"/>
                  <a:gd name="connsiteX15" fmla="*/ 13335 w 113347"/>
                  <a:gd name="connsiteY15" fmla="*/ 66675 h 113347"/>
                  <a:gd name="connsiteX16" fmla="*/ 0 w 113347"/>
                  <a:gd name="connsiteY16" fmla="*/ 78105 h 113347"/>
                  <a:gd name="connsiteX17" fmla="*/ 10477 w 113347"/>
                  <a:gd name="connsiteY17" fmla="*/ 96203 h 113347"/>
                  <a:gd name="connsiteX18" fmla="*/ 26670 w 113347"/>
                  <a:gd name="connsiteY18" fmla="*/ 89535 h 113347"/>
                  <a:gd name="connsiteX19" fmla="*/ 42863 w 113347"/>
                  <a:gd name="connsiteY19" fmla="*/ 99060 h 113347"/>
                  <a:gd name="connsiteX20" fmla="*/ 45720 w 113347"/>
                  <a:gd name="connsiteY20" fmla="*/ 113348 h 113347"/>
                  <a:gd name="connsiteX21" fmla="*/ 66675 w 113347"/>
                  <a:gd name="connsiteY21" fmla="*/ 113348 h 113347"/>
                  <a:gd name="connsiteX22" fmla="*/ 69532 w 113347"/>
                  <a:gd name="connsiteY22" fmla="*/ 99060 h 113347"/>
                  <a:gd name="connsiteX23" fmla="*/ 85725 w 113347"/>
                  <a:gd name="connsiteY23" fmla="*/ 89535 h 113347"/>
                  <a:gd name="connsiteX24" fmla="*/ 102870 w 113347"/>
                  <a:gd name="connsiteY24" fmla="*/ 97155 h 113347"/>
                  <a:gd name="connsiteX25" fmla="*/ 67627 w 113347"/>
                  <a:gd name="connsiteY25" fmla="*/ 77153 h 113347"/>
                  <a:gd name="connsiteX26" fmla="*/ 54293 w 113347"/>
                  <a:gd name="connsiteY26" fmla="*/ 80010 h 113347"/>
                  <a:gd name="connsiteX27" fmla="*/ 41910 w 113347"/>
                  <a:gd name="connsiteY27" fmla="*/ 74295 h 113347"/>
                  <a:gd name="connsiteX28" fmla="*/ 36195 w 113347"/>
                  <a:gd name="connsiteY28" fmla="*/ 61913 h 113347"/>
                  <a:gd name="connsiteX29" fmla="*/ 39052 w 113347"/>
                  <a:gd name="connsiteY29" fmla="*/ 48578 h 113347"/>
                  <a:gd name="connsiteX30" fmla="*/ 49530 w 113347"/>
                  <a:gd name="connsiteY30" fmla="*/ 39053 h 113347"/>
                  <a:gd name="connsiteX31" fmla="*/ 62865 w 113347"/>
                  <a:gd name="connsiteY31" fmla="*/ 38100 h 113347"/>
                  <a:gd name="connsiteX32" fmla="*/ 74295 w 113347"/>
                  <a:gd name="connsiteY32" fmla="*/ 45720 h 113347"/>
                  <a:gd name="connsiteX33" fmla="*/ 79057 w 113347"/>
                  <a:gd name="connsiteY33" fmla="*/ 59055 h 113347"/>
                  <a:gd name="connsiteX34" fmla="*/ 76200 w 113347"/>
                  <a:gd name="connsiteY34" fmla="*/ 69532 h 113347"/>
                  <a:gd name="connsiteX35" fmla="*/ 67627 w 113347"/>
                  <a:gd name="connsiteY35" fmla="*/ 77153 h 113347"/>
                  <a:gd name="connsiteX36" fmla="*/ 67627 w 113347"/>
                  <a:gd name="connsiteY36" fmla="*/ 77153 h 11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3347" h="113347">
                    <a:moveTo>
                      <a:pt x="102870" y="97155"/>
                    </a:moveTo>
                    <a:lnTo>
                      <a:pt x="113348" y="79057"/>
                    </a:lnTo>
                    <a:lnTo>
                      <a:pt x="100013" y="67628"/>
                    </a:lnTo>
                    <a:lnTo>
                      <a:pt x="100013" y="48578"/>
                    </a:lnTo>
                    <a:lnTo>
                      <a:pt x="113348" y="37147"/>
                    </a:lnTo>
                    <a:lnTo>
                      <a:pt x="102870" y="18097"/>
                    </a:lnTo>
                    <a:lnTo>
                      <a:pt x="86677" y="23813"/>
                    </a:lnTo>
                    <a:lnTo>
                      <a:pt x="70485" y="15240"/>
                    </a:lnTo>
                    <a:lnTo>
                      <a:pt x="67627" y="0"/>
                    </a:lnTo>
                    <a:lnTo>
                      <a:pt x="46673" y="0"/>
                    </a:lnTo>
                    <a:lnTo>
                      <a:pt x="43815" y="15240"/>
                    </a:lnTo>
                    <a:lnTo>
                      <a:pt x="26670" y="24765"/>
                    </a:lnTo>
                    <a:lnTo>
                      <a:pt x="11430" y="19050"/>
                    </a:lnTo>
                    <a:lnTo>
                      <a:pt x="952" y="37147"/>
                    </a:lnTo>
                    <a:lnTo>
                      <a:pt x="13335" y="47625"/>
                    </a:lnTo>
                    <a:lnTo>
                      <a:pt x="13335" y="66675"/>
                    </a:lnTo>
                    <a:lnTo>
                      <a:pt x="0" y="78105"/>
                    </a:lnTo>
                    <a:lnTo>
                      <a:pt x="10477" y="96203"/>
                    </a:lnTo>
                    <a:lnTo>
                      <a:pt x="26670" y="89535"/>
                    </a:lnTo>
                    <a:lnTo>
                      <a:pt x="42863" y="99060"/>
                    </a:lnTo>
                    <a:lnTo>
                      <a:pt x="45720" y="113348"/>
                    </a:lnTo>
                    <a:lnTo>
                      <a:pt x="66675" y="113348"/>
                    </a:lnTo>
                    <a:lnTo>
                      <a:pt x="69532" y="99060"/>
                    </a:lnTo>
                    <a:lnTo>
                      <a:pt x="85725" y="89535"/>
                    </a:lnTo>
                    <a:lnTo>
                      <a:pt x="102870" y="97155"/>
                    </a:lnTo>
                    <a:close/>
                    <a:moveTo>
                      <a:pt x="67627" y="77153"/>
                    </a:moveTo>
                    <a:cubicBezTo>
                      <a:pt x="63818" y="79057"/>
                      <a:pt x="59055" y="80010"/>
                      <a:pt x="54293" y="80010"/>
                    </a:cubicBezTo>
                    <a:cubicBezTo>
                      <a:pt x="49530" y="79057"/>
                      <a:pt x="45720" y="77153"/>
                      <a:pt x="41910" y="74295"/>
                    </a:cubicBezTo>
                    <a:cubicBezTo>
                      <a:pt x="38100" y="70485"/>
                      <a:pt x="36195" y="66675"/>
                      <a:pt x="36195" y="61913"/>
                    </a:cubicBezTo>
                    <a:cubicBezTo>
                      <a:pt x="35243" y="57150"/>
                      <a:pt x="36195" y="52388"/>
                      <a:pt x="39052" y="48578"/>
                    </a:cubicBezTo>
                    <a:cubicBezTo>
                      <a:pt x="40957" y="44767"/>
                      <a:pt x="44768" y="40957"/>
                      <a:pt x="49530" y="39053"/>
                    </a:cubicBezTo>
                    <a:cubicBezTo>
                      <a:pt x="54293" y="37147"/>
                      <a:pt x="59055" y="37147"/>
                      <a:pt x="62865" y="38100"/>
                    </a:cubicBezTo>
                    <a:cubicBezTo>
                      <a:pt x="67627" y="39053"/>
                      <a:pt x="71438" y="41910"/>
                      <a:pt x="74295" y="45720"/>
                    </a:cubicBezTo>
                    <a:cubicBezTo>
                      <a:pt x="77152" y="49530"/>
                      <a:pt x="79057" y="54292"/>
                      <a:pt x="79057" y="59055"/>
                    </a:cubicBezTo>
                    <a:cubicBezTo>
                      <a:pt x="79057" y="62865"/>
                      <a:pt x="78105" y="66675"/>
                      <a:pt x="76200" y="69532"/>
                    </a:cubicBezTo>
                    <a:cubicBezTo>
                      <a:pt x="74295" y="72390"/>
                      <a:pt x="71438" y="75248"/>
                      <a:pt x="67627" y="77153"/>
                    </a:cubicBezTo>
                    <a:lnTo>
                      <a:pt x="67627" y="77153"/>
                    </a:lnTo>
                    <a:close/>
                  </a:path>
                </a:pathLst>
              </a:custGeom>
              <a:solidFill>
                <a:srgbClr val="40AA1D"/>
              </a:solidFill>
              <a:ln w="9525" cap="flat">
                <a:noFill/>
                <a:prstDash val="solid"/>
                <a:miter/>
              </a:ln>
            </p:spPr>
            <p:txBody>
              <a:bodyPr rtlCol="0" anchor="ctr"/>
              <a:lstStyle/>
              <a:p>
                <a:endParaRPr lang="en-US" dirty="0"/>
              </a:p>
            </p:txBody>
          </p:sp>
          <p:grpSp>
            <p:nvGrpSpPr>
              <p:cNvPr id="275" name="Graphic 224">
                <a:extLst>
                  <a:ext uri="{FF2B5EF4-FFF2-40B4-BE49-F238E27FC236}">
                    <a16:creationId xmlns:a16="http://schemas.microsoft.com/office/drawing/2014/main" id="{C80C4DF2-BF86-C5B9-0DB7-665678EAD28B}"/>
                  </a:ext>
                </a:extLst>
              </p:cNvPr>
              <p:cNvGrpSpPr/>
              <p:nvPr/>
            </p:nvGrpSpPr>
            <p:grpSpPr>
              <a:xfrm>
                <a:off x="10568928" y="3023012"/>
                <a:ext cx="222885" cy="111442"/>
                <a:chOff x="10568928" y="3023012"/>
                <a:chExt cx="222885" cy="111442"/>
              </a:xfrm>
              <a:solidFill>
                <a:srgbClr val="3D4647"/>
              </a:solidFill>
            </p:grpSpPr>
            <p:sp>
              <p:nvSpPr>
                <p:cNvPr id="276" name="Freeform: Shape 275">
                  <a:extLst>
                    <a:ext uri="{FF2B5EF4-FFF2-40B4-BE49-F238E27FC236}">
                      <a16:creationId xmlns:a16="http://schemas.microsoft.com/office/drawing/2014/main" id="{4DA1B662-8534-8DD4-DF77-DF9623C20F75}"/>
                    </a:ext>
                  </a:extLst>
                </p:cNvPr>
                <p:cNvSpPr/>
                <p:nvPr/>
              </p:nvSpPr>
              <p:spPr>
                <a:xfrm>
                  <a:off x="10753713" y="3101117"/>
                  <a:ext cx="38100" cy="33337"/>
                </a:xfrm>
                <a:custGeom>
                  <a:avLst/>
                  <a:gdLst>
                    <a:gd name="connsiteX0" fmla="*/ 38100 w 38100"/>
                    <a:gd name="connsiteY0" fmla="*/ 0 h 33337"/>
                    <a:gd name="connsiteX1" fmla="*/ 19050 w 38100"/>
                    <a:gd name="connsiteY1" fmla="*/ 33338 h 33337"/>
                    <a:gd name="connsiteX2" fmla="*/ 0 w 38100"/>
                    <a:gd name="connsiteY2" fmla="*/ 0 h 33337"/>
                  </a:gdLst>
                  <a:ahLst/>
                  <a:cxnLst>
                    <a:cxn ang="0">
                      <a:pos x="connsiteX0" y="connsiteY0"/>
                    </a:cxn>
                    <a:cxn ang="0">
                      <a:pos x="connsiteX1" y="connsiteY1"/>
                    </a:cxn>
                    <a:cxn ang="0">
                      <a:pos x="connsiteX2" y="connsiteY2"/>
                    </a:cxn>
                  </a:cxnLst>
                  <a:rect l="l" t="t" r="r" b="b"/>
                  <a:pathLst>
                    <a:path w="38100" h="33337">
                      <a:moveTo>
                        <a:pt x="38100" y="0"/>
                      </a:moveTo>
                      <a:lnTo>
                        <a:pt x="19050" y="33338"/>
                      </a:lnTo>
                      <a:lnTo>
                        <a:pt x="0" y="0"/>
                      </a:lnTo>
                      <a:close/>
                    </a:path>
                  </a:pathLst>
                </a:custGeom>
                <a:solidFill>
                  <a:srgbClr val="3D4647"/>
                </a:solidFill>
                <a:ln w="9525" cap="flat">
                  <a:noFill/>
                  <a:prstDash val="solid"/>
                  <a:miter/>
                </a:ln>
              </p:spPr>
              <p:txBody>
                <a:bodyPr rtlCol="0" anchor="ctr"/>
                <a:lstStyle/>
                <a:p>
                  <a:endParaRPr lang="en-US" dirty="0"/>
                </a:p>
              </p:txBody>
            </p:sp>
            <p:sp>
              <p:nvSpPr>
                <p:cNvPr id="277" name="Freeform: Shape 276">
                  <a:extLst>
                    <a:ext uri="{FF2B5EF4-FFF2-40B4-BE49-F238E27FC236}">
                      <a16:creationId xmlns:a16="http://schemas.microsoft.com/office/drawing/2014/main" id="{0B09C304-9271-407A-9031-81E8E88088CA}"/>
                    </a:ext>
                  </a:extLst>
                </p:cNvPr>
                <p:cNvSpPr/>
                <p:nvPr/>
              </p:nvSpPr>
              <p:spPr>
                <a:xfrm>
                  <a:off x="10568928" y="3023012"/>
                  <a:ext cx="204787" cy="88582"/>
                </a:xfrm>
                <a:custGeom>
                  <a:avLst/>
                  <a:gdLst>
                    <a:gd name="connsiteX0" fmla="*/ 19050 w 204787"/>
                    <a:gd name="connsiteY0" fmla="*/ 88583 h 88582"/>
                    <a:gd name="connsiteX1" fmla="*/ 0 w 204787"/>
                    <a:gd name="connsiteY1" fmla="*/ 84773 h 88582"/>
                    <a:gd name="connsiteX2" fmla="*/ 6667 w 204787"/>
                    <a:gd name="connsiteY2" fmla="*/ 63818 h 88582"/>
                    <a:gd name="connsiteX3" fmla="*/ 105727 w 204787"/>
                    <a:gd name="connsiteY3" fmla="*/ 0 h 88582"/>
                    <a:gd name="connsiteX4" fmla="*/ 204788 w 204787"/>
                    <a:gd name="connsiteY4" fmla="*/ 63818 h 88582"/>
                    <a:gd name="connsiteX5" fmla="*/ 187642 w 204787"/>
                    <a:gd name="connsiteY5" fmla="*/ 71438 h 88582"/>
                    <a:gd name="connsiteX6" fmla="*/ 105727 w 204787"/>
                    <a:gd name="connsiteY6" fmla="*/ 19050 h 88582"/>
                    <a:gd name="connsiteX7" fmla="*/ 23813 w 204787"/>
                    <a:gd name="connsiteY7" fmla="*/ 71438 h 88582"/>
                    <a:gd name="connsiteX8" fmla="*/ 19050 w 204787"/>
                    <a:gd name="connsiteY8" fmla="*/ 88583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787" h="88582">
                      <a:moveTo>
                        <a:pt x="19050" y="88583"/>
                      </a:moveTo>
                      <a:lnTo>
                        <a:pt x="0" y="84773"/>
                      </a:lnTo>
                      <a:cubicBezTo>
                        <a:pt x="1905" y="77152"/>
                        <a:pt x="3810" y="70485"/>
                        <a:pt x="6667" y="63818"/>
                      </a:cubicBezTo>
                      <a:cubicBezTo>
                        <a:pt x="23813" y="25717"/>
                        <a:pt x="62865" y="0"/>
                        <a:pt x="105727" y="0"/>
                      </a:cubicBezTo>
                      <a:cubicBezTo>
                        <a:pt x="148590" y="0"/>
                        <a:pt x="187642" y="24765"/>
                        <a:pt x="204788" y="63818"/>
                      </a:cubicBezTo>
                      <a:lnTo>
                        <a:pt x="187642" y="71438"/>
                      </a:lnTo>
                      <a:cubicBezTo>
                        <a:pt x="173355" y="40005"/>
                        <a:pt x="141922" y="19050"/>
                        <a:pt x="105727" y="19050"/>
                      </a:cubicBezTo>
                      <a:cubicBezTo>
                        <a:pt x="70485" y="19050"/>
                        <a:pt x="38100" y="40005"/>
                        <a:pt x="23813" y="71438"/>
                      </a:cubicBezTo>
                      <a:cubicBezTo>
                        <a:pt x="21907" y="77152"/>
                        <a:pt x="20002" y="82868"/>
                        <a:pt x="19050" y="88583"/>
                      </a:cubicBezTo>
                      <a:close/>
                    </a:path>
                  </a:pathLst>
                </a:custGeom>
                <a:solidFill>
                  <a:srgbClr val="3D4647"/>
                </a:solidFill>
                <a:ln w="9525" cap="flat">
                  <a:noFill/>
                  <a:prstDash val="solid"/>
                  <a:miter/>
                </a:ln>
              </p:spPr>
              <p:txBody>
                <a:bodyPr rtlCol="0" anchor="ctr"/>
                <a:lstStyle/>
                <a:p>
                  <a:endParaRPr lang="en-US" dirty="0"/>
                </a:p>
              </p:txBody>
            </p:sp>
          </p:grpSp>
          <p:grpSp>
            <p:nvGrpSpPr>
              <p:cNvPr id="278" name="Graphic 224">
                <a:extLst>
                  <a:ext uri="{FF2B5EF4-FFF2-40B4-BE49-F238E27FC236}">
                    <a16:creationId xmlns:a16="http://schemas.microsoft.com/office/drawing/2014/main" id="{FE1397A7-5901-886D-497B-C5C53B03677D}"/>
                  </a:ext>
                </a:extLst>
              </p:cNvPr>
              <p:cNvGrpSpPr/>
              <p:nvPr/>
            </p:nvGrpSpPr>
            <p:grpSpPr>
              <a:xfrm>
                <a:off x="10557498" y="3123025"/>
                <a:ext cx="222884" cy="111442"/>
                <a:chOff x="10557498" y="3123025"/>
                <a:chExt cx="222884" cy="111442"/>
              </a:xfrm>
              <a:solidFill>
                <a:srgbClr val="40AA1D"/>
              </a:solidFill>
            </p:grpSpPr>
            <p:sp>
              <p:nvSpPr>
                <p:cNvPr id="279" name="Freeform: Shape 278">
                  <a:extLst>
                    <a:ext uri="{FF2B5EF4-FFF2-40B4-BE49-F238E27FC236}">
                      <a16:creationId xmlns:a16="http://schemas.microsoft.com/office/drawing/2014/main" id="{0BA4DFB2-445E-B918-83B1-105E009CC2D5}"/>
                    </a:ext>
                  </a:extLst>
                </p:cNvPr>
                <p:cNvSpPr/>
                <p:nvPr/>
              </p:nvSpPr>
              <p:spPr>
                <a:xfrm>
                  <a:off x="10557498" y="3123025"/>
                  <a:ext cx="38100" cy="33337"/>
                </a:xfrm>
                <a:custGeom>
                  <a:avLst/>
                  <a:gdLst>
                    <a:gd name="connsiteX0" fmla="*/ 38100 w 38100"/>
                    <a:gd name="connsiteY0" fmla="*/ 33338 h 33337"/>
                    <a:gd name="connsiteX1" fmla="*/ 19050 w 38100"/>
                    <a:gd name="connsiteY1" fmla="*/ 0 h 33337"/>
                    <a:gd name="connsiteX2" fmla="*/ 0 w 38100"/>
                    <a:gd name="connsiteY2" fmla="*/ 33338 h 33337"/>
                  </a:gdLst>
                  <a:ahLst/>
                  <a:cxnLst>
                    <a:cxn ang="0">
                      <a:pos x="connsiteX0" y="connsiteY0"/>
                    </a:cxn>
                    <a:cxn ang="0">
                      <a:pos x="connsiteX1" y="connsiteY1"/>
                    </a:cxn>
                    <a:cxn ang="0">
                      <a:pos x="connsiteX2" y="connsiteY2"/>
                    </a:cxn>
                  </a:cxnLst>
                  <a:rect l="l" t="t" r="r" b="b"/>
                  <a:pathLst>
                    <a:path w="38100" h="33337">
                      <a:moveTo>
                        <a:pt x="38100" y="33338"/>
                      </a:moveTo>
                      <a:lnTo>
                        <a:pt x="19050" y="0"/>
                      </a:lnTo>
                      <a:lnTo>
                        <a:pt x="0" y="33338"/>
                      </a:lnTo>
                      <a:close/>
                    </a:path>
                  </a:pathLst>
                </a:custGeom>
                <a:solidFill>
                  <a:srgbClr val="40AA1D"/>
                </a:solidFill>
                <a:ln w="9525" cap="flat">
                  <a:noFill/>
                  <a:prstDash val="solid"/>
                  <a:miter/>
                </a:ln>
              </p:spPr>
              <p:txBody>
                <a:bodyPr rtlCol="0" anchor="ctr"/>
                <a:lstStyle/>
                <a:p>
                  <a:endParaRPr lang="en-US" dirty="0"/>
                </a:p>
              </p:txBody>
            </p:sp>
            <p:grpSp>
              <p:nvGrpSpPr>
                <p:cNvPr id="280" name="Graphic 224">
                  <a:extLst>
                    <a:ext uri="{FF2B5EF4-FFF2-40B4-BE49-F238E27FC236}">
                      <a16:creationId xmlns:a16="http://schemas.microsoft.com/office/drawing/2014/main" id="{59271A53-C57B-AEE4-252E-DCB8E31F15D8}"/>
                    </a:ext>
                  </a:extLst>
                </p:cNvPr>
                <p:cNvGrpSpPr/>
                <p:nvPr/>
              </p:nvGrpSpPr>
              <p:grpSpPr>
                <a:xfrm>
                  <a:off x="10575595" y="3145885"/>
                  <a:ext cx="204787" cy="88582"/>
                  <a:chOff x="10575595" y="3145885"/>
                  <a:chExt cx="204787" cy="88582"/>
                </a:xfrm>
                <a:solidFill>
                  <a:srgbClr val="40AA1D"/>
                </a:solidFill>
              </p:grpSpPr>
              <p:sp>
                <p:nvSpPr>
                  <p:cNvPr id="281" name="Freeform: Shape 280">
                    <a:extLst>
                      <a:ext uri="{FF2B5EF4-FFF2-40B4-BE49-F238E27FC236}">
                        <a16:creationId xmlns:a16="http://schemas.microsoft.com/office/drawing/2014/main" id="{822E22BC-A5B6-16D5-9BD8-D92C5A88433C}"/>
                      </a:ext>
                    </a:extLst>
                  </p:cNvPr>
                  <p:cNvSpPr/>
                  <p:nvPr/>
                </p:nvSpPr>
                <p:spPr>
                  <a:xfrm>
                    <a:off x="10732758" y="3217322"/>
                    <a:ext cx="9525" cy="9525"/>
                  </a:xfrm>
                  <a:custGeom>
                    <a:avLst/>
                    <a:gdLst>
                      <a:gd name="connsiteX0" fmla="*/ 0 w 9525"/>
                      <a:gd name="connsiteY0" fmla="*/ 0 h 9525"/>
                      <a:gd name="connsiteX1" fmla="*/ 0 w 9525"/>
                      <a:gd name="connsiteY1" fmla="*/ 0 h 9525"/>
                      <a:gd name="connsiteX2" fmla="*/ 0 w 9525"/>
                      <a:gd name="connsiteY2" fmla="*/ 0 h 9525"/>
                      <a:gd name="connsiteX3" fmla="*/ 0 w 9525"/>
                      <a:gd name="connsiteY3" fmla="*/ 0 h 9525"/>
                    </a:gdLst>
                    <a:ahLst/>
                    <a:cxnLst>
                      <a:cxn ang="0">
                        <a:pos x="connsiteX0" y="connsiteY0"/>
                      </a:cxn>
                      <a:cxn ang="0">
                        <a:pos x="connsiteX1" y="connsiteY1"/>
                      </a:cxn>
                      <a:cxn ang="0">
                        <a:pos x="connsiteX2" y="connsiteY2"/>
                      </a:cxn>
                      <a:cxn ang="0">
                        <a:pos x="connsiteX3" y="connsiteY3"/>
                      </a:cxn>
                    </a:cxnLst>
                    <a:rect l="l" t="t" r="r" b="b"/>
                    <a:pathLst>
                      <a:path w="9525" h="9525">
                        <a:moveTo>
                          <a:pt x="0" y="0"/>
                        </a:moveTo>
                        <a:lnTo>
                          <a:pt x="0" y="0"/>
                        </a:lnTo>
                        <a:cubicBezTo>
                          <a:pt x="0" y="0"/>
                          <a:pt x="0" y="0"/>
                          <a:pt x="0" y="0"/>
                        </a:cubicBezTo>
                        <a:lnTo>
                          <a:pt x="0" y="0"/>
                        </a:lnTo>
                        <a:close/>
                      </a:path>
                    </a:pathLst>
                  </a:custGeom>
                  <a:solidFill>
                    <a:srgbClr val="40AA1D"/>
                  </a:solidFill>
                  <a:ln w="9525" cap="flat">
                    <a:noFill/>
                    <a:prstDash val="solid"/>
                    <a:miter/>
                  </a:ln>
                </p:spPr>
                <p:txBody>
                  <a:bodyPr rtlCol="0" anchor="ctr"/>
                  <a:lstStyle/>
                  <a:p>
                    <a:endParaRPr lang="en-US" dirty="0"/>
                  </a:p>
                </p:txBody>
              </p:sp>
              <p:sp>
                <p:nvSpPr>
                  <p:cNvPr id="282" name="Freeform: Shape 281">
                    <a:extLst>
                      <a:ext uri="{FF2B5EF4-FFF2-40B4-BE49-F238E27FC236}">
                        <a16:creationId xmlns:a16="http://schemas.microsoft.com/office/drawing/2014/main" id="{4D630639-2E59-245F-F368-7EC14CF6FEEF}"/>
                      </a:ext>
                    </a:extLst>
                  </p:cNvPr>
                  <p:cNvSpPr/>
                  <p:nvPr/>
                </p:nvSpPr>
                <p:spPr>
                  <a:xfrm>
                    <a:off x="10575595" y="3163030"/>
                    <a:ext cx="128587" cy="71437"/>
                  </a:xfrm>
                  <a:custGeom>
                    <a:avLst/>
                    <a:gdLst>
                      <a:gd name="connsiteX0" fmla="*/ 128588 w 128587"/>
                      <a:gd name="connsiteY0" fmla="*/ 56197 h 71437"/>
                      <a:gd name="connsiteX1" fmla="*/ 128588 w 128587"/>
                      <a:gd name="connsiteY1" fmla="*/ 54292 h 71437"/>
                      <a:gd name="connsiteX2" fmla="*/ 128588 w 128587"/>
                      <a:gd name="connsiteY2" fmla="*/ 47625 h 71437"/>
                      <a:gd name="connsiteX3" fmla="*/ 99060 w 128587"/>
                      <a:gd name="connsiteY3" fmla="*/ 52388 h 71437"/>
                      <a:gd name="connsiteX4" fmla="*/ 17145 w 128587"/>
                      <a:gd name="connsiteY4" fmla="*/ 0 h 71437"/>
                      <a:gd name="connsiteX5" fmla="*/ 0 w 128587"/>
                      <a:gd name="connsiteY5" fmla="*/ 7620 h 71437"/>
                      <a:gd name="connsiteX6" fmla="*/ 99060 w 128587"/>
                      <a:gd name="connsiteY6" fmla="*/ 71438 h 71437"/>
                      <a:gd name="connsiteX7" fmla="*/ 114300 w 128587"/>
                      <a:gd name="connsiteY7" fmla="*/ 70485 h 71437"/>
                      <a:gd name="connsiteX8" fmla="*/ 128588 w 128587"/>
                      <a:gd name="connsiteY8" fmla="*/ 56197 h 7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 h="71437">
                        <a:moveTo>
                          <a:pt x="128588" y="56197"/>
                        </a:moveTo>
                        <a:lnTo>
                          <a:pt x="128588" y="54292"/>
                        </a:lnTo>
                        <a:lnTo>
                          <a:pt x="128588" y="47625"/>
                        </a:lnTo>
                        <a:cubicBezTo>
                          <a:pt x="119063" y="50483"/>
                          <a:pt x="109538" y="52388"/>
                          <a:pt x="99060" y="52388"/>
                        </a:cubicBezTo>
                        <a:cubicBezTo>
                          <a:pt x="63818" y="52388"/>
                          <a:pt x="31433" y="31433"/>
                          <a:pt x="17145" y="0"/>
                        </a:cubicBezTo>
                        <a:lnTo>
                          <a:pt x="0" y="7620"/>
                        </a:lnTo>
                        <a:cubicBezTo>
                          <a:pt x="17145" y="46672"/>
                          <a:pt x="56198" y="71438"/>
                          <a:pt x="99060" y="71438"/>
                        </a:cubicBezTo>
                        <a:cubicBezTo>
                          <a:pt x="103823" y="71438"/>
                          <a:pt x="109538" y="71438"/>
                          <a:pt x="114300" y="70485"/>
                        </a:cubicBezTo>
                        <a:cubicBezTo>
                          <a:pt x="118110" y="64770"/>
                          <a:pt x="122873" y="60008"/>
                          <a:pt x="128588" y="56197"/>
                        </a:cubicBezTo>
                        <a:close/>
                      </a:path>
                    </a:pathLst>
                  </a:custGeom>
                  <a:solidFill>
                    <a:srgbClr val="40AA1D"/>
                  </a:solidFill>
                  <a:ln w="9525" cap="flat">
                    <a:noFill/>
                    <a:prstDash val="solid"/>
                    <a:miter/>
                  </a:ln>
                </p:spPr>
                <p:txBody>
                  <a:bodyPr rtlCol="0" anchor="ctr"/>
                  <a:lstStyle/>
                  <a:p>
                    <a:endParaRPr lang="en-US" dirty="0"/>
                  </a:p>
                </p:txBody>
              </p:sp>
              <p:sp>
                <p:nvSpPr>
                  <p:cNvPr id="283" name="Freeform: Shape 282">
                    <a:extLst>
                      <a:ext uri="{FF2B5EF4-FFF2-40B4-BE49-F238E27FC236}">
                        <a16:creationId xmlns:a16="http://schemas.microsoft.com/office/drawing/2014/main" id="{9B630C1F-C8B0-8B22-09E3-FE1333159C88}"/>
                      </a:ext>
                    </a:extLst>
                  </p:cNvPr>
                  <p:cNvSpPr/>
                  <p:nvPr/>
                </p:nvSpPr>
                <p:spPr>
                  <a:xfrm>
                    <a:off x="10738473" y="3145885"/>
                    <a:ext cx="41910" cy="42862"/>
                  </a:xfrm>
                  <a:custGeom>
                    <a:avLst/>
                    <a:gdLst>
                      <a:gd name="connsiteX0" fmla="*/ 24765 w 41910"/>
                      <a:gd name="connsiteY0" fmla="*/ 42863 h 42862"/>
                      <a:gd name="connsiteX1" fmla="*/ 41910 w 41910"/>
                      <a:gd name="connsiteY1" fmla="*/ 3810 h 42862"/>
                      <a:gd name="connsiteX2" fmla="*/ 22860 w 41910"/>
                      <a:gd name="connsiteY2" fmla="*/ 0 h 42862"/>
                      <a:gd name="connsiteX3" fmla="*/ 0 w 41910"/>
                      <a:gd name="connsiteY3" fmla="*/ 42863 h 42862"/>
                      <a:gd name="connsiteX4" fmla="*/ 14288 w 41910"/>
                      <a:gd name="connsiteY4" fmla="*/ 42863 h 42862"/>
                      <a:gd name="connsiteX5" fmla="*/ 24765 w 41910"/>
                      <a:gd name="connsiteY5" fmla="*/ 42863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10" h="42862">
                        <a:moveTo>
                          <a:pt x="24765" y="42863"/>
                        </a:moveTo>
                        <a:cubicBezTo>
                          <a:pt x="33338" y="31432"/>
                          <a:pt x="39053" y="18097"/>
                          <a:pt x="41910" y="3810"/>
                        </a:cubicBezTo>
                        <a:lnTo>
                          <a:pt x="22860" y="0"/>
                        </a:lnTo>
                        <a:cubicBezTo>
                          <a:pt x="19050" y="16192"/>
                          <a:pt x="11430" y="31432"/>
                          <a:pt x="0" y="42863"/>
                        </a:cubicBezTo>
                        <a:lnTo>
                          <a:pt x="14288" y="42863"/>
                        </a:lnTo>
                        <a:lnTo>
                          <a:pt x="24765" y="42863"/>
                        </a:lnTo>
                        <a:close/>
                      </a:path>
                    </a:pathLst>
                  </a:custGeom>
                  <a:solidFill>
                    <a:srgbClr val="40AA1D"/>
                  </a:solidFill>
                  <a:ln w="9525" cap="flat">
                    <a:noFill/>
                    <a:prstDash val="solid"/>
                    <a:miter/>
                  </a:ln>
                </p:spPr>
                <p:txBody>
                  <a:bodyPr rtlCol="0" anchor="ctr"/>
                  <a:lstStyle/>
                  <a:p>
                    <a:endParaRPr lang="en-US" dirty="0"/>
                  </a:p>
                </p:txBody>
              </p:sp>
            </p:grpSp>
          </p:grpSp>
        </p:grpSp>
        <p:grpSp>
          <p:nvGrpSpPr>
            <p:cNvPr id="295" name="Group 294">
              <a:extLst>
                <a:ext uri="{FF2B5EF4-FFF2-40B4-BE49-F238E27FC236}">
                  <a16:creationId xmlns:a16="http://schemas.microsoft.com/office/drawing/2014/main" id="{8D8717EE-3AD7-F511-AC0E-001C44222088}"/>
                </a:ext>
              </a:extLst>
            </p:cNvPr>
            <p:cNvGrpSpPr/>
            <p:nvPr/>
          </p:nvGrpSpPr>
          <p:grpSpPr>
            <a:xfrm>
              <a:off x="10106080" y="3110142"/>
              <a:ext cx="609600" cy="578167"/>
              <a:chOff x="537926" y="1818419"/>
              <a:chExt cx="609600" cy="578167"/>
            </a:xfrm>
          </p:grpSpPr>
          <p:sp>
            <p:nvSpPr>
              <p:cNvPr id="296" name="Freeform: Shape 295">
                <a:extLst>
                  <a:ext uri="{FF2B5EF4-FFF2-40B4-BE49-F238E27FC236}">
                    <a16:creationId xmlns:a16="http://schemas.microsoft.com/office/drawing/2014/main" id="{E9E840E0-27B1-AC1D-1E3A-EA35BD16BC86}"/>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297" name="Freeform: Shape 296">
                <a:extLst>
                  <a:ext uri="{FF2B5EF4-FFF2-40B4-BE49-F238E27FC236}">
                    <a16:creationId xmlns:a16="http://schemas.microsoft.com/office/drawing/2014/main" id="{9077587A-C341-CE78-5BD8-437266EA51F8}"/>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grpSp>
        <p:nvGrpSpPr>
          <p:cNvPr id="301" name="Group 300">
            <a:extLst>
              <a:ext uri="{FF2B5EF4-FFF2-40B4-BE49-F238E27FC236}">
                <a16:creationId xmlns:a16="http://schemas.microsoft.com/office/drawing/2014/main" id="{FA7CCEB4-8965-954F-9B4E-C9980916B0E3}"/>
              </a:ext>
            </a:extLst>
          </p:cNvPr>
          <p:cNvGrpSpPr/>
          <p:nvPr/>
        </p:nvGrpSpPr>
        <p:grpSpPr>
          <a:xfrm>
            <a:off x="11128475" y="2906808"/>
            <a:ext cx="779191" cy="781501"/>
            <a:chOff x="11128475" y="2906808"/>
            <a:chExt cx="779191" cy="781501"/>
          </a:xfrm>
        </p:grpSpPr>
        <p:grpSp>
          <p:nvGrpSpPr>
            <p:cNvPr id="290" name="Graphic 194">
              <a:extLst>
                <a:ext uri="{FF2B5EF4-FFF2-40B4-BE49-F238E27FC236}">
                  <a16:creationId xmlns:a16="http://schemas.microsoft.com/office/drawing/2014/main" id="{83809598-5D78-D725-FACF-7B74358B1569}"/>
                </a:ext>
              </a:extLst>
            </p:cNvPr>
            <p:cNvGrpSpPr/>
            <p:nvPr/>
          </p:nvGrpSpPr>
          <p:grpSpPr>
            <a:xfrm>
              <a:off x="11326641" y="2906808"/>
              <a:ext cx="581025" cy="436626"/>
              <a:chOff x="11326641" y="2906808"/>
              <a:chExt cx="581025" cy="436626"/>
            </a:xfrm>
            <a:solidFill>
              <a:srgbClr val="3D4647"/>
            </a:solidFill>
          </p:grpSpPr>
          <p:sp>
            <p:nvSpPr>
              <p:cNvPr id="291" name="Freeform: Shape 290">
                <a:extLst>
                  <a:ext uri="{FF2B5EF4-FFF2-40B4-BE49-F238E27FC236}">
                    <a16:creationId xmlns:a16="http://schemas.microsoft.com/office/drawing/2014/main" id="{14A3B8D8-F5ED-9434-26C1-C30DBDB94E8E}"/>
                  </a:ext>
                </a:extLst>
              </p:cNvPr>
              <p:cNvSpPr/>
              <p:nvPr/>
            </p:nvSpPr>
            <p:spPr>
              <a:xfrm>
                <a:off x="11326641" y="2906808"/>
                <a:ext cx="552450" cy="361950"/>
              </a:xfrm>
              <a:custGeom>
                <a:avLst/>
                <a:gdLst>
                  <a:gd name="connsiteX0" fmla="*/ 28575 w 552450"/>
                  <a:gd name="connsiteY0" fmla="*/ 28575 h 361950"/>
                  <a:gd name="connsiteX1" fmla="*/ 523875 w 552450"/>
                  <a:gd name="connsiteY1" fmla="*/ 28575 h 361950"/>
                  <a:gd name="connsiteX2" fmla="*/ 523875 w 552450"/>
                  <a:gd name="connsiteY2" fmla="*/ 333375 h 361950"/>
                  <a:gd name="connsiteX3" fmla="*/ 264605 w 552450"/>
                  <a:gd name="connsiteY3" fmla="*/ 333375 h 361950"/>
                  <a:gd name="connsiteX4" fmla="*/ 266033 w 552450"/>
                  <a:gd name="connsiteY4" fmla="*/ 352235 h 361950"/>
                  <a:gd name="connsiteX5" fmla="*/ 270034 w 552450"/>
                  <a:gd name="connsiteY5" fmla="*/ 361950 h 361950"/>
                  <a:gd name="connsiteX6" fmla="*/ 524256 w 552450"/>
                  <a:gd name="connsiteY6" fmla="*/ 361950 h 361950"/>
                  <a:gd name="connsiteX7" fmla="*/ 552450 w 552450"/>
                  <a:gd name="connsiteY7" fmla="*/ 333756 h 361950"/>
                  <a:gd name="connsiteX8" fmla="*/ 552450 w 552450"/>
                  <a:gd name="connsiteY8" fmla="*/ 28194 h 361950"/>
                  <a:gd name="connsiteX9" fmla="*/ 524256 w 552450"/>
                  <a:gd name="connsiteY9" fmla="*/ 0 h 361950"/>
                  <a:gd name="connsiteX10" fmla="*/ 28194 w 552450"/>
                  <a:gd name="connsiteY10" fmla="*/ 0 h 361950"/>
                  <a:gd name="connsiteX11" fmla="*/ 0 w 552450"/>
                  <a:gd name="connsiteY11" fmla="*/ 28194 h 361950"/>
                  <a:gd name="connsiteX12" fmla="*/ 0 w 552450"/>
                  <a:gd name="connsiteY12" fmla="*/ 212693 h 361950"/>
                  <a:gd name="connsiteX13" fmla="*/ 28575 w 552450"/>
                  <a:gd name="connsiteY13" fmla="*/ 192119 h 361950"/>
                  <a:gd name="connsiteX14" fmla="*/ 28575 w 552450"/>
                  <a:gd name="connsiteY14" fmla="*/ 28575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2450" h="361950">
                    <a:moveTo>
                      <a:pt x="28575" y="28575"/>
                    </a:moveTo>
                    <a:lnTo>
                      <a:pt x="523875" y="28575"/>
                    </a:lnTo>
                    <a:lnTo>
                      <a:pt x="523875" y="333375"/>
                    </a:lnTo>
                    <a:lnTo>
                      <a:pt x="264605" y="333375"/>
                    </a:lnTo>
                    <a:cubicBezTo>
                      <a:pt x="265367" y="340424"/>
                      <a:pt x="265843" y="346805"/>
                      <a:pt x="266033" y="352235"/>
                    </a:cubicBezTo>
                    <a:cubicBezTo>
                      <a:pt x="267557" y="355187"/>
                      <a:pt x="268796" y="358521"/>
                      <a:pt x="270034" y="361950"/>
                    </a:cubicBezTo>
                    <a:lnTo>
                      <a:pt x="524256" y="361950"/>
                    </a:lnTo>
                    <a:cubicBezTo>
                      <a:pt x="539877" y="361950"/>
                      <a:pt x="552450" y="349282"/>
                      <a:pt x="552450" y="333756"/>
                    </a:cubicBezTo>
                    <a:lnTo>
                      <a:pt x="552450" y="28194"/>
                    </a:lnTo>
                    <a:cubicBezTo>
                      <a:pt x="552450" y="12573"/>
                      <a:pt x="539782" y="0"/>
                      <a:pt x="524256" y="0"/>
                    </a:cubicBezTo>
                    <a:lnTo>
                      <a:pt x="28194" y="0"/>
                    </a:lnTo>
                    <a:cubicBezTo>
                      <a:pt x="12573" y="0"/>
                      <a:pt x="0" y="12668"/>
                      <a:pt x="0" y="28194"/>
                    </a:cubicBezTo>
                    <a:lnTo>
                      <a:pt x="0" y="212693"/>
                    </a:lnTo>
                    <a:cubicBezTo>
                      <a:pt x="8763" y="204597"/>
                      <a:pt x="18288" y="197644"/>
                      <a:pt x="28575" y="192119"/>
                    </a:cubicBezTo>
                    <a:lnTo>
                      <a:pt x="28575" y="28575"/>
                    </a:lnTo>
                    <a:close/>
                  </a:path>
                </a:pathLst>
              </a:custGeom>
              <a:solidFill>
                <a:srgbClr val="3D4647"/>
              </a:solidFill>
              <a:ln w="0" cap="flat">
                <a:noFill/>
                <a:prstDash val="solid"/>
                <a:miter/>
              </a:ln>
            </p:spPr>
            <p:txBody>
              <a:bodyPr rtlCol="0" anchor="ctr"/>
              <a:lstStyle/>
              <a:p>
                <a:endParaRPr lang="en-US" dirty="0"/>
              </a:p>
            </p:txBody>
          </p:sp>
          <p:sp>
            <p:nvSpPr>
              <p:cNvPr id="292" name="Freeform: Shape 291">
                <a:extLst>
                  <a:ext uri="{FF2B5EF4-FFF2-40B4-BE49-F238E27FC236}">
                    <a16:creationId xmlns:a16="http://schemas.microsoft.com/office/drawing/2014/main" id="{2D949D69-B711-0C4B-9E42-BF5473BC4B56}"/>
                  </a:ext>
                </a:extLst>
              </p:cNvPr>
              <p:cNvSpPr/>
              <p:nvPr/>
            </p:nvSpPr>
            <p:spPr>
              <a:xfrm>
                <a:off x="11591912" y="3295809"/>
                <a:ext cx="315753" cy="47625"/>
              </a:xfrm>
              <a:custGeom>
                <a:avLst/>
                <a:gdLst>
                  <a:gd name="connsiteX0" fmla="*/ 68104 w 315753"/>
                  <a:gd name="connsiteY0" fmla="*/ 0 h 47625"/>
                  <a:gd name="connsiteX1" fmla="*/ 68104 w 315753"/>
                  <a:gd name="connsiteY1" fmla="*/ 19050 h 47625"/>
                  <a:gd name="connsiteX2" fmla="*/ 6858 w 315753"/>
                  <a:gd name="connsiteY2" fmla="*/ 19050 h 47625"/>
                  <a:gd name="connsiteX3" fmla="*/ 0 w 315753"/>
                  <a:gd name="connsiteY3" fmla="*/ 47625 h 47625"/>
                  <a:gd name="connsiteX4" fmla="*/ 277749 w 315753"/>
                  <a:gd name="connsiteY4" fmla="*/ 47625 h 47625"/>
                  <a:gd name="connsiteX5" fmla="*/ 315754 w 315753"/>
                  <a:gd name="connsiteY5" fmla="*/ 9620 h 47625"/>
                  <a:gd name="connsiteX6" fmla="*/ 315754 w 315753"/>
                  <a:gd name="connsiteY6" fmla="*/ 0 h 47625"/>
                  <a:gd name="connsiteX7" fmla="*/ 68104 w 315753"/>
                  <a:gd name="connsiteY7" fmla="*/ 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753" h="47625">
                    <a:moveTo>
                      <a:pt x="68104" y="0"/>
                    </a:moveTo>
                    <a:lnTo>
                      <a:pt x="68104" y="19050"/>
                    </a:lnTo>
                    <a:lnTo>
                      <a:pt x="6858" y="19050"/>
                    </a:lnTo>
                    <a:lnTo>
                      <a:pt x="0" y="47625"/>
                    </a:lnTo>
                    <a:lnTo>
                      <a:pt x="277749" y="47625"/>
                    </a:lnTo>
                    <a:cubicBezTo>
                      <a:pt x="298704" y="47625"/>
                      <a:pt x="315754" y="30575"/>
                      <a:pt x="315754" y="9620"/>
                    </a:cubicBezTo>
                    <a:lnTo>
                      <a:pt x="315754" y="0"/>
                    </a:lnTo>
                    <a:lnTo>
                      <a:pt x="68104" y="0"/>
                    </a:lnTo>
                    <a:close/>
                  </a:path>
                </a:pathLst>
              </a:custGeom>
              <a:solidFill>
                <a:srgbClr val="3D4647"/>
              </a:solidFill>
              <a:ln w="0" cap="flat">
                <a:noFill/>
                <a:prstDash val="solid"/>
                <a:miter/>
              </a:ln>
            </p:spPr>
            <p:txBody>
              <a:bodyPr rtlCol="0" anchor="ctr"/>
              <a:lstStyle/>
              <a:p>
                <a:endParaRPr lang="en-US" dirty="0"/>
              </a:p>
            </p:txBody>
          </p:sp>
        </p:grpSp>
        <p:sp>
          <p:nvSpPr>
            <p:cNvPr id="293" name="Freeform: Shape 292">
              <a:extLst>
                <a:ext uri="{FF2B5EF4-FFF2-40B4-BE49-F238E27FC236}">
                  <a16:creationId xmlns:a16="http://schemas.microsoft.com/office/drawing/2014/main" id="{D29AA39F-C85F-E0FD-8E8F-B430390BE40B}"/>
                </a:ext>
              </a:extLst>
            </p:cNvPr>
            <p:cNvSpPr/>
            <p:nvPr/>
          </p:nvSpPr>
          <p:spPr>
            <a:xfrm>
              <a:off x="11673541" y="3066351"/>
              <a:ext cx="152400" cy="152114"/>
            </a:xfrm>
            <a:custGeom>
              <a:avLst/>
              <a:gdLst>
                <a:gd name="connsiteX0" fmla="*/ 142208 w 152400"/>
                <a:gd name="connsiteY0" fmla="*/ 133064 h 152114"/>
                <a:gd name="connsiteX1" fmla="*/ 142208 w 152400"/>
                <a:gd name="connsiteY1" fmla="*/ 27813 h 152114"/>
                <a:gd name="connsiteX2" fmla="*/ 123539 w 152400"/>
                <a:gd name="connsiteY2" fmla="*/ 27813 h 152114"/>
                <a:gd name="connsiteX3" fmla="*/ 123539 w 152400"/>
                <a:gd name="connsiteY3" fmla="*/ 0 h 152114"/>
                <a:gd name="connsiteX4" fmla="*/ 28766 w 152400"/>
                <a:gd name="connsiteY4" fmla="*/ 0 h 152114"/>
                <a:gd name="connsiteX5" fmla="*/ 28766 w 152400"/>
                <a:gd name="connsiteY5" fmla="*/ 27813 h 152114"/>
                <a:gd name="connsiteX6" fmla="*/ 10287 w 152400"/>
                <a:gd name="connsiteY6" fmla="*/ 27813 h 152114"/>
                <a:gd name="connsiteX7" fmla="*/ 10287 w 152400"/>
                <a:gd name="connsiteY7" fmla="*/ 133064 h 152114"/>
                <a:gd name="connsiteX8" fmla="*/ 0 w 152400"/>
                <a:gd name="connsiteY8" fmla="*/ 133064 h 152114"/>
                <a:gd name="connsiteX9" fmla="*/ 0 w 152400"/>
                <a:gd name="connsiteY9" fmla="*/ 152114 h 152114"/>
                <a:gd name="connsiteX10" fmla="*/ 152400 w 152400"/>
                <a:gd name="connsiteY10" fmla="*/ 152114 h 152114"/>
                <a:gd name="connsiteX11" fmla="*/ 152400 w 152400"/>
                <a:gd name="connsiteY11" fmla="*/ 133064 h 152114"/>
                <a:gd name="connsiteX12" fmla="*/ 142208 w 152400"/>
                <a:gd name="connsiteY12" fmla="*/ 133064 h 152114"/>
                <a:gd name="connsiteX13" fmla="*/ 47720 w 152400"/>
                <a:gd name="connsiteY13" fmla="*/ 108680 h 152114"/>
                <a:gd name="connsiteX14" fmla="*/ 28766 w 152400"/>
                <a:gd name="connsiteY14" fmla="*/ 108680 h 152114"/>
                <a:gd name="connsiteX15" fmla="*/ 28766 w 152400"/>
                <a:gd name="connsiteY15" fmla="*/ 89344 h 152114"/>
                <a:gd name="connsiteX16" fmla="*/ 47720 w 152400"/>
                <a:gd name="connsiteY16" fmla="*/ 89344 h 152114"/>
                <a:gd name="connsiteX17" fmla="*/ 47720 w 152400"/>
                <a:gd name="connsiteY17" fmla="*/ 108680 h 152114"/>
                <a:gd name="connsiteX18" fmla="*/ 47720 w 152400"/>
                <a:gd name="connsiteY18" fmla="*/ 68770 h 152114"/>
                <a:gd name="connsiteX19" fmla="*/ 28766 w 152400"/>
                <a:gd name="connsiteY19" fmla="*/ 68770 h 152114"/>
                <a:gd name="connsiteX20" fmla="*/ 28766 w 152400"/>
                <a:gd name="connsiteY20" fmla="*/ 49435 h 152114"/>
                <a:gd name="connsiteX21" fmla="*/ 47720 w 152400"/>
                <a:gd name="connsiteY21" fmla="*/ 49435 h 152114"/>
                <a:gd name="connsiteX22" fmla="*/ 47720 w 152400"/>
                <a:gd name="connsiteY22" fmla="*/ 68770 h 152114"/>
                <a:gd name="connsiteX23" fmla="*/ 85630 w 152400"/>
                <a:gd name="connsiteY23" fmla="*/ 131255 h 152114"/>
                <a:gd name="connsiteX24" fmla="*/ 66675 w 152400"/>
                <a:gd name="connsiteY24" fmla="*/ 131255 h 152114"/>
                <a:gd name="connsiteX25" fmla="*/ 66675 w 152400"/>
                <a:gd name="connsiteY25" fmla="*/ 89440 h 152114"/>
                <a:gd name="connsiteX26" fmla="*/ 85630 w 152400"/>
                <a:gd name="connsiteY26" fmla="*/ 89440 h 152114"/>
                <a:gd name="connsiteX27" fmla="*/ 85630 w 152400"/>
                <a:gd name="connsiteY27" fmla="*/ 131255 h 152114"/>
                <a:gd name="connsiteX28" fmla="*/ 85630 w 152400"/>
                <a:gd name="connsiteY28" fmla="*/ 68770 h 152114"/>
                <a:gd name="connsiteX29" fmla="*/ 66675 w 152400"/>
                <a:gd name="connsiteY29" fmla="*/ 68770 h 152114"/>
                <a:gd name="connsiteX30" fmla="*/ 66675 w 152400"/>
                <a:gd name="connsiteY30" fmla="*/ 49435 h 152114"/>
                <a:gd name="connsiteX31" fmla="*/ 85630 w 152400"/>
                <a:gd name="connsiteY31" fmla="*/ 49435 h 152114"/>
                <a:gd name="connsiteX32" fmla="*/ 85630 w 152400"/>
                <a:gd name="connsiteY32" fmla="*/ 68770 h 152114"/>
                <a:gd name="connsiteX33" fmla="*/ 123539 w 152400"/>
                <a:gd name="connsiteY33" fmla="*/ 108680 h 152114"/>
                <a:gd name="connsiteX34" fmla="*/ 104585 w 152400"/>
                <a:gd name="connsiteY34" fmla="*/ 108680 h 152114"/>
                <a:gd name="connsiteX35" fmla="*/ 104585 w 152400"/>
                <a:gd name="connsiteY35" fmla="*/ 89344 h 152114"/>
                <a:gd name="connsiteX36" fmla="*/ 123539 w 152400"/>
                <a:gd name="connsiteY36" fmla="*/ 89344 h 152114"/>
                <a:gd name="connsiteX37" fmla="*/ 123539 w 152400"/>
                <a:gd name="connsiteY37" fmla="*/ 108680 h 152114"/>
                <a:gd name="connsiteX38" fmla="*/ 123539 w 152400"/>
                <a:gd name="connsiteY38" fmla="*/ 68770 h 152114"/>
                <a:gd name="connsiteX39" fmla="*/ 104585 w 152400"/>
                <a:gd name="connsiteY39" fmla="*/ 68770 h 152114"/>
                <a:gd name="connsiteX40" fmla="*/ 104585 w 152400"/>
                <a:gd name="connsiteY40" fmla="*/ 49435 h 152114"/>
                <a:gd name="connsiteX41" fmla="*/ 123539 w 152400"/>
                <a:gd name="connsiteY41" fmla="*/ 49435 h 152114"/>
                <a:gd name="connsiteX42" fmla="*/ 123539 w 152400"/>
                <a:gd name="connsiteY42" fmla="*/ 68770 h 152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2400" h="152114">
                  <a:moveTo>
                    <a:pt x="142208" y="133064"/>
                  </a:moveTo>
                  <a:lnTo>
                    <a:pt x="142208" y="27813"/>
                  </a:lnTo>
                  <a:lnTo>
                    <a:pt x="123539" y="27813"/>
                  </a:lnTo>
                  <a:lnTo>
                    <a:pt x="123539" y="0"/>
                  </a:lnTo>
                  <a:lnTo>
                    <a:pt x="28766" y="0"/>
                  </a:lnTo>
                  <a:lnTo>
                    <a:pt x="28766" y="27813"/>
                  </a:lnTo>
                  <a:lnTo>
                    <a:pt x="10287" y="27813"/>
                  </a:lnTo>
                  <a:lnTo>
                    <a:pt x="10287" y="133064"/>
                  </a:lnTo>
                  <a:lnTo>
                    <a:pt x="0" y="133064"/>
                  </a:lnTo>
                  <a:lnTo>
                    <a:pt x="0" y="152114"/>
                  </a:lnTo>
                  <a:lnTo>
                    <a:pt x="152400" y="152114"/>
                  </a:lnTo>
                  <a:lnTo>
                    <a:pt x="152400" y="133064"/>
                  </a:lnTo>
                  <a:lnTo>
                    <a:pt x="142208" y="133064"/>
                  </a:lnTo>
                  <a:close/>
                  <a:moveTo>
                    <a:pt x="47720" y="108680"/>
                  </a:moveTo>
                  <a:lnTo>
                    <a:pt x="28766" y="108680"/>
                  </a:lnTo>
                  <a:lnTo>
                    <a:pt x="28766" y="89344"/>
                  </a:lnTo>
                  <a:lnTo>
                    <a:pt x="47720" y="89344"/>
                  </a:lnTo>
                  <a:lnTo>
                    <a:pt x="47720" y="108680"/>
                  </a:lnTo>
                  <a:close/>
                  <a:moveTo>
                    <a:pt x="47720" y="68770"/>
                  </a:moveTo>
                  <a:lnTo>
                    <a:pt x="28766" y="68770"/>
                  </a:lnTo>
                  <a:lnTo>
                    <a:pt x="28766" y="49435"/>
                  </a:lnTo>
                  <a:lnTo>
                    <a:pt x="47720" y="49435"/>
                  </a:lnTo>
                  <a:lnTo>
                    <a:pt x="47720" y="68770"/>
                  </a:lnTo>
                  <a:close/>
                  <a:moveTo>
                    <a:pt x="85630" y="131255"/>
                  </a:moveTo>
                  <a:lnTo>
                    <a:pt x="66675" y="131255"/>
                  </a:lnTo>
                  <a:lnTo>
                    <a:pt x="66675" y="89440"/>
                  </a:lnTo>
                  <a:lnTo>
                    <a:pt x="85630" y="89440"/>
                  </a:lnTo>
                  <a:lnTo>
                    <a:pt x="85630" y="131255"/>
                  </a:lnTo>
                  <a:close/>
                  <a:moveTo>
                    <a:pt x="85630" y="68770"/>
                  </a:moveTo>
                  <a:lnTo>
                    <a:pt x="66675" y="68770"/>
                  </a:lnTo>
                  <a:lnTo>
                    <a:pt x="66675" y="49435"/>
                  </a:lnTo>
                  <a:lnTo>
                    <a:pt x="85630" y="49435"/>
                  </a:lnTo>
                  <a:lnTo>
                    <a:pt x="85630" y="68770"/>
                  </a:lnTo>
                  <a:close/>
                  <a:moveTo>
                    <a:pt x="123539" y="108680"/>
                  </a:moveTo>
                  <a:lnTo>
                    <a:pt x="104585" y="108680"/>
                  </a:lnTo>
                  <a:lnTo>
                    <a:pt x="104585" y="89344"/>
                  </a:lnTo>
                  <a:lnTo>
                    <a:pt x="123539" y="89344"/>
                  </a:lnTo>
                  <a:lnTo>
                    <a:pt x="123539" y="108680"/>
                  </a:lnTo>
                  <a:close/>
                  <a:moveTo>
                    <a:pt x="123539" y="68770"/>
                  </a:moveTo>
                  <a:lnTo>
                    <a:pt x="104585" y="68770"/>
                  </a:lnTo>
                  <a:lnTo>
                    <a:pt x="104585" y="49435"/>
                  </a:lnTo>
                  <a:lnTo>
                    <a:pt x="123539" y="49435"/>
                  </a:lnTo>
                  <a:lnTo>
                    <a:pt x="123539" y="68770"/>
                  </a:lnTo>
                  <a:close/>
                </a:path>
              </a:pathLst>
            </a:custGeom>
            <a:solidFill>
              <a:srgbClr val="40AA1D"/>
            </a:solidFill>
            <a:ln w="0" cap="flat">
              <a:noFill/>
              <a:prstDash val="solid"/>
              <a:miter/>
            </a:ln>
          </p:spPr>
          <p:txBody>
            <a:bodyPr rtlCol="0" anchor="ctr"/>
            <a:lstStyle/>
            <a:p>
              <a:endParaRPr lang="en-US" dirty="0"/>
            </a:p>
          </p:txBody>
        </p:sp>
        <p:sp>
          <p:nvSpPr>
            <p:cNvPr id="294" name="Freeform: Shape 293">
              <a:extLst>
                <a:ext uri="{FF2B5EF4-FFF2-40B4-BE49-F238E27FC236}">
                  <a16:creationId xmlns:a16="http://schemas.microsoft.com/office/drawing/2014/main" id="{6162F564-D729-3FD3-7C7C-4CB091449F59}"/>
                </a:ext>
              </a:extLst>
            </p:cNvPr>
            <p:cNvSpPr/>
            <p:nvPr/>
          </p:nvSpPr>
          <p:spPr>
            <a:xfrm>
              <a:off x="11517141" y="2954433"/>
              <a:ext cx="122777" cy="152400"/>
            </a:xfrm>
            <a:custGeom>
              <a:avLst/>
              <a:gdLst>
                <a:gd name="connsiteX0" fmla="*/ 122777 w 122777"/>
                <a:gd name="connsiteY0" fmla="*/ 147542 h 152400"/>
                <a:gd name="connsiteX1" fmla="*/ 113157 w 122777"/>
                <a:gd name="connsiteY1" fmla="*/ 131255 h 152400"/>
                <a:gd name="connsiteX2" fmla="*/ 118872 w 122777"/>
                <a:gd name="connsiteY2" fmla="*/ 127826 h 152400"/>
                <a:gd name="connsiteX3" fmla="*/ 90202 w 122777"/>
                <a:gd name="connsiteY3" fmla="*/ 79439 h 152400"/>
                <a:gd name="connsiteX4" fmla="*/ 99250 w 122777"/>
                <a:gd name="connsiteY4" fmla="*/ 55150 h 152400"/>
                <a:gd name="connsiteX5" fmla="*/ 70961 w 122777"/>
                <a:gd name="connsiteY5" fmla="*/ 19050 h 152400"/>
                <a:gd name="connsiteX6" fmla="*/ 70961 w 122777"/>
                <a:gd name="connsiteY6" fmla="*/ 0 h 152400"/>
                <a:gd name="connsiteX7" fmla="*/ 51816 w 122777"/>
                <a:gd name="connsiteY7" fmla="*/ 0 h 152400"/>
                <a:gd name="connsiteX8" fmla="*/ 51816 w 122777"/>
                <a:gd name="connsiteY8" fmla="*/ 19431 h 152400"/>
                <a:gd name="connsiteX9" fmla="*/ 24860 w 122777"/>
                <a:gd name="connsiteY9" fmla="*/ 55150 h 152400"/>
                <a:gd name="connsiteX10" fmla="*/ 33147 w 122777"/>
                <a:gd name="connsiteY10" fmla="*/ 78486 h 152400"/>
                <a:gd name="connsiteX11" fmla="*/ 3905 w 122777"/>
                <a:gd name="connsiteY11" fmla="*/ 127826 h 152400"/>
                <a:gd name="connsiteX12" fmla="*/ 9620 w 122777"/>
                <a:gd name="connsiteY12" fmla="*/ 131255 h 152400"/>
                <a:gd name="connsiteX13" fmla="*/ 0 w 122777"/>
                <a:gd name="connsiteY13" fmla="*/ 147542 h 152400"/>
                <a:gd name="connsiteX14" fmla="*/ 8192 w 122777"/>
                <a:gd name="connsiteY14" fmla="*/ 152400 h 152400"/>
                <a:gd name="connsiteX15" fmla="*/ 17812 w 122777"/>
                <a:gd name="connsiteY15" fmla="*/ 136112 h 152400"/>
                <a:gd name="connsiteX16" fmla="*/ 22955 w 122777"/>
                <a:gd name="connsiteY16" fmla="*/ 139160 h 152400"/>
                <a:gd name="connsiteX17" fmla="*/ 32575 w 122777"/>
                <a:gd name="connsiteY17" fmla="*/ 122968 h 152400"/>
                <a:gd name="connsiteX18" fmla="*/ 90106 w 122777"/>
                <a:gd name="connsiteY18" fmla="*/ 122968 h 152400"/>
                <a:gd name="connsiteX19" fmla="*/ 99727 w 122777"/>
                <a:gd name="connsiteY19" fmla="*/ 139160 h 152400"/>
                <a:gd name="connsiteX20" fmla="*/ 104870 w 122777"/>
                <a:gd name="connsiteY20" fmla="*/ 136112 h 152400"/>
                <a:gd name="connsiteX21" fmla="*/ 114491 w 122777"/>
                <a:gd name="connsiteY21" fmla="*/ 152400 h 152400"/>
                <a:gd name="connsiteX22" fmla="*/ 122682 w 122777"/>
                <a:gd name="connsiteY22" fmla="*/ 147542 h 152400"/>
                <a:gd name="connsiteX23" fmla="*/ 62103 w 122777"/>
                <a:gd name="connsiteY23" fmla="*/ 37243 h 152400"/>
                <a:gd name="connsiteX24" fmla="*/ 80105 w 122777"/>
                <a:gd name="connsiteY24" fmla="*/ 55245 h 152400"/>
                <a:gd name="connsiteX25" fmla="*/ 62103 w 122777"/>
                <a:gd name="connsiteY25" fmla="*/ 73247 h 152400"/>
                <a:gd name="connsiteX26" fmla="*/ 44101 w 122777"/>
                <a:gd name="connsiteY26" fmla="*/ 55245 h 152400"/>
                <a:gd name="connsiteX27" fmla="*/ 62103 w 122777"/>
                <a:gd name="connsiteY27" fmla="*/ 37243 h 152400"/>
                <a:gd name="connsiteX28" fmla="*/ 42481 w 122777"/>
                <a:gd name="connsiteY28" fmla="*/ 106299 h 152400"/>
                <a:gd name="connsiteX29" fmla="*/ 51625 w 122777"/>
                <a:gd name="connsiteY29" fmla="*/ 90869 h 152400"/>
                <a:gd name="connsiteX30" fmla="*/ 62103 w 122777"/>
                <a:gd name="connsiteY30" fmla="*/ 92393 h 152400"/>
                <a:gd name="connsiteX31" fmla="*/ 71342 w 122777"/>
                <a:gd name="connsiteY31" fmla="*/ 91154 h 152400"/>
                <a:gd name="connsiteX32" fmla="*/ 80296 w 122777"/>
                <a:gd name="connsiteY32" fmla="*/ 106204 h 152400"/>
                <a:gd name="connsiteX33" fmla="*/ 42481 w 122777"/>
                <a:gd name="connsiteY33" fmla="*/ 106204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2777" h="152400">
                  <a:moveTo>
                    <a:pt x="122777" y="147542"/>
                  </a:moveTo>
                  <a:lnTo>
                    <a:pt x="113157" y="131255"/>
                  </a:lnTo>
                  <a:lnTo>
                    <a:pt x="118872" y="127826"/>
                  </a:lnTo>
                  <a:lnTo>
                    <a:pt x="90202" y="79439"/>
                  </a:lnTo>
                  <a:cubicBezTo>
                    <a:pt x="95822" y="72962"/>
                    <a:pt x="99250" y="64484"/>
                    <a:pt x="99250" y="55150"/>
                  </a:cubicBezTo>
                  <a:cubicBezTo>
                    <a:pt x="99250" y="37719"/>
                    <a:pt x="87154" y="23051"/>
                    <a:pt x="70961" y="19050"/>
                  </a:cubicBezTo>
                  <a:lnTo>
                    <a:pt x="70961" y="0"/>
                  </a:lnTo>
                  <a:cubicBezTo>
                    <a:pt x="70961" y="0"/>
                    <a:pt x="51816" y="0"/>
                    <a:pt x="51816" y="0"/>
                  </a:cubicBezTo>
                  <a:lnTo>
                    <a:pt x="51816" y="19431"/>
                  </a:lnTo>
                  <a:cubicBezTo>
                    <a:pt x="36290" y="23908"/>
                    <a:pt x="24860" y="38195"/>
                    <a:pt x="24860" y="55150"/>
                  </a:cubicBezTo>
                  <a:cubicBezTo>
                    <a:pt x="24860" y="64008"/>
                    <a:pt x="28003" y="72104"/>
                    <a:pt x="33147" y="78486"/>
                  </a:cubicBezTo>
                  <a:lnTo>
                    <a:pt x="3905" y="127826"/>
                  </a:lnTo>
                  <a:lnTo>
                    <a:pt x="9620" y="131255"/>
                  </a:lnTo>
                  <a:lnTo>
                    <a:pt x="0" y="147542"/>
                  </a:lnTo>
                  <a:lnTo>
                    <a:pt x="8192" y="152400"/>
                  </a:lnTo>
                  <a:lnTo>
                    <a:pt x="17812" y="136112"/>
                  </a:lnTo>
                  <a:lnTo>
                    <a:pt x="22955" y="139160"/>
                  </a:lnTo>
                  <a:lnTo>
                    <a:pt x="32575" y="122968"/>
                  </a:lnTo>
                  <a:lnTo>
                    <a:pt x="90106" y="122968"/>
                  </a:lnTo>
                  <a:cubicBezTo>
                    <a:pt x="90106" y="122968"/>
                    <a:pt x="99727" y="139160"/>
                    <a:pt x="99727" y="139160"/>
                  </a:cubicBezTo>
                  <a:lnTo>
                    <a:pt x="104870" y="136112"/>
                  </a:lnTo>
                  <a:lnTo>
                    <a:pt x="114491" y="152400"/>
                  </a:lnTo>
                  <a:lnTo>
                    <a:pt x="122682" y="147542"/>
                  </a:lnTo>
                  <a:close/>
                  <a:moveTo>
                    <a:pt x="62103" y="37243"/>
                  </a:moveTo>
                  <a:cubicBezTo>
                    <a:pt x="72009" y="37243"/>
                    <a:pt x="80105" y="45339"/>
                    <a:pt x="80105" y="55245"/>
                  </a:cubicBezTo>
                  <a:cubicBezTo>
                    <a:pt x="80105" y="65151"/>
                    <a:pt x="72009" y="73247"/>
                    <a:pt x="62103" y="73247"/>
                  </a:cubicBezTo>
                  <a:cubicBezTo>
                    <a:pt x="52197" y="73247"/>
                    <a:pt x="44101" y="65151"/>
                    <a:pt x="44101" y="55245"/>
                  </a:cubicBezTo>
                  <a:cubicBezTo>
                    <a:pt x="44101" y="45339"/>
                    <a:pt x="52197" y="37243"/>
                    <a:pt x="62103" y="37243"/>
                  </a:cubicBezTo>
                  <a:close/>
                  <a:moveTo>
                    <a:pt x="42481" y="106299"/>
                  </a:moveTo>
                  <a:lnTo>
                    <a:pt x="51625" y="90869"/>
                  </a:lnTo>
                  <a:cubicBezTo>
                    <a:pt x="54959" y="91821"/>
                    <a:pt x="58483" y="92393"/>
                    <a:pt x="62103" y="92393"/>
                  </a:cubicBezTo>
                  <a:cubicBezTo>
                    <a:pt x="65342" y="92393"/>
                    <a:pt x="68390" y="91916"/>
                    <a:pt x="71342" y="91154"/>
                  </a:cubicBezTo>
                  <a:lnTo>
                    <a:pt x="80296" y="106204"/>
                  </a:lnTo>
                  <a:lnTo>
                    <a:pt x="42481" y="106204"/>
                  </a:lnTo>
                  <a:close/>
                </a:path>
              </a:pathLst>
            </a:custGeom>
            <a:solidFill>
              <a:srgbClr val="40AA1D"/>
            </a:solidFill>
            <a:ln w="0" cap="flat">
              <a:noFill/>
              <a:prstDash val="solid"/>
              <a:miter/>
            </a:ln>
          </p:spPr>
          <p:txBody>
            <a:bodyPr rtlCol="0" anchor="ctr"/>
            <a:lstStyle/>
            <a:p>
              <a:endParaRPr lang="en-US" dirty="0"/>
            </a:p>
          </p:txBody>
        </p:sp>
        <p:grpSp>
          <p:nvGrpSpPr>
            <p:cNvPr id="298" name="Group 297">
              <a:extLst>
                <a:ext uri="{FF2B5EF4-FFF2-40B4-BE49-F238E27FC236}">
                  <a16:creationId xmlns:a16="http://schemas.microsoft.com/office/drawing/2014/main" id="{866E1E99-4693-EB52-4AEE-8BF9C0AD015B}"/>
                </a:ext>
              </a:extLst>
            </p:cNvPr>
            <p:cNvGrpSpPr/>
            <p:nvPr/>
          </p:nvGrpSpPr>
          <p:grpSpPr>
            <a:xfrm>
              <a:off x="11128475" y="3110142"/>
              <a:ext cx="609600" cy="578167"/>
              <a:chOff x="537926" y="1818419"/>
              <a:chExt cx="609600" cy="578167"/>
            </a:xfrm>
          </p:grpSpPr>
          <p:sp>
            <p:nvSpPr>
              <p:cNvPr id="299" name="Freeform: Shape 298">
                <a:extLst>
                  <a:ext uri="{FF2B5EF4-FFF2-40B4-BE49-F238E27FC236}">
                    <a16:creationId xmlns:a16="http://schemas.microsoft.com/office/drawing/2014/main" id="{68D3A03C-C8C0-4A62-ECAE-E9892747914B}"/>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300" name="Freeform: Shape 299">
                <a:extLst>
                  <a:ext uri="{FF2B5EF4-FFF2-40B4-BE49-F238E27FC236}">
                    <a16:creationId xmlns:a16="http://schemas.microsoft.com/office/drawing/2014/main" id="{D80043DF-2735-3DA1-FB1C-7D8B8B685321}"/>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grpSp>
        <p:nvGrpSpPr>
          <p:cNvPr id="335" name="Group 334">
            <a:extLst>
              <a:ext uri="{FF2B5EF4-FFF2-40B4-BE49-F238E27FC236}">
                <a16:creationId xmlns:a16="http://schemas.microsoft.com/office/drawing/2014/main" id="{0D06059D-29D8-7759-3942-60C16D9C3E58}"/>
              </a:ext>
            </a:extLst>
          </p:cNvPr>
          <p:cNvGrpSpPr/>
          <p:nvPr/>
        </p:nvGrpSpPr>
        <p:grpSpPr>
          <a:xfrm>
            <a:off x="3983488" y="2906808"/>
            <a:ext cx="787727" cy="788028"/>
            <a:chOff x="3983488" y="2906808"/>
            <a:chExt cx="787727" cy="788028"/>
          </a:xfrm>
        </p:grpSpPr>
        <p:sp>
          <p:nvSpPr>
            <p:cNvPr id="310" name="Freeform: Shape 309">
              <a:extLst>
                <a:ext uri="{FF2B5EF4-FFF2-40B4-BE49-F238E27FC236}">
                  <a16:creationId xmlns:a16="http://schemas.microsoft.com/office/drawing/2014/main" id="{E7BB4ED9-DB75-C8E8-84F2-62DA3DEFF9F4}"/>
                </a:ext>
              </a:extLst>
            </p:cNvPr>
            <p:cNvSpPr/>
            <p:nvPr/>
          </p:nvSpPr>
          <p:spPr>
            <a:xfrm>
              <a:off x="4085415" y="2935383"/>
              <a:ext cx="151447" cy="152400"/>
            </a:xfrm>
            <a:custGeom>
              <a:avLst/>
              <a:gdLst>
                <a:gd name="connsiteX0" fmla="*/ 137160 w 151447"/>
                <a:gd name="connsiteY0" fmla="*/ 127635 h 152400"/>
                <a:gd name="connsiteX1" fmla="*/ 151448 w 151447"/>
                <a:gd name="connsiteY1" fmla="*/ 102870 h 152400"/>
                <a:gd name="connsiteX2" fmla="*/ 133350 w 151447"/>
                <a:gd name="connsiteY2" fmla="*/ 88583 h 152400"/>
                <a:gd name="connsiteX3" fmla="*/ 133350 w 151447"/>
                <a:gd name="connsiteY3" fmla="*/ 62865 h 152400"/>
                <a:gd name="connsiteX4" fmla="*/ 151448 w 151447"/>
                <a:gd name="connsiteY4" fmla="*/ 47625 h 152400"/>
                <a:gd name="connsiteX5" fmla="*/ 137160 w 151447"/>
                <a:gd name="connsiteY5" fmla="*/ 22860 h 152400"/>
                <a:gd name="connsiteX6" fmla="*/ 115253 w 151447"/>
                <a:gd name="connsiteY6" fmla="*/ 31433 h 152400"/>
                <a:gd name="connsiteX7" fmla="*/ 93345 w 151447"/>
                <a:gd name="connsiteY7" fmla="*/ 19050 h 152400"/>
                <a:gd name="connsiteX8" fmla="*/ 89535 w 151447"/>
                <a:gd name="connsiteY8" fmla="*/ 0 h 152400"/>
                <a:gd name="connsiteX9" fmla="*/ 60960 w 151447"/>
                <a:gd name="connsiteY9" fmla="*/ 0 h 152400"/>
                <a:gd name="connsiteX10" fmla="*/ 57150 w 151447"/>
                <a:gd name="connsiteY10" fmla="*/ 20003 h 152400"/>
                <a:gd name="connsiteX11" fmla="*/ 34290 w 151447"/>
                <a:gd name="connsiteY11" fmla="*/ 33338 h 152400"/>
                <a:gd name="connsiteX12" fmla="*/ 14288 w 151447"/>
                <a:gd name="connsiteY12" fmla="*/ 25717 h 152400"/>
                <a:gd name="connsiteX13" fmla="*/ 0 w 151447"/>
                <a:gd name="connsiteY13" fmla="*/ 50483 h 152400"/>
                <a:gd name="connsiteX14" fmla="*/ 17145 w 151447"/>
                <a:gd name="connsiteY14" fmla="*/ 64770 h 152400"/>
                <a:gd name="connsiteX15" fmla="*/ 17145 w 151447"/>
                <a:gd name="connsiteY15" fmla="*/ 90488 h 152400"/>
                <a:gd name="connsiteX16" fmla="*/ 0 w 151447"/>
                <a:gd name="connsiteY16" fmla="*/ 103823 h 152400"/>
                <a:gd name="connsiteX17" fmla="*/ 14288 w 151447"/>
                <a:gd name="connsiteY17" fmla="*/ 128588 h 152400"/>
                <a:gd name="connsiteX18" fmla="*/ 36195 w 151447"/>
                <a:gd name="connsiteY18" fmla="*/ 120015 h 152400"/>
                <a:gd name="connsiteX19" fmla="*/ 58103 w 151447"/>
                <a:gd name="connsiteY19" fmla="*/ 132398 h 152400"/>
                <a:gd name="connsiteX20" fmla="*/ 61913 w 151447"/>
                <a:gd name="connsiteY20" fmla="*/ 152400 h 152400"/>
                <a:gd name="connsiteX21" fmla="*/ 90488 w 151447"/>
                <a:gd name="connsiteY21" fmla="*/ 152400 h 152400"/>
                <a:gd name="connsiteX22" fmla="*/ 93345 w 151447"/>
                <a:gd name="connsiteY22" fmla="*/ 132398 h 152400"/>
                <a:gd name="connsiteX23" fmla="*/ 115253 w 151447"/>
                <a:gd name="connsiteY23" fmla="*/ 120015 h 152400"/>
                <a:gd name="connsiteX24" fmla="*/ 137160 w 151447"/>
                <a:gd name="connsiteY24" fmla="*/ 127635 h 152400"/>
                <a:gd name="connsiteX25" fmla="*/ 89535 w 151447"/>
                <a:gd name="connsiteY25" fmla="*/ 100965 h 152400"/>
                <a:gd name="connsiteX26" fmla="*/ 71438 w 151447"/>
                <a:gd name="connsiteY26" fmla="*/ 104775 h 152400"/>
                <a:gd name="connsiteX27" fmla="*/ 55245 w 151447"/>
                <a:gd name="connsiteY27" fmla="*/ 96203 h 152400"/>
                <a:gd name="connsiteX28" fmla="*/ 46672 w 151447"/>
                <a:gd name="connsiteY28" fmla="*/ 80010 h 152400"/>
                <a:gd name="connsiteX29" fmla="*/ 50483 w 151447"/>
                <a:gd name="connsiteY29" fmla="*/ 61913 h 152400"/>
                <a:gd name="connsiteX30" fmla="*/ 63818 w 151447"/>
                <a:gd name="connsiteY30" fmla="*/ 49530 h 152400"/>
                <a:gd name="connsiteX31" fmla="*/ 81915 w 151447"/>
                <a:gd name="connsiteY31" fmla="*/ 48578 h 152400"/>
                <a:gd name="connsiteX32" fmla="*/ 97155 w 151447"/>
                <a:gd name="connsiteY32" fmla="*/ 59055 h 152400"/>
                <a:gd name="connsiteX33" fmla="*/ 102870 w 151447"/>
                <a:gd name="connsiteY33" fmla="*/ 76200 h 152400"/>
                <a:gd name="connsiteX34" fmla="*/ 99060 w 151447"/>
                <a:gd name="connsiteY34" fmla="*/ 90488 h 152400"/>
                <a:gd name="connsiteX35" fmla="*/ 89535 w 151447"/>
                <a:gd name="connsiteY35" fmla="*/ 100965 h 152400"/>
                <a:gd name="connsiteX36" fmla="*/ 89535 w 151447"/>
                <a:gd name="connsiteY36" fmla="*/ 10096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1447" h="152400">
                  <a:moveTo>
                    <a:pt x="137160" y="127635"/>
                  </a:moveTo>
                  <a:lnTo>
                    <a:pt x="151448" y="102870"/>
                  </a:lnTo>
                  <a:lnTo>
                    <a:pt x="133350" y="88583"/>
                  </a:lnTo>
                  <a:lnTo>
                    <a:pt x="133350" y="62865"/>
                  </a:lnTo>
                  <a:lnTo>
                    <a:pt x="151448" y="47625"/>
                  </a:lnTo>
                  <a:lnTo>
                    <a:pt x="137160" y="22860"/>
                  </a:lnTo>
                  <a:lnTo>
                    <a:pt x="115253" y="31433"/>
                  </a:lnTo>
                  <a:lnTo>
                    <a:pt x="93345" y="19050"/>
                  </a:lnTo>
                  <a:lnTo>
                    <a:pt x="89535" y="0"/>
                  </a:lnTo>
                  <a:lnTo>
                    <a:pt x="60960" y="0"/>
                  </a:lnTo>
                  <a:lnTo>
                    <a:pt x="57150" y="20003"/>
                  </a:lnTo>
                  <a:lnTo>
                    <a:pt x="34290" y="33338"/>
                  </a:lnTo>
                  <a:lnTo>
                    <a:pt x="14288" y="25717"/>
                  </a:lnTo>
                  <a:lnTo>
                    <a:pt x="0" y="50483"/>
                  </a:lnTo>
                  <a:lnTo>
                    <a:pt x="17145" y="64770"/>
                  </a:lnTo>
                  <a:lnTo>
                    <a:pt x="17145" y="90488"/>
                  </a:lnTo>
                  <a:lnTo>
                    <a:pt x="0" y="103823"/>
                  </a:lnTo>
                  <a:lnTo>
                    <a:pt x="14288" y="128588"/>
                  </a:lnTo>
                  <a:lnTo>
                    <a:pt x="36195" y="120015"/>
                  </a:lnTo>
                  <a:lnTo>
                    <a:pt x="58103" y="132398"/>
                  </a:lnTo>
                  <a:lnTo>
                    <a:pt x="61913" y="152400"/>
                  </a:lnTo>
                  <a:lnTo>
                    <a:pt x="90488" y="152400"/>
                  </a:lnTo>
                  <a:lnTo>
                    <a:pt x="93345" y="132398"/>
                  </a:lnTo>
                  <a:lnTo>
                    <a:pt x="115253" y="120015"/>
                  </a:lnTo>
                  <a:lnTo>
                    <a:pt x="137160" y="127635"/>
                  </a:lnTo>
                  <a:close/>
                  <a:moveTo>
                    <a:pt x="89535" y="100965"/>
                  </a:moveTo>
                  <a:cubicBezTo>
                    <a:pt x="83820" y="103823"/>
                    <a:pt x="78105" y="105728"/>
                    <a:pt x="71438" y="104775"/>
                  </a:cubicBezTo>
                  <a:cubicBezTo>
                    <a:pt x="64770" y="103823"/>
                    <a:pt x="59055" y="100965"/>
                    <a:pt x="55245" y="96203"/>
                  </a:cubicBezTo>
                  <a:cubicBezTo>
                    <a:pt x="50483" y="91440"/>
                    <a:pt x="47625" y="85725"/>
                    <a:pt x="46672" y="80010"/>
                  </a:cubicBezTo>
                  <a:cubicBezTo>
                    <a:pt x="45720" y="73343"/>
                    <a:pt x="46672" y="67628"/>
                    <a:pt x="50483" y="61913"/>
                  </a:cubicBezTo>
                  <a:cubicBezTo>
                    <a:pt x="53340" y="56197"/>
                    <a:pt x="58103" y="52388"/>
                    <a:pt x="63818" y="49530"/>
                  </a:cubicBezTo>
                  <a:cubicBezTo>
                    <a:pt x="69532" y="46673"/>
                    <a:pt x="76200" y="46673"/>
                    <a:pt x="81915" y="48578"/>
                  </a:cubicBezTo>
                  <a:cubicBezTo>
                    <a:pt x="87630" y="50483"/>
                    <a:pt x="93345" y="53340"/>
                    <a:pt x="97155" y="59055"/>
                  </a:cubicBezTo>
                  <a:cubicBezTo>
                    <a:pt x="100965" y="63818"/>
                    <a:pt x="102870" y="70485"/>
                    <a:pt x="102870" y="76200"/>
                  </a:cubicBezTo>
                  <a:cubicBezTo>
                    <a:pt x="102870" y="80963"/>
                    <a:pt x="101918" y="85725"/>
                    <a:pt x="99060" y="90488"/>
                  </a:cubicBezTo>
                  <a:cubicBezTo>
                    <a:pt x="98107" y="94298"/>
                    <a:pt x="94298" y="98108"/>
                    <a:pt x="89535" y="100965"/>
                  </a:cubicBezTo>
                  <a:lnTo>
                    <a:pt x="89535" y="100965"/>
                  </a:lnTo>
                  <a:close/>
                </a:path>
              </a:pathLst>
            </a:custGeom>
            <a:solidFill>
              <a:srgbClr val="3D4647"/>
            </a:solidFill>
            <a:ln w="9525" cap="flat">
              <a:noFill/>
              <a:prstDash val="solid"/>
              <a:miter/>
            </a:ln>
          </p:spPr>
          <p:txBody>
            <a:bodyPr rtlCol="0" anchor="ctr"/>
            <a:lstStyle/>
            <a:p>
              <a:endParaRPr lang="en-US" dirty="0"/>
            </a:p>
          </p:txBody>
        </p:sp>
        <p:grpSp>
          <p:nvGrpSpPr>
            <p:cNvPr id="311" name="Graphic 54">
              <a:extLst>
                <a:ext uri="{FF2B5EF4-FFF2-40B4-BE49-F238E27FC236}">
                  <a16:creationId xmlns:a16="http://schemas.microsoft.com/office/drawing/2014/main" id="{F97A2B10-FC7C-C369-C246-A2B6770D9D37}"/>
                </a:ext>
              </a:extLst>
            </p:cNvPr>
            <p:cNvGrpSpPr/>
            <p:nvPr/>
          </p:nvGrpSpPr>
          <p:grpSpPr>
            <a:xfrm>
              <a:off x="4466415" y="2906808"/>
              <a:ext cx="304800" cy="304800"/>
              <a:chOff x="4466415" y="2906808"/>
              <a:chExt cx="304800" cy="304800"/>
            </a:xfrm>
            <a:solidFill>
              <a:srgbClr val="40AA1D"/>
            </a:solidFill>
          </p:grpSpPr>
          <p:sp>
            <p:nvSpPr>
              <p:cNvPr id="312" name="Freeform: Shape 311">
                <a:extLst>
                  <a:ext uri="{FF2B5EF4-FFF2-40B4-BE49-F238E27FC236}">
                    <a16:creationId xmlns:a16="http://schemas.microsoft.com/office/drawing/2014/main" id="{BD784327-7673-6153-5D49-AEFDF1E6A57D}"/>
                  </a:ext>
                </a:extLst>
              </p:cNvPr>
              <p:cNvSpPr/>
              <p:nvPr/>
            </p:nvSpPr>
            <p:spPr>
              <a:xfrm>
                <a:off x="4714065" y="3154458"/>
                <a:ext cx="57150" cy="57150"/>
              </a:xfrm>
              <a:custGeom>
                <a:avLst/>
                <a:gdLst>
                  <a:gd name="connsiteX0" fmla="*/ 46673 w 57150"/>
                  <a:gd name="connsiteY0" fmla="*/ 0 h 57150"/>
                  <a:gd name="connsiteX1" fmla="*/ 0 w 57150"/>
                  <a:gd name="connsiteY1" fmla="*/ 46672 h 57150"/>
                  <a:gd name="connsiteX2" fmla="*/ 57150 w 57150"/>
                  <a:gd name="connsiteY2" fmla="*/ 57150 h 57150"/>
                  <a:gd name="connsiteX3" fmla="*/ 46673 w 57150"/>
                  <a:gd name="connsiteY3" fmla="*/ 0 h 57150"/>
                </a:gdLst>
                <a:ahLst/>
                <a:cxnLst>
                  <a:cxn ang="0">
                    <a:pos x="connsiteX0" y="connsiteY0"/>
                  </a:cxn>
                  <a:cxn ang="0">
                    <a:pos x="connsiteX1" y="connsiteY1"/>
                  </a:cxn>
                  <a:cxn ang="0">
                    <a:pos x="connsiteX2" y="connsiteY2"/>
                  </a:cxn>
                  <a:cxn ang="0">
                    <a:pos x="connsiteX3" y="connsiteY3"/>
                  </a:cxn>
                </a:cxnLst>
                <a:rect l="l" t="t" r="r" b="b"/>
                <a:pathLst>
                  <a:path w="57150" h="57150">
                    <a:moveTo>
                      <a:pt x="46673" y="0"/>
                    </a:moveTo>
                    <a:lnTo>
                      <a:pt x="0" y="46672"/>
                    </a:lnTo>
                    <a:lnTo>
                      <a:pt x="57150" y="57150"/>
                    </a:lnTo>
                    <a:lnTo>
                      <a:pt x="46673" y="0"/>
                    </a:lnTo>
                    <a:close/>
                  </a:path>
                </a:pathLst>
              </a:custGeom>
              <a:solidFill>
                <a:srgbClr val="40AA1D"/>
              </a:solidFill>
              <a:ln w="9525" cap="flat">
                <a:noFill/>
                <a:prstDash val="solid"/>
                <a:miter/>
              </a:ln>
            </p:spPr>
            <p:txBody>
              <a:bodyPr rtlCol="0" anchor="ctr"/>
              <a:lstStyle/>
              <a:p>
                <a:endParaRPr lang="en-US" dirty="0"/>
              </a:p>
            </p:txBody>
          </p:sp>
          <p:sp>
            <p:nvSpPr>
              <p:cNvPr id="313" name="Freeform: Shape 312">
                <a:extLst>
                  <a:ext uri="{FF2B5EF4-FFF2-40B4-BE49-F238E27FC236}">
                    <a16:creationId xmlns:a16="http://schemas.microsoft.com/office/drawing/2014/main" id="{A49DB620-6D60-8066-CD6E-CB7DFDBF6750}"/>
                  </a:ext>
                </a:extLst>
              </p:cNvPr>
              <p:cNvSpPr/>
              <p:nvPr/>
            </p:nvSpPr>
            <p:spPr>
              <a:xfrm>
                <a:off x="4583572" y="2906808"/>
                <a:ext cx="65722" cy="47625"/>
              </a:xfrm>
              <a:custGeom>
                <a:avLst/>
                <a:gdLst>
                  <a:gd name="connsiteX0" fmla="*/ 0 w 65722"/>
                  <a:gd name="connsiteY0" fmla="*/ 47625 h 47625"/>
                  <a:gd name="connsiteX1" fmla="*/ 65722 w 65722"/>
                  <a:gd name="connsiteY1" fmla="*/ 47625 h 47625"/>
                  <a:gd name="connsiteX2" fmla="*/ 32385 w 65722"/>
                  <a:gd name="connsiteY2" fmla="*/ 0 h 47625"/>
                  <a:gd name="connsiteX3" fmla="*/ 0 w 65722"/>
                  <a:gd name="connsiteY3" fmla="*/ 47625 h 47625"/>
                </a:gdLst>
                <a:ahLst/>
                <a:cxnLst>
                  <a:cxn ang="0">
                    <a:pos x="connsiteX0" y="connsiteY0"/>
                  </a:cxn>
                  <a:cxn ang="0">
                    <a:pos x="connsiteX1" y="connsiteY1"/>
                  </a:cxn>
                  <a:cxn ang="0">
                    <a:pos x="connsiteX2" y="connsiteY2"/>
                  </a:cxn>
                  <a:cxn ang="0">
                    <a:pos x="connsiteX3" y="connsiteY3"/>
                  </a:cxn>
                </a:cxnLst>
                <a:rect l="l" t="t" r="r" b="b"/>
                <a:pathLst>
                  <a:path w="65722" h="47625">
                    <a:moveTo>
                      <a:pt x="0" y="47625"/>
                    </a:moveTo>
                    <a:lnTo>
                      <a:pt x="65722" y="47625"/>
                    </a:lnTo>
                    <a:lnTo>
                      <a:pt x="32385" y="0"/>
                    </a:lnTo>
                    <a:lnTo>
                      <a:pt x="0" y="47625"/>
                    </a:lnTo>
                    <a:close/>
                  </a:path>
                </a:pathLst>
              </a:custGeom>
              <a:solidFill>
                <a:srgbClr val="40AA1D"/>
              </a:solidFill>
              <a:ln w="9525" cap="flat">
                <a:noFill/>
                <a:prstDash val="solid"/>
                <a:miter/>
              </a:ln>
            </p:spPr>
            <p:txBody>
              <a:bodyPr rtlCol="0" anchor="ctr"/>
              <a:lstStyle/>
              <a:p>
                <a:endParaRPr lang="en-US" dirty="0"/>
              </a:p>
            </p:txBody>
          </p:sp>
          <p:sp>
            <p:nvSpPr>
              <p:cNvPr id="314" name="Freeform: Shape 313">
                <a:extLst>
                  <a:ext uri="{FF2B5EF4-FFF2-40B4-BE49-F238E27FC236}">
                    <a16:creationId xmlns:a16="http://schemas.microsoft.com/office/drawing/2014/main" id="{295BEC3D-FEDB-E67E-5178-CB61A77A2130}"/>
                  </a:ext>
                </a:extLst>
              </p:cNvPr>
              <p:cNvSpPr/>
              <p:nvPr/>
            </p:nvSpPr>
            <p:spPr>
              <a:xfrm>
                <a:off x="4466415" y="3154458"/>
                <a:ext cx="57150" cy="57150"/>
              </a:xfrm>
              <a:custGeom>
                <a:avLst/>
                <a:gdLst>
                  <a:gd name="connsiteX0" fmla="*/ 10477 w 57150"/>
                  <a:gd name="connsiteY0" fmla="*/ 0 h 57150"/>
                  <a:gd name="connsiteX1" fmla="*/ 57150 w 57150"/>
                  <a:gd name="connsiteY1" fmla="*/ 46672 h 57150"/>
                  <a:gd name="connsiteX2" fmla="*/ 0 w 57150"/>
                  <a:gd name="connsiteY2" fmla="*/ 57150 h 57150"/>
                  <a:gd name="connsiteX3" fmla="*/ 10477 w 57150"/>
                  <a:gd name="connsiteY3" fmla="*/ 0 h 57150"/>
                </a:gdLst>
                <a:ahLst/>
                <a:cxnLst>
                  <a:cxn ang="0">
                    <a:pos x="connsiteX0" y="connsiteY0"/>
                  </a:cxn>
                  <a:cxn ang="0">
                    <a:pos x="connsiteX1" y="connsiteY1"/>
                  </a:cxn>
                  <a:cxn ang="0">
                    <a:pos x="connsiteX2" y="connsiteY2"/>
                  </a:cxn>
                  <a:cxn ang="0">
                    <a:pos x="connsiteX3" y="connsiteY3"/>
                  </a:cxn>
                </a:cxnLst>
                <a:rect l="l" t="t" r="r" b="b"/>
                <a:pathLst>
                  <a:path w="57150" h="57150">
                    <a:moveTo>
                      <a:pt x="10477" y="0"/>
                    </a:moveTo>
                    <a:lnTo>
                      <a:pt x="57150" y="46672"/>
                    </a:lnTo>
                    <a:lnTo>
                      <a:pt x="0" y="57150"/>
                    </a:lnTo>
                    <a:lnTo>
                      <a:pt x="10477" y="0"/>
                    </a:lnTo>
                    <a:close/>
                  </a:path>
                </a:pathLst>
              </a:custGeom>
              <a:solidFill>
                <a:srgbClr val="40AA1D"/>
              </a:solidFill>
              <a:ln w="9525" cap="flat">
                <a:noFill/>
                <a:prstDash val="solid"/>
                <a:miter/>
              </a:ln>
            </p:spPr>
            <p:txBody>
              <a:bodyPr rtlCol="0" anchor="ctr"/>
              <a:lstStyle/>
              <a:p>
                <a:endParaRPr lang="en-US" dirty="0"/>
              </a:p>
            </p:txBody>
          </p:sp>
          <p:grpSp>
            <p:nvGrpSpPr>
              <p:cNvPr id="315" name="Graphic 54">
                <a:extLst>
                  <a:ext uri="{FF2B5EF4-FFF2-40B4-BE49-F238E27FC236}">
                    <a16:creationId xmlns:a16="http://schemas.microsoft.com/office/drawing/2014/main" id="{EA285DCE-677B-D8E4-0DD7-4D60C74B73B3}"/>
                  </a:ext>
                </a:extLst>
              </p:cNvPr>
              <p:cNvGrpSpPr/>
              <p:nvPr/>
            </p:nvGrpSpPr>
            <p:grpSpPr>
              <a:xfrm>
                <a:off x="4521659" y="2982055"/>
                <a:ext cx="194309" cy="217170"/>
                <a:chOff x="4521659" y="2982055"/>
                <a:chExt cx="194309" cy="217170"/>
              </a:xfrm>
              <a:solidFill>
                <a:srgbClr val="40AA1D"/>
              </a:solidFill>
            </p:grpSpPr>
            <p:sp>
              <p:nvSpPr>
                <p:cNvPr id="316" name="Freeform: Shape 315">
                  <a:extLst>
                    <a:ext uri="{FF2B5EF4-FFF2-40B4-BE49-F238E27FC236}">
                      <a16:creationId xmlns:a16="http://schemas.microsoft.com/office/drawing/2014/main" id="{FC5F3BD9-E3E3-42D7-EF1D-3B40138C31E6}"/>
                    </a:ext>
                  </a:extLst>
                </p:cNvPr>
                <p:cNvSpPr/>
                <p:nvPr/>
              </p:nvSpPr>
              <p:spPr>
                <a:xfrm>
                  <a:off x="4531184" y="2982055"/>
                  <a:ext cx="175259" cy="100012"/>
                </a:xfrm>
                <a:custGeom>
                  <a:avLst/>
                  <a:gdLst>
                    <a:gd name="connsiteX0" fmla="*/ 175260 w 175259"/>
                    <a:gd name="connsiteY0" fmla="*/ 49530 h 100012"/>
                    <a:gd name="connsiteX1" fmla="*/ 87630 w 175259"/>
                    <a:gd name="connsiteY1" fmla="*/ 100012 h 100012"/>
                    <a:gd name="connsiteX2" fmla="*/ 0 w 175259"/>
                    <a:gd name="connsiteY2" fmla="*/ 49530 h 100012"/>
                    <a:gd name="connsiteX3" fmla="*/ 87630 w 175259"/>
                    <a:gd name="connsiteY3" fmla="*/ 0 h 100012"/>
                  </a:gdLst>
                  <a:ahLst/>
                  <a:cxnLst>
                    <a:cxn ang="0">
                      <a:pos x="connsiteX0" y="connsiteY0"/>
                    </a:cxn>
                    <a:cxn ang="0">
                      <a:pos x="connsiteX1" y="connsiteY1"/>
                    </a:cxn>
                    <a:cxn ang="0">
                      <a:pos x="connsiteX2" y="connsiteY2"/>
                    </a:cxn>
                    <a:cxn ang="0">
                      <a:pos x="connsiteX3" y="connsiteY3"/>
                    </a:cxn>
                  </a:cxnLst>
                  <a:rect l="l" t="t" r="r" b="b"/>
                  <a:pathLst>
                    <a:path w="175259" h="100012">
                      <a:moveTo>
                        <a:pt x="175260" y="49530"/>
                      </a:moveTo>
                      <a:lnTo>
                        <a:pt x="87630" y="100012"/>
                      </a:lnTo>
                      <a:lnTo>
                        <a:pt x="0" y="49530"/>
                      </a:lnTo>
                      <a:lnTo>
                        <a:pt x="87630" y="0"/>
                      </a:lnTo>
                      <a:close/>
                    </a:path>
                  </a:pathLst>
                </a:custGeom>
                <a:solidFill>
                  <a:srgbClr val="40AA1D"/>
                </a:solidFill>
                <a:ln w="9525" cap="flat">
                  <a:noFill/>
                  <a:prstDash val="solid"/>
                  <a:miter/>
                </a:ln>
              </p:spPr>
              <p:txBody>
                <a:bodyPr rtlCol="0" anchor="ctr"/>
                <a:lstStyle/>
                <a:p>
                  <a:endParaRPr lang="en-US" dirty="0"/>
                </a:p>
              </p:txBody>
            </p:sp>
            <p:sp>
              <p:nvSpPr>
                <p:cNvPr id="317" name="Freeform: Shape 316">
                  <a:extLst>
                    <a:ext uri="{FF2B5EF4-FFF2-40B4-BE49-F238E27FC236}">
                      <a16:creationId xmlns:a16="http://schemas.microsoft.com/office/drawing/2014/main" id="{6CAC7B3D-81DC-5F84-8904-AFF025BE9105}"/>
                    </a:ext>
                  </a:extLst>
                </p:cNvPr>
                <p:cNvSpPr/>
                <p:nvPr/>
              </p:nvSpPr>
              <p:spPr>
                <a:xfrm>
                  <a:off x="4521659" y="3048730"/>
                  <a:ext cx="87630" cy="150495"/>
                </a:xfrm>
                <a:custGeom>
                  <a:avLst/>
                  <a:gdLst>
                    <a:gd name="connsiteX0" fmla="*/ 0 w 87630"/>
                    <a:gd name="connsiteY0" fmla="*/ 100965 h 150495"/>
                    <a:gd name="connsiteX1" fmla="*/ 0 w 87630"/>
                    <a:gd name="connsiteY1" fmla="*/ 0 h 150495"/>
                    <a:gd name="connsiteX2" fmla="*/ 87630 w 87630"/>
                    <a:gd name="connsiteY2" fmla="*/ 50483 h 150495"/>
                    <a:gd name="connsiteX3" fmla="*/ 87630 w 87630"/>
                    <a:gd name="connsiteY3" fmla="*/ 150495 h 150495"/>
                  </a:gdLst>
                  <a:ahLst/>
                  <a:cxnLst>
                    <a:cxn ang="0">
                      <a:pos x="connsiteX0" y="connsiteY0"/>
                    </a:cxn>
                    <a:cxn ang="0">
                      <a:pos x="connsiteX1" y="connsiteY1"/>
                    </a:cxn>
                    <a:cxn ang="0">
                      <a:pos x="connsiteX2" y="connsiteY2"/>
                    </a:cxn>
                    <a:cxn ang="0">
                      <a:pos x="connsiteX3" y="connsiteY3"/>
                    </a:cxn>
                  </a:cxnLst>
                  <a:rect l="l" t="t" r="r" b="b"/>
                  <a:pathLst>
                    <a:path w="87630" h="150495">
                      <a:moveTo>
                        <a:pt x="0" y="100965"/>
                      </a:moveTo>
                      <a:lnTo>
                        <a:pt x="0" y="0"/>
                      </a:lnTo>
                      <a:lnTo>
                        <a:pt x="87630" y="50483"/>
                      </a:lnTo>
                      <a:lnTo>
                        <a:pt x="87630" y="150495"/>
                      </a:lnTo>
                      <a:close/>
                    </a:path>
                  </a:pathLst>
                </a:custGeom>
                <a:solidFill>
                  <a:srgbClr val="40AA1D"/>
                </a:solidFill>
                <a:ln w="9525" cap="flat">
                  <a:noFill/>
                  <a:prstDash val="solid"/>
                  <a:miter/>
                </a:ln>
              </p:spPr>
              <p:txBody>
                <a:bodyPr rtlCol="0" anchor="ctr"/>
                <a:lstStyle/>
                <a:p>
                  <a:endParaRPr lang="en-US" dirty="0"/>
                </a:p>
              </p:txBody>
            </p:sp>
            <p:sp>
              <p:nvSpPr>
                <p:cNvPr id="318" name="Freeform: Shape 317">
                  <a:extLst>
                    <a:ext uri="{FF2B5EF4-FFF2-40B4-BE49-F238E27FC236}">
                      <a16:creationId xmlns:a16="http://schemas.microsoft.com/office/drawing/2014/main" id="{C39267CB-D07E-B1BC-95C6-8A3ADF4135BC}"/>
                    </a:ext>
                  </a:extLst>
                </p:cNvPr>
                <p:cNvSpPr/>
                <p:nvPr/>
              </p:nvSpPr>
              <p:spPr>
                <a:xfrm>
                  <a:off x="4628340" y="3048730"/>
                  <a:ext cx="87629" cy="150495"/>
                </a:xfrm>
                <a:custGeom>
                  <a:avLst/>
                  <a:gdLst>
                    <a:gd name="connsiteX0" fmla="*/ 87630 w 87629"/>
                    <a:gd name="connsiteY0" fmla="*/ 0 h 150495"/>
                    <a:gd name="connsiteX1" fmla="*/ 87630 w 87629"/>
                    <a:gd name="connsiteY1" fmla="*/ 100965 h 150495"/>
                    <a:gd name="connsiteX2" fmla="*/ 0 w 87629"/>
                    <a:gd name="connsiteY2" fmla="*/ 150495 h 150495"/>
                    <a:gd name="connsiteX3" fmla="*/ 0 w 87629"/>
                    <a:gd name="connsiteY3" fmla="*/ 50483 h 150495"/>
                  </a:gdLst>
                  <a:ahLst/>
                  <a:cxnLst>
                    <a:cxn ang="0">
                      <a:pos x="connsiteX0" y="connsiteY0"/>
                    </a:cxn>
                    <a:cxn ang="0">
                      <a:pos x="connsiteX1" y="connsiteY1"/>
                    </a:cxn>
                    <a:cxn ang="0">
                      <a:pos x="connsiteX2" y="connsiteY2"/>
                    </a:cxn>
                    <a:cxn ang="0">
                      <a:pos x="connsiteX3" y="connsiteY3"/>
                    </a:cxn>
                  </a:cxnLst>
                  <a:rect l="l" t="t" r="r" b="b"/>
                  <a:pathLst>
                    <a:path w="87629" h="150495">
                      <a:moveTo>
                        <a:pt x="87630" y="0"/>
                      </a:moveTo>
                      <a:lnTo>
                        <a:pt x="87630" y="100965"/>
                      </a:lnTo>
                      <a:lnTo>
                        <a:pt x="0" y="150495"/>
                      </a:lnTo>
                      <a:lnTo>
                        <a:pt x="0" y="50483"/>
                      </a:lnTo>
                      <a:close/>
                    </a:path>
                  </a:pathLst>
                </a:custGeom>
                <a:solidFill>
                  <a:srgbClr val="40AA1D"/>
                </a:solidFill>
                <a:ln w="9525" cap="flat">
                  <a:noFill/>
                  <a:prstDash val="solid"/>
                  <a:miter/>
                </a:ln>
              </p:spPr>
              <p:txBody>
                <a:bodyPr rtlCol="0" anchor="ctr"/>
                <a:lstStyle/>
                <a:p>
                  <a:endParaRPr lang="en-US" dirty="0"/>
                </a:p>
              </p:txBody>
            </p:sp>
          </p:grpSp>
        </p:grpSp>
        <p:grpSp>
          <p:nvGrpSpPr>
            <p:cNvPr id="319" name="Group 318">
              <a:extLst>
                <a:ext uri="{FF2B5EF4-FFF2-40B4-BE49-F238E27FC236}">
                  <a16:creationId xmlns:a16="http://schemas.microsoft.com/office/drawing/2014/main" id="{CFAB64B6-3FCB-EA89-0B78-2A104E45E267}"/>
                </a:ext>
              </a:extLst>
            </p:cNvPr>
            <p:cNvGrpSpPr/>
            <p:nvPr/>
          </p:nvGrpSpPr>
          <p:grpSpPr>
            <a:xfrm>
              <a:off x="3983488" y="3116669"/>
              <a:ext cx="609600" cy="578167"/>
              <a:chOff x="537926" y="1818419"/>
              <a:chExt cx="609600" cy="578167"/>
            </a:xfrm>
          </p:grpSpPr>
          <p:sp>
            <p:nvSpPr>
              <p:cNvPr id="320" name="Freeform: Shape 319">
                <a:extLst>
                  <a:ext uri="{FF2B5EF4-FFF2-40B4-BE49-F238E27FC236}">
                    <a16:creationId xmlns:a16="http://schemas.microsoft.com/office/drawing/2014/main" id="{69AD1D4A-3559-DD30-9FFC-8938D5E45B9B}"/>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321" name="Freeform: Shape 320">
                <a:extLst>
                  <a:ext uri="{FF2B5EF4-FFF2-40B4-BE49-F238E27FC236}">
                    <a16:creationId xmlns:a16="http://schemas.microsoft.com/office/drawing/2014/main" id="{B13A730C-6457-0EBB-E636-AC3E06340DD3}"/>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grpSp>
        <p:nvGrpSpPr>
          <p:cNvPr id="358" name="Group 357">
            <a:extLst>
              <a:ext uri="{FF2B5EF4-FFF2-40B4-BE49-F238E27FC236}">
                <a16:creationId xmlns:a16="http://schemas.microsoft.com/office/drawing/2014/main" id="{5F21D0B1-6298-B84B-DCC6-B31AC911A6DD}"/>
              </a:ext>
            </a:extLst>
          </p:cNvPr>
          <p:cNvGrpSpPr/>
          <p:nvPr/>
        </p:nvGrpSpPr>
        <p:grpSpPr>
          <a:xfrm>
            <a:off x="1611473" y="3073828"/>
            <a:ext cx="776929" cy="591956"/>
            <a:chOff x="1611473" y="3073828"/>
            <a:chExt cx="776929" cy="591956"/>
          </a:xfrm>
        </p:grpSpPr>
        <p:sp>
          <p:nvSpPr>
            <p:cNvPr id="352" name="Freeform: Shape 351">
              <a:extLst>
                <a:ext uri="{FF2B5EF4-FFF2-40B4-BE49-F238E27FC236}">
                  <a16:creationId xmlns:a16="http://schemas.microsoft.com/office/drawing/2014/main" id="{E7B4E42A-29F2-9623-2F45-4FCFA367F34B}"/>
                </a:ext>
              </a:extLst>
            </p:cNvPr>
            <p:cNvSpPr/>
            <p:nvPr/>
          </p:nvSpPr>
          <p:spPr>
            <a:xfrm>
              <a:off x="2086081" y="3319573"/>
              <a:ext cx="302321" cy="38100"/>
            </a:xfrm>
            <a:custGeom>
              <a:avLst/>
              <a:gdLst>
                <a:gd name="connsiteX0" fmla="*/ 188951 w 302321"/>
                <a:gd name="connsiteY0" fmla="*/ 0 h 38100"/>
                <a:gd name="connsiteX1" fmla="*/ 188951 w 302321"/>
                <a:gd name="connsiteY1" fmla="*/ 19050 h 38100"/>
                <a:gd name="connsiteX2" fmla="*/ 113371 w 302321"/>
                <a:gd name="connsiteY2" fmla="*/ 19050 h 38100"/>
                <a:gd name="connsiteX3" fmla="*/ 113371 w 302321"/>
                <a:gd name="connsiteY3" fmla="*/ 0 h 38100"/>
                <a:gd name="connsiteX4" fmla="*/ 0 w 302321"/>
                <a:gd name="connsiteY4" fmla="*/ 0 h 38100"/>
                <a:gd name="connsiteX5" fmla="*/ 0 w 302321"/>
                <a:gd name="connsiteY5" fmla="*/ 38100 h 38100"/>
                <a:gd name="connsiteX6" fmla="*/ 302322 w 302321"/>
                <a:gd name="connsiteY6" fmla="*/ 38100 h 38100"/>
                <a:gd name="connsiteX7" fmla="*/ 302322 w 302321"/>
                <a:gd name="connsiteY7"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321" h="38100">
                  <a:moveTo>
                    <a:pt x="188951" y="0"/>
                  </a:moveTo>
                  <a:lnTo>
                    <a:pt x="188951" y="19050"/>
                  </a:lnTo>
                  <a:lnTo>
                    <a:pt x="113371" y="19050"/>
                  </a:lnTo>
                  <a:lnTo>
                    <a:pt x="113371" y="0"/>
                  </a:lnTo>
                  <a:lnTo>
                    <a:pt x="0" y="0"/>
                  </a:lnTo>
                  <a:lnTo>
                    <a:pt x="0" y="38100"/>
                  </a:lnTo>
                  <a:lnTo>
                    <a:pt x="302322" y="38100"/>
                  </a:lnTo>
                  <a:lnTo>
                    <a:pt x="302322" y="0"/>
                  </a:lnTo>
                  <a:close/>
                </a:path>
              </a:pathLst>
            </a:custGeom>
            <a:solidFill>
              <a:srgbClr val="3D4647"/>
            </a:solidFill>
            <a:ln w="9409" cap="flat">
              <a:noFill/>
              <a:prstDash val="solid"/>
              <a:miter/>
            </a:ln>
          </p:spPr>
          <p:txBody>
            <a:bodyPr rtlCol="0" anchor="ctr"/>
            <a:lstStyle/>
            <a:p>
              <a:endParaRPr lang="en-US" dirty="0"/>
            </a:p>
          </p:txBody>
        </p:sp>
        <p:sp>
          <p:nvSpPr>
            <p:cNvPr id="353" name="Freeform: Shape 352">
              <a:extLst>
                <a:ext uri="{FF2B5EF4-FFF2-40B4-BE49-F238E27FC236}">
                  <a16:creationId xmlns:a16="http://schemas.microsoft.com/office/drawing/2014/main" id="{6D262D10-655A-D533-24BA-0FAEF1899591}"/>
                </a:ext>
              </a:extLst>
            </p:cNvPr>
            <p:cNvSpPr/>
            <p:nvPr/>
          </p:nvSpPr>
          <p:spPr>
            <a:xfrm>
              <a:off x="2104976" y="3129073"/>
              <a:ext cx="264531" cy="171449"/>
            </a:xfrm>
            <a:custGeom>
              <a:avLst/>
              <a:gdLst>
                <a:gd name="connsiteX0" fmla="*/ 207846 w 264531"/>
                <a:gd name="connsiteY0" fmla="*/ 0 h 171449"/>
                <a:gd name="connsiteX1" fmla="*/ 207846 w 264531"/>
                <a:gd name="connsiteY1" fmla="*/ 66675 h 171449"/>
                <a:gd name="connsiteX2" fmla="*/ 132266 w 264531"/>
                <a:gd name="connsiteY2" fmla="*/ 111443 h 171449"/>
                <a:gd name="connsiteX3" fmla="*/ 55741 w 264531"/>
                <a:gd name="connsiteY3" fmla="*/ 65723 h 171449"/>
                <a:gd name="connsiteX4" fmla="*/ 55741 w 264531"/>
                <a:gd name="connsiteY4" fmla="*/ 0 h 171449"/>
                <a:gd name="connsiteX5" fmla="*/ 0 w 264531"/>
                <a:gd name="connsiteY5" fmla="*/ 0 h 171449"/>
                <a:gd name="connsiteX6" fmla="*/ 0 w 264531"/>
                <a:gd name="connsiteY6" fmla="*/ 171450 h 171449"/>
                <a:gd name="connsiteX7" fmla="*/ 264532 w 264531"/>
                <a:gd name="connsiteY7" fmla="*/ 171450 h 171449"/>
                <a:gd name="connsiteX8" fmla="*/ 264532 w 264531"/>
                <a:gd name="connsiteY8" fmla="*/ 0 h 171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531" h="171449">
                  <a:moveTo>
                    <a:pt x="207846" y="0"/>
                  </a:moveTo>
                  <a:lnTo>
                    <a:pt x="207846" y="66675"/>
                  </a:lnTo>
                  <a:lnTo>
                    <a:pt x="132266" y="111443"/>
                  </a:lnTo>
                  <a:lnTo>
                    <a:pt x="55741" y="65723"/>
                  </a:lnTo>
                  <a:lnTo>
                    <a:pt x="55741" y="0"/>
                  </a:lnTo>
                  <a:lnTo>
                    <a:pt x="0" y="0"/>
                  </a:lnTo>
                  <a:lnTo>
                    <a:pt x="0" y="171450"/>
                  </a:lnTo>
                  <a:lnTo>
                    <a:pt x="264532" y="171450"/>
                  </a:lnTo>
                  <a:lnTo>
                    <a:pt x="264532" y="0"/>
                  </a:lnTo>
                  <a:close/>
                </a:path>
              </a:pathLst>
            </a:custGeom>
            <a:solidFill>
              <a:srgbClr val="3D4647"/>
            </a:solidFill>
            <a:ln w="9409" cap="flat">
              <a:noFill/>
              <a:prstDash val="solid"/>
              <a:miter/>
            </a:ln>
          </p:spPr>
          <p:txBody>
            <a:bodyPr rtlCol="0" anchor="ctr"/>
            <a:lstStyle/>
            <a:p>
              <a:endParaRPr lang="en-US" dirty="0"/>
            </a:p>
          </p:txBody>
        </p:sp>
        <p:grpSp>
          <p:nvGrpSpPr>
            <p:cNvPr id="354" name="Graphic 3">
              <a:extLst>
                <a:ext uri="{FF2B5EF4-FFF2-40B4-BE49-F238E27FC236}">
                  <a16:creationId xmlns:a16="http://schemas.microsoft.com/office/drawing/2014/main" id="{B42354CF-2322-A27A-C14E-3C9EF2BE9DAA}"/>
                </a:ext>
              </a:extLst>
            </p:cNvPr>
            <p:cNvGrpSpPr/>
            <p:nvPr/>
          </p:nvGrpSpPr>
          <p:grpSpPr>
            <a:xfrm>
              <a:off x="2171109" y="3073828"/>
              <a:ext cx="132265" cy="151447"/>
              <a:chOff x="2171109" y="3073828"/>
              <a:chExt cx="132265" cy="151447"/>
            </a:xfrm>
            <a:solidFill>
              <a:srgbClr val="3D4647"/>
            </a:solidFill>
          </p:grpSpPr>
          <p:sp>
            <p:nvSpPr>
              <p:cNvPr id="355" name="Freeform: Shape 354">
                <a:extLst>
                  <a:ext uri="{FF2B5EF4-FFF2-40B4-BE49-F238E27FC236}">
                    <a16:creationId xmlns:a16="http://schemas.microsoft.com/office/drawing/2014/main" id="{7BE5FAA8-8327-06F8-3E0F-1253628B1803}"/>
                  </a:ext>
                </a:extLst>
              </p:cNvPr>
              <p:cNvSpPr/>
              <p:nvPr/>
            </p:nvSpPr>
            <p:spPr>
              <a:xfrm>
                <a:off x="2171109" y="3117643"/>
                <a:ext cx="61409" cy="107632"/>
              </a:xfrm>
              <a:custGeom>
                <a:avLst/>
                <a:gdLst>
                  <a:gd name="connsiteX0" fmla="*/ 0 w 61409"/>
                  <a:gd name="connsiteY0" fmla="*/ 0 h 107632"/>
                  <a:gd name="connsiteX1" fmla="*/ 0 w 61409"/>
                  <a:gd name="connsiteY1" fmla="*/ 72390 h 107632"/>
                  <a:gd name="connsiteX2" fmla="*/ 61409 w 61409"/>
                  <a:gd name="connsiteY2" fmla="*/ 107632 h 107632"/>
                  <a:gd name="connsiteX3" fmla="*/ 61409 w 61409"/>
                  <a:gd name="connsiteY3" fmla="*/ 36195 h 107632"/>
                </a:gdLst>
                <a:ahLst/>
                <a:cxnLst>
                  <a:cxn ang="0">
                    <a:pos x="connsiteX0" y="connsiteY0"/>
                  </a:cxn>
                  <a:cxn ang="0">
                    <a:pos x="connsiteX1" y="connsiteY1"/>
                  </a:cxn>
                  <a:cxn ang="0">
                    <a:pos x="connsiteX2" y="connsiteY2"/>
                  </a:cxn>
                  <a:cxn ang="0">
                    <a:pos x="connsiteX3" y="connsiteY3"/>
                  </a:cxn>
                </a:cxnLst>
                <a:rect l="l" t="t" r="r" b="b"/>
                <a:pathLst>
                  <a:path w="61409" h="107632">
                    <a:moveTo>
                      <a:pt x="0" y="0"/>
                    </a:moveTo>
                    <a:lnTo>
                      <a:pt x="0" y="72390"/>
                    </a:lnTo>
                    <a:lnTo>
                      <a:pt x="61409" y="107632"/>
                    </a:lnTo>
                    <a:lnTo>
                      <a:pt x="61409" y="36195"/>
                    </a:lnTo>
                    <a:close/>
                  </a:path>
                </a:pathLst>
              </a:custGeom>
              <a:solidFill>
                <a:srgbClr val="3D4647"/>
              </a:solidFill>
              <a:ln w="9409" cap="flat">
                <a:noFill/>
                <a:prstDash val="solid"/>
                <a:miter/>
              </a:ln>
            </p:spPr>
            <p:txBody>
              <a:bodyPr rtlCol="0" anchor="ctr"/>
              <a:lstStyle/>
              <a:p>
                <a:endParaRPr lang="en-US" dirty="0"/>
              </a:p>
            </p:txBody>
          </p:sp>
          <p:sp>
            <p:nvSpPr>
              <p:cNvPr id="356" name="Freeform: Shape 355">
                <a:extLst>
                  <a:ext uri="{FF2B5EF4-FFF2-40B4-BE49-F238E27FC236}">
                    <a16:creationId xmlns:a16="http://schemas.microsoft.com/office/drawing/2014/main" id="{54B34B22-A700-7B53-819C-2FC6B2F0EFD1}"/>
                  </a:ext>
                </a:extLst>
              </p:cNvPr>
              <p:cNvSpPr/>
              <p:nvPr/>
            </p:nvSpPr>
            <p:spPr>
              <a:xfrm>
                <a:off x="2241966" y="3117643"/>
                <a:ext cx="61409" cy="107632"/>
              </a:xfrm>
              <a:custGeom>
                <a:avLst/>
                <a:gdLst>
                  <a:gd name="connsiteX0" fmla="*/ 0 w 61409"/>
                  <a:gd name="connsiteY0" fmla="*/ 107632 h 107632"/>
                  <a:gd name="connsiteX1" fmla="*/ 61409 w 61409"/>
                  <a:gd name="connsiteY1" fmla="*/ 72390 h 107632"/>
                  <a:gd name="connsiteX2" fmla="*/ 61409 w 61409"/>
                  <a:gd name="connsiteY2" fmla="*/ 0 h 107632"/>
                  <a:gd name="connsiteX3" fmla="*/ 0 w 61409"/>
                  <a:gd name="connsiteY3" fmla="*/ 36195 h 107632"/>
                </a:gdLst>
                <a:ahLst/>
                <a:cxnLst>
                  <a:cxn ang="0">
                    <a:pos x="connsiteX0" y="connsiteY0"/>
                  </a:cxn>
                  <a:cxn ang="0">
                    <a:pos x="connsiteX1" y="connsiteY1"/>
                  </a:cxn>
                  <a:cxn ang="0">
                    <a:pos x="connsiteX2" y="connsiteY2"/>
                  </a:cxn>
                  <a:cxn ang="0">
                    <a:pos x="connsiteX3" y="connsiteY3"/>
                  </a:cxn>
                </a:cxnLst>
                <a:rect l="l" t="t" r="r" b="b"/>
                <a:pathLst>
                  <a:path w="61409" h="107632">
                    <a:moveTo>
                      <a:pt x="0" y="107632"/>
                    </a:moveTo>
                    <a:lnTo>
                      <a:pt x="61409" y="72390"/>
                    </a:lnTo>
                    <a:lnTo>
                      <a:pt x="61409" y="0"/>
                    </a:lnTo>
                    <a:lnTo>
                      <a:pt x="0" y="36195"/>
                    </a:lnTo>
                    <a:close/>
                  </a:path>
                </a:pathLst>
              </a:custGeom>
              <a:solidFill>
                <a:srgbClr val="3D4647"/>
              </a:solidFill>
              <a:ln w="9409" cap="flat">
                <a:noFill/>
                <a:prstDash val="solid"/>
                <a:miter/>
              </a:ln>
            </p:spPr>
            <p:txBody>
              <a:bodyPr rtlCol="0" anchor="ctr"/>
              <a:lstStyle/>
              <a:p>
                <a:endParaRPr lang="en-US" dirty="0"/>
              </a:p>
            </p:txBody>
          </p:sp>
          <p:sp>
            <p:nvSpPr>
              <p:cNvPr id="357" name="Freeform: Shape 356">
                <a:extLst>
                  <a:ext uri="{FF2B5EF4-FFF2-40B4-BE49-F238E27FC236}">
                    <a16:creationId xmlns:a16="http://schemas.microsoft.com/office/drawing/2014/main" id="{C18CFFA5-7BCE-54BF-D2F6-D3A8AF14614D}"/>
                  </a:ext>
                </a:extLst>
              </p:cNvPr>
              <p:cNvSpPr/>
              <p:nvPr/>
            </p:nvSpPr>
            <p:spPr>
              <a:xfrm>
                <a:off x="2175833" y="3073828"/>
                <a:ext cx="122818" cy="71437"/>
              </a:xfrm>
              <a:custGeom>
                <a:avLst/>
                <a:gdLst>
                  <a:gd name="connsiteX0" fmla="*/ 122818 w 122818"/>
                  <a:gd name="connsiteY0" fmla="*/ 35243 h 71437"/>
                  <a:gd name="connsiteX1" fmla="*/ 61409 w 122818"/>
                  <a:gd name="connsiteY1" fmla="*/ 0 h 71437"/>
                  <a:gd name="connsiteX2" fmla="*/ 0 w 122818"/>
                  <a:gd name="connsiteY2" fmla="*/ 35243 h 71437"/>
                  <a:gd name="connsiteX3" fmla="*/ 61409 w 122818"/>
                  <a:gd name="connsiteY3" fmla="*/ 71438 h 71437"/>
                </a:gdLst>
                <a:ahLst/>
                <a:cxnLst>
                  <a:cxn ang="0">
                    <a:pos x="connsiteX0" y="connsiteY0"/>
                  </a:cxn>
                  <a:cxn ang="0">
                    <a:pos x="connsiteX1" y="connsiteY1"/>
                  </a:cxn>
                  <a:cxn ang="0">
                    <a:pos x="connsiteX2" y="connsiteY2"/>
                  </a:cxn>
                  <a:cxn ang="0">
                    <a:pos x="connsiteX3" y="connsiteY3"/>
                  </a:cxn>
                </a:cxnLst>
                <a:rect l="l" t="t" r="r" b="b"/>
                <a:pathLst>
                  <a:path w="122818" h="71437">
                    <a:moveTo>
                      <a:pt x="122818" y="35243"/>
                    </a:moveTo>
                    <a:lnTo>
                      <a:pt x="61409" y="0"/>
                    </a:lnTo>
                    <a:lnTo>
                      <a:pt x="0" y="35243"/>
                    </a:lnTo>
                    <a:lnTo>
                      <a:pt x="61409" y="71438"/>
                    </a:lnTo>
                    <a:close/>
                  </a:path>
                </a:pathLst>
              </a:custGeom>
              <a:solidFill>
                <a:srgbClr val="3D4647"/>
              </a:solidFill>
              <a:ln w="9409" cap="flat">
                <a:noFill/>
                <a:prstDash val="solid"/>
                <a:miter/>
              </a:ln>
            </p:spPr>
            <p:txBody>
              <a:bodyPr rtlCol="0" anchor="ctr"/>
              <a:lstStyle/>
              <a:p>
                <a:endParaRPr lang="en-US" dirty="0"/>
              </a:p>
            </p:txBody>
          </p:sp>
        </p:grpSp>
        <p:grpSp>
          <p:nvGrpSpPr>
            <p:cNvPr id="343" name="Group 342">
              <a:extLst>
                <a:ext uri="{FF2B5EF4-FFF2-40B4-BE49-F238E27FC236}">
                  <a16:creationId xmlns:a16="http://schemas.microsoft.com/office/drawing/2014/main" id="{5283DA94-1FA9-D013-F1D0-D6FD072A36D3}"/>
                </a:ext>
              </a:extLst>
            </p:cNvPr>
            <p:cNvGrpSpPr/>
            <p:nvPr/>
          </p:nvGrpSpPr>
          <p:grpSpPr>
            <a:xfrm>
              <a:off x="1611473" y="3087617"/>
              <a:ext cx="609600" cy="578167"/>
              <a:chOff x="537926" y="1818419"/>
              <a:chExt cx="609600" cy="578167"/>
            </a:xfrm>
          </p:grpSpPr>
          <p:sp>
            <p:nvSpPr>
              <p:cNvPr id="344" name="Freeform: Shape 343">
                <a:extLst>
                  <a:ext uri="{FF2B5EF4-FFF2-40B4-BE49-F238E27FC236}">
                    <a16:creationId xmlns:a16="http://schemas.microsoft.com/office/drawing/2014/main" id="{6A4A1321-A123-7D1E-13C3-23DC7EB8E061}"/>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345" name="Freeform: Shape 344">
                <a:extLst>
                  <a:ext uri="{FF2B5EF4-FFF2-40B4-BE49-F238E27FC236}">
                    <a16:creationId xmlns:a16="http://schemas.microsoft.com/office/drawing/2014/main" id="{A78EC35B-7236-6804-2BC0-2BB90416FC03}"/>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grpSp>
      <p:sp>
        <p:nvSpPr>
          <p:cNvPr id="475" name="Freeform: Shape 474">
            <a:extLst>
              <a:ext uri="{FF2B5EF4-FFF2-40B4-BE49-F238E27FC236}">
                <a16:creationId xmlns:a16="http://schemas.microsoft.com/office/drawing/2014/main" id="{F12C1478-3AA5-6219-97BE-B9F28579183A}"/>
              </a:ext>
            </a:extLst>
          </p:cNvPr>
          <p:cNvSpPr/>
          <p:nvPr/>
        </p:nvSpPr>
        <p:spPr>
          <a:xfrm>
            <a:off x="10676387" y="4153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 name="connsiteX4" fmla="*/ 0 w 19050"/>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0" y="0"/>
                </a:moveTo>
                <a:lnTo>
                  <a:pt x="19050" y="0"/>
                </a:lnTo>
                <a:lnTo>
                  <a:pt x="19050" y="19050"/>
                </a:lnTo>
                <a:lnTo>
                  <a:pt x="0" y="19050"/>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474" name="Freeform: Shape 473">
            <a:extLst>
              <a:ext uri="{FF2B5EF4-FFF2-40B4-BE49-F238E27FC236}">
                <a16:creationId xmlns:a16="http://schemas.microsoft.com/office/drawing/2014/main" id="{BC78A4DF-4D38-0D68-FA6E-7EC5A619CAED}"/>
              </a:ext>
            </a:extLst>
          </p:cNvPr>
          <p:cNvSpPr/>
          <p:nvPr/>
        </p:nvSpPr>
        <p:spPr>
          <a:xfrm>
            <a:off x="10714487" y="4153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 name="connsiteX4" fmla="*/ 0 w 19050"/>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0" y="0"/>
                </a:moveTo>
                <a:lnTo>
                  <a:pt x="19050" y="0"/>
                </a:lnTo>
                <a:lnTo>
                  <a:pt x="19050" y="19050"/>
                </a:lnTo>
                <a:lnTo>
                  <a:pt x="0" y="19050"/>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473" name="Freeform: Shape 472">
            <a:extLst>
              <a:ext uri="{FF2B5EF4-FFF2-40B4-BE49-F238E27FC236}">
                <a16:creationId xmlns:a16="http://schemas.microsoft.com/office/drawing/2014/main" id="{7FB56BBE-6D8D-D8AC-6F4A-C7CA38BDF086}"/>
              </a:ext>
            </a:extLst>
          </p:cNvPr>
          <p:cNvSpPr/>
          <p:nvPr/>
        </p:nvSpPr>
        <p:spPr>
          <a:xfrm>
            <a:off x="10752587" y="4153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 name="connsiteX4" fmla="*/ 0 w 19050"/>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0" y="0"/>
                </a:moveTo>
                <a:lnTo>
                  <a:pt x="19050" y="0"/>
                </a:lnTo>
                <a:lnTo>
                  <a:pt x="19050" y="19050"/>
                </a:lnTo>
                <a:lnTo>
                  <a:pt x="0" y="19050"/>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40" name="Graphic 39">
            <a:extLst>
              <a:ext uri="{FF2B5EF4-FFF2-40B4-BE49-F238E27FC236}">
                <a16:creationId xmlns:a16="http://schemas.microsoft.com/office/drawing/2014/main" id="{FD81B884-17BB-C105-5298-CF5C9EF8C1A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3353168" y="1812286"/>
            <a:ext cx="609600" cy="609600"/>
          </a:xfrm>
          <a:prstGeom prst="rect">
            <a:avLst/>
          </a:prstGeom>
        </p:spPr>
      </p:pic>
      <p:sp>
        <p:nvSpPr>
          <p:cNvPr id="44" name="Text Placeholder 81">
            <a:extLst>
              <a:ext uri="{FF2B5EF4-FFF2-40B4-BE49-F238E27FC236}">
                <a16:creationId xmlns:a16="http://schemas.microsoft.com/office/drawing/2014/main" id="{AFA55A0F-6B01-A046-2A7F-77F8C9D0B0CB}"/>
              </a:ext>
            </a:extLst>
          </p:cNvPr>
          <p:cNvSpPr txBox="1">
            <a:spLocks/>
          </p:cNvSpPr>
          <p:nvPr/>
        </p:nvSpPr>
        <p:spPr>
          <a:xfrm>
            <a:off x="3133891" y="1594707"/>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ollow</a:t>
            </a:r>
          </a:p>
        </p:txBody>
      </p:sp>
      <p:sp>
        <p:nvSpPr>
          <p:cNvPr id="4" name="Text Placeholder 81">
            <a:extLst>
              <a:ext uri="{FF2B5EF4-FFF2-40B4-BE49-F238E27FC236}">
                <a16:creationId xmlns:a16="http://schemas.microsoft.com/office/drawing/2014/main" id="{7E8AE9C2-F18B-523D-6896-04F23F70E105}"/>
              </a:ext>
            </a:extLst>
          </p:cNvPr>
          <p:cNvSpPr txBox="1">
            <a:spLocks/>
          </p:cNvSpPr>
          <p:nvPr/>
        </p:nvSpPr>
        <p:spPr>
          <a:xfrm>
            <a:off x="3851423" y="1601632"/>
            <a:ext cx="149141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move User</a:t>
            </a:r>
          </a:p>
        </p:txBody>
      </p:sp>
      <p:pic>
        <p:nvPicPr>
          <p:cNvPr id="12" name="Graphic 11">
            <a:extLst>
              <a:ext uri="{FF2B5EF4-FFF2-40B4-BE49-F238E27FC236}">
                <a16:creationId xmlns:a16="http://schemas.microsoft.com/office/drawing/2014/main" id="{566D7F17-6743-D01D-FDDF-2541F58DEEEB}"/>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4292332" y="1793236"/>
            <a:ext cx="609600" cy="628650"/>
          </a:xfrm>
          <a:prstGeom prst="rect">
            <a:avLst/>
          </a:prstGeom>
        </p:spPr>
      </p:pic>
      <p:grpSp>
        <p:nvGrpSpPr>
          <p:cNvPr id="26" name="Group 25">
            <a:extLst>
              <a:ext uri="{FF2B5EF4-FFF2-40B4-BE49-F238E27FC236}">
                <a16:creationId xmlns:a16="http://schemas.microsoft.com/office/drawing/2014/main" id="{0C76B689-AB28-DA2A-B18A-BA658C4963A4}"/>
              </a:ext>
            </a:extLst>
          </p:cNvPr>
          <p:cNvGrpSpPr/>
          <p:nvPr/>
        </p:nvGrpSpPr>
        <p:grpSpPr>
          <a:xfrm>
            <a:off x="7255730" y="5683631"/>
            <a:ext cx="774725" cy="953096"/>
            <a:chOff x="7255730" y="5771554"/>
            <a:chExt cx="774725" cy="953096"/>
          </a:xfrm>
        </p:grpSpPr>
        <p:sp>
          <p:nvSpPr>
            <p:cNvPr id="27" name="Freeform: Shape 26">
              <a:extLst>
                <a:ext uri="{FF2B5EF4-FFF2-40B4-BE49-F238E27FC236}">
                  <a16:creationId xmlns:a16="http://schemas.microsoft.com/office/drawing/2014/main" id="{FA1E450F-9AAB-E7A0-6B89-2ADFBC418D02}"/>
                </a:ext>
              </a:extLst>
            </p:cNvPr>
            <p:cNvSpPr/>
            <p:nvPr/>
          </p:nvSpPr>
          <p:spPr>
            <a:xfrm>
              <a:off x="7394468" y="6083453"/>
              <a:ext cx="364807" cy="138112"/>
            </a:xfrm>
            <a:custGeom>
              <a:avLst/>
              <a:gdLst>
                <a:gd name="connsiteX0" fmla="*/ 119063 w 364807"/>
                <a:gd name="connsiteY0" fmla="*/ 79058 h 138112"/>
                <a:gd name="connsiteX1" fmla="*/ 119063 w 364807"/>
                <a:gd name="connsiteY1" fmla="*/ 107633 h 138112"/>
                <a:gd name="connsiteX2" fmla="*/ 119063 w 364807"/>
                <a:gd name="connsiteY2" fmla="*/ 118110 h 138112"/>
                <a:gd name="connsiteX3" fmla="*/ 177165 w 364807"/>
                <a:gd name="connsiteY3" fmla="*/ 123825 h 138112"/>
                <a:gd name="connsiteX4" fmla="*/ 237172 w 364807"/>
                <a:gd name="connsiteY4" fmla="*/ 138113 h 138112"/>
                <a:gd name="connsiteX5" fmla="*/ 364808 w 364807"/>
                <a:gd name="connsiteY5" fmla="*/ 138113 h 138112"/>
                <a:gd name="connsiteX6" fmla="*/ 339090 w 364807"/>
                <a:gd name="connsiteY6" fmla="*/ 45720 h 138112"/>
                <a:gd name="connsiteX7" fmla="*/ 303848 w 364807"/>
                <a:gd name="connsiteY7" fmla="*/ 14288 h 138112"/>
                <a:gd name="connsiteX8" fmla="*/ 240983 w 364807"/>
                <a:gd name="connsiteY8" fmla="*/ 0 h 138112"/>
                <a:gd name="connsiteX9" fmla="*/ 226695 w 364807"/>
                <a:gd name="connsiteY9" fmla="*/ 10478 h 138112"/>
                <a:gd name="connsiteX10" fmla="*/ 174308 w 364807"/>
                <a:gd name="connsiteY10" fmla="*/ 52388 h 138112"/>
                <a:gd name="connsiteX11" fmla="*/ 121920 w 364807"/>
                <a:gd name="connsiteY11" fmla="*/ 9525 h 138112"/>
                <a:gd name="connsiteX12" fmla="*/ 107633 w 364807"/>
                <a:gd name="connsiteY12" fmla="*/ 0 h 138112"/>
                <a:gd name="connsiteX13" fmla="*/ 44768 w 364807"/>
                <a:gd name="connsiteY13" fmla="*/ 14288 h 138112"/>
                <a:gd name="connsiteX14" fmla="*/ 9525 w 364807"/>
                <a:gd name="connsiteY14" fmla="*/ 45720 h 138112"/>
                <a:gd name="connsiteX15" fmla="*/ 0 w 364807"/>
                <a:gd name="connsiteY15" fmla="*/ 79058 h 138112"/>
                <a:gd name="connsiteX16" fmla="*/ 90488 w 364807"/>
                <a:gd name="connsiteY16" fmla="*/ 79058 h 138112"/>
                <a:gd name="connsiteX17" fmla="*/ 119063 w 364807"/>
                <a:gd name="connsiteY17" fmla="*/ 79058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4807" h="138112">
                  <a:moveTo>
                    <a:pt x="119063" y="79058"/>
                  </a:moveTo>
                  <a:lnTo>
                    <a:pt x="119063" y="107633"/>
                  </a:lnTo>
                  <a:lnTo>
                    <a:pt x="119063" y="118110"/>
                  </a:lnTo>
                  <a:cubicBezTo>
                    <a:pt x="136208" y="119063"/>
                    <a:pt x="157163" y="120968"/>
                    <a:pt x="177165" y="123825"/>
                  </a:cubicBezTo>
                  <a:cubicBezTo>
                    <a:pt x="199073" y="127635"/>
                    <a:pt x="219075" y="133350"/>
                    <a:pt x="237172" y="138113"/>
                  </a:cubicBezTo>
                  <a:lnTo>
                    <a:pt x="364808" y="138113"/>
                  </a:lnTo>
                  <a:lnTo>
                    <a:pt x="339090" y="45720"/>
                  </a:lnTo>
                  <a:cubicBezTo>
                    <a:pt x="339090" y="42863"/>
                    <a:pt x="334328" y="20955"/>
                    <a:pt x="303848" y="14288"/>
                  </a:cubicBezTo>
                  <a:lnTo>
                    <a:pt x="240983" y="0"/>
                  </a:lnTo>
                  <a:lnTo>
                    <a:pt x="226695" y="10478"/>
                  </a:lnTo>
                  <a:lnTo>
                    <a:pt x="174308" y="52388"/>
                  </a:lnTo>
                  <a:lnTo>
                    <a:pt x="121920" y="9525"/>
                  </a:lnTo>
                  <a:lnTo>
                    <a:pt x="107633" y="0"/>
                  </a:lnTo>
                  <a:lnTo>
                    <a:pt x="44768" y="14288"/>
                  </a:lnTo>
                  <a:cubicBezTo>
                    <a:pt x="13335" y="21908"/>
                    <a:pt x="9525" y="45720"/>
                    <a:pt x="9525" y="45720"/>
                  </a:cubicBezTo>
                  <a:lnTo>
                    <a:pt x="0" y="79058"/>
                  </a:lnTo>
                  <a:lnTo>
                    <a:pt x="90488" y="79058"/>
                  </a:lnTo>
                  <a:lnTo>
                    <a:pt x="119063" y="79058"/>
                  </a:lnTo>
                  <a:close/>
                </a:path>
              </a:pathLst>
            </a:custGeom>
            <a:solidFill>
              <a:srgbClr val="40AA1D"/>
            </a:solidFill>
            <a:ln w="9525" cap="flat">
              <a:noFill/>
              <a:prstDash val="solid"/>
              <a:miter/>
            </a:ln>
          </p:spPr>
          <p:txBody>
            <a:bodyPr rtlCol="0" anchor="ctr"/>
            <a:lstStyle/>
            <a:p>
              <a:endParaRPr lang="en-US" dirty="0"/>
            </a:p>
          </p:txBody>
        </p:sp>
        <p:grpSp>
          <p:nvGrpSpPr>
            <p:cNvPr id="33" name="Group 32">
              <a:extLst>
                <a:ext uri="{FF2B5EF4-FFF2-40B4-BE49-F238E27FC236}">
                  <a16:creationId xmlns:a16="http://schemas.microsoft.com/office/drawing/2014/main" id="{D51F4A5C-F0D6-F623-B611-942BC489D57A}"/>
                </a:ext>
              </a:extLst>
            </p:cNvPr>
            <p:cNvGrpSpPr/>
            <p:nvPr/>
          </p:nvGrpSpPr>
          <p:grpSpPr>
            <a:xfrm>
              <a:off x="7473033" y="5771554"/>
              <a:ext cx="525465" cy="363969"/>
              <a:chOff x="1781332" y="1868686"/>
              <a:chExt cx="525465" cy="363969"/>
            </a:xfrm>
          </p:grpSpPr>
          <p:sp>
            <p:nvSpPr>
              <p:cNvPr id="43" name="Freeform: Shape 42">
                <a:extLst>
                  <a:ext uri="{FF2B5EF4-FFF2-40B4-BE49-F238E27FC236}">
                    <a16:creationId xmlns:a16="http://schemas.microsoft.com/office/drawing/2014/main" id="{446E5BFA-FE10-FECF-D5AD-B1F7D7F0A3CF}"/>
                  </a:ext>
                </a:extLst>
              </p:cNvPr>
              <p:cNvSpPr/>
              <p:nvPr/>
            </p:nvSpPr>
            <p:spPr>
              <a:xfrm>
                <a:off x="1976097" y="2094543"/>
                <a:ext cx="330700" cy="138112"/>
              </a:xfrm>
              <a:custGeom>
                <a:avLst/>
                <a:gdLst>
                  <a:gd name="connsiteX0" fmla="*/ 304983 w 330700"/>
                  <a:gd name="connsiteY0" fmla="*/ 46672 h 138112"/>
                  <a:gd name="connsiteX1" fmla="*/ 269740 w 330700"/>
                  <a:gd name="connsiteY1" fmla="*/ 15240 h 138112"/>
                  <a:gd name="connsiteX2" fmla="*/ 206875 w 330700"/>
                  <a:gd name="connsiteY2" fmla="*/ 953 h 138112"/>
                  <a:gd name="connsiteX3" fmla="*/ 192588 w 330700"/>
                  <a:gd name="connsiteY3" fmla="*/ 11430 h 138112"/>
                  <a:gd name="connsiteX4" fmla="*/ 140200 w 330700"/>
                  <a:gd name="connsiteY4" fmla="*/ 53340 h 138112"/>
                  <a:gd name="connsiteX5" fmla="*/ 87813 w 330700"/>
                  <a:gd name="connsiteY5" fmla="*/ 10478 h 138112"/>
                  <a:gd name="connsiteX6" fmla="*/ 73525 w 330700"/>
                  <a:gd name="connsiteY6" fmla="*/ 0 h 138112"/>
                  <a:gd name="connsiteX7" fmla="*/ 23995 w 330700"/>
                  <a:gd name="connsiteY7" fmla="*/ 11430 h 138112"/>
                  <a:gd name="connsiteX8" fmla="*/ 18280 w 330700"/>
                  <a:gd name="connsiteY8" fmla="*/ 31433 h 138112"/>
                  <a:gd name="connsiteX9" fmla="*/ 11613 w 330700"/>
                  <a:gd name="connsiteY9" fmla="*/ 42862 h 138112"/>
                  <a:gd name="connsiteX10" fmla="*/ 7803 w 330700"/>
                  <a:gd name="connsiteY10" fmla="*/ 48578 h 138112"/>
                  <a:gd name="connsiteX11" fmla="*/ 3993 w 330700"/>
                  <a:gd name="connsiteY11" fmla="*/ 56197 h 138112"/>
                  <a:gd name="connsiteX12" fmla="*/ 182 w 330700"/>
                  <a:gd name="connsiteY12" fmla="*/ 63817 h 138112"/>
                  <a:gd name="connsiteX13" fmla="*/ 6850 w 330700"/>
                  <a:gd name="connsiteY13" fmla="*/ 73342 h 138112"/>
                  <a:gd name="connsiteX14" fmla="*/ 64000 w 330700"/>
                  <a:gd name="connsiteY14" fmla="*/ 84773 h 138112"/>
                  <a:gd name="connsiteX15" fmla="*/ 105910 w 330700"/>
                  <a:gd name="connsiteY15" fmla="*/ 138112 h 138112"/>
                  <a:gd name="connsiteX16" fmla="*/ 330700 w 330700"/>
                  <a:gd name="connsiteY16" fmla="*/ 138112 h 138112"/>
                  <a:gd name="connsiteX17" fmla="*/ 304983 w 330700"/>
                  <a:gd name="connsiteY17" fmla="*/ 46672 h 138112"/>
                  <a:gd name="connsiteX18" fmla="*/ 8755 w 330700"/>
                  <a:gd name="connsiteY18" fmla="*/ 70485 h 138112"/>
                  <a:gd name="connsiteX19" fmla="*/ 8755 w 330700"/>
                  <a:gd name="connsiteY19" fmla="*/ 70485 h 138112"/>
                  <a:gd name="connsiteX20" fmla="*/ 8755 w 330700"/>
                  <a:gd name="connsiteY20" fmla="*/ 70485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0700" h="138112">
                    <a:moveTo>
                      <a:pt x="304983" y="46672"/>
                    </a:moveTo>
                    <a:cubicBezTo>
                      <a:pt x="304983" y="43815"/>
                      <a:pt x="300220" y="21908"/>
                      <a:pt x="269740" y="15240"/>
                    </a:cubicBezTo>
                    <a:lnTo>
                      <a:pt x="206875" y="953"/>
                    </a:lnTo>
                    <a:lnTo>
                      <a:pt x="192588" y="11430"/>
                    </a:lnTo>
                    <a:lnTo>
                      <a:pt x="140200" y="53340"/>
                    </a:lnTo>
                    <a:lnTo>
                      <a:pt x="87813" y="10478"/>
                    </a:lnTo>
                    <a:lnTo>
                      <a:pt x="73525" y="0"/>
                    </a:lnTo>
                    <a:lnTo>
                      <a:pt x="23995" y="11430"/>
                    </a:lnTo>
                    <a:cubicBezTo>
                      <a:pt x="23043" y="17145"/>
                      <a:pt x="21138" y="24765"/>
                      <a:pt x="18280" y="31433"/>
                    </a:cubicBezTo>
                    <a:cubicBezTo>
                      <a:pt x="16375" y="36195"/>
                      <a:pt x="13518" y="40005"/>
                      <a:pt x="11613" y="42862"/>
                    </a:cubicBezTo>
                    <a:cubicBezTo>
                      <a:pt x="10660" y="44767"/>
                      <a:pt x="9707" y="46672"/>
                      <a:pt x="7803" y="48578"/>
                    </a:cubicBezTo>
                    <a:cubicBezTo>
                      <a:pt x="6850" y="50483"/>
                      <a:pt x="5897" y="53340"/>
                      <a:pt x="3993" y="56197"/>
                    </a:cubicBezTo>
                    <a:cubicBezTo>
                      <a:pt x="3040" y="59055"/>
                      <a:pt x="2088" y="60960"/>
                      <a:pt x="182" y="63817"/>
                    </a:cubicBezTo>
                    <a:cubicBezTo>
                      <a:pt x="-770" y="65723"/>
                      <a:pt x="2088" y="72390"/>
                      <a:pt x="6850" y="73342"/>
                    </a:cubicBezTo>
                    <a:cubicBezTo>
                      <a:pt x="24948" y="76200"/>
                      <a:pt x="56380" y="82867"/>
                      <a:pt x="64000" y="84773"/>
                    </a:cubicBezTo>
                    <a:cubicBezTo>
                      <a:pt x="91623" y="89535"/>
                      <a:pt x="99243" y="117158"/>
                      <a:pt x="105910" y="138112"/>
                    </a:cubicBezTo>
                    <a:lnTo>
                      <a:pt x="330700" y="138112"/>
                    </a:lnTo>
                    <a:lnTo>
                      <a:pt x="304983" y="46672"/>
                    </a:lnTo>
                    <a:close/>
                    <a:moveTo>
                      <a:pt x="8755" y="70485"/>
                    </a:moveTo>
                    <a:cubicBezTo>
                      <a:pt x="8755" y="70485"/>
                      <a:pt x="8755" y="70485"/>
                      <a:pt x="8755" y="70485"/>
                    </a:cubicBezTo>
                    <a:cubicBezTo>
                      <a:pt x="8755" y="70485"/>
                      <a:pt x="8755" y="70485"/>
                      <a:pt x="8755" y="70485"/>
                    </a:cubicBezTo>
                    <a:close/>
                  </a:path>
                </a:pathLst>
              </a:custGeom>
              <a:solidFill>
                <a:srgbClr val="40AA1D"/>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3D83D096-E937-3286-B1D5-247A701F9D7C}"/>
                  </a:ext>
                </a:extLst>
              </p:cNvPr>
              <p:cNvSpPr/>
              <p:nvPr/>
            </p:nvSpPr>
            <p:spPr>
              <a:xfrm>
                <a:off x="1781332" y="1956783"/>
                <a:ext cx="181541" cy="238424"/>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73DD3B08-3019-9EA7-4F2D-011414D35BA8}"/>
                  </a:ext>
                </a:extLst>
              </p:cNvPr>
              <p:cNvSpPr/>
              <p:nvPr/>
            </p:nvSpPr>
            <p:spPr>
              <a:xfrm>
                <a:off x="2030340" y="1868686"/>
                <a:ext cx="181541" cy="238424"/>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grpSp>
        <p:pic>
          <p:nvPicPr>
            <p:cNvPr id="36" name="Graphic 35">
              <a:extLst>
                <a:ext uri="{FF2B5EF4-FFF2-40B4-BE49-F238E27FC236}">
                  <a16:creationId xmlns:a16="http://schemas.microsoft.com/office/drawing/2014/main" id="{C736F1FC-C5F0-FEBE-86D9-0F7FE372CA70}"/>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255730" y="5949925"/>
              <a:ext cx="774725" cy="774725"/>
            </a:xfrm>
            <a:prstGeom prst="rect">
              <a:avLst/>
            </a:prstGeom>
          </p:spPr>
        </p:pic>
      </p:grpSp>
      <p:pic>
        <p:nvPicPr>
          <p:cNvPr id="55" name="Graphic 54">
            <a:extLst>
              <a:ext uri="{FF2B5EF4-FFF2-40B4-BE49-F238E27FC236}">
                <a16:creationId xmlns:a16="http://schemas.microsoft.com/office/drawing/2014/main" id="{39691EFE-4C70-2253-BBBF-0F27727010EE}"/>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5238485" y="1812286"/>
            <a:ext cx="609600" cy="609600"/>
          </a:xfrm>
          <a:prstGeom prst="rect">
            <a:avLst/>
          </a:prstGeom>
        </p:spPr>
      </p:pic>
      <p:sp>
        <p:nvSpPr>
          <p:cNvPr id="448" name="Text Placeholder 81">
            <a:extLst>
              <a:ext uri="{FF2B5EF4-FFF2-40B4-BE49-F238E27FC236}">
                <a16:creationId xmlns:a16="http://schemas.microsoft.com/office/drawing/2014/main" id="{2EB9E4A3-26CC-479B-D6C4-4DF70F50F451}"/>
              </a:ext>
            </a:extLst>
          </p:cNvPr>
          <p:cNvSpPr txBox="1">
            <a:spLocks/>
          </p:cNvSpPr>
          <p:nvPr/>
        </p:nvSpPr>
        <p:spPr>
          <a:xfrm>
            <a:off x="2229511" y="1532382"/>
            <a:ext cx="77377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efault </a:t>
            </a:r>
            <a:br>
              <a:rPr lang="en-US" dirty="0"/>
            </a:br>
            <a:r>
              <a:rPr lang="en-US" dirty="0"/>
              <a:t>person</a:t>
            </a:r>
          </a:p>
        </p:txBody>
      </p:sp>
      <p:grpSp>
        <p:nvGrpSpPr>
          <p:cNvPr id="450" name="Group 449">
            <a:extLst>
              <a:ext uri="{FF2B5EF4-FFF2-40B4-BE49-F238E27FC236}">
                <a16:creationId xmlns:a16="http://schemas.microsoft.com/office/drawing/2014/main" id="{0FA9D864-5BA1-6893-B1FA-9183CF4ECB65}"/>
              </a:ext>
            </a:extLst>
          </p:cNvPr>
          <p:cNvGrpSpPr/>
          <p:nvPr/>
        </p:nvGrpSpPr>
        <p:grpSpPr>
          <a:xfrm>
            <a:off x="2313726" y="1843719"/>
            <a:ext cx="609600" cy="578167"/>
            <a:chOff x="537926" y="1818419"/>
            <a:chExt cx="609600" cy="578167"/>
          </a:xfrm>
        </p:grpSpPr>
        <p:sp>
          <p:nvSpPr>
            <p:cNvPr id="451" name="Freeform: Shape 450">
              <a:extLst>
                <a:ext uri="{FF2B5EF4-FFF2-40B4-BE49-F238E27FC236}">
                  <a16:creationId xmlns:a16="http://schemas.microsoft.com/office/drawing/2014/main" id="{81217301-DA04-4C87-C097-00A32D31B496}"/>
                </a:ext>
              </a:extLst>
            </p:cNvPr>
            <p:cNvSpPr/>
            <p:nvPr/>
          </p:nvSpPr>
          <p:spPr>
            <a:xfrm>
              <a:off x="699851" y="1818419"/>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3827 w 285750"/>
                <a:gd name="connsiteY40" fmla="*/ 27623 h 375285"/>
                <a:gd name="connsiteX41" fmla="*/ 213360 w 285750"/>
                <a:gd name="connsiteY41" fmla="*/ 53340 h 375285"/>
                <a:gd name="connsiteX42" fmla="*/ 248602 w 285750"/>
                <a:gd name="connsiteY42" fmla="*/ 161925 h 375285"/>
                <a:gd name="connsiteX43" fmla="*/ 248602 w 285750"/>
                <a:gd name="connsiteY43" fmla="*/ 173355 h 375285"/>
                <a:gd name="connsiteX44" fmla="*/ 255270 w 285750"/>
                <a:gd name="connsiteY44" fmla="*/ 175260 h 375285"/>
                <a:gd name="connsiteX45" fmla="*/ 258127 w 285750"/>
                <a:gd name="connsiteY45" fmla="*/ 184785 h 375285"/>
                <a:gd name="connsiteX46" fmla="*/ 246698 w 285750"/>
                <a:gd name="connsiteY46" fmla="*/ 230505 h 375285"/>
                <a:gd name="connsiteX47" fmla="*/ 242888 w 285750"/>
                <a:gd name="connsiteY47" fmla="*/ 235268 h 375285"/>
                <a:gd name="connsiteX48" fmla="*/ 235268 w 285750"/>
                <a:gd name="connsiteY48" fmla="*/ 236220 h 375285"/>
                <a:gd name="connsiteX49" fmla="*/ 231458 w 285750"/>
                <a:gd name="connsiteY49" fmla="*/ 242888 h 375285"/>
                <a:gd name="connsiteX50" fmla="*/ 214313 w 285750"/>
                <a:gd name="connsiteY50" fmla="*/ 278130 h 375285"/>
                <a:gd name="connsiteX51" fmla="*/ 169545 w 285750"/>
                <a:gd name="connsiteY51" fmla="*/ 313373 h 375285"/>
                <a:gd name="connsiteX52" fmla="*/ 114300 w 285750"/>
                <a:gd name="connsiteY52" fmla="*/ 307658 h 375285"/>
                <a:gd name="connsiteX53" fmla="*/ 71438 w 285750"/>
                <a:gd name="connsiteY53" fmla="*/ 274320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1440" y="36195"/>
                    <a:pt x="114300" y="27623"/>
                    <a:pt x="143827" y="27623"/>
                  </a:cubicBezTo>
                  <a:cubicBezTo>
                    <a:pt x="172402" y="26670"/>
                    <a:pt x="196215" y="35243"/>
                    <a:pt x="213360" y="53340"/>
                  </a:cubicBezTo>
                  <a:cubicBezTo>
                    <a:pt x="250508" y="91440"/>
                    <a:pt x="248602" y="160973"/>
                    <a:pt x="248602" y="161925"/>
                  </a:cubicBezTo>
                  <a:lnTo>
                    <a:pt x="248602" y="173355"/>
                  </a:lnTo>
                  <a:lnTo>
                    <a:pt x="255270" y="175260"/>
                  </a:lnTo>
                  <a:cubicBezTo>
                    <a:pt x="256223" y="177165"/>
                    <a:pt x="257175" y="180975"/>
                    <a:pt x="258127" y="184785"/>
                  </a:cubicBezTo>
                  <a:lnTo>
                    <a:pt x="246698" y="230505"/>
                  </a:lnTo>
                  <a:cubicBezTo>
                    <a:pt x="245745" y="234315"/>
                    <a:pt x="242888" y="235268"/>
                    <a:pt x="242888" y="235268"/>
                  </a:cubicBezTo>
                  <a:lnTo>
                    <a:pt x="235268" y="236220"/>
                  </a:lnTo>
                  <a:lnTo>
                    <a:pt x="231458" y="242888"/>
                  </a:lnTo>
                  <a:cubicBezTo>
                    <a:pt x="219075" y="265748"/>
                    <a:pt x="215265" y="273368"/>
                    <a:pt x="214313" y="278130"/>
                  </a:cubicBezTo>
                  <a:lnTo>
                    <a:pt x="169545" y="313373"/>
                  </a:lnTo>
                  <a:cubicBezTo>
                    <a:pt x="166688" y="315278"/>
                    <a:pt x="136208" y="330518"/>
                    <a:pt x="114300" y="307658"/>
                  </a:cubicBezTo>
                  <a:lnTo>
                    <a:pt x="71438" y="274320"/>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452" name="Freeform: Shape 451">
              <a:extLst>
                <a:ext uri="{FF2B5EF4-FFF2-40B4-BE49-F238E27FC236}">
                  <a16:creationId xmlns:a16="http://schemas.microsoft.com/office/drawing/2014/main" id="{55C11ACA-38A7-2F2F-87BE-6FDD6A36083D}"/>
                </a:ext>
              </a:extLst>
            </p:cNvPr>
            <p:cNvSpPr/>
            <p:nvPr/>
          </p:nvSpPr>
          <p:spPr>
            <a:xfrm>
              <a:off x="537926" y="2175606"/>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2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2"/>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bg2"/>
            </a:solid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595238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 name="Graphic 152">
            <a:extLst>
              <a:ext uri="{FF2B5EF4-FFF2-40B4-BE49-F238E27FC236}">
                <a16:creationId xmlns:a16="http://schemas.microsoft.com/office/drawing/2014/main" id="{FB1715A9-2567-683C-6D91-4FC5E52A3DC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19052" y="5799768"/>
            <a:ext cx="609600" cy="609600"/>
          </a:xfrm>
          <a:prstGeom prst="rect">
            <a:avLst/>
          </a:prstGeom>
        </p:spPr>
      </p:pic>
      <p:pic>
        <p:nvPicPr>
          <p:cNvPr id="151" name="Graphic 150">
            <a:extLst>
              <a:ext uri="{FF2B5EF4-FFF2-40B4-BE49-F238E27FC236}">
                <a16:creationId xmlns:a16="http://schemas.microsoft.com/office/drawing/2014/main" id="{B657DB06-C1E3-A6B1-80ED-F800F2A4CC0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78022" y="5799768"/>
            <a:ext cx="609600" cy="609600"/>
          </a:xfrm>
          <a:prstGeom prst="rect">
            <a:avLst/>
          </a:prstGeom>
        </p:spPr>
      </p:pic>
      <p:sp>
        <p:nvSpPr>
          <p:cNvPr id="2" name="Title 1">
            <a:extLst>
              <a:ext uri="{FF2B5EF4-FFF2-40B4-BE49-F238E27FC236}">
                <a16:creationId xmlns:a16="http://schemas.microsoft.com/office/drawing/2014/main" id="{7FBD444C-AE17-51FC-E123-BC698D7AD797}"/>
              </a:ext>
            </a:extLst>
          </p:cNvPr>
          <p:cNvSpPr>
            <a:spLocks noGrp="1"/>
          </p:cNvSpPr>
          <p:nvPr>
            <p:ph type="title"/>
          </p:nvPr>
        </p:nvSpPr>
        <p:spPr>
          <a:xfrm>
            <a:off x="490760" y="547539"/>
            <a:ext cx="10789920" cy="369332"/>
          </a:xfrm>
        </p:spPr>
        <p:txBody>
          <a:bodyPr/>
          <a:lstStyle/>
          <a:p>
            <a:r>
              <a:rPr lang="en-US" dirty="0"/>
              <a:t>PTC ICONS</a:t>
            </a:r>
          </a:p>
        </p:txBody>
      </p:sp>
      <p:sp>
        <p:nvSpPr>
          <p:cNvPr id="29" name="Text Placeholder 81">
            <a:extLst>
              <a:ext uri="{FF2B5EF4-FFF2-40B4-BE49-F238E27FC236}">
                <a16:creationId xmlns:a16="http://schemas.microsoft.com/office/drawing/2014/main" id="{A5939058-82A6-CF8B-2BB2-62E935D1D5EE}"/>
              </a:ext>
            </a:extLst>
          </p:cNvPr>
          <p:cNvSpPr txBox="1">
            <a:spLocks/>
          </p:cNvSpPr>
          <p:nvPr/>
        </p:nvSpPr>
        <p:spPr>
          <a:xfrm>
            <a:off x="6484264" y="419590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ctuator</a:t>
            </a:r>
          </a:p>
        </p:txBody>
      </p:sp>
      <p:sp>
        <p:nvSpPr>
          <p:cNvPr id="31" name="Text Placeholder 81">
            <a:extLst>
              <a:ext uri="{FF2B5EF4-FFF2-40B4-BE49-F238E27FC236}">
                <a16:creationId xmlns:a16="http://schemas.microsoft.com/office/drawing/2014/main" id="{DB2745E6-C23E-7DAF-7376-4F97AED092F6}"/>
              </a:ext>
            </a:extLst>
          </p:cNvPr>
          <p:cNvSpPr txBox="1">
            <a:spLocks/>
          </p:cNvSpPr>
          <p:nvPr/>
        </p:nvSpPr>
        <p:spPr>
          <a:xfrm>
            <a:off x="177153" y="5503038"/>
            <a:ext cx="136643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tificial Intelligence</a:t>
            </a:r>
            <a:endParaRPr lang="en-US" dirty="0">
              <a:solidFill>
                <a:schemeClr val="accent5"/>
              </a:solidFill>
            </a:endParaRPr>
          </a:p>
        </p:txBody>
      </p:sp>
      <p:sp>
        <p:nvSpPr>
          <p:cNvPr id="35" name="Text Placeholder 81">
            <a:extLst>
              <a:ext uri="{FF2B5EF4-FFF2-40B4-BE49-F238E27FC236}">
                <a16:creationId xmlns:a16="http://schemas.microsoft.com/office/drawing/2014/main" id="{CA50CC39-EA7C-6AEE-88F4-32631D17C3D2}"/>
              </a:ext>
            </a:extLst>
          </p:cNvPr>
          <p:cNvSpPr txBox="1">
            <a:spLocks/>
          </p:cNvSpPr>
          <p:nvPr/>
        </p:nvSpPr>
        <p:spPr>
          <a:xfrm>
            <a:off x="6921118" y="159299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imulation</a:t>
            </a:r>
          </a:p>
        </p:txBody>
      </p:sp>
      <p:sp>
        <p:nvSpPr>
          <p:cNvPr id="36" name="Text Placeholder 81">
            <a:extLst>
              <a:ext uri="{FF2B5EF4-FFF2-40B4-BE49-F238E27FC236}">
                <a16:creationId xmlns:a16="http://schemas.microsoft.com/office/drawing/2014/main" id="{90012551-ACC7-6619-847F-E27EE8557D36}"/>
              </a:ext>
            </a:extLst>
          </p:cNvPr>
          <p:cNvSpPr txBox="1">
            <a:spLocks/>
          </p:cNvSpPr>
          <p:nvPr/>
        </p:nvSpPr>
        <p:spPr>
          <a:xfrm>
            <a:off x="4224605" y="4195901"/>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erver</a:t>
            </a:r>
          </a:p>
        </p:txBody>
      </p:sp>
      <p:pic>
        <p:nvPicPr>
          <p:cNvPr id="43" name="Graphic 42">
            <a:extLst>
              <a:ext uri="{FF2B5EF4-FFF2-40B4-BE49-F238E27FC236}">
                <a16:creationId xmlns:a16="http://schemas.microsoft.com/office/drawing/2014/main" id="{94E38C33-59E0-0ACF-799F-ABBE03DBE5C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31285" y="4521973"/>
            <a:ext cx="609600" cy="609600"/>
          </a:xfrm>
          <a:prstGeom prst="rect">
            <a:avLst/>
          </a:prstGeom>
        </p:spPr>
      </p:pic>
      <p:sp>
        <p:nvSpPr>
          <p:cNvPr id="55" name="TextBox 54">
            <a:extLst>
              <a:ext uri="{FF2B5EF4-FFF2-40B4-BE49-F238E27FC236}">
                <a16:creationId xmlns:a16="http://schemas.microsoft.com/office/drawing/2014/main" id="{916A38B6-5462-B04B-AF3A-E01DD3EDFC36}"/>
              </a:ext>
            </a:extLst>
          </p:cNvPr>
          <p:cNvSpPr txBox="1"/>
          <p:nvPr/>
        </p:nvSpPr>
        <p:spPr>
          <a:xfrm>
            <a:off x="3018448" y="5503038"/>
            <a:ext cx="79508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pp Switcher</a:t>
            </a:r>
          </a:p>
        </p:txBody>
      </p:sp>
      <p:sp>
        <p:nvSpPr>
          <p:cNvPr id="57" name="TextBox 56">
            <a:extLst>
              <a:ext uri="{FF2B5EF4-FFF2-40B4-BE49-F238E27FC236}">
                <a16:creationId xmlns:a16="http://schemas.microsoft.com/office/drawing/2014/main" id="{9CDA2B68-C097-C829-5E09-A38535BDC4E0}"/>
              </a:ext>
            </a:extLst>
          </p:cNvPr>
          <p:cNvSpPr txBox="1"/>
          <p:nvPr/>
        </p:nvSpPr>
        <p:spPr>
          <a:xfrm>
            <a:off x="6742350" y="2822537"/>
            <a:ext cx="5338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alibrate</a:t>
            </a:r>
          </a:p>
        </p:txBody>
      </p:sp>
      <p:sp>
        <p:nvSpPr>
          <p:cNvPr id="119" name="Text Placeholder 81">
            <a:extLst>
              <a:ext uri="{FF2B5EF4-FFF2-40B4-BE49-F238E27FC236}">
                <a16:creationId xmlns:a16="http://schemas.microsoft.com/office/drawing/2014/main" id="{B86D023B-924C-52E1-0216-A542BA606D1D}"/>
              </a:ext>
            </a:extLst>
          </p:cNvPr>
          <p:cNvSpPr txBox="1">
            <a:spLocks/>
          </p:cNvSpPr>
          <p:nvPr/>
        </p:nvSpPr>
        <p:spPr>
          <a:xfrm>
            <a:off x="4005791" y="5503038"/>
            <a:ext cx="1302153" cy="1384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Eyedropper </a:t>
            </a:r>
          </a:p>
        </p:txBody>
      </p:sp>
      <p:sp>
        <p:nvSpPr>
          <p:cNvPr id="121" name="Text Placeholder 81">
            <a:extLst>
              <a:ext uri="{FF2B5EF4-FFF2-40B4-BE49-F238E27FC236}">
                <a16:creationId xmlns:a16="http://schemas.microsoft.com/office/drawing/2014/main" id="{5BCFABE9-57B1-BBF9-4FFD-B2AB781351B2}"/>
              </a:ext>
            </a:extLst>
          </p:cNvPr>
          <p:cNvSpPr txBox="1">
            <a:spLocks/>
          </p:cNvSpPr>
          <p:nvPr/>
        </p:nvSpPr>
        <p:spPr>
          <a:xfrm>
            <a:off x="11004274" y="5551259"/>
            <a:ext cx="84023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utomation</a:t>
            </a:r>
          </a:p>
        </p:txBody>
      </p:sp>
      <p:sp>
        <p:nvSpPr>
          <p:cNvPr id="123" name="Text Placeholder 81">
            <a:extLst>
              <a:ext uri="{FF2B5EF4-FFF2-40B4-BE49-F238E27FC236}">
                <a16:creationId xmlns:a16="http://schemas.microsoft.com/office/drawing/2014/main" id="{4FF9A1A8-1362-2FFD-3F5A-F6458F1076BA}"/>
              </a:ext>
            </a:extLst>
          </p:cNvPr>
          <p:cNvSpPr txBox="1">
            <a:spLocks/>
          </p:cNvSpPr>
          <p:nvPr/>
        </p:nvSpPr>
        <p:spPr>
          <a:xfrm>
            <a:off x="5210964" y="4195901"/>
            <a:ext cx="130215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xplode view  </a:t>
            </a:r>
          </a:p>
        </p:txBody>
      </p:sp>
      <p:pic>
        <p:nvPicPr>
          <p:cNvPr id="124" name="Graphic 123">
            <a:extLst>
              <a:ext uri="{FF2B5EF4-FFF2-40B4-BE49-F238E27FC236}">
                <a16:creationId xmlns:a16="http://schemas.microsoft.com/office/drawing/2014/main" id="{85D72EE0-A243-ABFF-F114-32D0905317D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57240" y="4521973"/>
            <a:ext cx="609600" cy="609600"/>
          </a:xfrm>
          <a:prstGeom prst="rect">
            <a:avLst/>
          </a:prstGeom>
        </p:spPr>
      </p:pic>
      <p:sp>
        <p:nvSpPr>
          <p:cNvPr id="141" name="object 3">
            <a:extLst>
              <a:ext uri="{FF2B5EF4-FFF2-40B4-BE49-F238E27FC236}">
                <a16:creationId xmlns:a16="http://schemas.microsoft.com/office/drawing/2014/main" id="{FED37A5D-5D50-7648-E301-22E390E22592}"/>
              </a:ext>
            </a:extLst>
          </p:cNvPr>
          <p:cNvSpPr txBox="1"/>
          <p:nvPr/>
        </p:nvSpPr>
        <p:spPr>
          <a:xfrm>
            <a:off x="3048603" y="2822537"/>
            <a:ext cx="69321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PI</a:t>
            </a:r>
          </a:p>
        </p:txBody>
      </p:sp>
      <p:sp>
        <p:nvSpPr>
          <p:cNvPr id="144" name="object 11">
            <a:extLst>
              <a:ext uri="{FF2B5EF4-FFF2-40B4-BE49-F238E27FC236}">
                <a16:creationId xmlns:a16="http://schemas.microsoft.com/office/drawing/2014/main" id="{B210369E-42DC-E938-3D83-5D869106D0D2}"/>
              </a:ext>
            </a:extLst>
          </p:cNvPr>
          <p:cNvSpPr txBox="1"/>
          <p:nvPr/>
        </p:nvSpPr>
        <p:spPr>
          <a:xfrm>
            <a:off x="1609787" y="4195901"/>
            <a:ext cx="100947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a:t>
            </a:r>
            <a:r>
              <a:rPr dirty="0"/>
              <a:t>hip</a:t>
            </a:r>
            <a:r>
              <a:rPr lang="en-US" dirty="0"/>
              <a:t> </a:t>
            </a:r>
            <a:r>
              <a:rPr dirty="0"/>
              <a:t>and</a:t>
            </a:r>
            <a:r>
              <a:rPr lang="en-US" dirty="0"/>
              <a:t> Search</a:t>
            </a:r>
            <a:endParaRPr dirty="0"/>
          </a:p>
        </p:txBody>
      </p:sp>
      <p:sp>
        <p:nvSpPr>
          <p:cNvPr id="146" name="object 45">
            <a:extLst>
              <a:ext uri="{FF2B5EF4-FFF2-40B4-BE49-F238E27FC236}">
                <a16:creationId xmlns:a16="http://schemas.microsoft.com/office/drawing/2014/main" id="{BBFA71D9-1ED4-8A9A-ACCC-4FC7D2F76CC0}"/>
              </a:ext>
            </a:extLst>
          </p:cNvPr>
          <p:cNvSpPr txBox="1"/>
          <p:nvPr/>
        </p:nvSpPr>
        <p:spPr>
          <a:xfrm>
            <a:off x="2844348" y="4126651"/>
            <a:ext cx="11017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hip, Digital Product</a:t>
            </a:r>
          </a:p>
        </p:txBody>
      </p:sp>
      <p:sp>
        <p:nvSpPr>
          <p:cNvPr id="11" name="Text Placeholder 81">
            <a:extLst>
              <a:ext uri="{FF2B5EF4-FFF2-40B4-BE49-F238E27FC236}">
                <a16:creationId xmlns:a16="http://schemas.microsoft.com/office/drawing/2014/main" id="{80E1418E-7274-BE2D-D482-C565B49654C6}"/>
              </a:ext>
            </a:extLst>
          </p:cNvPr>
          <p:cNvSpPr txBox="1">
            <a:spLocks/>
          </p:cNvSpPr>
          <p:nvPr/>
        </p:nvSpPr>
        <p:spPr>
          <a:xfrm>
            <a:off x="1723509" y="1523743"/>
            <a:ext cx="91440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loud, Wifi, Connected</a:t>
            </a:r>
          </a:p>
        </p:txBody>
      </p:sp>
      <p:sp>
        <p:nvSpPr>
          <p:cNvPr id="27" name="Text Placeholder 81">
            <a:extLst>
              <a:ext uri="{FF2B5EF4-FFF2-40B4-BE49-F238E27FC236}">
                <a16:creationId xmlns:a16="http://schemas.microsoft.com/office/drawing/2014/main" id="{1F63AB87-48C7-C3DB-EA79-02F7F6FFC063}"/>
              </a:ext>
            </a:extLst>
          </p:cNvPr>
          <p:cNvSpPr txBox="1">
            <a:spLocks/>
          </p:cNvSpPr>
          <p:nvPr/>
        </p:nvSpPr>
        <p:spPr>
          <a:xfrm>
            <a:off x="537699" y="1592993"/>
            <a:ext cx="60377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loud</a:t>
            </a:r>
          </a:p>
        </p:txBody>
      </p:sp>
      <p:sp>
        <p:nvSpPr>
          <p:cNvPr id="150" name="object 3">
            <a:extLst>
              <a:ext uri="{FF2B5EF4-FFF2-40B4-BE49-F238E27FC236}">
                <a16:creationId xmlns:a16="http://schemas.microsoft.com/office/drawing/2014/main" id="{5D979DA3-1F32-5593-4546-822DFE010A20}"/>
              </a:ext>
            </a:extLst>
          </p:cNvPr>
          <p:cNvSpPr txBox="1"/>
          <p:nvPr/>
        </p:nvSpPr>
        <p:spPr>
          <a:xfrm>
            <a:off x="3103350" y="1592993"/>
            <a:ext cx="7835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TC</a:t>
            </a:r>
            <a:r>
              <a:rPr lang="en-US" dirty="0"/>
              <a:t> </a:t>
            </a:r>
            <a:r>
              <a:rPr dirty="0"/>
              <a:t>Cloud</a:t>
            </a:r>
          </a:p>
        </p:txBody>
      </p:sp>
      <p:sp>
        <p:nvSpPr>
          <p:cNvPr id="154" name="object 31">
            <a:extLst>
              <a:ext uri="{FF2B5EF4-FFF2-40B4-BE49-F238E27FC236}">
                <a16:creationId xmlns:a16="http://schemas.microsoft.com/office/drawing/2014/main" id="{A1D67127-2313-3B77-1157-2E3ABB68F95D}"/>
              </a:ext>
            </a:extLst>
          </p:cNvPr>
          <p:cNvSpPr txBox="1"/>
          <p:nvPr/>
        </p:nvSpPr>
        <p:spPr>
          <a:xfrm>
            <a:off x="10821991" y="1592993"/>
            <a:ext cx="116323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a:t>
            </a:r>
            <a:r>
              <a:rPr dirty="0"/>
              <a:t>igital</a:t>
            </a:r>
            <a:r>
              <a:rPr lang="en-US" dirty="0"/>
              <a:t> Disruption</a:t>
            </a:r>
            <a:endParaRPr dirty="0"/>
          </a:p>
        </p:txBody>
      </p:sp>
      <p:sp>
        <p:nvSpPr>
          <p:cNvPr id="163" name="object 7">
            <a:extLst>
              <a:ext uri="{FF2B5EF4-FFF2-40B4-BE49-F238E27FC236}">
                <a16:creationId xmlns:a16="http://schemas.microsoft.com/office/drawing/2014/main" id="{C4DDF05B-2126-F751-FD38-DDDCF2FCEF80}"/>
              </a:ext>
            </a:extLst>
          </p:cNvPr>
          <p:cNvSpPr txBox="1"/>
          <p:nvPr/>
        </p:nvSpPr>
        <p:spPr>
          <a:xfrm>
            <a:off x="8815720" y="2822537"/>
            <a:ext cx="77470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Linked</a:t>
            </a:r>
            <a:r>
              <a:rPr lang="en-US" dirty="0"/>
              <a:t> </a:t>
            </a:r>
            <a:r>
              <a:rPr dirty="0"/>
              <a:t>Data</a:t>
            </a:r>
          </a:p>
        </p:txBody>
      </p:sp>
      <p:sp>
        <p:nvSpPr>
          <p:cNvPr id="165" name="object 47">
            <a:extLst>
              <a:ext uri="{FF2B5EF4-FFF2-40B4-BE49-F238E27FC236}">
                <a16:creationId xmlns:a16="http://schemas.microsoft.com/office/drawing/2014/main" id="{4813C281-18D8-2CE6-231E-8B4C5E7176BC}"/>
              </a:ext>
            </a:extLst>
          </p:cNvPr>
          <p:cNvSpPr txBox="1"/>
          <p:nvPr/>
        </p:nvSpPr>
        <p:spPr>
          <a:xfrm>
            <a:off x="10872300" y="2753287"/>
            <a:ext cx="106261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Model-Based</a:t>
            </a:r>
            <a:br>
              <a:rPr lang="en-US" dirty="0"/>
            </a:br>
            <a:r>
              <a:rPr dirty="0"/>
              <a:t>Syste</a:t>
            </a:r>
            <a:r>
              <a:rPr lang="en-US" dirty="0"/>
              <a:t>m</a:t>
            </a:r>
            <a:endParaRPr dirty="0"/>
          </a:p>
        </p:txBody>
      </p:sp>
      <p:sp>
        <p:nvSpPr>
          <p:cNvPr id="167" name="object 15">
            <a:extLst>
              <a:ext uri="{FF2B5EF4-FFF2-40B4-BE49-F238E27FC236}">
                <a16:creationId xmlns:a16="http://schemas.microsoft.com/office/drawing/2014/main" id="{4FE85847-4D77-9D54-BBA5-830C16019522}"/>
              </a:ext>
            </a:extLst>
          </p:cNvPr>
          <p:cNvSpPr txBox="1"/>
          <p:nvPr/>
        </p:nvSpPr>
        <p:spPr>
          <a:xfrm>
            <a:off x="7743547" y="4195901"/>
            <a:ext cx="7747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IT Security</a:t>
            </a:r>
          </a:p>
        </p:txBody>
      </p:sp>
      <p:sp>
        <p:nvSpPr>
          <p:cNvPr id="169" name="object 5">
            <a:extLst>
              <a:ext uri="{FF2B5EF4-FFF2-40B4-BE49-F238E27FC236}">
                <a16:creationId xmlns:a16="http://schemas.microsoft.com/office/drawing/2014/main" id="{3DA590E7-5A48-7F89-42B4-63E0A6B03A88}"/>
              </a:ext>
            </a:extLst>
          </p:cNvPr>
          <p:cNvSpPr txBox="1"/>
          <p:nvPr/>
        </p:nvSpPr>
        <p:spPr>
          <a:xfrm>
            <a:off x="9865994" y="2753287"/>
            <a:ext cx="87245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Embedded</a:t>
            </a:r>
            <a:r>
              <a:rPr lang="en-US" dirty="0"/>
              <a:t> </a:t>
            </a:r>
            <a:br>
              <a:rPr lang="en-US" dirty="0"/>
            </a:br>
            <a:r>
              <a:rPr dirty="0"/>
              <a:t>Softwar</a:t>
            </a:r>
            <a:r>
              <a:rPr lang="en-US" dirty="0"/>
              <a:t>e</a:t>
            </a:r>
            <a:endParaRPr dirty="0"/>
          </a:p>
        </p:txBody>
      </p:sp>
      <p:sp>
        <p:nvSpPr>
          <p:cNvPr id="183" name="object 9">
            <a:extLst>
              <a:ext uri="{FF2B5EF4-FFF2-40B4-BE49-F238E27FC236}">
                <a16:creationId xmlns:a16="http://schemas.microsoft.com/office/drawing/2014/main" id="{F249040E-813F-46B8-596F-AABBF6386978}"/>
              </a:ext>
            </a:extLst>
          </p:cNvPr>
          <p:cNvSpPr txBox="1"/>
          <p:nvPr/>
        </p:nvSpPr>
        <p:spPr>
          <a:xfrm>
            <a:off x="4167632" y="1592993"/>
            <a:ext cx="16097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Software</a:t>
            </a:r>
            <a:r>
              <a:rPr lang="en-US" dirty="0"/>
              <a:t> D</a:t>
            </a:r>
            <a:r>
              <a:rPr dirty="0"/>
              <a:t>evelopme</a:t>
            </a:r>
            <a:r>
              <a:rPr lang="en-US" dirty="0"/>
              <a:t>nt</a:t>
            </a:r>
            <a:endParaRPr dirty="0"/>
          </a:p>
        </p:txBody>
      </p:sp>
      <p:sp>
        <p:nvSpPr>
          <p:cNvPr id="185" name="object 21">
            <a:extLst>
              <a:ext uri="{FF2B5EF4-FFF2-40B4-BE49-F238E27FC236}">
                <a16:creationId xmlns:a16="http://schemas.microsoft.com/office/drawing/2014/main" id="{0DE8D270-F387-AD42-06CF-C833F853E075}"/>
              </a:ext>
            </a:extLst>
          </p:cNvPr>
          <p:cNvSpPr txBox="1"/>
          <p:nvPr/>
        </p:nvSpPr>
        <p:spPr>
          <a:xfrm>
            <a:off x="1458463" y="2822537"/>
            <a:ext cx="131212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Software</a:t>
            </a:r>
            <a:r>
              <a:rPr lang="en-US" dirty="0"/>
              <a:t> </a:t>
            </a:r>
            <a:r>
              <a:rPr dirty="0"/>
              <a:t>Modeling</a:t>
            </a:r>
          </a:p>
        </p:txBody>
      </p:sp>
      <p:sp>
        <p:nvSpPr>
          <p:cNvPr id="199" name="object 11">
            <a:extLst>
              <a:ext uri="{FF2B5EF4-FFF2-40B4-BE49-F238E27FC236}">
                <a16:creationId xmlns:a16="http://schemas.microsoft.com/office/drawing/2014/main" id="{6F5BA293-CF2A-F08E-17C7-8490CE5F5DF2}"/>
              </a:ext>
            </a:extLst>
          </p:cNvPr>
          <p:cNvSpPr txBox="1"/>
          <p:nvPr/>
        </p:nvSpPr>
        <p:spPr>
          <a:xfrm>
            <a:off x="8189436" y="1592993"/>
            <a:ext cx="109793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isual</a:t>
            </a:r>
            <a:r>
              <a:rPr lang="en-US" dirty="0"/>
              <a:t> </a:t>
            </a:r>
            <a:r>
              <a:rPr dirty="0"/>
              <a:t>Simulation</a:t>
            </a:r>
          </a:p>
        </p:txBody>
      </p:sp>
      <p:sp>
        <p:nvSpPr>
          <p:cNvPr id="126" name="TextBox 125">
            <a:extLst>
              <a:ext uri="{FF2B5EF4-FFF2-40B4-BE49-F238E27FC236}">
                <a16:creationId xmlns:a16="http://schemas.microsoft.com/office/drawing/2014/main" id="{19CF5FC0-B3FB-F9BC-85D5-4158246B06EF}"/>
              </a:ext>
            </a:extLst>
          </p:cNvPr>
          <p:cNvSpPr txBox="1"/>
          <p:nvPr/>
        </p:nvSpPr>
        <p:spPr>
          <a:xfrm>
            <a:off x="7834465" y="2822537"/>
            <a:ext cx="4506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RP</a:t>
            </a:r>
          </a:p>
        </p:txBody>
      </p:sp>
      <p:sp>
        <p:nvSpPr>
          <p:cNvPr id="161" name="Text Placeholder 81">
            <a:extLst>
              <a:ext uri="{FF2B5EF4-FFF2-40B4-BE49-F238E27FC236}">
                <a16:creationId xmlns:a16="http://schemas.microsoft.com/office/drawing/2014/main" id="{070F419F-09F1-12D3-DA38-FA0F8AF9C80E}"/>
              </a:ext>
            </a:extLst>
          </p:cNvPr>
          <p:cNvSpPr txBox="1">
            <a:spLocks/>
          </p:cNvSpPr>
          <p:nvPr/>
        </p:nvSpPr>
        <p:spPr>
          <a:xfrm>
            <a:off x="5756710" y="159299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3D Product</a:t>
            </a:r>
          </a:p>
        </p:txBody>
      </p:sp>
      <p:pic>
        <p:nvPicPr>
          <p:cNvPr id="188" name="Graphic 187">
            <a:extLst>
              <a:ext uri="{FF2B5EF4-FFF2-40B4-BE49-F238E27FC236}">
                <a16:creationId xmlns:a16="http://schemas.microsoft.com/office/drawing/2014/main" id="{D1D409B5-1EBF-411F-10FD-43072E46149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48728" y="1828881"/>
            <a:ext cx="609600" cy="609600"/>
          </a:xfrm>
          <a:prstGeom prst="rect">
            <a:avLst/>
          </a:prstGeom>
        </p:spPr>
      </p:pic>
      <p:pic>
        <p:nvPicPr>
          <p:cNvPr id="14" name="Graphic 13">
            <a:extLst>
              <a:ext uri="{FF2B5EF4-FFF2-40B4-BE49-F238E27FC236}">
                <a16:creationId xmlns:a16="http://schemas.microsoft.com/office/drawing/2014/main" id="{754AB202-CC94-4347-65BB-619EB7BA818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089487" y="1905081"/>
            <a:ext cx="645459" cy="457200"/>
          </a:xfrm>
          <a:prstGeom prst="rect">
            <a:avLst/>
          </a:prstGeom>
        </p:spPr>
      </p:pic>
      <p:pic>
        <p:nvPicPr>
          <p:cNvPr id="30" name="Graphic 29">
            <a:extLst>
              <a:ext uri="{FF2B5EF4-FFF2-40B4-BE49-F238E27FC236}">
                <a16:creationId xmlns:a16="http://schemas.microsoft.com/office/drawing/2014/main" id="{BEA704CB-C393-B4E3-7D6D-CAC6517863F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746225" y="4521973"/>
            <a:ext cx="736600" cy="609600"/>
          </a:xfrm>
          <a:prstGeom prst="rect">
            <a:avLst/>
          </a:prstGeom>
        </p:spPr>
      </p:pic>
      <p:pic>
        <p:nvPicPr>
          <p:cNvPr id="33" name="Graphic 32">
            <a:extLst>
              <a:ext uri="{FF2B5EF4-FFF2-40B4-BE49-F238E27FC236}">
                <a16:creationId xmlns:a16="http://schemas.microsoft.com/office/drawing/2014/main" id="{FCB94E51-632E-B608-17AB-33C831A70D5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090410" y="4521973"/>
            <a:ext cx="609600" cy="609600"/>
          </a:xfrm>
          <a:prstGeom prst="rect">
            <a:avLst/>
          </a:prstGeom>
        </p:spPr>
      </p:pic>
      <p:pic>
        <p:nvPicPr>
          <p:cNvPr id="44" name="Graphic 43">
            <a:extLst>
              <a:ext uri="{FF2B5EF4-FFF2-40B4-BE49-F238E27FC236}">
                <a16:creationId xmlns:a16="http://schemas.microsoft.com/office/drawing/2014/main" id="{40F12BC8-FE37-B418-A1AD-03CCD04FC82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390797" y="1828881"/>
            <a:ext cx="774700" cy="609600"/>
          </a:xfrm>
          <a:prstGeom prst="rect">
            <a:avLst/>
          </a:prstGeom>
        </p:spPr>
      </p:pic>
      <p:pic>
        <p:nvPicPr>
          <p:cNvPr id="50" name="Graphic 49">
            <a:extLst>
              <a:ext uri="{FF2B5EF4-FFF2-40B4-BE49-F238E27FC236}">
                <a16:creationId xmlns:a16="http://schemas.microsoft.com/office/drawing/2014/main" id="{9A71D390-AF4B-FE67-A992-55DF58E6252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34788" y="1828881"/>
            <a:ext cx="609600" cy="609600"/>
          </a:xfrm>
          <a:prstGeom prst="rect">
            <a:avLst/>
          </a:prstGeom>
        </p:spPr>
      </p:pic>
      <p:pic>
        <p:nvPicPr>
          <p:cNvPr id="51" name="Graphic 50">
            <a:extLst>
              <a:ext uri="{FF2B5EF4-FFF2-40B4-BE49-F238E27FC236}">
                <a16:creationId xmlns:a16="http://schemas.microsoft.com/office/drawing/2014/main" id="{1277EF46-FE71-CAFD-4F3D-345B08D5530F}"/>
              </a:ext>
            </a:extLst>
          </p:cNvPr>
          <p:cNvPicPr>
            <a:picLocks noChangeAspect="1"/>
          </p:cNvPicPr>
          <p:nvPr/>
        </p:nvPicPr>
        <p:blipFill rotWithShape="1">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b="40015"/>
          <a:stretch/>
        </p:blipFill>
        <p:spPr>
          <a:xfrm>
            <a:off x="1789848" y="1901330"/>
            <a:ext cx="673100" cy="464703"/>
          </a:xfrm>
          <a:prstGeom prst="rect">
            <a:avLst/>
          </a:prstGeom>
        </p:spPr>
      </p:pic>
      <p:pic>
        <p:nvPicPr>
          <p:cNvPr id="54" name="Graphic 53">
            <a:extLst>
              <a:ext uri="{FF2B5EF4-FFF2-40B4-BE49-F238E27FC236}">
                <a16:creationId xmlns:a16="http://schemas.microsoft.com/office/drawing/2014/main" id="{7B2CF972-34A0-62BE-4FB3-7B98514C28C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108408" y="1949531"/>
            <a:ext cx="774700" cy="368300"/>
          </a:xfrm>
          <a:prstGeom prst="rect">
            <a:avLst/>
          </a:prstGeom>
        </p:spPr>
      </p:pic>
      <p:pic>
        <p:nvPicPr>
          <p:cNvPr id="60" name="Graphic 59">
            <a:extLst>
              <a:ext uri="{FF2B5EF4-FFF2-40B4-BE49-F238E27FC236}">
                <a16:creationId xmlns:a16="http://schemas.microsoft.com/office/drawing/2014/main" id="{19A279EF-496E-9A1F-DB78-965F9BD5EF6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528568" y="1828881"/>
            <a:ext cx="774700" cy="609600"/>
          </a:xfrm>
          <a:prstGeom prst="rect">
            <a:avLst/>
          </a:prstGeom>
        </p:spPr>
      </p:pic>
      <p:pic>
        <p:nvPicPr>
          <p:cNvPr id="74" name="Graphic 73">
            <a:extLst>
              <a:ext uri="{FF2B5EF4-FFF2-40B4-BE49-F238E27FC236}">
                <a16:creationId xmlns:a16="http://schemas.microsoft.com/office/drawing/2014/main" id="{BABC19E7-9567-BECE-CF90-6CBE17FE063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1124209" y="1765381"/>
            <a:ext cx="558800" cy="736600"/>
          </a:xfrm>
          <a:prstGeom prst="rect">
            <a:avLst/>
          </a:prstGeom>
        </p:spPr>
      </p:pic>
      <p:pic>
        <p:nvPicPr>
          <p:cNvPr id="76" name="Graphic 75">
            <a:extLst>
              <a:ext uri="{FF2B5EF4-FFF2-40B4-BE49-F238E27FC236}">
                <a16:creationId xmlns:a16="http://schemas.microsoft.com/office/drawing/2014/main" id="{1FCD4BEB-3A45-C2DE-28F4-4E306284A0D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8815720" y="3218472"/>
            <a:ext cx="774700" cy="609600"/>
          </a:xfrm>
          <a:prstGeom prst="rect">
            <a:avLst/>
          </a:prstGeom>
        </p:spPr>
      </p:pic>
      <p:pic>
        <p:nvPicPr>
          <p:cNvPr id="78" name="Graphic 77">
            <a:extLst>
              <a:ext uri="{FF2B5EF4-FFF2-40B4-BE49-F238E27FC236}">
                <a16:creationId xmlns:a16="http://schemas.microsoft.com/office/drawing/2014/main" id="{73DEA9A9-3D71-FA1B-140C-9A94E086A40B}"/>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727175" y="3218472"/>
            <a:ext cx="774700" cy="609600"/>
          </a:xfrm>
          <a:prstGeom prst="rect">
            <a:avLst/>
          </a:prstGeom>
        </p:spPr>
      </p:pic>
      <p:pic>
        <p:nvPicPr>
          <p:cNvPr id="80" name="Graphic 79">
            <a:extLst>
              <a:ext uri="{FF2B5EF4-FFF2-40B4-BE49-F238E27FC236}">
                <a16:creationId xmlns:a16="http://schemas.microsoft.com/office/drawing/2014/main" id="{0D0FFAA3-4238-2237-04D5-ACACCDB02AE8}"/>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3007860" y="3218472"/>
            <a:ext cx="774700" cy="609600"/>
          </a:xfrm>
          <a:prstGeom prst="rect">
            <a:avLst/>
          </a:prstGeom>
        </p:spPr>
      </p:pic>
      <p:pic>
        <p:nvPicPr>
          <p:cNvPr id="82" name="Graphic 81">
            <a:extLst>
              <a:ext uri="{FF2B5EF4-FFF2-40B4-BE49-F238E27FC236}">
                <a16:creationId xmlns:a16="http://schemas.microsoft.com/office/drawing/2014/main" id="{16F7A39D-31B9-F593-97C9-48A4A0D72BE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7787997" y="4521973"/>
            <a:ext cx="685800" cy="609600"/>
          </a:xfrm>
          <a:prstGeom prst="rect">
            <a:avLst/>
          </a:prstGeom>
        </p:spPr>
      </p:pic>
      <p:pic>
        <p:nvPicPr>
          <p:cNvPr id="86" name="Graphic 85">
            <a:extLst>
              <a:ext uri="{FF2B5EF4-FFF2-40B4-BE49-F238E27FC236}">
                <a16:creationId xmlns:a16="http://schemas.microsoft.com/office/drawing/2014/main" id="{BA170122-5C3B-1CA2-33C3-56C433FD58E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6704450" y="3218472"/>
            <a:ext cx="609600" cy="609600"/>
          </a:xfrm>
          <a:prstGeom prst="rect">
            <a:avLst/>
          </a:prstGeom>
        </p:spPr>
      </p:pic>
      <p:pic>
        <p:nvPicPr>
          <p:cNvPr id="92" name="Graphic 91">
            <a:extLst>
              <a:ext uri="{FF2B5EF4-FFF2-40B4-BE49-F238E27FC236}">
                <a16:creationId xmlns:a16="http://schemas.microsoft.com/office/drawing/2014/main" id="{1D6DEFE3-6221-B571-2E95-E045F58294B4}"/>
              </a:ext>
            </a:extLst>
          </p:cNvPr>
          <p:cNvPicPr>
            <a:picLocks noChangeAspect="1"/>
          </p:cNvPicPr>
          <p:nvPr/>
        </p:nvPicPr>
        <p:blipFill rotWithShape="1">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rcRect l="16150" r="16139"/>
          <a:stretch/>
        </p:blipFill>
        <p:spPr>
          <a:xfrm>
            <a:off x="10039938" y="3218472"/>
            <a:ext cx="524562" cy="609600"/>
          </a:xfrm>
          <a:prstGeom prst="rect">
            <a:avLst/>
          </a:prstGeom>
        </p:spPr>
      </p:pic>
      <p:pic>
        <p:nvPicPr>
          <p:cNvPr id="94" name="Graphic 93">
            <a:extLst>
              <a:ext uri="{FF2B5EF4-FFF2-40B4-BE49-F238E27FC236}">
                <a16:creationId xmlns:a16="http://schemas.microsoft.com/office/drawing/2014/main" id="{DDDBB51A-855C-3505-1BAE-9FF79E5452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1016259" y="3218472"/>
            <a:ext cx="774700" cy="609600"/>
          </a:xfrm>
          <a:prstGeom prst="rect">
            <a:avLst/>
          </a:prstGeom>
        </p:spPr>
      </p:pic>
      <p:pic>
        <p:nvPicPr>
          <p:cNvPr id="102" name="Graphic 101">
            <a:extLst>
              <a:ext uri="{FF2B5EF4-FFF2-40B4-BE49-F238E27FC236}">
                <a16:creationId xmlns:a16="http://schemas.microsoft.com/office/drawing/2014/main" id="{8BC50A1C-0D33-A720-46D1-C79751EA546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3111192" y="5799768"/>
            <a:ext cx="609600" cy="609600"/>
          </a:xfrm>
          <a:prstGeom prst="rect">
            <a:avLst/>
          </a:prstGeom>
        </p:spPr>
      </p:pic>
      <p:pic>
        <p:nvPicPr>
          <p:cNvPr id="106" name="Graphic 105">
            <a:extLst>
              <a:ext uri="{FF2B5EF4-FFF2-40B4-BE49-F238E27FC236}">
                <a16:creationId xmlns:a16="http://schemas.microsoft.com/office/drawing/2014/main" id="{60DD8064-D7B9-1C64-8582-65EC7D384BCE}"/>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7754977" y="3218472"/>
            <a:ext cx="609600" cy="609600"/>
          </a:xfrm>
          <a:prstGeom prst="rect">
            <a:avLst/>
          </a:prstGeom>
        </p:spPr>
      </p:pic>
      <p:pic>
        <p:nvPicPr>
          <p:cNvPr id="108" name="Graphic 107">
            <a:extLst>
              <a:ext uri="{FF2B5EF4-FFF2-40B4-BE49-F238E27FC236}">
                <a16:creationId xmlns:a16="http://schemas.microsoft.com/office/drawing/2014/main" id="{C0EE1FA8-58D1-7946-D94D-69BAF6E3ADF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6704450" y="4521973"/>
            <a:ext cx="609600" cy="609600"/>
          </a:xfrm>
          <a:prstGeom prst="rect">
            <a:avLst/>
          </a:prstGeom>
        </p:spPr>
      </p:pic>
      <p:sp>
        <p:nvSpPr>
          <p:cNvPr id="26" name="Text Placeholder 81">
            <a:extLst>
              <a:ext uri="{FF2B5EF4-FFF2-40B4-BE49-F238E27FC236}">
                <a16:creationId xmlns:a16="http://schemas.microsoft.com/office/drawing/2014/main" id="{EC3F4A5B-A496-2BC8-D74F-38B9D5407879}"/>
              </a:ext>
            </a:extLst>
          </p:cNvPr>
          <p:cNvSpPr txBox="1">
            <a:spLocks/>
          </p:cNvSpPr>
          <p:nvPr/>
        </p:nvSpPr>
        <p:spPr>
          <a:xfrm>
            <a:off x="555893" y="2822537"/>
            <a:ext cx="567390" cy="1384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Wifi</a:t>
            </a:r>
          </a:p>
        </p:txBody>
      </p:sp>
      <p:pic>
        <p:nvPicPr>
          <p:cNvPr id="28" name="Graphic 27">
            <a:extLst>
              <a:ext uri="{FF2B5EF4-FFF2-40B4-BE49-F238E27FC236}">
                <a16:creationId xmlns:a16="http://schemas.microsoft.com/office/drawing/2014/main" id="{86F7BF7E-D09F-021F-9347-5F28F794E69D}"/>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533264" y="3334445"/>
            <a:ext cx="612648" cy="377654"/>
          </a:xfrm>
          <a:prstGeom prst="rect">
            <a:avLst/>
          </a:prstGeom>
        </p:spPr>
      </p:pic>
      <p:grpSp>
        <p:nvGrpSpPr>
          <p:cNvPr id="67" name="Group 31">
            <a:extLst>
              <a:ext uri="{FF2B5EF4-FFF2-40B4-BE49-F238E27FC236}">
                <a16:creationId xmlns:a16="http://schemas.microsoft.com/office/drawing/2014/main" id="{A70E9778-B318-C2AE-2936-5EE326E3F173}"/>
              </a:ext>
            </a:extLst>
          </p:cNvPr>
          <p:cNvGrpSpPr>
            <a:grpSpLocks noChangeAspect="1"/>
          </p:cNvGrpSpPr>
          <p:nvPr/>
        </p:nvGrpSpPr>
        <p:grpSpPr bwMode="auto">
          <a:xfrm>
            <a:off x="11114828" y="5782383"/>
            <a:ext cx="619126" cy="619129"/>
            <a:chOff x="2341" y="1913"/>
            <a:chExt cx="390" cy="390"/>
          </a:xfrm>
        </p:grpSpPr>
        <p:sp>
          <p:nvSpPr>
            <p:cNvPr id="70" name="Freeform 32">
              <a:extLst>
                <a:ext uri="{FF2B5EF4-FFF2-40B4-BE49-F238E27FC236}">
                  <a16:creationId xmlns:a16="http://schemas.microsoft.com/office/drawing/2014/main" id="{D247215D-539C-D043-CB67-FD1FB9E04EAE}"/>
                </a:ext>
              </a:extLst>
            </p:cNvPr>
            <p:cNvSpPr>
              <a:spLocks noEditPoints="1"/>
            </p:cNvSpPr>
            <p:nvPr/>
          </p:nvSpPr>
          <p:spPr bwMode="auto">
            <a:xfrm>
              <a:off x="2473" y="2046"/>
              <a:ext cx="124" cy="125"/>
            </a:xfrm>
            <a:custGeom>
              <a:avLst/>
              <a:gdLst>
                <a:gd name="T0" fmla="*/ 161 w 271"/>
                <a:gd name="T1" fmla="*/ 180 h 273"/>
                <a:gd name="T2" fmla="*/ 161 w 271"/>
                <a:gd name="T3" fmla="*/ 180 h 273"/>
                <a:gd name="T4" fmla="*/ 129 w 271"/>
                <a:gd name="T5" fmla="*/ 187 h 273"/>
                <a:gd name="T6" fmla="*/ 99 w 271"/>
                <a:gd name="T7" fmla="*/ 172 h 273"/>
                <a:gd name="T8" fmla="*/ 84 w 271"/>
                <a:gd name="T9" fmla="*/ 142 h 273"/>
                <a:gd name="T10" fmla="*/ 91 w 271"/>
                <a:gd name="T11" fmla="*/ 110 h 273"/>
                <a:gd name="T12" fmla="*/ 116 w 271"/>
                <a:gd name="T13" fmla="*/ 88 h 273"/>
                <a:gd name="T14" fmla="*/ 149 w 271"/>
                <a:gd name="T15" fmla="*/ 86 h 273"/>
                <a:gd name="T16" fmla="*/ 176 w 271"/>
                <a:gd name="T17" fmla="*/ 105 h 273"/>
                <a:gd name="T18" fmla="*/ 187 w 271"/>
                <a:gd name="T19" fmla="*/ 136 h 273"/>
                <a:gd name="T20" fmla="*/ 180 w 271"/>
                <a:gd name="T21" fmla="*/ 161 h 273"/>
                <a:gd name="T22" fmla="*/ 161 w 271"/>
                <a:gd name="T23" fmla="*/ 180 h 273"/>
                <a:gd name="T24" fmla="*/ 161 w 271"/>
                <a:gd name="T25" fmla="*/ 180 h 273"/>
                <a:gd name="T26" fmla="*/ 161 w 271"/>
                <a:gd name="T27" fmla="*/ 180 h 273"/>
                <a:gd name="T28" fmla="*/ 246 w 271"/>
                <a:gd name="T29" fmla="*/ 229 h 273"/>
                <a:gd name="T30" fmla="*/ 246 w 271"/>
                <a:gd name="T31" fmla="*/ 229 h 273"/>
                <a:gd name="T32" fmla="*/ 271 w 271"/>
                <a:gd name="T33" fmla="*/ 185 h 273"/>
                <a:gd name="T34" fmla="*/ 239 w 271"/>
                <a:gd name="T35" fmla="*/ 158 h 273"/>
                <a:gd name="T36" fmla="*/ 239 w 271"/>
                <a:gd name="T37" fmla="*/ 113 h 273"/>
                <a:gd name="T38" fmla="*/ 271 w 271"/>
                <a:gd name="T39" fmla="*/ 86 h 273"/>
                <a:gd name="T40" fmla="*/ 246 w 271"/>
                <a:gd name="T41" fmla="*/ 42 h 273"/>
                <a:gd name="T42" fmla="*/ 207 w 271"/>
                <a:gd name="T43" fmla="*/ 57 h 273"/>
                <a:gd name="T44" fmla="*/ 167 w 271"/>
                <a:gd name="T45" fmla="*/ 35 h 273"/>
                <a:gd name="T46" fmla="*/ 161 w 271"/>
                <a:gd name="T47" fmla="*/ 0 h 273"/>
                <a:gd name="T48" fmla="*/ 110 w 271"/>
                <a:gd name="T49" fmla="*/ 0 h 273"/>
                <a:gd name="T50" fmla="*/ 104 w 271"/>
                <a:gd name="T51" fmla="*/ 35 h 273"/>
                <a:gd name="T52" fmla="*/ 64 w 271"/>
                <a:gd name="T53" fmla="*/ 58 h 273"/>
                <a:gd name="T54" fmla="*/ 27 w 271"/>
                <a:gd name="T55" fmla="*/ 45 h 273"/>
                <a:gd name="T56" fmla="*/ 1 w 271"/>
                <a:gd name="T57" fmla="*/ 89 h 273"/>
                <a:gd name="T58" fmla="*/ 32 w 271"/>
                <a:gd name="T59" fmla="*/ 114 h 273"/>
                <a:gd name="T60" fmla="*/ 32 w 271"/>
                <a:gd name="T61" fmla="*/ 160 h 273"/>
                <a:gd name="T62" fmla="*/ 0 w 271"/>
                <a:gd name="T63" fmla="*/ 186 h 273"/>
                <a:gd name="T64" fmla="*/ 26 w 271"/>
                <a:gd name="T65" fmla="*/ 231 h 273"/>
                <a:gd name="T66" fmla="*/ 65 w 271"/>
                <a:gd name="T67" fmla="*/ 216 h 273"/>
                <a:gd name="T68" fmla="*/ 104 w 271"/>
                <a:gd name="T69" fmla="*/ 238 h 273"/>
                <a:gd name="T70" fmla="*/ 110 w 271"/>
                <a:gd name="T71" fmla="*/ 273 h 273"/>
                <a:gd name="T72" fmla="*/ 161 w 271"/>
                <a:gd name="T73" fmla="*/ 273 h 273"/>
                <a:gd name="T74" fmla="*/ 167 w 271"/>
                <a:gd name="T75" fmla="*/ 238 h 273"/>
                <a:gd name="T76" fmla="*/ 207 w 271"/>
                <a:gd name="T77" fmla="*/ 215 h 273"/>
                <a:gd name="T78" fmla="*/ 246 w 271"/>
                <a:gd name="T79" fmla="*/ 22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273">
                  <a:moveTo>
                    <a:pt x="161" y="180"/>
                  </a:moveTo>
                  <a:lnTo>
                    <a:pt x="161" y="180"/>
                  </a:lnTo>
                  <a:cubicBezTo>
                    <a:pt x="151" y="186"/>
                    <a:pt x="140" y="188"/>
                    <a:pt x="129" y="187"/>
                  </a:cubicBezTo>
                  <a:cubicBezTo>
                    <a:pt x="117" y="185"/>
                    <a:pt x="107" y="180"/>
                    <a:pt x="99" y="172"/>
                  </a:cubicBezTo>
                  <a:cubicBezTo>
                    <a:pt x="91" y="164"/>
                    <a:pt x="86" y="154"/>
                    <a:pt x="84" y="142"/>
                  </a:cubicBezTo>
                  <a:cubicBezTo>
                    <a:pt x="83" y="131"/>
                    <a:pt x="85" y="120"/>
                    <a:pt x="91" y="110"/>
                  </a:cubicBezTo>
                  <a:cubicBezTo>
                    <a:pt x="97" y="100"/>
                    <a:pt x="105" y="93"/>
                    <a:pt x="116" y="88"/>
                  </a:cubicBezTo>
                  <a:cubicBezTo>
                    <a:pt x="126" y="84"/>
                    <a:pt x="138" y="83"/>
                    <a:pt x="149" y="86"/>
                  </a:cubicBezTo>
                  <a:cubicBezTo>
                    <a:pt x="159" y="89"/>
                    <a:pt x="169" y="96"/>
                    <a:pt x="176" y="105"/>
                  </a:cubicBezTo>
                  <a:cubicBezTo>
                    <a:pt x="183" y="113"/>
                    <a:pt x="187" y="124"/>
                    <a:pt x="187" y="136"/>
                  </a:cubicBezTo>
                  <a:cubicBezTo>
                    <a:pt x="187" y="145"/>
                    <a:pt x="184" y="154"/>
                    <a:pt x="180" y="161"/>
                  </a:cubicBezTo>
                  <a:cubicBezTo>
                    <a:pt x="175" y="169"/>
                    <a:pt x="169" y="176"/>
                    <a:pt x="161" y="180"/>
                  </a:cubicBezTo>
                  <a:lnTo>
                    <a:pt x="161" y="180"/>
                  </a:lnTo>
                  <a:lnTo>
                    <a:pt x="161" y="180"/>
                  </a:lnTo>
                  <a:close/>
                  <a:moveTo>
                    <a:pt x="246" y="229"/>
                  </a:moveTo>
                  <a:lnTo>
                    <a:pt x="246" y="229"/>
                  </a:lnTo>
                  <a:lnTo>
                    <a:pt x="271" y="185"/>
                  </a:lnTo>
                  <a:lnTo>
                    <a:pt x="239" y="158"/>
                  </a:lnTo>
                  <a:lnTo>
                    <a:pt x="239" y="113"/>
                  </a:lnTo>
                  <a:lnTo>
                    <a:pt x="271" y="86"/>
                  </a:lnTo>
                  <a:lnTo>
                    <a:pt x="246" y="42"/>
                  </a:lnTo>
                  <a:lnTo>
                    <a:pt x="207" y="57"/>
                  </a:lnTo>
                  <a:lnTo>
                    <a:pt x="167" y="35"/>
                  </a:lnTo>
                  <a:lnTo>
                    <a:pt x="161" y="0"/>
                  </a:lnTo>
                  <a:lnTo>
                    <a:pt x="110" y="0"/>
                  </a:lnTo>
                  <a:lnTo>
                    <a:pt x="104" y="35"/>
                  </a:lnTo>
                  <a:lnTo>
                    <a:pt x="64" y="58"/>
                  </a:lnTo>
                  <a:lnTo>
                    <a:pt x="27" y="45"/>
                  </a:lnTo>
                  <a:lnTo>
                    <a:pt x="1" y="89"/>
                  </a:lnTo>
                  <a:lnTo>
                    <a:pt x="32" y="114"/>
                  </a:lnTo>
                  <a:lnTo>
                    <a:pt x="32" y="160"/>
                  </a:lnTo>
                  <a:lnTo>
                    <a:pt x="0" y="186"/>
                  </a:lnTo>
                  <a:lnTo>
                    <a:pt x="26" y="231"/>
                  </a:lnTo>
                  <a:lnTo>
                    <a:pt x="65" y="216"/>
                  </a:lnTo>
                  <a:lnTo>
                    <a:pt x="104" y="238"/>
                  </a:lnTo>
                  <a:lnTo>
                    <a:pt x="110" y="273"/>
                  </a:lnTo>
                  <a:lnTo>
                    <a:pt x="161" y="273"/>
                  </a:lnTo>
                  <a:lnTo>
                    <a:pt x="167" y="238"/>
                  </a:lnTo>
                  <a:lnTo>
                    <a:pt x="207" y="215"/>
                  </a:lnTo>
                  <a:lnTo>
                    <a:pt x="246" y="229"/>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33">
              <a:extLst>
                <a:ext uri="{FF2B5EF4-FFF2-40B4-BE49-F238E27FC236}">
                  <a16:creationId xmlns:a16="http://schemas.microsoft.com/office/drawing/2014/main" id="{D596702E-258E-E9A1-E09A-F926ECE867DF}"/>
                </a:ext>
              </a:extLst>
            </p:cNvPr>
            <p:cNvSpPr>
              <a:spLocks/>
            </p:cNvSpPr>
            <p:nvPr/>
          </p:nvSpPr>
          <p:spPr bwMode="auto">
            <a:xfrm>
              <a:off x="2546" y="1991"/>
              <a:ext cx="32" cy="23"/>
            </a:xfrm>
            <a:custGeom>
              <a:avLst/>
              <a:gdLst>
                <a:gd name="T0" fmla="*/ 0 w 70"/>
                <a:gd name="T1" fmla="*/ 0 h 49"/>
                <a:gd name="T2" fmla="*/ 0 w 70"/>
                <a:gd name="T3" fmla="*/ 0 h 49"/>
                <a:gd name="T4" fmla="*/ 70 w 70"/>
                <a:gd name="T5" fmla="*/ 18 h 49"/>
                <a:gd name="T6" fmla="*/ 57 w 70"/>
                <a:gd name="T7" fmla="*/ 49 h 49"/>
                <a:gd name="T8" fmla="*/ 3 w 70"/>
                <a:gd name="T9" fmla="*/ 35 h 49"/>
              </a:gdLst>
              <a:ahLst/>
              <a:cxnLst>
                <a:cxn ang="0">
                  <a:pos x="T0" y="T1"/>
                </a:cxn>
                <a:cxn ang="0">
                  <a:pos x="T2" y="T3"/>
                </a:cxn>
                <a:cxn ang="0">
                  <a:pos x="T4" y="T5"/>
                </a:cxn>
                <a:cxn ang="0">
                  <a:pos x="T6" y="T7"/>
                </a:cxn>
                <a:cxn ang="0">
                  <a:pos x="T8" y="T9"/>
                </a:cxn>
              </a:cxnLst>
              <a:rect l="0" t="0" r="r" b="b"/>
              <a:pathLst>
                <a:path w="70" h="49">
                  <a:moveTo>
                    <a:pt x="0" y="0"/>
                  </a:moveTo>
                  <a:lnTo>
                    <a:pt x="0" y="0"/>
                  </a:lnTo>
                  <a:cubicBezTo>
                    <a:pt x="18" y="1"/>
                    <a:pt x="52" y="10"/>
                    <a:pt x="70" y="18"/>
                  </a:cubicBezTo>
                  <a:lnTo>
                    <a:pt x="57" y="49"/>
                  </a:lnTo>
                  <a:cubicBezTo>
                    <a:pt x="46" y="44"/>
                    <a:pt x="15" y="36"/>
                    <a:pt x="3" y="35"/>
                  </a:cubicBezTo>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34">
              <a:extLst>
                <a:ext uri="{FF2B5EF4-FFF2-40B4-BE49-F238E27FC236}">
                  <a16:creationId xmlns:a16="http://schemas.microsoft.com/office/drawing/2014/main" id="{DC0680A1-9556-14B2-1CA5-D37E6AF77E0D}"/>
                </a:ext>
              </a:extLst>
            </p:cNvPr>
            <p:cNvSpPr>
              <a:spLocks/>
            </p:cNvSpPr>
            <p:nvPr/>
          </p:nvSpPr>
          <p:spPr bwMode="auto">
            <a:xfrm>
              <a:off x="2420" y="1991"/>
              <a:ext cx="105" cy="147"/>
            </a:xfrm>
            <a:custGeom>
              <a:avLst/>
              <a:gdLst>
                <a:gd name="T0" fmla="*/ 10 w 230"/>
                <a:gd name="T1" fmla="*/ 320 h 320"/>
                <a:gd name="T2" fmla="*/ 10 w 230"/>
                <a:gd name="T3" fmla="*/ 320 h 320"/>
                <a:gd name="T4" fmla="*/ 0 w 230"/>
                <a:gd name="T5" fmla="*/ 250 h 320"/>
                <a:gd name="T6" fmla="*/ 224 w 230"/>
                <a:gd name="T7" fmla="*/ 0 h 320"/>
                <a:gd name="T8" fmla="*/ 230 w 230"/>
                <a:gd name="T9" fmla="*/ 0 h 320"/>
                <a:gd name="T10" fmla="*/ 228 w 230"/>
                <a:gd name="T11" fmla="*/ 25 h 320"/>
                <a:gd name="T12" fmla="*/ 227 w 230"/>
                <a:gd name="T13" fmla="*/ 35 h 320"/>
                <a:gd name="T14" fmla="*/ 35 w 230"/>
                <a:gd name="T15" fmla="*/ 250 h 320"/>
                <a:gd name="T16" fmla="*/ 43 w 230"/>
                <a:gd name="T17" fmla="*/ 310 h 320"/>
                <a:gd name="T18" fmla="*/ 10 w 230"/>
                <a:gd name="T19"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320">
                  <a:moveTo>
                    <a:pt x="10" y="320"/>
                  </a:moveTo>
                  <a:lnTo>
                    <a:pt x="10" y="320"/>
                  </a:lnTo>
                  <a:cubicBezTo>
                    <a:pt x="4" y="297"/>
                    <a:pt x="0" y="274"/>
                    <a:pt x="0" y="250"/>
                  </a:cubicBezTo>
                  <a:cubicBezTo>
                    <a:pt x="0" y="122"/>
                    <a:pt x="97" y="14"/>
                    <a:pt x="224" y="0"/>
                  </a:cubicBezTo>
                  <a:cubicBezTo>
                    <a:pt x="225" y="0"/>
                    <a:pt x="230" y="0"/>
                    <a:pt x="230" y="0"/>
                  </a:cubicBezTo>
                  <a:lnTo>
                    <a:pt x="228" y="25"/>
                  </a:lnTo>
                  <a:cubicBezTo>
                    <a:pt x="228" y="25"/>
                    <a:pt x="227" y="32"/>
                    <a:pt x="227" y="35"/>
                  </a:cubicBezTo>
                  <a:cubicBezTo>
                    <a:pt x="117" y="47"/>
                    <a:pt x="35" y="140"/>
                    <a:pt x="35" y="250"/>
                  </a:cubicBezTo>
                  <a:cubicBezTo>
                    <a:pt x="35" y="271"/>
                    <a:pt x="38" y="291"/>
                    <a:pt x="43" y="310"/>
                  </a:cubicBezTo>
                  <a:lnTo>
                    <a:pt x="10" y="320"/>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35">
              <a:extLst>
                <a:ext uri="{FF2B5EF4-FFF2-40B4-BE49-F238E27FC236}">
                  <a16:creationId xmlns:a16="http://schemas.microsoft.com/office/drawing/2014/main" id="{24F31EFE-2A80-D149-2D41-8E4334665E75}"/>
                </a:ext>
              </a:extLst>
            </p:cNvPr>
            <p:cNvSpPr>
              <a:spLocks/>
            </p:cNvSpPr>
            <p:nvPr/>
          </p:nvSpPr>
          <p:spPr bwMode="auto">
            <a:xfrm>
              <a:off x="2390" y="1950"/>
              <a:ext cx="43" cy="40"/>
            </a:xfrm>
            <a:custGeom>
              <a:avLst/>
              <a:gdLst>
                <a:gd name="T0" fmla="*/ 93 w 93"/>
                <a:gd name="T1" fmla="*/ 33 h 89"/>
                <a:gd name="T2" fmla="*/ 93 w 93"/>
                <a:gd name="T3" fmla="*/ 33 h 89"/>
                <a:gd name="T4" fmla="*/ 69 w 93"/>
                <a:gd name="T5" fmla="*/ 0 h 89"/>
                <a:gd name="T6" fmla="*/ 53 w 93"/>
                <a:gd name="T7" fmla="*/ 12 h 89"/>
                <a:gd name="T8" fmla="*/ 53 w 93"/>
                <a:gd name="T9" fmla="*/ 12 h 89"/>
                <a:gd name="T10" fmla="*/ 53 w 93"/>
                <a:gd name="T11" fmla="*/ 12 h 89"/>
                <a:gd name="T12" fmla="*/ 53 w 93"/>
                <a:gd name="T13" fmla="*/ 12 h 89"/>
                <a:gd name="T14" fmla="*/ 53 w 93"/>
                <a:gd name="T15" fmla="*/ 12 h 89"/>
                <a:gd name="T16" fmla="*/ 53 w 93"/>
                <a:gd name="T17" fmla="*/ 12 h 89"/>
                <a:gd name="T18" fmla="*/ 53 w 93"/>
                <a:gd name="T19" fmla="*/ 12 h 89"/>
                <a:gd name="T20" fmla="*/ 53 w 93"/>
                <a:gd name="T21" fmla="*/ 12 h 89"/>
                <a:gd name="T22" fmla="*/ 52 w 93"/>
                <a:gd name="T23" fmla="*/ 13 h 89"/>
                <a:gd name="T24" fmla="*/ 52 w 93"/>
                <a:gd name="T25" fmla="*/ 13 h 89"/>
                <a:gd name="T26" fmla="*/ 52 w 93"/>
                <a:gd name="T27" fmla="*/ 13 h 89"/>
                <a:gd name="T28" fmla="*/ 52 w 93"/>
                <a:gd name="T29" fmla="*/ 13 h 89"/>
                <a:gd name="T30" fmla="*/ 52 w 93"/>
                <a:gd name="T31" fmla="*/ 13 h 89"/>
                <a:gd name="T32" fmla="*/ 52 w 93"/>
                <a:gd name="T33" fmla="*/ 13 h 89"/>
                <a:gd name="T34" fmla="*/ 52 w 93"/>
                <a:gd name="T35" fmla="*/ 13 h 89"/>
                <a:gd name="T36" fmla="*/ 52 w 93"/>
                <a:gd name="T37" fmla="*/ 13 h 89"/>
                <a:gd name="T38" fmla="*/ 52 w 93"/>
                <a:gd name="T39" fmla="*/ 13 h 89"/>
                <a:gd name="T40" fmla="*/ 52 w 93"/>
                <a:gd name="T41" fmla="*/ 13 h 89"/>
                <a:gd name="T42" fmla="*/ 52 w 93"/>
                <a:gd name="T43" fmla="*/ 13 h 89"/>
                <a:gd name="T44" fmla="*/ 52 w 93"/>
                <a:gd name="T45" fmla="*/ 13 h 89"/>
                <a:gd name="T46" fmla="*/ 52 w 93"/>
                <a:gd name="T47" fmla="*/ 13 h 89"/>
                <a:gd name="T48" fmla="*/ 52 w 93"/>
                <a:gd name="T49" fmla="*/ 13 h 89"/>
                <a:gd name="T50" fmla="*/ 51 w 93"/>
                <a:gd name="T51" fmla="*/ 14 h 89"/>
                <a:gd name="T52" fmla="*/ 51 w 93"/>
                <a:gd name="T53" fmla="*/ 14 h 89"/>
                <a:gd name="T54" fmla="*/ 51 w 93"/>
                <a:gd name="T55" fmla="*/ 14 h 89"/>
                <a:gd name="T56" fmla="*/ 51 w 93"/>
                <a:gd name="T57" fmla="*/ 14 h 89"/>
                <a:gd name="T58" fmla="*/ 51 w 93"/>
                <a:gd name="T59" fmla="*/ 14 h 89"/>
                <a:gd name="T60" fmla="*/ 51 w 93"/>
                <a:gd name="T61" fmla="*/ 14 h 89"/>
                <a:gd name="T62" fmla="*/ 51 w 93"/>
                <a:gd name="T63" fmla="*/ 14 h 89"/>
                <a:gd name="T64" fmla="*/ 51 w 93"/>
                <a:gd name="T65" fmla="*/ 14 h 89"/>
                <a:gd name="T66" fmla="*/ 51 w 93"/>
                <a:gd name="T67" fmla="*/ 14 h 89"/>
                <a:gd name="T68" fmla="*/ 51 w 93"/>
                <a:gd name="T69" fmla="*/ 14 h 89"/>
                <a:gd name="T70" fmla="*/ 51 w 93"/>
                <a:gd name="T71" fmla="*/ 14 h 89"/>
                <a:gd name="T72" fmla="*/ 51 w 93"/>
                <a:gd name="T73" fmla="*/ 14 h 89"/>
                <a:gd name="T74" fmla="*/ 50 w 93"/>
                <a:gd name="T75" fmla="*/ 14 h 89"/>
                <a:gd name="T76" fmla="*/ 50 w 93"/>
                <a:gd name="T77" fmla="*/ 14 h 89"/>
                <a:gd name="T78" fmla="*/ 50 w 93"/>
                <a:gd name="T79" fmla="*/ 15 h 89"/>
                <a:gd name="T80" fmla="*/ 50 w 93"/>
                <a:gd name="T81" fmla="*/ 15 h 89"/>
                <a:gd name="T82" fmla="*/ 50 w 93"/>
                <a:gd name="T83" fmla="*/ 15 h 89"/>
                <a:gd name="T84" fmla="*/ 50 w 93"/>
                <a:gd name="T85" fmla="*/ 15 h 89"/>
                <a:gd name="T86" fmla="*/ 50 w 93"/>
                <a:gd name="T87" fmla="*/ 15 h 89"/>
                <a:gd name="T88" fmla="*/ 50 w 93"/>
                <a:gd name="T89" fmla="*/ 15 h 89"/>
                <a:gd name="T90" fmla="*/ 50 w 93"/>
                <a:gd name="T91" fmla="*/ 15 h 89"/>
                <a:gd name="T92" fmla="*/ 49 w 93"/>
                <a:gd name="T93" fmla="*/ 15 h 89"/>
                <a:gd name="T94" fmla="*/ 49 w 93"/>
                <a:gd name="T95" fmla="*/ 15 h 89"/>
                <a:gd name="T96" fmla="*/ 49 w 93"/>
                <a:gd name="T97" fmla="*/ 15 h 89"/>
                <a:gd name="T98" fmla="*/ 49 w 93"/>
                <a:gd name="T99" fmla="*/ 16 h 89"/>
                <a:gd name="T100" fmla="*/ 0 w 93"/>
                <a:gd name="T101" fmla="*/ 63 h 89"/>
                <a:gd name="T102" fmla="*/ 30 w 93"/>
                <a:gd name="T103" fmla="*/ 89 h 89"/>
                <a:gd name="T104" fmla="*/ 93 w 93"/>
                <a:gd name="T105" fmla="*/ 3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3" h="89">
                  <a:moveTo>
                    <a:pt x="93" y="33"/>
                  </a:moveTo>
                  <a:lnTo>
                    <a:pt x="93" y="33"/>
                  </a:lnTo>
                  <a:lnTo>
                    <a:pt x="69" y="0"/>
                  </a:lnTo>
                  <a:cubicBezTo>
                    <a:pt x="64" y="4"/>
                    <a:pt x="59" y="8"/>
                    <a:pt x="53" y="12"/>
                  </a:cubicBezTo>
                  <a:cubicBezTo>
                    <a:pt x="53" y="12"/>
                    <a:pt x="53" y="12"/>
                    <a:pt x="53" y="12"/>
                  </a:cubicBezTo>
                  <a:cubicBezTo>
                    <a:pt x="53" y="12"/>
                    <a:pt x="53" y="12"/>
                    <a:pt x="53" y="12"/>
                  </a:cubicBezTo>
                  <a:lnTo>
                    <a:pt x="53" y="12"/>
                  </a:lnTo>
                  <a:cubicBezTo>
                    <a:pt x="53" y="12"/>
                    <a:pt x="53" y="12"/>
                    <a:pt x="53" y="12"/>
                  </a:cubicBezTo>
                  <a:cubicBezTo>
                    <a:pt x="53" y="12"/>
                    <a:pt x="53" y="12"/>
                    <a:pt x="53" y="12"/>
                  </a:cubicBezTo>
                  <a:cubicBezTo>
                    <a:pt x="53" y="12"/>
                    <a:pt x="53" y="12"/>
                    <a:pt x="53" y="12"/>
                  </a:cubicBezTo>
                  <a:cubicBezTo>
                    <a:pt x="53" y="12"/>
                    <a:pt x="53" y="12"/>
                    <a:pt x="53" y="12"/>
                  </a:cubicBezTo>
                  <a:cubicBezTo>
                    <a:pt x="53" y="13"/>
                    <a:pt x="53" y="13"/>
                    <a:pt x="52" y="13"/>
                  </a:cubicBezTo>
                  <a:lnTo>
                    <a:pt x="52" y="13"/>
                  </a:ln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4"/>
                    <a:pt x="52"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0" y="14"/>
                    <a:pt x="50" y="14"/>
                  </a:cubicBezTo>
                  <a:cubicBezTo>
                    <a:pt x="50" y="14"/>
                    <a:pt x="50" y="14"/>
                    <a:pt x="50" y="14"/>
                  </a:cubicBezTo>
                  <a:cubicBezTo>
                    <a:pt x="50" y="15"/>
                    <a:pt x="50" y="15"/>
                    <a:pt x="50" y="15"/>
                  </a:cubicBezTo>
                  <a:cubicBezTo>
                    <a:pt x="50" y="15"/>
                    <a:pt x="50" y="15"/>
                    <a:pt x="50" y="15"/>
                  </a:cubicBezTo>
                  <a:cubicBezTo>
                    <a:pt x="50" y="15"/>
                    <a:pt x="50" y="15"/>
                    <a:pt x="50" y="15"/>
                  </a:cubicBezTo>
                  <a:cubicBezTo>
                    <a:pt x="50" y="15"/>
                    <a:pt x="50" y="15"/>
                    <a:pt x="50" y="15"/>
                  </a:cubicBezTo>
                  <a:cubicBezTo>
                    <a:pt x="50" y="15"/>
                    <a:pt x="50" y="15"/>
                    <a:pt x="50" y="15"/>
                  </a:cubicBezTo>
                  <a:cubicBezTo>
                    <a:pt x="50" y="15"/>
                    <a:pt x="50" y="15"/>
                    <a:pt x="50" y="15"/>
                  </a:cubicBezTo>
                  <a:cubicBezTo>
                    <a:pt x="50" y="15"/>
                    <a:pt x="50" y="15"/>
                    <a:pt x="50" y="15"/>
                  </a:cubicBezTo>
                  <a:cubicBezTo>
                    <a:pt x="50" y="15"/>
                    <a:pt x="49" y="15"/>
                    <a:pt x="49" y="15"/>
                  </a:cubicBezTo>
                  <a:cubicBezTo>
                    <a:pt x="49" y="15"/>
                    <a:pt x="49" y="15"/>
                    <a:pt x="49" y="15"/>
                  </a:cubicBezTo>
                  <a:cubicBezTo>
                    <a:pt x="49" y="15"/>
                    <a:pt x="49" y="15"/>
                    <a:pt x="49" y="15"/>
                  </a:cubicBezTo>
                  <a:cubicBezTo>
                    <a:pt x="49" y="16"/>
                    <a:pt x="49" y="16"/>
                    <a:pt x="49" y="16"/>
                  </a:cubicBezTo>
                  <a:cubicBezTo>
                    <a:pt x="31" y="30"/>
                    <a:pt x="15" y="46"/>
                    <a:pt x="0" y="63"/>
                  </a:cubicBezTo>
                  <a:lnTo>
                    <a:pt x="30" y="89"/>
                  </a:lnTo>
                  <a:cubicBezTo>
                    <a:pt x="49" y="68"/>
                    <a:pt x="70" y="49"/>
                    <a:pt x="93" y="33"/>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36">
              <a:extLst>
                <a:ext uri="{FF2B5EF4-FFF2-40B4-BE49-F238E27FC236}">
                  <a16:creationId xmlns:a16="http://schemas.microsoft.com/office/drawing/2014/main" id="{D9287235-0211-E37C-D3B1-C7B950BFC88F}"/>
                </a:ext>
              </a:extLst>
            </p:cNvPr>
            <p:cNvSpPr>
              <a:spLocks/>
            </p:cNvSpPr>
            <p:nvPr/>
          </p:nvSpPr>
          <p:spPr bwMode="auto">
            <a:xfrm>
              <a:off x="2437" y="1922"/>
              <a:ext cx="44" cy="33"/>
            </a:xfrm>
            <a:custGeom>
              <a:avLst/>
              <a:gdLst>
                <a:gd name="T0" fmla="*/ 97 w 97"/>
                <a:gd name="T1" fmla="*/ 38 h 73"/>
                <a:gd name="T2" fmla="*/ 66 w 97"/>
                <a:gd name="T3" fmla="*/ 6 h 73"/>
                <a:gd name="T4" fmla="*/ 66 w 97"/>
                <a:gd name="T5" fmla="*/ 6 h 73"/>
                <a:gd name="T6" fmla="*/ 66 w 97"/>
                <a:gd name="T7" fmla="*/ 6 h 73"/>
                <a:gd name="T8" fmla="*/ 65 w 97"/>
                <a:gd name="T9" fmla="*/ 7 h 73"/>
                <a:gd name="T10" fmla="*/ 65 w 97"/>
                <a:gd name="T11" fmla="*/ 7 h 73"/>
                <a:gd name="T12" fmla="*/ 65 w 97"/>
                <a:gd name="T13" fmla="*/ 7 h 73"/>
                <a:gd name="T14" fmla="*/ 65 w 97"/>
                <a:gd name="T15" fmla="*/ 7 h 73"/>
                <a:gd name="T16" fmla="*/ 65 w 97"/>
                <a:gd name="T17" fmla="*/ 7 h 73"/>
                <a:gd name="T18" fmla="*/ 64 w 97"/>
                <a:gd name="T19" fmla="*/ 7 h 73"/>
                <a:gd name="T20" fmla="*/ 64 w 97"/>
                <a:gd name="T21" fmla="*/ 7 h 73"/>
                <a:gd name="T22" fmla="*/ 64 w 97"/>
                <a:gd name="T23" fmla="*/ 7 h 73"/>
                <a:gd name="T24" fmla="*/ 64 w 97"/>
                <a:gd name="T25" fmla="*/ 7 h 73"/>
                <a:gd name="T26" fmla="*/ 64 w 97"/>
                <a:gd name="T27" fmla="*/ 7 h 73"/>
                <a:gd name="T28" fmla="*/ 63 w 97"/>
                <a:gd name="T29" fmla="*/ 7 h 73"/>
                <a:gd name="T30" fmla="*/ 63 w 97"/>
                <a:gd name="T31" fmla="*/ 7 h 73"/>
                <a:gd name="T32" fmla="*/ 63 w 97"/>
                <a:gd name="T33" fmla="*/ 7 h 73"/>
                <a:gd name="T34" fmla="*/ 63 w 97"/>
                <a:gd name="T35" fmla="*/ 8 h 73"/>
                <a:gd name="T36" fmla="*/ 63 w 97"/>
                <a:gd name="T37" fmla="*/ 8 h 73"/>
                <a:gd name="T38" fmla="*/ 63 w 97"/>
                <a:gd name="T39" fmla="*/ 8 h 73"/>
                <a:gd name="T40" fmla="*/ 62 w 97"/>
                <a:gd name="T41" fmla="*/ 8 h 73"/>
                <a:gd name="T42" fmla="*/ 62 w 97"/>
                <a:gd name="T43" fmla="*/ 8 h 73"/>
                <a:gd name="T44" fmla="*/ 62 w 97"/>
                <a:gd name="T45" fmla="*/ 8 h 73"/>
                <a:gd name="T46" fmla="*/ 62 w 97"/>
                <a:gd name="T47" fmla="*/ 8 h 73"/>
                <a:gd name="T48" fmla="*/ 62 w 97"/>
                <a:gd name="T49" fmla="*/ 8 h 73"/>
                <a:gd name="T50" fmla="*/ 61 w 97"/>
                <a:gd name="T51" fmla="*/ 8 h 73"/>
                <a:gd name="T52" fmla="*/ 61 w 97"/>
                <a:gd name="T53" fmla="*/ 8 h 73"/>
                <a:gd name="T54" fmla="*/ 61 w 97"/>
                <a:gd name="T55" fmla="*/ 8 h 73"/>
                <a:gd name="T56" fmla="*/ 61 w 97"/>
                <a:gd name="T57" fmla="*/ 8 h 73"/>
                <a:gd name="T58" fmla="*/ 61 w 97"/>
                <a:gd name="T59" fmla="*/ 8 h 73"/>
                <a:gd name="T60" fmla="*/ 21 w 97"/>
                <a:gd name="T61" fmla="*/ 26 h 73"/>
                <a:gd name="T62" fmla="*/ 21 w 97"/>
                <a:gd name="T63" fmla="*/ 26 h 73"/>
                <a:gd name="T64" fmla="*/ 21 w 97"/>
                <a:gd name="T65" fmla="*/ 26 h 73"/>
                <a:gd name="T66" fmla="*/ 20 w 97"/>
                <a:gd name="T67" fmla="*/ 27 h 73"/>
                <a:gd name="T68" fmla="*/ 20 w 97"/>
                <a:gd name="T69" fmla="*/ 27 h 73"/>
                <a:gd name="T70" fmla="*/ 20 w 97"/>
                <a:gd name="T71" fmla="*/ 27 h 73"/>
                <a:gd name="T72" fmla="*/ 20 w 97"/>
                <a:gd name="T73" fmla="*/ 27 h 73"/>
                <a:gd name="T74" fmla="*/ 20 w 97"/>
                <a:gd name="T75" fmla="*/ 27 h 73"/>
                <a:gd name="T76" fmla="*/ 20 w 97"/>
                <a:gd name="T77" fmla="*/ 27 h 73"/>
                <a:gd name="T78" fmla="*/ 19 w 97"/>
                <a:gd name="T79" fmla="*/ 27 h 73"/>
                <a:gd name="T80" fmla="*/ 19 w 97"/>
                <a:gd name="T81" fmla="*/ 27 h 73"/>
                <a:gd name="T82" fmla="*/ 19 w 97"/>
                <a:gd name="T83" fmla="*/ 27 h 73"/>
                <a:gd name="T84" fmla="*/ 19 w 97"/>
                <a:gd name="T85" fmla="*/ 27 h 73"/>
                <a:gd name="T86" fmla="*/ 19 w 97"/>
                <a:gd name="T87" fmla="*/ 28 h 73"/>
                <a:gd name="T88" fmla="*/ 18 w 97"/>
                <a:gd name="T89" fmla="*/ 28 h 73"/>
                <a:gd name="T90" fmla="*/ 18 w 97"/>
                <a:gd name="T91" fmla="*/ 28 h 73"/>
                <a:gd name="T92" fmla="*/ 18 w 97"/>
                <a:gd name="T93" fmla="*/ 28 h 73"/>
                <a:gd name="T94" fmla="*/ 18 w 97"/>
                <a:gd name="T95" fmla="*/ 28 h 73"/>
                <a:gd name="T96" fmla="*/ 18 w 97"/>
                <a:gd name="T97" fmla="*/ 28 h 73"/>
                <a:gd name="T98" fmla="*/ 17 w 97"/>
                <a:gd name="T99" fmla="*/ 28 h 73"/>
                <a:gd name="T100" fmla="*/ 17 w 97"/>
                <a:gd name="T101" fmla="*/ 28 h 73"/>
                <a:gd name="T102" fmla="*/ 17 w 97"/>
                <a:gd name="T103" fmla="*/ 28 h 73"/>
                <a:gd name="T104" fmla="*/ 17 w 97"/>
                <a:gd name="T105" fmla="*/ 28 h 73"/>
                <a:gd name="T106" fmla="*/ 17 w 97"/>
                <a:gd name="T107" fmla="*/ 28 h 73"/>
                <a:gd name="T108" fmla="*/ 16 w 97"/>
                <a:gd name="T109" fmla="*/ 29 h 73"/>
                <a:gd name="T110" fmla="*/ 16 w 97"/>
                <a:gd name="T111" fmla="*/ 29 h 73"/>
                <a:gd name="T112" fmla="*/ 0 w 97"/>
                <a:gd name="T113" fmla="*/ 38 h 73"/>
                <a:gd name="T114" fmla="*/ 97 w 97"/>
                <a:gd name="T115" fmla="*/ 3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7" h="73">
                  <a:moveTo>
                    <a:pt x="97" y="38"/>
                  </a:moveTo>
                  <a:lnTo>
                    <a:pt x="97" y="38"/>
                  </a:lnTo>
                  <a:lnTo>
                    <a:pt x="85" y="0"/>
                  </a:lnTo>
                  <a:cubicBezTo>
                    <a:pt x="78" y="2"/>
                    <a:pt x="72" y="4"/>
                    <a:pt x="66" y="6"/>
                  </a:cubicBezTo>
                  <a:cubicBezTo>
                    <a:pt x="66" y="6"/>
                    <a:pt x="66" y="6"/>
                    <a:pt x="66" y="6"/>
                  </a:cubicBezTo>
                  <a:cubicBezTo>
                    <a:pt x="66" y="6"/>
                    <a:pt x="66" y="6"/>
                    <a:pt x="66" y="6"/>
                  </a:cubicBezTo>
                  <a:cubicBezTo>
                    <a:pt x="66" y="6"/>
                    <a:pt x="66" y="6"/>
                    <a:pt x="66" y="6"/>
                  </a:cubicBezTo>
                  <a:cubicBezTo>
                    <a:pt x="66" y="6"/>
                    <a:pt x="66" y="6"/>
                    <a:pt x="66" y="6"/>
                  </a:cubicBezTo>
                  <a:cubicBezTo>
                    <a:pt x="66"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3" y="7"/>
                    <a:pt x="63" y="7"/>
                  </a:cubicBezTo>
                  <a:cubicBezTo>
                    <a:pt x="63" y="7"/>
                    <a:pt x="63" y="7"/>
                    <a:pt x="63" y="7"/>
                  </a:cubicBezTo>
                  <a:cubicBezTo>
                    <a:pt x="63" y="7"/>
                    <a:pt x="63" y="7"/>
                    <a:pt x="63" y="7"/>
                  </a:cubicBezTo>
                  <a:cubicBezTo>
                    <a:pt x="63" y="7"/>
                    <a:pt x="63" y="7"/>
                    <a:pt x="63" y="7"/>
                  </a:cubicBezTo>
                  <a:cubicBezTo>
                    <a:pt x="63" y="7"/>
                    <a:pt x="63" y="7"/>
                    <a:pt x="63" y="7"/>
                  </a:cubicBezTo>
                  <a:cubicBezTo>
                    <a:pt x="63" y="7"/>
                    <a:pt x="63" y="7"/>
                    <a:pt x="63" y="7"/>
                  </a:cubicBezTo>
                  <a:cubicBezTo>
                    <a:pt x="63" y="7"/>
                    <a:pt x="63" y="7"/>
                    <a:pt x="63" y="8"/>
                  </a:cubicBezTo>
                  <a:cubicBezTo>
                    <a:pt x="63" y="8"/>
                    <a:pt x="63" y="8"/>
                    <a:pt x="63" y="8"/>
                  </a:cubicBezTo>
                  <a:cubicBezTo>
                    <a:pt x="63" y="8"/>
                    <a:pt x="63" y="8"/>
                    <a:pt x="63" y="8"/>
                  </a:cubicBezTo>
                  <a:cubicBezTo>
                    <a:pt x="63" y="8"/>
                    <a:pt x="63" y="8"/>
                    <a:pt x="63" y="8"/>
                  </a:cubicBezTo>
                  <a:cubicBezTo>
                    <a:pt x="63" y="8"/>
                    <a:pt x="63" y="8"/>
                    <a:pt x="63" y="8"/>
                  </a:cubicBezTo>
                  <a:cubicBezTo>
                    <a:pt x="63" y="8"/>
                    <a:pt x="63" y="8"/>
                    <a:pt x="63" y="8"/>
                  </a:cubicBezTo>
                  <a:cubicBezTo>
                    <a:pt x="62" y="8"/>
                    <a:pt x="62" y="8"/>
                    <a:pt x="62" y="8"/>
                  </a:cubicBezTo>
                  <a:cubicBezTo>
                    <a:pt x="62" y="8"/>
                    <a:pt x="62" y="8"/>
                    <a:pt x="62" y="8"/>
                  </a:cubicBezTo>
                  <a:cubicBezTo>
                    <a:pt x="62" y="8"/>
                    <a:pt x="62" y="8"/>
                    <a:pt x="62" y="8"/>
                  </a:cubicBezTo>
                  <a:cubicBezTo>
                    <a:pt x="62" y="8"/>
                    <a:pt x="62" y="8"/>
                    <a:pt x="62" y="8"/>
                  </a:cubicBezTo>
                  <a:cubicBezTo>
                    <a:pt x="62" y="8"/>
                    <a:pt x="62" y="8"/>
                    <a:pt x="62" y="8"/>
                  </a:cubicBezTo>
                  <a:cubicBezTo>
                    <a:pt x="62" y="8"/>
                    <a:pt x="62" y="8"/>
                    <a:pt x="62" y="8"/>
                  </a:cubicBezTo>
                  <a:cubicBezTo>
                    <a:pt x="62" y="8"/>
                    <a:pt x="62" y="8"/>
                    <a:pt x="62" y="8"/>
                  </a:cubicBezTo>
                  <a:cubicBezTo>
                    <a:pt x="62" y="8"/>
                    <a:pt x="62" y="8"/>
                    <a:pt x="62" y="8"/>
                  </a:cubicBezTo>
                  <a:cubicBezTo>
                    <a:pt x="62" y="8"/>
                    <a:pt x="62" y="8"/>
                    <a:pt x="62" y="8"/>
                  </a:cubicBezTo>
                  <a:lnTo>
                    <a:pt x="62" y="8"/>
                  </a:lnTo>
                  <a:cubicBezTo>
                    <a:pt x="62" y="8"/>
                    <a:pt x="61" y="8"/>
                    <a:pt x="61" y="8"/>
                  </a:cubicBezTo>
                  <a:lnTo>
                    <a:pt x="61" y="8"/>
                  </a:lnTo>
                  <a:cubicBezTo>
                    <a:pt x="61" y="8"/>
                    <a:pt x="61" y="8"/>
                    <a:pt x="61" y="8"/>
                  </a:cubicBezTo>
                  <a:lnTo>
                    <a:pt x="61" y="8"/>
                  </a:lnTo>
                  <a:cubicBezTo>
                    <a:pt x="61" y="8"/>
                    <a:pt x="61" y="8"/>
                    <a:pt x="61" y="8"/>
                  </a:cubicBezTo>
                  <a:cubicBezTo>
                    <a:pt x="61" y="8"/>
                    <a:pt x="61" y="8"/>
                    <a:pt x="61" y="8"/>
                  </a:cubicBezTo>
                  <a:cubicBezTo>
                    <a:pt x="61" y="8"/>
                    <a:pt x="61" y="8"/>
                    <a:pt x="61" y="8"/>
                  </a:cubicBezTo>
                  <a:lnTo>
                    <a:pt x="61" y="8"/>
                  </a:lnTo>
                  <a:cubicBezTo>
                    <a:pt x="61" y="8"/>
                    <a:pt x="61" y="8"/>
                    <a:pt x="61" y="8"/>
                  </a:cubicBezTo>
                  <a:cubicBezTo>
                    <a:pt x="61" y="8"/>
                    <a:pt x="61" y="8"/>
                    <a:pt x="61" y="8"/>
                  </a:cubicBezTo>
                  <a:cubicBezTo>
                    <a:pt x="47" y="14"/>
                    <a:pt x="34" y="20"/>
                    <a:pt x="21" y="26"/>
                  </a:cubicBezTo>
                  <a:cubicBezTo>
                    <a:pt x="21" y="26"/>
                    <a:pt x="21" y="26"/>
                    <a:pt x="21" y="26"/>
                  </a:cubicBezTo>
                  <a:cubicBezTo>
                    <a:pt x="21" y="26"/>
                    <a:pt x="21" y="26"/>
                    <a:pt x="21" y="26"/>
                  </a:cubicBezTo>
                  <a:lnTo>
                    <a:pt x="21" y="26"/>
                  </a:lnTo>
                  <a:cubicBezTo>
                    <a:pt x="21" y="26"/>
                    <a:pt x="21" y="26"/>
                    <a:pt x="21" y="26"/>
                  </a:cubicBezTo>
                  <a:cubicBezTo>
                    <a:pt x="21" y="26"/>
                    <a:pt x="21" y="26"/>
                    <a:pt x="21" y="26"/>
                  </a:cubicBezTo>
                  <a:cubicBezTo>
                    <a:pt x="21" y="26"/>
                    <a:pt x="21" y="27"/>
                    <a:pt x="20" y="27"/>
                  </a:cubicBezTo>
                  <a:lnTo>
                    <a:pt x="20" y="27"/>
                  </a:ln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19" y="27"/>
                    <a:pt x="19" y="27"/>
                    <a:pt x="19" y="27"/>
                  </a:cubicBezTo>
                  <a:cubicBezTo>
                    <a:pt x="19" y="27"/>
                    <a:pt x="19" y="27"/>
                    <a:pt x="19" y="27"/>
                  </a:cubicBezTo>
                  <a:cubicBezTo>
                    <a:pt x="19" y="27"/>
                    <a:pt x="19" y="27"/>
                    <a:pt x="19" y="27"/>
                  </a:cubicBezTo>
                  <a:cubicBezTo>
                    <a:pt x="19" y="27"/>
                    <a:pt x="19" y="27"/>
                    <a:pt x="19" y="27"/>
                  </a:cubicBezTo>
                  <a:cubicBezTo>
                    <a:pt x="19" y="27"/>
                    <a:pt x="19" y="27"/>
                    <a:pt x="19" y="27"/>
                  </a:cubicBezTo>
                  <a:cubicBezTo>
                    <a:pt x="19" y="27"/>
                    <a:pt x="19" y="27"/>
                    <a:pt x="19" y="27"/>
                  </a:cubicBezTo>
                  <a:cubicBezTo>
                    <a:pt x="19" y="27"/>
                    <a:pt x="19" y="27"/>
                    <a:pt x="19" y="27"/>
                  </a:cubicBezTo>
                  <a:cubicBezTo>
                    <a:pt x="19" y="28"/>
                    <a:pt x="19" y="28"/>
                    <a:pt x="19" y="28"/>
                  </a:cubicBezTo>
                  <a:cubicBezTo>
                    <a:pt x="19" y="28"/>
                    <a:pt x="19" y="28"/>
                    <a:pt x="19" y="28"/>
                  </a:cubicBezTo>
                  <a:cubicBezTo>
                    <a:pt x="19" y="28"/>
                    <a:pt x="19" y="28"/>
                    <a:pt x="19"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lnTo>
                    <a:pt x="17" y="28"/>
                  </a:lnTo>
                  <a:cubicBezTo>
                    <a:pt x="17" y="29"/>
                    <a:pt x="16" y="29"/>
                    <a:pt x="16" y="29"/>
                  </a:cubicBezTo>
                  <a:cubicBezTo>
                    <a:pt x="16" y="29"/>
                    <a:pt x="16" y="29"/>
                    <a:pt x="16" y="29"/>
                  </a:cubicBezTo>
                  <a:cubicBezTo>
                    <a:pt x="16" y="29"/>
                    <a:pt x="16" y="29"/>
                    <a:pt x="16" y="29"/>
                  </a:cubicBezTo>
                  <a:cubicBezTo>
                    <a:pt x="16" y="29"/>
                    <a:pt x="16" y="29"/>
                    <a:pt x="16" y="29"/>
                  </a:cubicBezTo>
                  <a:cubicBezTo>
                    <a:pt x="16" y="29"/>
                    <a:pt x="16" y="29"/>
                    <a:pt x="16" y="29"/>
                  </a:cubicBezTo>
                  <a:cubicBezTo>
                    <a:pt x="10" y="32"/>
                    <a:pt x="5" y="35"/>
                    <a:pt x="0" y="38"/>
                  </a:cubicBezTo>
                  <a:lnTo>
                    <a:pt x="20" y="73"/>
                  </a:lnTo>
                  <a:cubicBezTo>
                    <a:pt x="44" y="58"/>
                    <a:pt x="70" y="47"/>
                    <a:pt x="97" y="38"/>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37">
              <a:extLst>
                <a:ext uri="{FF2B5EF4-FFF2-40B4-BE49-F238E27FC236}">
                  <a16:creationId xmlns:a16="http://schemas.microsoft.com/office/drawing/2014/main" id="{9E08700F-4A6C-EF23-A04C-EB6DFD4E5564}"/>
                </a:ext>
              </a:extLst>
            </p:cNvPr>
            <p:cNvSpPr>
              <a:spLocks/>
            </p:cNvSpPr>
            <p:nvPr/>
          </p:nvSpPr>
          <p:spPr bwMode="auto">
            <a:xfrm>
              <a:off x="2341" y="2106"/>
              <a:ext cx="22" cy="43"/>
            </a:xfrm>
            <a:custGeom>
              <a:avLst/>
              <a:gdLst>
                <a:gd name="T0" fmla="*/ 0 w 48"/>
                <a:gd name="T1" fmla="*/ 1 h 93"/>
                <a:gd name="T2" fmla="*/ 0 w 48"/>
                <a:gd name="T3" fmla="*/ 2 h 93"/>
                <a:gd name="T4" fmla="*/ 0 w 48"/>
                <a:gd name="T5" fmla="*/ 3 h 93"/>
                <a:gd name="T6" fmla="*/ 0 w 48"/>
                <a:gd name="T7" fmla="*/ 3 h 93"/>
                <a:gd name="T8" fmla="*/ 0 w 48"/>
                <a:gd name="T9" fmla="*/ 4 h 93"/>
                <a:gd name="T10" fmla="*/ 0 w 48"/>
                <a:gd name="T11" fmla="*/ 4 h 93"/>
                <a:gd name="T12" fmla="*/ 0 w 48"/>
                <a:gd name="T13" fmla="*/ 5 h 93"/>
                <a:gd name="T14" fmla="*/ 0 w 48"/>
                <a:gd name="T15" fmla="*/ 5 h 93"/>
                <a:gd name="T16" fmla="*/ 0 w 48"/>
                <a:gd name="T17" fmla="*/ 6 h 93"/>
                <a:gd name="T18" fmla="*/ 0 w 48"/>
                <a:gd name="T19" fmla="*/ 6 h 93"/>
                <a:gd name="T20" fmla="*/ 0 w 48"/>
                <a:gd name="T21" fmla="*/ 7 h 93"/>
                <a:gd name="T22" fmla="*/ 0 w 48"/>
                <a:gd name="T23" fmla="*/ 7 h 93"/>
                <a:gd name="T24" fmla="*/ 0 w 48"/>
                <a:gd name="T25" fmla="*/ 8 h 93"/>
                <a:gd name="T26" fmla="*/ 0 w 48"/>
                <a:gd name="T27" fmla="*/ 8 h 93"/>
                <a:gd name="T28" fmla="*/ 0 w 48"/>
                <a:gd name="T29" fmla="*/ 8 h 93"/>
                <a:gd name="T30" fmla="*/ 0 w 48"/>
                <a:gd name="T31" fmla="*/ 9 h 93"/>
                <a:gd name="T32" fmla="*/ 0 w 48"/>
                <a:gd name="T33" fmla="*/ 9 h 93"/>
                <a:gd name="T34" fmla="*/ 0 w 48"/>
                <a:gd name="T35" fmla="*/ 10 h 93"/>
                <a:gd name="T36" fmla="*/ 0 w 48"/>
                <a:gd name="T37" fmla="*/ 11 h 93"/>
                <a:gd name="T38" fmla="*/ 0 w 48"/>
                <a:gd name="T39" fmla="*/ 11 h 93"/>
                <a:gd name="T40" fmla="*/ 0 w 48"/>
                <a:gd name="T41" fmla="*/ 11 h 93"/>
                <a:gd name="T42" fmla="*/ 0 w 48"/>
                <a:gd name="T43" fmla="*/ 12 h 93"/>
                <a:gd name="T44" fmla="*/ 0 w 48"/>
                <a:gd name="T45" fmla="*/ 12 h 93"/>
                <a:gd name="T46" fmla="*/ 0 w 48"/>
                <a:gd name="T47" fmla="*/ 13 h 93"/>
                <a:gd name="T48" fmla="*/ 0 w 48"/>
                <a:gd name="T49" fmla="*/ 13 h 93"/>
                <a:gd name="T50" fmla="*/ 0 w 48"/>
                <a:gd name="T51" fmla="*/ 14 h 93"/>
                <a:gd name="T52" fmla="*/ 0 w 48"/>
                <a:gd name="T53" fmla="*/ 14 h 93"/>
                <a:gd name="T54" fmla="*/ 0 w 48"/>
                <a:gd name="T55" fmla="*/ 15 h 93"/>
                <a:gd name="T56" fmla="*/ 0 w 48"/>
                <a:gd name="T57" fmla="*/ 15 h 93"/>
                <a:gd name="T58" fmla="*/ 0 w 48"/>
                <a:gd name="T59" fmla="*/ 15 h 93"/>
                <a:gd name="T60" fmla="*/ 0 w 48"/>
                <a:gd name="T61" fmla="*/ 16 h 93"/>
                <a:gd name="T62" fmla="*/ 0 w 48"/>
                <a:gd name="T63" fmla="*/ 16 h 93"/>
                <a:gd name="T64" fmla="*/ 0 w 48"/>
                <a:gd name="T65" fmla="*/ 17 h 93"/>
                <a:gd name="T66" fmla="*/ 0 w 48"/>
                <a:gd name="T67" fmla="*/ 17 h 93"/>
                <a:gd name="T68" fmla="*/ 0 w 48"/>
                <a:gd name="T69" fmla="*/ 18 h 93"/>
                <a:gd name="T70" fmla="*/ 0 w 48"/>
                <a:gd name="T71" fmla="*/ 18 h 93"/>
                <a:gd name="T72" fmla="*/ 0 w 48"/>
                <a:gd name="T73" fmla="*/ 19 h 93"/>
                <a:gd name="T74" fmla="*/ 0 w 48"/>
                <a:gd name="T75" fmla="*/ 19 h 93"/>
                <a:gd name="T76" fmla="*/ 0 w 48"/>
                <a:gd name="T77" fmla="*/ 20 h 93"/>
                <a:gd name="T78" fmla="*/ 0 w 48"/>
                <a:gd name="T79" fmla="*/ 21 h 93"/>
                <a:gd name="T80" fmla="*/ 0 w 48"/>
                <a:gd name="T81" fmla="*/ 21 h 93"/>
                <a:gd name="T82" fmla="*/ 0 w 48"/>
                <a:gd name="T83" fmla="*/ 22 h 93"/>
                <a:gd name="T84" fmla="*/ 0 w 48"/>
                <a:gd name="T85" fmla="*/ 22 h 93"/>
                <a:gd name="T86" fmla="*/ 0 w 48"/>
                <a:gd name="T87" fmla="*/ 22 h 93"/>
                <a:gd name="T88" fmla="*/ 0 w 48"/>
                <a:gd name="T89" fmla="*/ 23 h 93"/>
                <a:gd name="T90" fmla="*/ 0 w 48"/>
                <a:gd name="T91" fmla="*/ 24 h 93"/>
                <a:gd name="T92" fmla="*/ 0 w 48"/>
                <a:gd name="T93" fmla="*/ 25 h 93"/>
                <a:gd name="T94" fmla="*/ 0 w 48"/>
                <a:gd name="T95" fmla="*/ 25 h 93"/>
                <a:gd name="T96" fmla="*/ 0 w 48"/>
                <a:gd name="T97" fmla="*/ 26 h 93"/>
                <a:gd name="T98" fmla="*/ 0 w 48"/>
                <a:gd name="T99" fmla="*/ 26 h 93"/>
                <a:gd name="T100" fmla="*/ 0 w 48"/>
                <a:gd name="T101" fmla="*/ 26 h 93"/>
                <a:gd name="T102" fmla="*/ 0 w 48"/>
                <a:gd name="T103" fmla="*/ 28 h 93"/>
                <a:gd name="T104" fmla="*/ 0 w 48"/>
                <a:gd name="T105" fmla="*/ 29 h 93"/>
                <a:gd name="T106" fmla="*/ 0 w 48"/>
                <a:gd name="T107" fmla="*/ 29 h 93"/>
                <a:gd name="T108" fmla="*/ 0 w 48"/>
                <a:gd name="T109" fmla="*/ 29 h 93"/>
                <a:gd name="T110" fmla="*/ 0 w 48"/>
                <a:gd name="T111" fmla="*/ 32 h 93"/>
                <a:gd name="T112" fmla="*/ 1 w 48"/>
                <a:gd name="T113" fmla="*/ 33 h 93"/>
                <a:gd name="T114" fmla="*/ 9 w 48"/>
                <a:gd name="T11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 h="93">
                  <a:moveTo>
                    <a:pt x="40" y="3"/>
                  </a:moveTo>
                  <a:lnTo>
                    <a:pt x="40" y="3"/>
                  </a:lnTo>
                  <a:lnTo>
                    <a:pt x="40" y="1"/>
                  </a:lnTo>
                  <a:lnTo>
                    <a:pt x="0" y="0"/>
                  </a:lnTo>
                  <a:cubicBezTo>
                    <a:pt x="0" y="0"/>
                    <a:pt x="0" y="0"/>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2"/>
                    <a:pt x="0" y="2"/>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lnTo>
                    <a:pt x="0" y="13"/>
                  </a:lnTo>
                  <a:cubicBezTo>
                    <a:pt x="0" y="13"/>
                    <a:pt x="0" y="13"/>
                    <a:pt x="0" y="13"/>
                  </a:cubicBezTo>
                  <a:cubicBezTo>
                    <a:pt x="0" y="13"/>
                    <a:pt x="0" y="13"/>
                    <a:pt x="0" y="13"/>
                  </a:cubicBezTo>
                  <a:cubicBezTo>
                    <a:pt x="0" y="13"/>
                    <a:pt x="0" y="13"/>
                    <a:pt x="0" y="13"/>
                  </a:cubicBezTo>
                  <a:cubicBezTo>
                    <a:pt x="0" y="13"/>
                    <a:pt x="0" y="13"/>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20"/>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20"/>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4"/>
                    <a:pt x="0" y="24"/>
                  </a:cubicBezTo>
                  <a:cubicBezTo>
                    <a:pt x="0" y="24"/>
                    <a:pt x="0" y="24"/>
                    <a:pt x="0" y="24"/>
                  </a:cubicBezTo>
                  <a:cubicBezTo>
                    <a:pt x="0" y="24"/>
                    <a:pt x="0" y="24"/>
                    <a:pt x="0" y="24"/>
                  </a:cubicBezTo>
                  <a:cubicBezTo>
                    <a:pt x="0" y="24"/>
                    <a:pt x="0" y="24"/>
                    <a:pt x="0" y="24"/>
                  </a:cubicBezTo>
                  <a:cubicBezTo>
                    <a:pt x="0" y="24"/>
                    <a:pt x="0" y="24"/>
                    <a:pt x="0" y="24"/>
                  </a:cubicBezTo>
                  <a:cubicBezTo>
                    <a:pt x="0" y="24"/>
                    <a:pt x="0" y="24"/>
                    <a:pt x="0" y="24"/>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7"/>
                    <a:pt x="0" y="27"/>
                    <a:pt x="0" y="27"/>
                  </a:cubicBezTo>
                  <a:cubicBezTo>
                    <a:pt x="0" y="27"/>
                    <a:pt x="0" y="27"/>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8"/>
                  </a:cubicBezTo>
                  <a:lnTo>
                    <a:pt x="0" y="28"/>
                  </a:lnTo>
                  <a:cubicBezTo>
                    <a:pt x="0" y="28"/>
                    <a:pt x="0" y="28"/>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lnTo>
                    <a:pt x="0" y="29"/>
                  </a:lnTo>
                  <a:cubicBezTo>
                    <a:pt x="0" y="29"/>
                    <a:pt x="0" y="30"/>
                    <a:pt x="0" y="30"/>
                  </a:cubicBezTo>
                  <a:cubicBezTo>
                    <a:pt x="0" y="30"/>
                    <a:pt x="0" y="30"/>
                    <a:pt x="0" y="30"/>
                  </a:cubicBezTo>
                  <a:cubicBezTo>
                    <a:pt x="0" y="30"/>
                    <a:pt x="0" y="31"/>
                    <a:pt x="0" y="32"/>
                  </a:cubicBezTo>
                  <a:cubicBezTo>
                    <a:pt x="0" y="32"/>
                    <a:pt x="0" y="32"/>
                    <a:pt x="0" y="32"/>
                  </a:cubicBezTo>
                  <a:cubicBezTo>
                    <a:pt x="0" y="32"/>
                    <a:pt x="0" y="32"/>
                    <a:pt x="0" y="32"/>
                  </a:cubicBezTo>
                  <a:cubicBezTo>
                    <a:pt x="0" y="32"/>
                    <a:pt x="0" y="32"/>
                    <a:pt x="0" y="32"/>
                  </a:cubicBezTo>
                  <a:cubicBezTo>
                    <a:pt x="0" y="32"/>
                    <a:pt x="1" y="32"/>
                    <a:pt x="1" y="32"/>
                  </a:cubicBezTo>
                  <a:cubicBezTo>
                    <a:pt x="1" y="33"/>
                    <a:pt x="1" y="33"/>
                    <a:pt x="1" y="33"/>
                  </a:cubicBezTo>
                  <a:lnTo>
                    <a:pt x="1" y="33"/>
                  </a:lnTo>
                  <a:cubicBezTo>
                    <a:pt x="1" y="33"/>
                    <a:pt x="1" y="33"/>
                    <a:pt x="1" y="33"/>
                  </a:cubicBezTo>
                  <a:cubicBezTo>
                    <a:pt x="1" y="33"/>
                    <a:pt x="1" y="33"/>
                    <a:pt x="1" y="33"/>
                  </a:cubicBezTo>
                  <a:lnTo>
                    <a:pt x="1" y="33"/>
                  </a:lnTo>
                  <a:cubicBezTo>
                    <a:pt x="1" y="34"/>
                    <a:pt x="1" y="35"/>
                    <a:pt x="1" y="36"/>
                  </a:cubicBezTo>
                  <a:cubicBezTo>
                    <a:pt x="2" y="55"/>
                    <a:pt x="5" y="74"/>
                    <a:pt x="9" y="93"/>
                  </a:cubicBezTo>
                  <a:lnTo>
                    <a:pt x="48" y="85"/>
                  </a:lnTo>
                  <a:cubicBezTo>
                    <a:pt x="43" y="58"/>
                    <a:pt x="40" y="30"/>
                    <a:pt x="40" y="3"/>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38">
              <a:extLst>
                <a:ext uri="{FF2B5EF4-FFF2-40B4-BE49-F238E27FC236}">
                  <a16:creationId xmlns:a16="http://schemas.microsoft.com/office/drawing/2014/main" id="{E56367F9-21A4-39C8-4B02-F43D340895F8}"/>
                </a:ext>
              </a:extLst>
            </p:cNvPr>
            <p:cNvSpPr>
              <a:spLocks/>
            </p:cNvSpPr>
            <p:nvPr/>
          </p:nvSpPr>
          <p:spPr bwMode="auto">
            <a:xfrm>
              <a:off x="2493" y="1913"/>
              <a:ext cx="48" cy="22"/>
            </a:xfrm>
            <a:custGeom>
              <a:avLst/>
              <a:gdLst>
                <a:gd name="T0" fmla="*/ 103 w 103"/>
                <a:gd name="T1" fmla="*/ 0 h 49"/>
                <a:gd name="T2" fmla="*/ 103 w 103"/>
                <a:gd name="T3" fmla="*/ 0 h 49"/>
                <a:gd name="T4" fmla="*/ 94 w 103"/>
                <a:gd name="T5" fmla="*/ 0 h 49"/>
                <a:gd name="T6" fmla="*/ 94 w 103"/>
                <a:gd name="T7" fmla="*/ 0 h 49"/>
                <a:gd name="T8" fmla="*/ 93 w 103"/>
                <a:gd name="T9" fmla="*/ 0 h 49"/>
                <a:gd name="T10" fmla="*/ 93 w 103"/>
                <a:gd name="T11" fmla="*/ 0 h 49"/>
                <a:gd name="T12" fmla="*/ 92 w 103"/>
                <a:gd name="T13" fmla="*/ 0 h 49"/>
                <a:gd name="T14" fmla="*/ 92 w 103"/>
                <a:gd name="T15" fmla="*/ 0 h 49"/>
                <a:gd name="T16" fmla="*/ 92 w 103"/>
                <a:gd name="T17" fmla="*/ 0 h 49"/>
                <a:gd name="T18" fmla="*/ 91 w 103"/>
                <a:gd name="T19" fmla="*/ 0 h 49"/>
                <a:gd name="T20" fmla="*/ 91 w 103"/>
                <a:gd name="T21" fmla="*/ 0 h 49"/>
                <a:gd name="T22" fmla="*/ 90 w 103"/>
                <a:gd name="T23" fmla="*/ 0 h 49"/>
                <a:gd name="T24" fmla="*/ 90 w 103"/>
                <a:gd name="T25" fmla="*/ 0 h 49"/>
                <a:gd name="T26" fmla="*/ 89 w 103"/>
                <a:gd name="T27" fmla="*/ 0 h 49"/>
                <a:gd name="T28" fmla="*/ 89 w 103"/>
                <a:gd name="T29" fmla="*/ 0 h 49"/>
                <a:gd name="T30" fmla="*/ 88 w 103"/>
                <a:gd name="T31" fmla="*/ 0 h 49"/>
                <a:gd name="T32" fmla="*/ 88 w 103"/>
                <a:gd name="T33" fmla="*/ 0 h 49"/>
                <a:gd name="T34" fmla="*/ 87 w 103"/>
                <a:gd name="T35" fmla="*/ 0 h 49"/>
                <a:gd name="T36" fmla="*/ 87 w 103"/>
                <a:gd name="T37" fmla="*/ 0 h 49"/>
                <a:gd name="T38" fmla="*/ 86 w 103"/>
                <a:gd name="T39" fmla="*/ 0 h 49"/>
                <a:gd name="T40" fmla="*/ 86 w 103"/>
                <a:gd name="T41" fmla="*/ 0 h 49"/>
                <a:gd name="T42" fmla="*/ 85 w 103"/>
                <a:gd name="T43" fmla="*/ 0 h 49"/>
                <a:gd name="T44" fmla="*/ 85 w 103"/>
                <a:gd name="T45" fmla="*/ 0 h 49"/>
                <a:gd name="T46" fmla="*/ 84 w 103"/>
                <a:gd name="T47" fmla="*/ 0 h 49"/>
                <a:gd name="T48" fmla="*/ 84 w 103"/>
                <a:gd name="T49" fmla="*/ 0 h 49"/>
                <a:gd name="T50" fmla="*/ 83 w 103"/>
                <a:gd name="T51" fmla="*/ 0 h 49"/>
                <a:gd name="T52" fmla="*/ 83 w 103"/>
                <a:gd name="T53" fmla="*/ 0 h 49"/>
                <a:gd name="T54" fmla="*/ 83 w 103"/>
                <a:gd name="T55" fmla="*/ 0 h 49"/>
                <a:gd name="T56" fmla="*/ 82 w 103"/>
                <a:gd name="T57" fmla="*/ 0 h 49"/>
                <a:gd name="T58" fmla="*/ 81 w 103"/>
                <a:gd name="T59" fmla="*/ 0 h 49"/>
                <a:gd name="T60" fmla="*/ 81 w 103"/>
                <a:gd name="T61" fmla="*/ 0 h 49"/>
                <a:gd name="T62" fmla="*/ 80 w 103"/>
                <a:gd name="T63" fmla="*/ 0 h 49"/>
                <a:gd name="T64" fmla="*/ 80 w 103"/>
                <a:gd name="T65" fmla="*/ 0 h 49"/>
                <a:gd name="T66" fmla="*/ 79 w 103"/>
                <a:gd name="T67" fmla="*/ 0 h 49"/>
                <a:gd name="T68" fmla="*/ 79 w 103"/>
                <a:gd name="T69" fmla="*/ 0 h 49"/>
                <a:gd name="T70" fmla="*/ 78 w 103"/>
                <a:gd name="T71" fmla="*/ 0 h 49"/>
                <a:gd name="T72" fmla="*/ 78 w 103"/>
                <a:gd name="T73" fmla="*/ 0 h 49"/>
                <a:gd name="T74" fmla="*/ 77 w 103"/>
                <a:gd name="T75" fmla="*/ 0 h 49"/>
                <a:gd name="T76" fmla="*/ 77 w 103"/>
                <a:gd name="T77" fmla="*/ 0 h 49"/>
                <a:gd name="T78" fmla="*/ 76 w 103"/>
                <a:gd name="T79" fmla="*/ 0 h 49"/>
                <a:gd name="T80" fmla="*/ 76 w 103"/>
                <a:gd name="T81" fmla="*/ 1 h 49"/>
                <a:gd name="T82" fmla="*/ 75 w 103"/>
                <a:gd name="T83" fmla="*/ 1 h 49"/>
                <a:gd name="T84" fmla="*/ 74 w 103"/>
                <a:gd name="T85" fmla="*/ 1 h 49"/>
                <a:gd name="T86" fmla="*/ 74 w 103"/>
                <a:gd name="T87" fmla="*/ 1 h 49"/>
                <a:gd name="T88" fmla="*/ 73 w 103"/>
                <a:gd name="T89" fmla="*/ 1 h 49"/>
                <a:gd name="T90" fmla="*/ 72 w 103"/>
                <a:gd name="T91" fmla="*/ 1 h 49"/>
                <a:gd name="T92" fmla="*/ 72 w 103"/>
                <a:gd name="T93" fmla="*/ 1 h 49"/>
                <a:gd name="T94" fmla="*/ 71 w 103"/>
                <a:gd name="T95" fmla="*/ 1 h 49"/>
                <a:gd name="T96" fmla="*/ 69 w 103"/>
                <a:gd name="T97" fmla="*/ 1 h 49"/>
                <a:gd name="T98" fmla="*/ 69 w 103"/>
                <a:gd name="T99" fmla="*/ 1 h 49"/>
                <a:gd name="T100" fmla="*/ 0 w 103"/>
                <a:gd name="T101"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 h="49">
                  <a:moveTo>
                    <a:pt x="93" y="39"/>
                  </a:moveTo>
                  <a:lnTo>
                    <a:pt x="93" y="39"/>
                  </a:lnTo>
                  <a:cubicBezTo>
                    <a:pt x="96" y="39"/>
                    <a:pt x="99" y="39"/>
                    <a:pt x="102" y="40"/>
                  </a:cubicBezTo>
                  <a:lnTo>
                    <a:pt x="103" y="0"/>
                  </a:lnTo>
                  <a:cubicBezTo>
                    <a:pt x="103" y="0"/>
                    <a:pt x="103" y="0"/>
                    <a:pt x="103" y="0"/>
                  </a:cubicBezTo>
                  <a:cubicBezTo>
                    <a:pt x="103" y="0"/>
                    <a:pt x="103" y="0"/>
                    <a:pt x="103" y="0"/>
                  </a:cubicBezTo>
                  <a:cubicBezTo>
                    <a:pt x="103" y="0"/>
                    <a:pt x="103" y="0"/>
                    <a:pt x="103" y="0"/>
                  </a:cubicBezTo>
                  <a:cubicBezTo>
                    <a:pt x="103" y="0"/>
                    <a:pt x="103" y="0"/>
                    <a:pt x="103" y="0"/>
                  </a:cubicBezTo>
                  <a:cubicBezTo>
                    <a:pt x="103" y="0"/>
                    <a:pt x="103" y="0"/>
                    <a:pt x="103" y="0"/>
                  </a:cubicBezTo>
                  <a:cubicBezTo>
                    <a:pt x="103" y="0"/>
                    <a:pt x="103" y="0"/>
                    <a:pt x="103" y="0"/>
                  </a:cubicBezTo>
                  <a:lnTo>
                    <a:pt x="103" y="0"/>
                  </a:lnTo>
                  <a:cubicBezTo>
                    <a:pt x="100" y="0"/>
                    <a:pt x="97" y="0"/>
                    <a:pt x="95" y="0"/>
                  </a:cubicBezTo>
                  <a:cubicBezTo>
                    <a:pt x="95" y="0"/>
                    <a:pt x="95" y="0"/>
                    <a:pt x="95" y="0"/>
                  </a:cubicBezTo>
                  <a:cubicBezTo>
                    <a:pt x="94" y="0"/>
                    <a:pt x="94" y="0"/>
                    <a:pt x="94" y="0"/>
                  </a:cubicBezTo>
                  <a:lnTo>
                    <a:pt x="94" y="0"/>
                  </a:ln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lnTo>
                    <a:pt x="80" y="0"/>
                  </a:lnTo>
                  <a:cubicBezTo>
                    <a:pt x="80"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6" y="0"/>
                    <a:pt x="76" y="0"/>
                  </a:cubicBezTo>
                  <a:cubicBezTo>
                    <a:pt x="76" y="0"/>
                    <a:pt x="76" y="0"/>
                    <a:pt x="76" y="0"/>
                  </a:cubicBezTo>
                  <a:cubicBezTo>
                    <a:pt x="76" y="0"/>
                    <a:pt x="76" y="0"/>
                    <a:pt x="76" y="0"/>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5" y="1"/>
                  </a:cubicBezTo>
                  <a:cubicBezTo>
                    <a:pt x="75" y="1"/>
                    <a:pt x="75" y="1"/>
                    <a:pt x="75" y="1"/>
                  </a:cubicBezTo>
                  <a:cubicBezTo>
                    <a:pt x="75" y="1"/>
                    <a:pt x="75"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3" y="1"/>
                    <a:pt x="73" y="1"/>
                  </a:cubicBezTo>
                  <a:cubicBezTo>
                    <a:pt x="73" y="1"/>
                    <a:pt x="73" y="1"/>
                    <a:pt x="73" y="1"/>
                  </a:cubicBezTo>
                  <a:cubicBezTo>
                    <a:pt x="73" y="1"/>
                    <a:pt x="73" y="1"/>
                    <a:pt x="73" y="1"/>
                  </a:cubicBezTo>
                  <a:cubicBezTo>
                    <a:pt x="73" y="1"/>
                    <a:pt x="73" y="1"/>
                    <a:pt x="73" y="1"/>
                  </a:cubicBezTo>
                  <a:cubicBezTo>
                    <a:pt x="73" y="1"/>
                    <a:pt x="73"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1" y="1"/>
                    <a:pt x="71" y="1"/>
                    <a:pt x="71" y="1"/>
                  </a:cubicBezTo>
                  <a:cubicBezTo>
                    <a:pt x="71" y="1"/>
                    <a:pt x="71" y="1"/>
                    <a:pt x="71" y="1"/>
                  </a:cubicBezTo>
                  <a:cubicBezTo>
                    <a:pt x="71" y="1"/>
                    <a:pt x="71" y="1"/>
                    <a:pt x="71" y="1"/>
                  </a:cubicBezTo>
                  <a:cubicBezTo>
                    <a:pt x="71" y="1"/>
                    <a:pt x="71" y="1"/>
                    <a:pt x="71" y="1"/>
                  </a:cubicBezTo>
                  <a:cubicBezTo>
                    <a:pt x="71" y="1"/>
                    <a:pt x="71" y="1"/>
                    <a:pt x="71" y="1"/>
                  </a:cubicBezTo>
                  <a:cubicBezTo>
                    <a:pt x="71" y="1"/>
                    <a:pt x="71" y="1"/>
                    <a:pt x="71" y="1"/>
                  </a:cubicBezTo>
                  <a:cubicBezTo>
                    <a:pt x="71" y="1"/>
                    <a:pt x="70" y="1"/>
                    <a:pt x="70" y="1"/>
                  </a:cubicBezTo>
                  <a:cubicBezTo>
                    <a:pt x="70" y="1"/>
                    <a:pt x="70" y="1"/>
                    <a:pt x="70" y="1"/>
                  </a:cubicBezTo>
                  <a:cubicBezTo>
                    <a:pt x="70" y="1"/>
                    <a:pt x="70" y="1"/>
                    <a:pt x="69" y="1"/>
                  </a:cubicBezTo>
                  <a:cubicBezTo>
                    <a:pt x="69" y="1"/>
                    <a:pt x="69" y="1"/>
                    <a:pt x="69" y="1"/>
                  </a:cubicBezTo>
                  <a:cubicBezTo>
                    <a:pt x="69" y="1"/>
                    <a:pt x="69" y="1"/>
                    <a:pt x="69" y="1"/>
                  </a:cubicBezTo>
                  <a:cubicBezTo>
                    <a:pt x="69" y="1"/>
                    <a:pt x="69" y="1"/>
                    <a:pt x="69" y="1"/>
                  </a:cubicBezTo>
                  <a:cubicBezTo>
                    <a:pt x="69" y="1"/>
                    <a:pt x="69" y="1"/>
                    <a:pt x="69" y="1"/>
                  </a:cubicBezTo>
                  <a:cubicBezTo>
                    <a:pt x="69" y="1"/>
                    <a:pt x="69" y="1"/>
                    <a:pt x="69" y="1"/>
                  </a:cubicBezTo>
                  <a:cubicBezTo>
                    <a:pt x="69" y="1"/>
                    <a:pt x="69" y="1"/>
                    <a:pt x="69" y="1"/>
                  </a:cubicBezTo>
                  <a:lnTo>
                    <a:pt x="69" y="1"/>
                  </a:lnTo>
                  <a:cubicBezTo>
                    <a:pt x="68" y="1"/>
                    <a:pt x="68" y="1"/>
                    <a:pt x="67" y="1"/>
                  </a:cubicBezTo>
                  <a:cubicBezTo>
                    <a:pt x="67" y="1"/>
                    <a:pt x="67" y="1"/>
                    <a:pt x="67" y="1"/>
                  </a:cubicBezTo>
                  <a:cubicBezTo>
                    <a:pt x="67" y="1"/>
                    <a:pt x="67" y="1"/>
                    <a:pt x="67" y="1"/>
                  </a:cubicBezTo>
                  <a:cubicBezTo>
                    <a:pt x="44" y="2"/>
                    <a:pt x="22" y="6"/>
                    <a:pt x="0" y="9"/>
                  </a:cubicBezTo>
                  <a:lnTo>
                    <a:pt x="9" y="49"/>
                  </a:lnTo>
                  <a:cubicBezTo>
                    <a:pt x="37" y="43"/>
                    <a:pt x="65" y="39"/>
                    <a:pt x="93" y="39"/>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39">
              <a:extLst>
                <a:ext uri="{FF2B5EF4-FFF2-40B4-BE49-F238E27FC236}">
                  <a16:creationId xmlns:a16="http://schemas.microsoft.com/office/drawing/2014/main" id="{D92DA7CC-0034-50D4-6FAA-FD1431DB82D8}"/>
                </a:ext>
              </a:extLst>
            </p:cNvPr>
            <p:cNvSpPr>
              <a:spLocks/>
            </p:cNvSpPr>
            <p:nvPr/>
          </p:nvSpPr>
          <p:spPr bwMode="auto">
            <a:xfrm>
              <a:off x="2357" y="1993"/>
              <a:ext cx="36" cy="44"/>
            </a:xfrm>
            <a:custGeom>
              <a:avLst/>
              <a:gdLst>
                <a:gd name="T0" fmla="*/ 79 w 79"/>
                <a:gd name="T1" fmla="*/ 24 h 97"/>
                <a:gd name="T2" fmla="*/ 8 w 79"/>
                <a:gd name="T3" fmla="*/ 64 h 97"/>
                <a:gd name="T4" fmla="*/ 8 w 79"/>
                <a:gd name="T5" fmla="*/ 64 h 97"/>
                <a:gd name="T6" fmla="*/ 7 w 79"/>
                <a:gd name="T7" fmla="*/ 65 h 97"/>
                <a:gd name="T8" fmla="*/ 7 w 79"/>
                <a:gd name="T9" fmla="*/ 65 h 97"/>
                <a:gd name="T10" fmla="*/ 7 w 79"/>
                <a:gd name="T11" fmla="*/ 66 h 97"/>
                <a:gd name="T12" fmla="*/ 7 w 79"/>
                <a:gd name="T13" fmla="*/ 67 h 97"/>
                <a:gd name="T14" fmla="*/ 6 w 79"/>
                <a:gd name="T15" fmla="*/ 68 h 97"/>
                <a:gd name="T16" fmla="*/ 6 w 79"/>
                <a:gd name="T17" fmla="*/ 68 h 97"/>
                <a:gd name="T18" fmla="*/ 6 w 79"/>
                <a:gd name="T19" fmla="*/ 68 h 97"/>
                <a:gd name="T20" fmla="*/ 6 w 79"/>
                <a:gd name="T21" fmla="*/ 68 h 97"/>
                <a:gd name="T22" fmla="*/ 6 w 79"/>
                <a:gd name="T23" fmla="*/ 68 h 97"/>
                <a:gd name="T24" fmla="*/ 6 w 79"/>
                <a:gd name="T25" fmla="*/ 69 h 97"/>
                <a:gd name="T26" fmla="*/ 6 w 79"/>
                <a:gd name="T27" fmla="*/ 69 h 97"/>
                <a:gd name="T28" fmla="*/ 6 w 79"/>
                <a:gd name="T29" fmla="*/ 69 h 97"/>
                <a:gd name="T30" fmla="*/ 5 w 79"/>
                <a:gd name="T31" fmla="*/ 69 h 97"/>
                <a:gd name="T32" fmla="*/ 5 w 79"/>
                <a:gd name="T33" fmla="*/ 69 h 97"/>
                <a:gd name="T34" fmla="*/ 5 w 79"/>
                <a:gd name="T35" fmla="*/ 69 h 97"/>
                <a:gd name="T36" fmla="*/ 5 w 79"/>
                <a:gd name="T37" fmla="*/ 70 h 97"/>
                <a:gd name="T38" fmla="*/ 5 w 79"/>
                <a:gd name="T39" fmla="*/ 70 h 97"/>
                <a:gd name="T40" fmla="*/ 5 w 79"/>
                <a:gd name="T41" fmla="*/ 70 h 97"/>
                <a:gd name="T42" fmla="*/ 5 w 79"/>
                <a:gd name="T43" fmla="*/ 70 h 97"/>
                <a:gd name="T44" fmla="*/ 5 w 79"/>
                <a:gd name="T45" fmla="*/ 70 h 97"/>
                <a:gd name="T46" fmla="*/ 5 w 79"/>
                <a:gd name="T47" fmla="*/ 70 h 97"/>
                <a:gd name="T48" fmla="*/ 5 w 79"/>
                <a:gd name="T49" fmla="*/ 71 h 97"/>
                <a:gd name="T50" fmla="*/ 5 w 79"/>
                <a:gd name="T51" fmla="*/ 71 h 97"/>
                <a:gd name="T52" fmla="*/ 5 w 79"/>
                <a:gd name="T53" fmla="*/ 71 h 97"/>
                <a:gd name="T54" fmla="*/ 5 w 79"/>
                <a:gd name="T55" fmla="*/ 71 h 97"/>
                <a:gd name="T56" fmla="*/ 4 w 79"/>
                <a:gd name="T57" fmla="*/ 71 h 97"/>
                <a:gd name="T58" fmla="*/ 4 w 79"/>
                <a:gd name="T59" fmla="*/ 71 h 97"/>
                <a:gd name="T60" fmla="*/ 4 w 79"/>
                <a:gd name="T61" fmla="*/ 72 h 97"/>
                <a:gd name="T62" fmla="*/ 4 w 79"/>
                <a:gd name="T63" fmla="*/ 72 h 97"/>
                <a:gd name="T64" fmla="*/ 4 w 79"/>
                <a:gd name="T65" fmla="*/ 72 h 97"/>
                <a:gd name="T66" fmla="*/ 4 w 79"/>
                <a:gd name="T67" fmla="*/ 72 h 97"/>
                <a:gd name="T68" fmla="*/ 4 w 79"/>
                <a:gd name="T69" fmla="*/ 73 h 97"/>
                <a:gd name="T70" fmla="*/ 4 w 79"/>
                <a:gd name="T71" fmla="*/ 73 h 97"/>
                <a:gd name="T72" fmla="*/ 4 w 79"/>
                <a:gd name="T73" fmla="*/ 73 h 97"/>
                <a:gd name="T74" fmla="*/ 4 w 79"/>
                <a:gd name="T75" fmla="*/ 73 h 97"/>
                <a:gd name="T76" fmla="*/ 4 w 79"/>
                <a:gd name="T77" fmla="*/ 73 h 97"/>
                <a:gd name="T78" fmla="*/ 3 w 79"/>
                <a:gd name="T79" fmla="*/ 74 h 97"/>
                <a:gd name="T80" fmla="*/ 3 w 79"/>
                <a:gd name="T81" fmla="*/ 74 h 97"/>
                <a:gd name="T82" fmla="*/ 3 w 79"/>
                <a:gd name="T83" fmla="*/ 74 h 97"/>
                <a:gd name="T84" fmla="*/ 3 w 79"/>
                <a:gd name="T85" fmla="*/ 74 h 97"/>
                <a:gd name="T86" fmla="*/ 0 w 79"/>
                <a:gd name="T87" fmla="*/ 81 h 97"/>
                <a:gd name="T88" fmla="*/ 79 w 79"/>
                <a:gd name="T89" fmla="*/ 2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 h="97">
                  <a:moveTo>
                    <a:pt x="79" y="24"/>
                  </a:moveTo>
                  <a:lnTo>
                    <a:pt x="79" y="24"/>
                  </a:lnTo>
                  <a:lnTo>
                    <a:pt x="47" y="0"/>
                  </a:lnTo>
                  <a:cubicBezTo>
                    <a:pt x="32" y="20"/>
                    <a:pt x="19" y="42"/>
                    <a:pt x="8" y="64"/>
                  </a:cubicBezTo>
                  <a:cubicBezTo>
                    <a:pt x="8" y="64"/>
                    <a:pt x="8" y="64"/>
                    <a:pt x="8" y="64"/>
                  </a:cubicBezTo>
                  <a:cubicBezTo>
                    <a:pt x="8" y="64"/>
                    <a:pt x="8" y="64"/>
                    <a:pt x="8" y="64"/>
                  </a:cubicBezTo>
                  <a:cubicBezTo>
                    <a:pt x="8" y="65"/>
                    <a:pt x="7" y="65"/>
                    <a:pt x="7" y="65"/>
                  </a:cubicBezTo>
                  <a:lnTo>
                    <a:pt x="7" y="65"/>
                  </a:lnTo>
                  <a:cubicBezTo>
                    <a:pt x="7" y="65"/>
                    <a:pt x="7" y="65"/>
                    <a:pt x="7" y="65"/>
                  </a:cubicBezTo>
                  <a:lnTo>
                    <a:pt x="7" y="65"/>
                  </a:lnTo>
                  <a:cubicBezTo>
                    <a:pt x="7" y="66"/>
                    <a:pt x="7" y="66"/>
                    <a:pt x="7" y="66"/>
                  </a:cubicBezTo>
                  <a:cubicBezTo>
                    <a:pt x="7" y="66"/>
                    <a:pt x="7" y="66"/>
                    <a:pt x="7" y="66"/>
                  </a:cubicBezTo>
                  <a:cubicBezTo>
                    <a:pt x="7" y="67"/>
                    <a:pt x="7" y="67"/>
                    <a:pt x="7" y="67"/>
                  </a:cubicBezTo>
                  <a:lnTo>
                    <a:pt x="7" y="67"/>
                  </a:lnTo>
                  <a:cubicBezTo>
                    <a:pt x="7" y="67"/>
                    <a:pt x="6" y="67"/>
                    <a:pt x="6" y="68"/>
                  </a:cubicBezTo>
                  <a:cubicBezTo>
                    <a:pt x="6" y="68"/>
                    <a:pt x="6" y="68"/>
                    <a:pt x="6" y="68"/>
                  </a:cubicBezTo>
                  <a:cubicBezTo>
                    <a:pt x="6" y="68"/>
                    <a:pt x="6" y="68"/>
                    <a:pt x="6" y="68"/>
                  </a:cubicBezTo>
                  <a:cubicBezTo>
                    <a:pt x="6" y="68"/>
                    <a:pt x="6" y="68"/>
                    <a:pt x="6" y="68"/>
                  </a:cubicBezTo>
                  <a:cubicBezTo>
                    <a:pt x="6" y="68"/>
                    <a:pt x="6" y="68"/>
                    <a:pt x="6" y="68"/>
                  </a:cubicBezTo>
                  <a:cubicBezTo>
                    <a:pt x="6" y="68"/>
                    <a:pt x="6" y="68"/>
                    <a:pt x="6" y="68"/>
                  </a:cubicBezTo>
                  <a:cubicBezTo>
                    <a:pt x="6" y="68"/>
                    <a:pt x="6" y="68"/>
                    <a:pt x="6" y="68"/>
                  </a:cubicBezTo>
                  <a:cubicBezTo>
                    <a:pt x="6" y="68"/>
                    <a:pt x="6" y="68"/>
                    <a:pt x="6" y="68"/>
                  </a:cubicBezTo>
                  <a:cubicBezTo>
                    <a:pt x="6" y="68"/>
                    <a:pt x="6" y="68"/>
                    <a:pt x="6" y="68"/>
                  </a:cubicBezTo>
                  <a:lnTo>
                    <a:pt x="6" y="68"/>
                  </a:lnTo>
                  <a:cubicBezTo>
                    <a:pt x="6" y="68"/>
                    <a:pt x="6" y="69"/>
                    <a:pt x="6" y="69"/>
                  </a:cubicBezTo>
                  <a:cubicBezTo>
                    <a:pt x="6" y="69"/>
                    <a:pt x="6" y="69"/>
                    <a:pt x="6" y="69"/>
                  </a:cubicBezTo>
                  <a:cubicBezTo>
                    <a:pt x="6" y="69"/>
                    <a:pt x="6" y="69"/>
                    <a:pt x="6" y="69"/>
                  </a:cubicBezTo>
                  <a:cubicBezTo>
                    <a:pt x="6" y="69"/>
                    <a:pt x="6" y="69"/>
                    <a:pt x="6" y="69"/>
                  </a:cubicBezTo>
                  <a:cubicBezTo>
                    <a:pt x="6" y="69"/>
                    <a:pt x="6" y="69"/>
                    <a:pt x="6" y="69"/>
                  </a:cubicBezTo>
                  <a:cubicBezTo>
                    <a:pt x="6" y="69"/>
                    <a:pt x="6" y="69"/>
                    <a:pt x="6" y="69"/>
                  </a:cubicBezTo>
                  <a:cubicBezTo>
                    <a:pt x="6" y="69"/>
                    <a:pt x="6" y="69"/>
                    <a:pt x="5" y="69"/>
                  </a:cubicBezTo>
                  <a:cubicBezTo>
                    <a:pt x="5" y="69"/>
                    <a:pt x="5" y="69"/>
                    <a:pt x="5" y="69"/>
                  </a:cubicBezTo>
                  <a:cubicBezTo>
                    <a:pt x="5" y="69"/>
                    <a:pt x="5" y="69"/>
                    <a:pt x="5" y="69"/>
                  </a:cubicBezTo>
                  <a:cubicBezTo>
                    <a:pt x="5" y="69"/>
                    <a:pt x="5" y="69"/>
                    <a:pt x="5" y="69"/>
                  </a:cubicBezTo>
                  <a:cubicBezTo>
                    <a:pt x="5" y="69"/>
                    <a:pt x="5" y="69"/>
                    <a:pt x="5" y="69"/>
                  </a:cubicBezTo>
                  <a:cubicBezTo>
                    <a:pt x="5" y="69"/>
                    <a:pt x="5" y="69"/>
                    <a:pt x="5" y="69"/>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1"/>
                    <a:pt x="5" y="71"/>
                    <a:pt x="5" y="71"/>
                  </a:cubicBezTo>
                  <a:cubicBezTo>
                    <a:pt x="5" y="71"/>
                    <a:pt x="5" y="71"/>
                    <a:pt x="5" y="71"/>
                  </a:cubicBezTo>
                  <a:cubicBezTo>
                    <a:pt x="5" y="71"/>
                    <a:pt x="5" y="71"/>
                    <a:pt x="5" y="71"/>
                  </a:cubicBezTo>
                  <a:cubicBezTo>
                    <a:pt x="5" y="71"/>
                    <a:pt x="5" y="71"/>
                    <a:pt x="5" y="71"/>
                  </a:cubicBezTo>
                  <a:cubicBezTo>
                    <a:pt x="5" y="71"/>
                    <a:pt x="5" y="71"/>
                    <a:pt x="5" y="71"/>
                  </a:cubicBezTo>
                  <a:cubicBezTo>
                    <a:pt x="5" y="71"/>
                    <a:pt x="5" y="71"/>
                    <a:pt x="5" y="71"/>
                  </a:cubicBezTo>
                  <a:cubicBezTo>
                    <a:pt x="5" y="71"/>
                    <a:pt x="5" y="71"/>
                    <a:pt x="5" y="71"/>
                  </a:cubicBezTo>
                  <a:cubicBezTo>
                    <a:pt x="5" y="71"/>
                    <a:pt x="5" y="71"/>
                    <a:pt x="5" y="71"/>
                  </a:cubicBezTo>
                  <a:cubicBezTo>
                    <a:pt x="5" y="71"/>
                    <a:pt x="4" y="71"/>
                    <a:pt x="4" y="71"/>
                  </a:cubicBezTo>
                  <a:cubicBezTo>
                    <a:pt x="4" y="71"/>
                    <a:pt x="4" y="71"/>
                    <a:pt x="4" y="71"/>
                  </a:cubicBezTo>
                  <a:cubicBezTo>
                    <a:pt x="4" y="71"/>
                    <a:pt x="4" y="71"/>
                    <a:pt x="4" y="71"/>
                  </a:cubicBezTo>
                  <a:cubicBezTo>
                    <a:pt x="4" y="71"/>
                    <a:pt x="4" y="71"/>
                    <a:pt x="4" y="71"/>
                  </a:cubicBezTo>
                  <a:cubicBezTo>
                    <a:pt x="4" y="72"/>
                    <a:pt x="4" y="72"/>
                    <a:pt x="4" y="72"/>
                  </a:cubicBezTo>
                  <a:cubicBezTo>
                    <a:pt x="4" y="72"/>
                    <a:pt x="4" y="72"/>
                    <a:pt x="4" y="72"/>
                  </a:cubicBezTo>
                  <a:cubicBezTo>
                    <a:pt x="4" y="72"/>
                    <a:pt x="4" y="72"/>
                    <a:pt x="4" y="72"/>
                  </a:cubicBezTo>
                  <a:cubicBezTo>
                    <a:pt x="4" y="72"/>
                    <a:pt x="4" y="72"/>
                    <a:pt x="4" y="72"/>
                  </a:cubicBezTo>
                  <a:cubicBezTo>
                    <a:pt x="4" y="72"/>
                    <a:pt x="4" y="72"/>
                    <a:pt x="4" y="72"/>
                  </a:cubicBezTo>
                  <a:cubicBezTo>
                    <a:pt x="4" y="72"/>
                    <a:pt x="4" y="72"/>
                    <a:pt x="4" y="72"/>
                  </a:cubicBezTo>
                  <a:cubicBezTo>
                    <a:pt x="4" y="72"/>
                    <a:pt x="4" y="72"/>
                    <a:pt x="4" y="72"/>
                  </a:cubicBezTo>
                  <a:cubicBezTo>
                    <a:pt x="4" y="72"/>
                    <a:pt x="4" y="72"/>
                    <a:pt x="4" y="72"/>
                  </a:cubicBezTo>
                  <a:cubicBezTo>
                    <a:pt x="4" y="72"/>
                    <a:pt x="4" y="72"/>
                    <a:pt x="4" y="72"/>
                  </a:cubicBezTo>
                  <a:cubicBezTo>
                    <a:pt x="4" y="72"/>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3" y="73"/>
                    <a:pt x="3" y="74"/>
                    <a:pt x="3" y="74"/>
                  </a:cubicBezTo>
                  <a:cubicBezTo>
                    <a:pt x="3" y="74"/>
                    <a:pt x="3" y="74"/>
                    <a:pt x="3" y="74"/>
                  </a:cubicBezTo>
                  <a:cubicBezTo>
                    <a:pt x="3" y="74"/>
                    <a:pt x="3" y="74"/>
                    <a:pt x="3" y="74"/>
                  </a:cubicBezTo>
                  <a:cubicBezTo>
                    <a:pt x="3" y="74"/>
                    <a:pt x="3" y="74"/>
                    <a:pt x="3" y="74"/>
                  </a:cubicBezTo>
                  <a:cubicBezTo>
                    <a:pt x="3" y="74"/>
                    <a:pt x="3" y="74"/>
                    <a:pt x="3" y="74"/>
                  </a:cubicBezTo>
                  <a:cubicBezTo>
                    <a:pt x="3" y="74"/>
                    <a:pt x="3" y="74"/>
                    <a:pt x="3" y="74"/>
                  </a:cubicBezTo>
                  <a:cubicBezTo>
                    <a:pt x="3" y="74"/>
                    <a:pt x="3" y="74"/>
                    <a:pt x="3" y="74"/>
                  </a:cubicBezTo>
                  <a:cubicBezTo>
                    <a:pt x="3" y="75"/>
                    <a:pt x="3" y="75"/>
                    <a:pt x="3" y="75"/>
                  </a:cubicBezTo>
                  <a:cubicBezTo>
                    <a:pt x="2" y="77"/>
                    <a:pt x="1" y="79"/>
                    <a:pt x="0" y="81"/>
                  </a:cubicBezTo>
                  <a:lnTo>
                    <a:pt x="37" y="97"/>
                  </a:lnTo>
                  <a:cubicBezTo>
                    <a:pt x="48" y="71"/>
                    <a:pt x="63" y="46"/>
                    <a:pt x="79" y="24"/>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40">
              <a:extLst>
                <a:ext uri="{FF2B5EF4-FFF2-40B4-BE49-F238E27FC236}">
                  <a16:creationId xmlns:a16="http://schemas.microsoft.com/office/drawing/2014/main" id="{EF0B50E9-D3EA-1ADA-138B-68A5366047BE}"/>
                </a:ext>
              </a:extLst>
            </p:cNvPr>
            <p:cNvSpPr>
              <a:spLocks/>
            </p:cNvSpPr>
            <p:nvPr/>
          </p:nvSpPr>
          <p:spPr bwMode="auto">
            <a:xfrm>
              <a:off x="2690" y="2012"/>
              <a:ext cx="33" cy="44"/>
            </a:xfrm>
            <a:custGeom>
              <a:avLst/>
              <a:gdLst>
                <a:gd name="T0" fmla="*/ 33 w 71"/>
                <a:gd name="T1" fmla="*/ 97 h 97"/>
                <a:gd name="T2" fmla="*/ 33 w 71"/>
                <a:gd name="T3" fmla="*/ 97 h 97"/>
                <a:gd name="T4" fmla="*/ 71 w 71"/>
                <a:gd name="T5" fmla="*/ 86 h 97"/>
                <a:gd name="T6" fmla="*/ 35 w 71"/>
                <a:gd name="T7" fmla="*/ 0 h 97"/>
                <a:gd name="T8" fmla="*/ 0 w 71"/>
                <a:gd name="T9" fmla="*/ 20 h 97"/>
                <a:gd name="T10" fmla="*/ 33 w 71"/>
                <a:gd name="T11" fmla="*/ 97 h 97"/>
              </a:gdLst>
              <a:ahLst/>
              <a:cxnLst>
                <a:cxn ang="0">
                  <a:pos x="T0" y="T1"/>
                </a:cxn>
                <a:cxn ang="0">
                  <a:pos x="T2" y="T3"/>
                </a:cxn>
                <a:cxn ang="0">
                  <a:pos x="T4" y="T5"/>
                </a:cxn>
                <a:cxn ang="0">
                  <a:pos x="T6" y="T7"/>
                </a:cxn>
                <a:cxn ang="0">
                  <a:pos x="T8" y="T9"/>
                </a:cxn>
                <a:cxn ang="0">
                  <a:pos x="T10" y="T11"/>
                </a:cxn>
              </a:cxnLst>
              <a:rect l="0" t="0" r="r" b="b"/>
              <a:pathLst>
                <a:path w="71" h="97">
                  <a:moveTo>
                    <a:pt x="33" y="97"/>
                  </a:moveTo>
                  <a:lnTo>
                    <a:pt x="33" y="97"/>
                  </a:lnTo>
                  <a:lnTo>
                    <a:pt x="71" y="86"/>
                  </a:lnTo>
                  <a:cubicBezTo>
                    <a:pt x="62" y="55"/>
                    <a:pt x="50" y="27"/>
                    <a:pt x="35" y="0"/>
                  </a:cubicBezTo>
                  <a:lnTo>
                    <a:pt x="0" y="20"/>
                  </a:lnTo>
                  <a:cubicBezTo>
                    <a:pt x="14" y="44"/>
                    <a:pt x="25" y="70"/>
                    <a:pt x="33" y="97"/>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41">
              <a:extLst>
                <a:ext uri="{FF2B5EF4-FFF2-40B4-BE49-F238E27FC236}">
                  <a16:creationId xmlns:a16="http://schemas.microsoft.com/office/drawing/2014/main" id="{5037AB96-0889-69F9-4D38-E3F5F6708F25}"/>
                </a:ext>
              </a:extLst>
            </p:cNvPr>
            <p:cNvSpPr>
              <a:spLocks/>
            </p:cNvSpPr>
            <p:nvPr/>
          </p:nvSpPr>
          <p:spPr bwMode="auto">
            <a:xfrm>
              <a:off x="2656" y="1964"/>
              <a:ext cx="40" cy="43"/>
            </a:xfrm>
            <a:custGeom>
              <a:avLst/>
              <a:gdLst>
                <a:gd name="T0" fmla="*/ 55 w 88"/>
                <a:gd name="T1" fmla="*/ 93 h 93"/>
                <a:gd name="T2" fmla="*/ 55 w 88"/>
                <a:gd name="T3" fmla="*/ 93 h 93"/>
                <a:gd name="T4" fmla="*/ 88 w 88"/>
                <a:gd name="T5" fmla="*/ 70 h 93"/>
                <a:gd name="T6" fmla="*/ 76 w 88"/>
                <a:gd name="T7" fmla="*/ 53 h 93"/>
                <a:gd name="T8" fmla="*/ 76 w 88"/>
                <a:gd name="T9" fmla="*/ 53 h 93"/>
                <a:gd name="T10" fmla="*/ 76 w 88"/>
                <a:gd name="T11" fmla="*/ 53 h 93"/>
                <a:gd name="T12" fmla="*/ 76 w 88"/>
                <a:gd name="T13" fmla="*/ 53 h 93"/>
                <a:gd name="T14" fmla="*/ 76 w 88"/>
                <a:gd name="T15" fmla="*/ 53 h 93"/>
                <a:gd name="T16" fmla="*/ 76 w 88"/>
                <a:gd name="T17" fmla="*/ 53 h 93"/>
                <a:gd name="T18" fmla="*/ 75 w 88"/>
                <a:gd name="T19" fmla="*/ 52 h 93"/>
                <a:gd name="T20" fmla="*/ 75 w 88"/>
                <a:gd name="T21" fmla="*/ 52 h 93"/>
                <a:gd name="T22" fmla="*/ 75 w 88"/>
                <a:gd name="T23" fmla="*/ 52 h 93"/>
                <a:gd name="T24" fmla="*/ 75 w 88"/>
                <a:gd name="T25" fmla="*/ 52 h 93"/>
                <a:gd name="T26" fmla="*/ 75 w 88"/>
                <a:gd name="T27" fmla="*/ 52 h 93"/>
                <a:gd name="T28" fmla="*/ 75 w 88"/>
                <a:gd name="T29" fmla="*/ 52 h 93"/>
                <a:gd name="T30" fmla="*/ 75 w 88"/>
                <a:gd name="T31" fmla="*/ 52 h 93"/>
                <a:gd name="T32" fmla="*/ 75 w 88"/>
                <a:gd name="T33" fmla="*/ 52 h 93"/>
                <a:gd name="T34" fmla="*/ 75 w 88"/>
                <a:gd name="T35" fmla="*/ 52 h 93"/>
                <a:gd name="T36" fmla="*/ 75 w 88"/>
                <a:gd name="T37" fmla="*/ 52 h 93"/>
                <a:gd name="T38" fmla="*/ 75 w 88"/>
                <a:gd name="T39" fmla="*/ 51 h 93"/>
                <a:gd name="T40" fmla="*/ 75 w 88"/>
                <a:gd name="T41" fmla="*/ 51 h 93"/>
                <a:gd name="T42" fmla="*/ 75 w 88"/>
                <a:gd name="T43" fmla="*/ 51 h 93"/>
                <a:gd name="T44" fmla="*/ 75 w 88"/>
                <a:gd name="T45" fmla="*/ 51 h 93"/>
                <a:gd name="T46" fmla="*/ 74 w 88"/>
                <a:gd name="T47" fmla="*/ 51 h 93"/>
                <a:gd name="T48" fmla="*/ 74 w 88"/>
                <a:gd name="T49" fmla="*/ 51 h 93"/>
                <a:gd name="T50" fmla="*/ 74 w 88"/>
                <a:gd name="T51" fmla="*/ 51 h 93"/>
                <a:gd name="T52" fmla="*/ 74 w 88"/>
                <a:gd name="T53" fmla="*/ 51 h 93"/>
                <a:gd name="T54" fmla="*/ 74 w 88"/>
                <a:gd name="T55" fmla="*/ 51 h 93"/>
                <a:gd name="T56" fmla="*/ 74 w 88"/>
                <a:gd name="T57" fmla="*/ 51 h 93"/>
                <a:gd name="T58" fmla="*/ 74 w 88"/>
                <a:gd name="T59" fmla="*/ 51 h 93"/>
                <a:gd name="T60" fmla="*/ 74 w 88"/>
                <a:gd name="T61" fmla="*/ 51 h 93"/>
                <a:gd name="T62" fmla="*/ 74 w 88"/>
                <a:gd name="T63" fmla="*/ 51 h 93"/>
                <a:gd name="T64" fmla="*/ 74 w 88"/>
                <a:gd name="T65" fmla="*/ 51 h 93"/>
                <a:gd name="T66" fmla="*/ 74 w 88"/>
                <a:gd name="T67" fmla="*/ 50 h 93"/>
                <a:gd name="T68" fmla="*/ 74 w 88"/>
                <a:gd name="T69" fmla="*/ 50 h 93"/>
                <a:gd name="T70" fmla="*/ 74 w 88"/>
                <a:gd name="T71" fmla="*/ 50 h 93"/>
                <a:gd name="T72" fmla="*/ 74 w 88"/>
                <a:gd name="T73" fmla="*/ 50 h 93"/>
                <a:gd name="T74" fmla="*/ 74 w 88"/>
                <a:gd name="T75" fmla="*/ 50 h 93"/>
                <a:gd name="T76" fmla="*/ 74 w 88"/>
                <a:gd name="T77" fmla="*/ 50 h 93"/>
                <a:gd name="T78" fmla="*/ 74 w 88"/>
                <a:gd name="T79" fmla="*/ 50 h 93"/>
                <a:gd name="T80" fmla="*/ 73 w 88"/>
                <a:gd name="T81" fmla="*/ 50 h 93"/>
                <a:gd name="T82" fmla="*/ 73 w 88"/>
                <a:gd name="T83" fmla="*/ 50 h 93"/>
                <a:gd name="T84" fmla="*/ 73 w 88"/>
                <a:gd name="T85" fmla="*/ 50 h 93"/>
                <a:gd name="T86" fmla="*/ 73 w 88"/>
                <a:gd name="T87" fmla="*/ 50 h 93"/>
                <a:gd name="T88" fmla="*/ 73 w 88"/>
                <a:gd name="T89" fmla="*/ 50 h 93"/>
                <a:gd name="T90" fmla="*/ 73 w 88"/>
                <a:gd name="T91" fmla="*/ 50 h 93"/>
                <a:gd name="T92" fmla="*/ 73 w 88"/>
                <a:gd name="T93" fmla="*/ 50 h 93"/>
                <a:gd name="T94" fmla="*/ 73 w 88"/>
                <a:gd name="T95" fmla="*/ 50 h 93"/>
                <a:gd name="T96" fmla="*/ 73 w 88"/>
                <a:gd name="T97" fmla="*/ 49 h 93"/>
                <a:gd name="T98" fmla="*/ 73 w 88"/>
                <a:gd name="T99" fmla="*/ 49 h 93"/>
                <a:gd name="T100" fmla="*/ 73 w 88"/>
                <a:gd name="T101" fmla="*/ 49 h 93"/>
                <a:gd name="T102" fmla="*/ 73 w 88"/>
                <a:gd name="T103" fmla="*/ 49 h 93"/>
                <a:gd name="T104" fmla="*/ 73 w 88"/>
                <a:gd name="T105" fmla="*/ 49 h 93"/>
                <a:gd name="T106" fmla="*/ 72 w 88"/>
                <a:gd name="T107" fmla="*/ 49 h 93"/>
                <a:gd name="T108" fmla="*/ 72 w 88"/>
                <a:gd name="T109" fmla="*/ 49 h 93"/>
                <a:gd name="T110" fmla="*/ 72 w 88"/>
                <a:gd name="T111" fmla="*/ 49 h 93"/>
                <a:gd name="T112" fmla="*/ 72 w 88"/>
                <a:gd name="T113" fmla="*/ 49 h 93"/>
                <a:gd name="T114" fmla="*/ 72 w 88"/>
                <a:gd name="T115" fmla="*/ 48 h 93"/>
                <a:gd name="T116" fmla="*/ 72 w 88"/>
                <a:gd name="T117" fmla="*/ 48 h 93"/>
                <a:gd name="T118" fmla="*/ 27 w 88"/>
                <a:gd name="T119" fmla="*/ 0 h 93"/>
                <a:gd name="T120" fmla="*/ 0 w 88"/>
                <a:gd name="T121" fmla="*/ 29 h 93"/>
                <a:gd name="T122" fmla="*/ 55 w 88"/>
                <a:gd name="T12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 h="93">
                  <a:moveTo>
                    <a:pt x="55" y="93"/>
                  </a:moveTo>
                  <a:lnTo>
                    <a:pt x="55" y="93"/>
                  </a:lnTo>
                  <a:lnTo>
                    <a:pt x="88" y="70"/>
                  </a:lnTo>
                  <a:cubicBezTo>
                    <a:pt x="84" y="64"/>
                    <a:pt x="80" y="58"/>
                    <a:pt x="76" y="53"/>
                  </a:cubicBezTo>
                  <a:cubicBezTo>
                    <a:pt x="76" y="53"/>
                    <a:pt x="76" y="53"/>
                    <a:pt x="76" y="53"/>
                  </a:cubicBezTo>
                  <a:cubicBezTo>
                    <a:pt x="76" y="53"/>
                    <a:pt x="76" y="53"/>
                    <a:pt x="76" y="53"/>
                  </a:cubicBezTo>
                  <a:lnTo>
                    <a:pt x="76" y="53"/>
                  </a:lnTo>
                  <a:cubicBezTo>
                    <a:pt x="76" y="53"/>
                    <a:pt x="76" y="53"/>
                    <a:pt x="76" y="53"/>
                  </a:cubicBezTo>
                  <a:cubicBezTo>
                    <a:pt x="76" y="53"/>
                    <a:pt x="76" y="53"/>
                    <a:pt x="76" y="53"/>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1"/>
                  </a:cubicBezTo>
                  <a:cubicBezTo>
                    <a:pt x="75" y="51"/>
                    <a:pt x="75" y="51"/>
                    <a:pt x="75" y="51"/>
                  </a:cubicBezTo>
                  <a:cubicBezTo>
                    <a:pt x="75" y="51"/>
                    <a:pt x="75" y="51"/>
                    <a:pt x="75" y="51"/>
                  </a:cubicBezTo>
                  <a:cubicBezTo>
                    <a:pt x="75" y="51"/>
                    <a:pt x="75" y="51"/>
                    <a:pt x="75"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0"/>
                  </a:cubicBezTo>
                  <a:cubicBezTo>
                    <a:pt x="74" y="50"/>
                    <a:pt x="74" y="50"/>
                    <a:pt x="74" y="50"/>
                  </a:cubicBezTo>
                  <a:cubicBezTo>
                    <a:pt x="74" y="50"/>
                    <a:pt x="74" y="50"/>
                    <a:pt x="74" y="50"/>
                  </a:cubicBezTo>
                  <a:cubicBezTo>
                    <a:pt x="74" y="50"/>
                    <a:pt x="74" y="50"/>
                    <a:pt x="74" y="50"/>
                  </a:cubicBezTo>
                  <a:cubicBezTo>
                    <a:pt x="74" y="50"/>
                    <a:pt x="74" y="50"/>
                    <a:pt x="74" y="50"/>
                  </a:cubicBezTo>
                  <a:cubicBezTo>
                    <a:pt x="74" y="50"/>
                    <a:pt x="74" y="50"/>
                    <a:pt x="74" y="50"/>
                  </a:cubicBezTo>
                  <a:cubicBezTo>
                    <a:pt x="74" y="50"/>
                    <a:pt x="74" y="50"/>
                    <a:pt x="74" y="50"/>
                  </a:cubicBezTo>
                  <a:cubicBezTo>
                    <a:pt x="73" y="50"/>
                    <a:pt x="73" y="50"/>
                    <a:pt x="73" y="50"/>
                  </a:cubicBezTo>
                  <a:cubicBezTo>
                    <a:pt x="73" y="50"/>
                    <a:pt x="73" y="50"/>
                    <a:pt x="73" y="50"/>
                  </a:cubicBezTo>
                  <a:cubicBezTo>
                    <a:pt x="73" y="50"/>
                    <a:pt x="73" y="50"/>
                    <a:pt x="73" y="50"/>
                  </a:cubicBezTo>
                  <a:cubicBezTo>
                    <a:pt x="73" y="50"/>
                    <a:pt x="73" y="50"/>
                    <a:pt x="73" y="50"/>
                  </a:cubicBezTo>
                  <a:cubicBezTo>
                    <a:pt x="73" y="50"/>
                    <a:pt x="73" y="50"/>
                    <a:pt x="73" y="50"/>
                  </a:cubicBezTo>
                  <a:cubicBezTo>
                    <a:pt x="73" y="50"/>
                    <a:pt x="73" y="50"/>
                    <a:pt x="73" y="50"/>
                  </a:cubicBezTo>
                  <a:cubicBezTo>
                    <a:pt x="73" y="50"/>
                    <a:pt x="73" y="50"/>
                    <a:pt x="73" y="50"/>
                  </a:cubicBezTo>
                  <a:cubicBezTo>
                    <a:pt x="73" y="50"/>
                    <a:pt x="73" y="50"/>
                    <a:pt x="73" y="50"/>
                  </a:cubicBezTo>
                  <a:cubicBezTo>
                    <a:pt x="73" y="49"/>
                    <a:pt x="73" y="49"/>
                    <a:pt x="73" y="49"/>
                  </a:cubicBezTo>
                  <a:cubicBezTo>
                    <a:pt x="73" y="49"/>
                    <a:pt x="73" y="49"/>
                    <a:pt x="73" y="49"/>
                  </a:cubicBezTo>
                  <a:cubicBezTo>
                    <a:pt x="73" y="49"/>
                    <a:pt x="73" y="49"/>
                    <a:pt x="73" y="49"/>
                  </a:cubicBezTo>
                  <a:cubicBezTo>
                    <a:pt x="73" y="49"/>
                    <a:pt x="73" y="49"/>
                    <a:pt x="73" y="49"/>
                  </a:cubicBezTo>
                  <a:cubicBezTo>
                    <a:pt x="73" y="49"/>
                    <a:pt x="73" y="49"/>
                    <a:pt x="73" y="49"/>
                  </a:cubicBezTo>
                  <a:cubicBezTo>
                    <a:pt x="72" y="49"/>
                    <a:pt x="72" y="49"/>
                    <a:pt x="72" y="49"/>
                  </a:cubicBezTo>
                  <a:lnTo>
                    <a:pt x="72" y="49"/>
                  </a:lnTo>
                  <a:cubicBezTo>
                    <a:pt x="72" y="49"/>
                    <a:pt x="72" y="49"/>
                    <a:pt x="72" y="49"/>
                  </a:cubicBezTo>
                  <a:cubicBezTo>
                    <a:pt x="72" y="49"/>
                    <a:pt x="72" y="49"/>
                    <a:pt x="72" y="49"/>
                  </a:cubicBezTo>
                  <a:cubicBezTo>
                    <a:pt x="72" y="48"/>
                    <a:pt x="72" y="48"/>
                    <a:pt x="72" y="48"/>
                  </a:cubicBezTo>
                  <a:cubicBezTo>
                    <a:pt x="72" y="48"/>
                    <a:pt x="72" y="48"/>
                    <a:pt x="72" y="48"/>
                  </a:cubicBezTo>
                  <a:cubicBezTo>
                    <a:pt x="58" y="31"/>
                    <a:pt x="43" y="15"/>
                    <a:pt x="27" y="0"/>
                  </a:cubicBezTo>
                  <a:lnTo>
                    <a:pt x="0" y="29"/>
                  </a:lnTo>
                  <a:cubicBezTo>
                    <a:pt x="20" y="48"/>
                    <a:pt x="39" y="70"/>
                    <a:pt x="55" y="93"/>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42">
              <a:extLst>
                <a:ext uri="{FF2B5EF4-FFF2-40B4-BE49-F238E27FC236}">
                  <a16:creationId xmlns:a16="http://schemas.microsoft.com/office/drawing/2014/main" id="{02E928E7-92AE-3609-0A1B-AE23087C7263}"/>
                </a:ext>
              </a:extLst>
            </p:cNvPr>
            <p:cNvSpPr>
              <a:spLocks/>
            </p:cNvSpPr>
            <p:nvPr/>
          </p:nvSpPr>
          <p:spPr bwMode="auto">
            <a:xfrm>
              <a:off x="2557" y="1914"/>
              <a:ext cx="43" cy="27"/>
            </a:xfrm>
            <a:custGeom>
              <a:avLst/>
              <a:gdLst>
                <a:gd name="T0" fmla="*/ 62 w 96"/>
                <a:gd name="T1" fmla="*/ 10 h 58"/>
                <a:gd name="T2" fmla="*/ 61 w 96"/>
                <a:gd name="T3" fmla="*/ 9 h 58"/>
                <a:gd name="T4" fmla="*/ 61 w 96"/>
                <a:gd name="T5" fmla="*/ 9 h 58"/>
                <a:gd name="T6" fmla="*/ 61 w 96"/>
                <a:gd name="T7" fmla="*/ 9 h 58"/>
                <a:gd name="T8" fmla="*/ 60 w 96"/>
                <a:gd name="T9" fmla="*/ 9 h 58"/>
                <a:gd name="T10" fmla="*/ 59 w 96"/>
                <a:gd name="T11" fmla="*/ 9 h 58"/>
                <a:gd name="T12" fmla="*/ 59 w 96"/>
                <a:gd name="T13" fmla="*/ 9 h 58"/>
                <a:gd name="T14" fmla="*/ 59 w 96"/>
                <a:gd name="T15" fmla="*/ 9 h 58"/>
                <a:gd name="T16" fmla="*/ 59 w 96"/>
                <a:gd name="T17" fmla="*/ 9 h 58"/>
                <a:gd name="T18" fmla="*/ 58 w 96"/>
                <a:gd name="T19" fmla="*/ 9 h 58"/>
                <a:gd name="T20" fmla="*/ 58 w 96"/>
                <a:gd name="T21" fmla="*/ 9 h 58"/>
                <a:gd name="T22" fmla="*/ 58 w 96"/>
                <a:gd name="T23" fmla="*/ 9 h 58"/>
                <a:gd name="T24" fmla="*/ 57 w 96"/>
                <a:gd name="T25" fmla="*/ 8 h 58"/>
                <a:gd name="T26" fmla="*/ 57 w 96"/>
                <a:gd name="T27" fmla="*/ 8 h 58"/>
                <a:gd name="T28" fmla="*/ 57 w 96"/>
                <a:gd name="T29" fmla="*/ 8 h 58"/>
                <a:gd name="T30" fmla="*/ 57 w 96"/>
                <a:gd name="T31" fmla="*/ 8 h 58"/>
                <a:gd name="T32" fmla="*/ 56 w 96"/>
                <a:gd name="T33" fmla="*/ 8 h 58"/>
                <a:gd name="T34" fmla="*/ 56 w 96"/>
                <a:gd name="T35" fmla="*/ 8 h 58"/>
                <a:gd name="T36" fmla="*/ 56 w 96"/>
                <a:gd name="T37" fmla="*/ 8 h 58"/>
                <a:gd name="T38" fmla="*/ 55 w 96"/>
                <a:gd name="T39" fmla="*/ 8 h 58"/>
                <a:gd name="T40" fmla="*/ 55 w 96"/>
                <a:gd name="T41" fmla="*/ 8 h 58"/>
                <a:gd name="T42" fmla="*/ 55 w 96"/>
                <a:gd name="T43" fmla="*/ 8 h 58"/>
                <a:gd name="T44" fmla="*/ 55 w 96"/>
                <a:gd name="T45" fmla="*/ 8 h 58"/>
                <a:gd name="T46" fmla="*/ 54 w 96"/>
                <a:gd name="T47" fmla="*/ 8 h 58"/>
                <a:gd name="T48" fmla="*/ 54 w 96"/>
                <a:gd name="T49" fmla="*/ 8 h 58"/>
                <a:gd name="T50" fmla="*/ 54 w 96"/>
                <a:gd name="T51" fmla="*/ 8 h 58"/>
                <a:gd name="T52" fmla="*/ 53 w 96"/>
                <a:gd name="T53" fmla="*/ 8 h 58"/>
                <a:gd name="T54" fmla="*/ 53 w 96"/>
                <a:gd name="T55" fmla="*/ 7 h 58"/>
                <a:gd name="T56" fmla="*/ 53 w 96"/>
                <a:gd name="T57" fmla="*/ 7 h 58"/>
                <a:gd name="T58" fmla="*/ 52 w 96"/>
                <a:gd name="T59" fmla="*/ 7 h 58"/>
                <a:gd name="T60" fmla="*/ 52 w 96"/>
                <a:gd name="T61" fmla="*/ 7 h 58"/>
                <a:gd name="T62" fmla="*/ 52 w 96"/>
                <a:gd name="T63" fmla="*/ 7 h 58"/>
                <a:gd name="T64" fmla="*/ 52 w 96"/>
                <a:gd name="T65" fmla="*/ 7 h 58"/>
                <a:gd name="T66" fmla="*/ 51 w 96"/>
                <a:gd name="T67" fmla="*/ 7 h 58"/>
                <a:gd name="T68" fmla="*/ 50 w 96"/>
                <a:gd name="T69" fmla="*/ 7 h 58"/>
                <a:gd name="T70" fmla="*/ 50 w 96"/>
                <a:gd name="T71" fmla="*/ 7 h 58"/>
                <a:gd name="T72" fmla="*/ 23 w 96"/>
                <a:gd name="T73" fmla="*/ 2 h 58"/>
                <a:gd name="T74" fmla="*/ 22 w 96"/>
                <a:gd name="T75" fmla="*/ 2 h 58"/>
                <a:gd name="T76" fmla="*/ 22 w 96"/>
                <a:gd name="T77" fmla="*/ 2 h 58"/>
                <a:gd name="T78" fmla="*/ 21 w 96"/>
                <a:gd name="T79" fmla="*/ 2 h 58"/>
                <a:gd name="T80" fmla="*/ 21 w 96"/>
                <a:gd name="T81" fmla="*/ 2 h 58"/>
                <a:gd name="T82" fmla="*/ 20 w 96"/>
                <a:gd name="T83" fmla="*/ 2 h 58"/>
                <a:gd name="T84" fmla="*/ 20 w 96"/>
                <a:gd name="T85" fmla="*/ 2 h 58"/>
                <a:gd name="T86" fmla="*/ 19 w 96"/>
                <a:gd name="T87" fmla="*/ 2 h 58"/>
                <a:gd name="T88" fmla="*/ 19 w 96"/>
                <a:gd name="T89" fmla="*/ 2 h 58"/>
                <a:gd name="T90" fmla="*/ 19 w 96"/>
                <a:gd name="T91" fmla="*/ 2 h 58"/>
                <a:gd name="T92" fmla="*/ 19 w 96"/>
                <a:gd name="T93" fmla="*/ 2 h 58"/>
                <a:gd name="T94" fmla="*/ 18 w 96"/>
                <a:gd name="T95" fmla="*/ 2 h 58"/>
                <a:gd name="T96" fmla="*/ 18 w 96"/>
                <a:gd name="T97" fmla="*/ 2 h 58"/>
                <a:gd name="T98" fmla="*/ 18 w 96"/>
                <a:gd name="T99" fmla="*/ 2 h 58"/>
                <a:gd name="T100" fmla="*/ 17 w 96"/>
                <a:gd name="T101" fmla="*/ 2 h 58"/>
                <a:gd name="T102" fmla="*/ 17 w 96"/>
                <a:gd name="T103" fmla="*/ 2 h 58"/>
                <a:gd name="T104" fmla="*/ 17 w 96"/>
                <a:gd name="T105" fmla="*/ 2 h 58"/>
                <a:gd name="T106" fmla="*/ 17 w 96"/>
                <a:gd name="T107" fmla="*/ 2 h 58"/>
                <a:gd name="T108" fmla="*/ 16 w 96"/>
                <a:gd name="T109" fmla="*/ 2 h 58"/>
                <a:gd name="T110" fmla="*/ 16 w 96"/>
                <a:gd name="T111" fmla="*/ 1 h 58"/>
                <a:gd name="T112" fmla="*/ 15 w 96"/>
                <a:gd name="T113" fmla="*/ 1 h 58"/>
                <a:gd name="T114" fmla="*/ 15 w 96"/>
                <a:gd name="T115" fmla="*/ 1 h 58"/>
                <a:gd name="T116" fmla="*/ 15 w 96"/>
                <a:gd name="T117" fmla="*/ 1 h 58"/>
                <a:gd name="T118" fmla="*/ 0 w 96"/>
                <a:gd name="T119" fmla="*/ 3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6" h="58">
                  <a:moveTo>
                    <a:pt x="96" y="20"/>
                  </a:moveTo>
                  <a:lnTo>
                    <a:pt x="96" y="20"/>
                  </a:lnTo>
                  <a:cubicBezTo>
                    <a:pt x="85" y="16"/>
                    <a:pt x="74" y="13"/>
                    <a:pt x="62" y="10"/>
                  </a:cubicBezTo>
                  <a:cubicBezTo>
                    <a:pt x="62" y="10"/>
                    <a:pt x="62" y="10"/>
                    <a:pt x="61" y="9"/>
                  </a:cubicBezTo>
                  <a:lnTo>
                    <a:pt x="61" y="9"/>
                  </a:lnTo>
                  <a:cubicBezTo>
                    <a:pt x="61" y="9"/>
                    <a:pt x="61" y="9"/>
                    <a:pt x="61" y="9"/>
                  </a:cubicBezTo>
                  <a:lnTo>
                    <a:pt x="61" y="9"/>
                  </a:lnTo>
                  <a:cubicBezTo>
                    <a:pt x="61" y="9"/>
                    <a:pt x="61" y="9"/>
                    <a:pt x="61" y="9"/>
                  </a:cubicBezTo>
                  <a:cubicBezTo>
                    <a:pt x="61" y="9"/>
                    <a:pt x="61" y="9"/>
                    <a:pt x="61" y="9"/>
                  </a:cubicBezTo>
                  <a:cubicBezTo>
                    <a:pt x="61" y="9"/>
                    <a:pt x="61" y="9"/>
                    <a:pt x="61" y="9"/>
                  </a:cubicBezTo>
                  <a:cubicBezTo>
                    <a:pt x="61" y="9"/>
                    <a:pt x="61" y="9"/>
                    <a:pt x="61" y="9"/>
                  </a:cubicBezTo>
                  <a:cubicBezTo>
                    <a:pt x="61" y="9"/>
                    <a:pt x="61" y="9"/>
                    <a:pt x="61" y="9"/>
                  </a:cubicBezTo>
                  <a:cubicBezTo>
                    <a:pt x="61" y="9"/>
                    <a:pt x="60" y="9"/>
                    <a:pt x="60" y="9"/>
                  </a:cubicBezTo>
                  <a:cubicBezTo>
                    <a:pt x="60" y="9"/>
                    <a:pt x="60" y="9"/>
                    <a:pt x="60" y="9"/>
                  </a:cubicBezTo>
                  <a:cubicBezTo>
                    <a:pt x="60" y="9"/>
                    <a:pt x="60" y="9"/>
                    <a:pt x="60" y="9"/>
                  </a:cubicBezTo>
                  <a:cubicBezTo>
                    <a:pt x="60" y="9"/>
                    <a:pt x="60" y="9"/>
                    <a:pt x="60" y="9"/>
                  </a:cubicBezTo>
                  <a:cubicBezTo>
                    <a:pt x="60"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8" y="9"/>
                    <a:pt x="58" y="9"/>
                  </a:cubicBezTo>
                  <a:lnTo>
                    <a:pt x="58" y="9"/>
                  </a:lnTo>
                  <a:cubicBezTo>
                    <a:pt x="58" y="9"/>
                    <a:pt x="58" y="9"/>
                    <a:pt x="58" y="9"/>
                  </a:cubicBezTo>
                  <a:cubicBezTo>
                    <a:pt x="58" y="9"/>
                    <a:pt x="58" y="9"/>
                    <a:pt x="58" y="9"/>
                  </a:cubicBezTo>
                  <a:cubicBezTo>
                    <a:pt x="58" y="9"/>
                    <a:pt x="58" y="9"/>
                    <a:pt x="58" y="9"/>
                  </a:cubicBezTo>
                  <a:cubicBezTo>
                    <a:pt x="58" y="9"/>
                    <a:pt x="58" y="9"/>
                    <a:pt x="58" y="9"/>
                  </a:cubicBezTo>
                  <a:cubicBezTo>
                    <a:pt x="58" y="9"/>
                    <a:pt x="58" y="9"/>
                    <a:pt x="58" y="9"/>
                  </a:cubicBezTo>
                  <a:cubicBezTo>
                    <a:pt x="58" y="9"/>
                    <a:pt x="58" y="9"/>
                    <a:pt x="58" y="9"/>
                  </a:cubicBezTo>
                  <a:cubicBezTo>
                    <a:pt x="58" y="9"/>
                    <a:pt x="58" y="9"/>
                    <a:pt x="58" y="9"/>
                  </a:cubicBezTo>
                  <a:cubicBezTo>
                    <a:pt x="57" y="9"/>
                    <a:pt x="57" y="9"/>
                    <a:pt x="57" y="9"/>
                  </a:cubicBezTo>
                  <a:cubicBezTo>
                    <a:pt x="57" y="9"/>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5" y="8"/>
                  </a:cubicBezTo>
                  <a:cubicBezTo>
                    <a:pt x="55" y="8"/>
                    <a:pt x="55" y="8"/>
                    <a:pt x="55" y="8"/>
                  </a:cubicBezTo>
                  <a:cubicBezTo>
                    <a:pt x="55" y="8"/>
                    <a:pt x="55" y="8"/>
                    <a:pt x="55" y="8"/>
                  </a:cubicBezTo>
                  <a:cubicBezTo>
                    <a:pt x="55" y="8"/>
                    <a:pt x="55" y="8"/>
                    <a:pt x="55" y="8"/>
                  </a:cubicBezTo>
                  <a:cubicBezTo>
                    <a:pt x="55" y="8"/>
                    <a:pt x="55" y="8"/>
                    <a:pt x="55" y="8"/>
                  </a:cubicBezTo>
                  <a:cubicBezTo>
                    <a:pt x="55" y="8"/>
                    <a:pt x="55" y="8"/>
                    <a:pt x="55" y="8"/>
                  </a:cubicBezTo>
                  <a:cubicBezTo>
                    <a:pt x="55" y="8"/>
                    <a:pt x="55" y="8"/>
                    <a:pt x="55" y="8"/>
                  </a:cubicBezTo>
                  <a:cubicBezTo>
                    <a:pt x="55" y="8"/>
                    <a:pt x="55" y="8"/>
                    <a:pt x="55" y="8"/>
                  </a:cubicBezTo>
                  <a:cubicBezTo>
                    <a:pt x="55" y="8"/>
                    <a:pt x="55" y="8"/>
                    <a:pt x="55" y="8"/>
                  </a:cubicBezTo>
                  <a:cubicBezTo>
                    <a:pt x="55" y="8"/>
                    <a:pt x="55" y="8"/>
                    <a:pt x="55"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3" y="8"/>
                    <a:pt x="53" y="8"/>
                  </a:cubicBezTo>
                  <a:cubicBezTo>
                    <a:pt x="53" y="8"/>
                    <a:pt x="53" y="8"/>
                    <a:pt x="53" y="8"/>
                  </a:cubicBezTo>
                  <a:lnTo>
                    <a:pt x="53" y="8"/>
                  </a:lnTo>
                  <a:cubicBezTo>
                    <a:pt x="53" y="8"/>
                    <a:pt x="53" y="7"/>
                    <a:pt x="53" y="7"/>
                  </a:cubicBezTo>
                  <a:cubicBezTo>
                    <a:pt x="53" y="7"/>
                    <a:pt x="53" y="7"/>
                    <a:pt x="53" y="7"/>
                  </a:cubicBezTo>
                  <a:cubicBezTo>
                    <a:pt x="53" y="7"/>
                    <a:pt x="53" y="7"/>
                    <a:pt x="53" y="7"/>
                  </a:cubicBezTo>
                  <a:lnTo>
                    <a:pt x="53" y="7"/>
                  </a:lnTo>
                  <a:cubicBezTo>
                    <a:pt x="53" y="7"/>
                    <a:pt x="53" y="7"/>
                    <a:pt x="53" y="7"/>
                  </a:cubicBezTo>
                  <a:lnTo>
                    <a:pt x="53" y="7"/>
                  </a:lnTo>
                  <a:cubicBezTo>
                    <a:pt x="53" y="7"/>
                    <a:pt x="52" y="7"/>
                    <a:pt x="52" y="7"/>
                  </a:cubicBezTo>
                  <a:cubicBezTo>
                    <a:pt x="52" y="7"/>
                    <a:pt x="52" y="7"/>
                    <a:pt x="52" y="7"/>
                  </a:cubicBezTo>
                  <a:cubicBezTo>
                    <a:pt x="52" y="7"/>
                    <a:pt x="52" y="7"/>
                    <a:pt x="52" y="7"/>
                  </a:cubicBezTo>
                  <a:cubicBezTo>
                    <a:pt x="52" y="7"/>
                    <a:pt x="52" y="7"/>
                    <a:pt x="52" y="7"/>
                  </a:cubicBezTo>
                  <a:cubicBezTo>
                    <a:pt x="52" y="7"/>
                    <a:pt x="52" y="7"/>
                    <a:pt x="52" y="7"/>
                  </a:cubicBezTo>
                  <a:cubicBezTo>
                    <a:pt x="52" y="7"/>
                    <a:pt x="52" y="7"/>
                    <a:pt x="52" y="7"/>
                  </a:cubicBezTo>
                  <a:cubicBezTo>
                    <a:pt x="52" y="7"/>
                    <a:pt x="52" y="7"/>
                    <a:pt x="52" y="7"/>
                  </a:cubicBezTo>
                  <a:cubicBezTo>
                    <a:pt x="52" y="7"/>
                    <a:pt x="52" y="7"/>
                    <a:pt x="52" y="7"/>
                  </a:cubicBezTo>
                  <a:cubicBezTo>
                    <a:pt x="52" y="7"/>
                    <a:pt x="52" y="7"/>
                    <a:pt x="52" y="7"/>
                  </a:cubicBezTo>
                  <a:lnTo>
                    <a:pt x="52" y="7"/>
                  </a:lnTo>
                  <a:cubicBezTo>
                    <a:pt x="51" y="7"/>
                    <a:pt x="51" y="7"/>
                    <a:pt x="51" y="7"/>
                  </a:cubicBezTo>
                  <a:lnTo>
                    <a:pt x="51" y="7"/>
                  </a:lnTo>
                  <a:cubicBezTo>
                    <a:pt x="51" y="7"/>
                    <a:pt x="51" y="7"/>
                    <a:pt x="51" y="7"/>
                  </a:cubicBezTo>
                  <a:cubicBezTo>
                    <a:pt x="51" y="7"/>
                    <a:pt x="51" y="7"/>
                    <a:pt x="51" y="7"/>
                  </a:cubicBezTo>
                  <a:cubicBezTo>
                    <a:pt x="51" y="7"/>
                    <a:pt x="51" y="7"/>
                    <a:pt x="50" y="7"/>
                  </a:cubicBezTo>
                  <a:lnTo>
                    <a:pt x="50" y="7"/>
                  </a:lnTo>
                  <a:cubicBezTo>
                    <a:pt x="50" y="7"/>
                    <a:pt x="50" y="7"/>
                    <a:pt x="50" y="7"/>
                  </a:cubicBezTo>
                  <a:lnTo>
                    <a:pt x="50" y="7"/>
                  </a:lnTo>
                  <a:cubicBezTo>
                    <a:pt x="50" y="7"/>
                    <a:pt x="50" y="7"/>
                    <a:pt x="50" y="7"/>
                  </a:cubicBezTo>
                  <a:cubicBezTo>
                    <a:pt x="50" y="7"/>
                    <a:pt x="50" y="7"/>
                    <a:pt x="50" y="7"/>
                  </a:cubicBezTo>
                  <a:cubicBezTo>
                    <a:pt x="50" y="7"/>
                    <a:pt x="49" y="7"/>
                    <a:pt x="49" y="6"/>
                  </a:cubicBezTo>
                  <a:cubicBezTo>
                    <a:pt x="40" y="6"/>
                    <a:pt x="31" y="4"/>
                    <a:pt x="23" y="2"/>
                  </a:cubicBezTo>
                  <a:lnTo>
                    <a:pt x="23" y="2"/>
                  </a:lnTo>
                  <a:cubicBezTo>
                    <a:pt x="23" y="2"/>
                    <a:pt x="22" y="2"/>
                    <a:pt x="22" y="2"/>
                  </a:cubicBezTo>
                  <a:cubicBezTo>
                    <a:pt x="22" y="2"/>
                    <a:pt x="22" y="2"/>
                    <a:pt x="22" y="2"/>
                  </a:cubicBezTo>
                  <a:cubicBezTo>
                    <a:pt x="22" y="2"/>
                    <a:pt x="22" y="2"/>
                    <a:pt x="22" y="2"/>
                  </a:cubicBezTo>
                  <a:lnTo>
                    <a:pt x="22" y="2"/>
                  </a:lnTo>
                  <a:cubicBezTo>
                    <a:pt x="22" y="2"/>
                    <a:pt x="22" y="2"/>
                    <a:pt x="22" y="2"/>
                  </a:cubicBezTo>
                  <a:cubicBezTo>
                    <a:pt x="22" y="2"/>
                    <a:pt x="22" y="2"/>
                    <a:pt x="22" y="2"/>
                  </a:cubicBezTo>
                  <a:cubicBezTo>
                    <a:pt x="22"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lnTo>
                    <a:pt x="20" y="2"/>
                  </a:lnTo>
                  <a:cubicBezTo>
                    <a:pt x="20" y="2"/>
                    <a:pt x="20" y="2"/>
                    <a:pt x="20" y="2"/>
                  </a:cubicBezTo>
                  <a:lnTo>
                    <a:pt x="20" y="2"/>
                  </a:lnTo>
                  <a:cubicBezTo>
                    <a:pt x="20" y="2"/>
                    <a:pt x="19" y="2"/>
                    <a:pt x="19" y="2"/>
                  </a:cubicBezTo>
                  <a:lnTo>
                    <a:pt x="19" y="2"/>
                  </a:ln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6" y="2"/>
                    <a:pt x="16" y="2"/>
                    <a:pt x="16" y="2"/>
                  </a:cubicBezTo>
                  <a:cubicBezTo>
                    <a:pt x="16" y="2"/>
                    <a:pt x="16" y="2"/>
                    <a:pt x="16" y="2"/>
                  </a:cubicBezTo>
                  <a:cubicBezTo>
                    <a:pt x="16" y="2"/>
                    <a:pt x="16" y="2"/>
                    <a:pt x="16" y="2"/>
                  </a:cubicBezTo>
                  <a:cubicBezTo>
                    <a:pt x="16" y="1"/>
                    <a:pt x="16" y="1"/>
                    <a:pt x="16" y="1"/>
                  </a:cubicBezTo>
                  <a:cubicBezTo>
                    <a:pt x="16" y="1"/>
                    <a:pt x="16" y="1"/>
                    <a:pt x="16" y="1"/>
                  </a:cubicBezTo>
                  <a:cubicBezTo>
                    <a:pt x="16" y="1"/>
                    <a:pt x="16" y="1"/>
                    <a:pt x="16" y="1"/>
                  </a:cubicBezTo>
                  <a:cubicBezTo>
                    <a:pt x="16"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2" y="1"/>
                    <a:pt x="8" y="0"/>
                    <a:pt x="5" y="0"/>
                  </a:cubicBezTo>
                  <a:lnTo>
                    <a:pt x="0" y="39"/>
                  </a:lnTo>
                  <a:cubicBezTo>
                    <a:pt x="29" y="42"/>
                    <a:pt x="56" y="49"/>
                    <a:pt x="83" y="58"/>
                  </a:cubicBezTo>
                  <a:lnTo>
                    <a:pt x="96" y="20"/>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43">
              <a:extLst>
                <a:ext uri="{FF2B5EF4-FFF2-40B4-BE49-F238E27FC236}">
                  <a16:creationId xmlns:a16="http://schemas.microsoft.com/office/drawing/2014/main" id="{642D173C-69F5-D513-672A-50C70DEA7F5A}"/>
                </a:ext>
              </a:extLst>
            </p:cNvPr>
            <p:cNvSpPr>
              <a:spLocks/>
            </p:cNvSpPr>
            <p:nvPr/>
          </p:nvSpPr>
          <p:spPr bwMode="auto">
            <a:xfrm>
              <a:off x="2610" y="1930"/>
              <a:ext cx="44" cy="37"/>
            </a:xfrm>
            <a:custGeom>
              <a:avLst/>
              <a:gdLst>
                <a:gd name="T0" fmla="*/ 83 w 97"/>
                <a:gd name="T1" fmla="*/ 38 h 80"/>
                <a:gd name="T2" fmla="*/ 82 w 97"/>
                <a:gd name="T3" fmla="*/ 37 h 80"/>
                <a:gd name="T4" fmla="*/ 82 w 97"/>
                <a:gd name="T5" fmla="*/ 37 h 80"/>
                <a:gd name="T6" fmla="*/ 82 w 97"/>
                <a:gd name="T7" fmla="*/ 37 h 80"/>
                <a:gd name="T8" fmla="*/ 81 w 97"/>
                <a:gd name="T9" fmla="*/ 37 h 80"/>
                <a:gd name="T10" fmla="*/ 81 w 97"/>
                <a:gd name="T11" fmla="*/ 36 h 80"/>
                <a:gd name="T12" fmla="*/ 81 w 97"/>
                <a:gd name="T13" fmla="*/ 36 h 80"/>
                <a:gd name="T14" fmla="*/ 81 w 97"/>
                <a:gd name="T15" fmla="*/ 36 h 80"/>
                <a:gd name="T16" fmla="*/ 80 w 97"/>
                <a:gd name="T17" fmla="*/ 36 h 80"/>
                <a:gd name="T18" fmla="*/ 80 w 97"/>
                <a:gd name="T19" fmla="*/ 36 h 80"/>
                <a:gd name="T20" fmla="*/ 80 w 97"/>
                <a:gd name="T21" fmla="*/ 36 h 80"/>
                <a:gd name="T22" fmla="*/ 80 w 97"/>
                <a:gd name="T23" fmla="*/ 35 h 80"/>
                <a:gd name="T24" fmla="*/ 79 w 97"/>
                <a:gd name="T25" fmla="*/ 35 h 80"/>
                <a:gd name="T26" fmla="*/ 79 w 97"/>
                <a:gd name="T27" fmla="*/ 35 h 80"/>
                <a:gd name="T28" fmla="*/ 79 w 97"/>
                <a:gd name="T29" fmla="*/ 35 h 80"/>
                <a:gd name="T30" fmla="*/ 79 w 97"/>
                <a:gd name="T31" fmla="*/ 35 h 80"/>
                <a:gd name="T32" fmla="*/ 79 w 97"/>
                <a:gd name="T33" fmla="*/ 35 h 80"/>
                <a:gd name="T34" fmla="*/ 78 w 97"/>
                <a:gd name="T35" fmla="*/ 34 h 80"/>
                <a:gd name="T36" fmla="*/ 78 w 97"/>
                <a:gd name="T37" fmla="*/ 34 h 80"/>
                <a:gd name="T38" fmla="*/ 78 w 97"/>
                <a:gd name="T39" fmla="*/ 34 h 80"/>
                <a:gd name="T40" fmla="*/ 77 w 97"/>
                <a:gd name="T41" fmla="*/ 34 h 80"/>
                <a:gd name="T42" fmla="*/ 77 w 97"/>
                <a:gd name="T43" fmla="*/ 34 h 80"/>
                <a:gd name="T44" fmla="*/ 76 w 97"/>
                <a:gd name="T45" fmla="*/ 33 h 80"/>
                <a:gd name="T46" fmla="*/ 76 w 97"/>
                <a:gd name="T47" fmla="*/ 33 h 80"/>
                <a:gd name="T48" fmla="*/ 41 w 97"/>
                <a:gd name="T49" fmla="*/ 12 h 80"/>
                <a:gd name="T50" fmla="*/ 41 w 97"/>
                <a:gd name="T51" fmla="*/ 12 h 80"/>
                <a:gd name="T52" fmla="*/ 41 w 97"/>
                <a:gd name="T53" fmla="*/ 12 h 80"/>
                <a:gd name="T54" fmla="*/ 41 w 97"/>
                <a:gd name="T55" fmla="*/ 12 h 80"/>
                <a:gd name="T56" fmla="*/ 40 w 97"/>
                <a:gd name="T57" fmla="*/ 11 h 80"/>
                <a:gd name="T58" fmla="*/ 40 w 97"/>
                <a:gd name="T59" fmla="*/ 11 h 80"/>
                <a:gd name="T60" fmla="*/ 40 w 97"/>
                <a:gd name="T61" fmla="*/ 11 h 80"/>
                <a:gd name="T62" fmla="*/ 40 w 97"/>
                <a:gd name="T63" fmla="*/ 11 h 80"/>
                <a:gd name="T64" fmla="*/ 39 w 97"/>
                <a:gd name="T65" fmla="*/ 11 h 80"/>
                <a:gd name="T66" fmla="*/ 39 w 97"/>
                <a:gd name="T67" fmla="*/ 11 h 80"/>
                <a:gd name="T68" fmla="*/ 39 w 97"/>
                <a:gd name="T69" fmla="*/ 11 h 80"/>
                <a:gd name="T70" fmla="*/ 39 w 97"/>
                <a:gd name="T71" fmla="*/ 11 h 80"/>
                <a:gd name="T72" fmla="*/ 38 w 97"/>
                <a:gd name="T73" fmla="*/ 10 h 80"/>
                <a:gd name="T74" fmla="*/ 38 w 97"/>
                <a:gd name="T75" fmla="*/ 10 h 80"/>
                <a:gd name="T76" fmla="*/ 38 w 97"/>
                <a:gd name="T77" fmla="*/ 10 h 80"/>
                <a:gd name="T78" fmla="*/ 37 w 97"/>
                <a:gd name="T79" fmla="*/ 10 h 80"/>
                <a:gd name="T80" fmla="*/ 37 w 97"/>
                <a:gd name="T81" fmla="*/ 10 h 80"/>
                <a:gd name="T82" fmla="*/ 37 w 97"/>
                <a:gd name="T83" fmla="*/ 9 h 80"/>
                <a:gd name="T84" fmla="*/ 36 w 97"/>
                <a:gd name="T85" fmla="*/ 9 h 80"/>
                <a:gd name="T86" fmla="*/ 36 w 97"/>
                <a:gd name="T87" fmla="*/ 9 h 80"/>
                <a:gd name="T88" fmla="*/ 35 w 97"/>
                <a:gd name="T89" fmla="*/ 9 h 80"/>
                <a:gd name="T90" fmla="*/ 0 w 97"/>
                <a:gd name="T91"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80">
                  <a:moveTo>
                    <a:pt x="97" y="48"/>
                  </a:moveTo>
                  <a:lnTo>
                    <a:pt x="97" y="48"/>
                  </a:lnTo>
                  <a:cubicBezTo>
                    <a:pt x="93" y="44"/>
                    <a:pt x="88" y="41"/>
                    <a:pt x="83" y="38"/>
                  </a:cubicBezTo>
                  <a:lnTo>
                    <a:pt x="83" y="38"/>
                  </a:lnTo>
                  <a:cubicBezTo>
                    <a:pt x="83"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1" y="37"/>
                    <a:pt x="81" y="37"/>
                    <a:pt x="81" y="37"/>
                  </a:cubicBezTo>
                  <a:lnTo>
                    <a:pt x="81" y="37"/>
                  </a:lnTo>
                  <a:cubicBezTo>
                    <a:pt x="81" y="36"/>
                    <a:pt x="81" y="36"/>
                    <a:pt x="81" y="36"/>
                  </a:cubicBezTo>
                  <a:cubicBezTo>
                    <a:pt x="81" y="36"/>
                    <a:pt x="81" y="36"/>
                    <a:pt x="81" y="36"/>
                  </a:cubicBezTo>
                  <a:cubicBezTo>
                    <a:pt x="81" y="36"/>
                    <a:pt x="81" y="36"/>
                    <a:pt x="81" y="36"/>
                  </a:cubicBezTo>
                  <a:cubicBezTo>
                    <a:pt x="81" y="36"/>
                    <a:pt x="81" y="36"/>
                    <a:pt x="81" y="36"/>
                  </a:cubicBezTo>
                  <a:cubicBezTo>
                    <a:pt x="81" y="36"/>
                    <a:pt x="81" y="36"/>
                    <a:pt x="81" y="36"/>
                  </a:cubicBezTo>
                  <a:cubicBezTo>
                    <a:pt x="81" y="36"/>
                    <a:pt x="81" y="36"/>
                    <a:pt x="81" y="36"/>
                  </a:cubicBezTo>
                  <a:cubicBezTo>
                    <a:pt x="81" y="36"/>
                    <a:pt x="81" y="36"/>
                    <a:pt x="81" y="36"/>
                  </a:cubicBezTo>
                  <a:cubicBezTo>
                    <a:pt x="81" y="36"/>
                    <a:pt x="81" y="36"/>
                    <a:pt x="81" y="36"/>
                  </a:cubicBezTo>
                  <a:cubicBezTo>
                    <a:pt x="81" y="36"/>
                    <a:pt x="81" y="36"/>
                    <a:pt x="81" y="36"/>
                  </a:cubicBezTo>
                  <a:cubicBezTo>
                    <a:pt x="80" y="36"/>
                    <a:pt x="80" y="36"/>
                    <a:pt x="80" y="36"/>
                  </a:cubicBezTo>
                  <a:cubicBezTo>
                    <a:pt x="80" y="36"/>
                    <a:pt x="80" y="36"/>
                    <a:pt x="80" y="36"/>
                  </a:cubicBezTo>
                  <a:cubicBezTo>
                    <a:pt x="80" y="36"/>
                    <a:pt x="80" y="36"/>
                    <a:pt x="80" y="36"/>
                  </a:cubicBezTo>
                  <a:cubicBezTo>
                    <a:pt x="80" y="36"/>
                    <a:pt x="80" y="36"/>
                    <a:pt x="80" y="36"/>
                  </a:cubicBezTo>
                  <a:cubicBezTo>
                    <a:pt x="80" y="36"/>
                    <a:pt x="80" y="36"/>
                    <a:pt x="80" y="36"/>
                  </a:cubicBezTo>
                  <a:cubicBezTo>
                    <a:pt x="80" y="36"/>
                    <a:pt x="80" y="36"/>
                    <a:pt x="80" y="36"/>
                  </a:cubicBezTo>
                  <a:cubicBezTo>
                    <a:pt x="80" y="36"/>
                    <a:pt x="80" y="36"/>
                    <a:pt x="80" y="36"/>
                  </a:cubicBezTo>
                  <a:cubicBezTo>
                    <a:pt x="80" y="36"/>
                    <a:pt x="80" y="36"/>
                    <a:pt x="80" y="36"/>
                  </a:cubicBezTo>
                  <a:cubicBezTo>
                    <a:pt x="80" y="36"/>
                    <a:pt x="80" y="35"/>
                    <a:pt x="80" y="35"/>
                  </a:cubicBezTo>
                  <a:cubicBezTo>
                    <a:pt x="80" y="35"/>
                    <a:pt x="80" y="35"/>
                    <a:pt x="80" y="35"/>
                  </a:cubicBezTo>
                  <a:cubicBezTo>
                    <a:pt x="80" y="35"/>
                    <a:pt x="80" y="35"/>
                    <a:pt x="80" y="35"/>
                  </a:cubicBezTo>
                  <a:cubicBezTo>
                    <a:pt x="80" y="35"/>
                    <a:pt x="80" y="35"/>
                    <a:pt x="80" y="35"/>
                  </a:cubicBezTo>
                  <a:cubicBezTo>
                    <a:pt x="80" y="35"/>
                    <a:pt x="80" y="35"/>
                    <a:pt x="80" y="35"/>
                  </a:cubicBezTo>
                  <a:cubicBezTo>
                    <a:pt x="80"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8" y="35"/>
                  </a:cubicBezTo>
                  <a:cubicBezTo>
                    <a:pt x="78" y="35"/>
                    <a:pt x="78" y="35"/>
                    <a:pt x="78" y="35"/>
                  </a:cubicBezTo>
                  <a:cubicBezTo>
                    <a:pt x="78" y="34"/>
                    <a:pt x="78" y="34"/>
                    <a:pt x="78" y="34"/>
                  </a:cubicBezTo>
                  <a:cubicBezTo>
                    <a:pt x="78" y="34"/>
                    <a:pt x="78" y="34"/>
                    <a:pt x="78" y="34"/>
                  </a:cubicBezTo>
                  <a:cubicBezTo>
                    <a:pt x="78" y="34"/>
                    <a:pt x="78" y="34"/>
                    <a:pt x="78" y="34"/>
                  </a:cubicBezTo>
                  <a:cubicBezTo>
                    <a:pt x="78" y="34"/>
                    <a:pt x="78" y="34"/>
                    <a:pt x="78" y="34"/>
                  </a:cubicBezTo>
                  <a:cubicBezTo>
                    <a:pt x="78" y="34"/>
                    <a:pt x="78" y="34"/>
                    <a:pt x="78" y="34"/>
                  </a:cubicBezTo>
                  <a:cubicBezTo>
                    <a:pt x="78" y="34"/>
                    <a:pt x="78" y="34"/>
                    <a:pt x="78" y="34"/>
                  </a:cubicBezTo>
                  <a:cubicBezTo>
                    <a:pt x="78" y="34"/>
                    <a:pt x="78" y="34"/>
                    <a:pt x="78" y="34"/>
                  </a:cubicBezTo>
                  <a:cubicBezTo>
                    <a:pt x="78" y="34"/>
                    <a:pt x="78" y="34"/>
                    <a:pt x="78" y="34"/>
                  </a:cubicBezTo>
                  <a:cubicBezTo>
                    <a:pt x="77" y="34"/>
                    <a:pt x="77" y="34"/>
                    <a:pt x="77" y="34"/>
                  </a:cubicBezTo>
                  <a:cubicBezTo>
                    <a:pt x="77" y="34"/>
                    <a:pt x="77" y="34"/>
                    <a:pt x="77" y="34"/>
                  </a:cubicBezTo>
                  <a:cubicBezTo>
                    <a:pt x="77" y="34"/>
                    <a:pt x="77" y="34"/>
                    <a:pt x="77" y="34"/>
                  </a:cubicBezTo>
                  <a:cubicBezTo>
                    <a:pt x="77" y="34"/>
                    <a:pt x="77" y="34"/>
                    <a:pt x="77" y="34"/>
                  </a:cubicBezTo>
                  <a:cubicBezTo>
                    <a:pt x="77" y="34"/>
                    <a:pt x="77" y="34"/>
                    <a:pt x="77" y="34"/>
                  </a:cubicBezTo>
                  <a:cubicBezTo>
                    <a:pt x="77" y="34"/>
                    <a:pt x="77" y="34"/>
                    <a:pt x="77" y="34"/>
                  </a:cubicBezTo>
                  <a:cubicBezTo>
                    <a:pt x="77" y="33"/>
                    <a:pt x="77" y="33"/>
                    <a:pt x="76" y="33"/>
                  </a:cubicBezTo>
                  <a:cubicBezTo>
                    <a:pt x="76" y="33"/>
                    <a:pt x="76" y="33"/>
                    <a:pt x="76" y="33"/>
                  </a:cubicBezTo>
                  <a:cubicBezTo>
                    <a:pt x="76" y="33"/>
                    <a:pt x="76" y="33"/>
                    <a:pt x="76" y="33"/>
                  </a:cubicBezTo>
                  <a:cubicBezTo>
                    <a:pt x="76" y="33"/>
                    <a:pt x="76" y="33"/>
                    <a:pt x="76" y="33"/>
                  </a:cubicBezTo>
                  <a:lnTo>
                    <a:pt x="76" y="33"/>
                  </a:lnTo>
                  <a:cubicBezTo>
                    <a:pt x="76" y="33"/>
                    <a:pt x="76" y="33"/>
                    <a:pt x="76" y="33"/>
                  </a:cubicBezTo>
                  <a:cubicBezTo>
                    <a:pt x="76" y="33"/>
                    <a:pt x="76" y="33"/>
                    <a:pt x="76" y="33"/>
                  </a:cubicBezTo>
                  <a:cubicBezTo>
                    <a:pt x="65" y="25"/>
                    <a:pt x="53" y="19"/>
                    <a:pt x="41" y="12"/>
                  </a:cubicBezTo>
                  <a:cubicBezTo>
                    <a:pt x="41" y="12"/>
                    <a:pt x="41" y="12"/>
                    <a:pt x="41" y="12"/>
                  </a:cubicBezTo>
                  <a:cubicBezTo>
                    <a:pt x="41" y="12"/>
                    <a:pt x="41" y="12"/>
                    <a:pt x="41" y="12"/>
                  </a:cubicBezTo>
                  <a:lnTo>
                    <a:pt x="41" y="12"/>
                  </a:lnTo>
                  <a:cubicBezTo>
                    <a:pt x="41" y="12"/>
                    <a:pt x="41" y="12"/>
                    <a:pt x="41" y="12"/>
                  </a:cubicBezTo>
                  <a:cubicBezTo>
                    <a:pt x="41" y="12"/>
                    <a:pt x="41" y="12"/>
                    <a:pt x="41" y="12"/>
                  </a:cubicBezTo>
                  <a:cubicBezTo>
                    <a:pt x="41" y="12"/>
                    <a:pt x="41" y="12"/>
                    <a:pt x="41" y="12"/>
                  </a:cubicBezTo>
                  <a:lnTo>
                    <a:pt x="41" y="12"/>
                  </a:lnTo>
                  <a:cubicBezTo>
                    <a:pt x="41" y="12"/>
                    <a:pt x="41" y="12"/>
                    <a:pt x="41" y="12"/>
                  </a:cubicBezTo>
                  <a:lnTo>
                    <a:pt x="41" y="12"/>
                  </a:lnTo>
                  <a:cubicBezTo>
                    <a:pt x="40" y="12"/>
                    <a:pt x="40" y="12"/>
                    <a:pt x="40" y="12"/>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lnTo>
                    <a:pt x="40" y="11"/>
                  </a:lnTo>
                  <a:cubicBezTo>
                    <a:pt x="40" y="11"/>
                    <a:pt x="40" y="11"/>
                    <a:pt x="40" y="11"/>
                  </a:cubicBezTo>
                  <a:lnTo>
                    <a:pt x="40" y="11"/>
                  </a:lnTo>
                  <a:cubicBezTo>
                    <a:pt x="40"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8" y="11"/>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7" y="10"/>
                    <a:pt x="37" y="10"/>
                    <a:pt x="37" y="10"/>
                  </a:cubicBezTo>
                  <a:cubicBezTo>
                    <a:pt x="37" y="10"/>
                    <a:pt x="37" y="10"/>
                    <a:pt x="37" y="10"/>
                  </a:cubicBezTo>
                  <a:cubicBezTo>
                    <a:pt x="37" y="10"/>
                    <a:pt x="37" y="10"/>
                    <a:pt x="37" y="10"/>
                  </a:cubicBezTo>
                  <a:cubicBezTo>
                    <a:pt x="37" y="10"/>
                    <a:pt x="37" y="10"/>
                    <a:pt x="37" y="10"/>
                  </a:cubicBezTo>
                  <a:cubicBezTo>
                    <a:pt x="37" y="10"/>
                    <a:pt x="37" y="10"/>
                    <a:pt x="37" y="10"/>
                  </a:cubicBezTo>
                  <a:cubicBezTo>
                    <a:pt x="37" y="10"/>
                    <a:pt x="37" y="10"/>
                    <a:pt x="37" y="10"/>
                  </a:cubicBezTo>
                  <a:cubicBezTo>
                    <a:pt x="37" y="10"/>
                    <a:pt x="37" y="10"/>
                    <a:pt x="37" y="9"/>
                  </a:cubicBezTo>
                  <a:cubicBezTo>
                    <a:pt x="37" y="9"/>
                    <a:pt x="37" y="9"/>
                    <a:pt x="37" y="9"/>
                  </a:cubicBezTo>
                  <a:cubicBezTo>
                    <a:pt x="36" y="9"/>
                    <a:pt x="36" y="9"/>
                    <a:pt x="36" y="9"/>
                  </a:cubicBezTo>
                  <a:cubicBezTo>
                    <a:pt x="36" y="9"/>
                    <a:pt x="36" y="9"/>
                    <a:pt x="36" y="9"/>
                  </a:cubicBezTo>
                  <a:cubicBezTo>
                    <a:pt x="36" y="9"/>
                    <a:pt x="36" y="9"/>
                    <a:pt x="36" y="9"/>
                  </a:cubicBezTo>
                  <a:cubicBezTo>
                    <a:pt x="36" y="9"/>
                    <a:pt x="36" y="9"/>
                    <a:pt x="36" y="9"/>
                  </a:cubicBezTo>
                  <a:cubicBezTo>
                    <a:pt x="36" y="9"/>
                    <a:pt x="36" y="9"/>
                    <a:pt x="36" y="9"/>
                  </a:cubicBezTo>
                  <a:lnTo>
                    <a:pt x="36" y="9"/>
                  </a:lnTo>
                  <a:cubicBezTo>
                    <a:pt x="36" y="9"/>
                    <a:pt x="35" y="9"/>
                    <a:pt x="35" y="9"/>
                  </a:cubicBezTo>
                  <a:cubicBezTo>
                    <a:pt x="35" y="9"/>
                    <a:pt x="35" y="9"/>
                    <a:pt x="35" y="9"/>
                  </a:cubicBezTo>
                  <a:cubicBezTo>
                    <a:pt x="35" y="9"/>
                    <a:pt x="35" y="9"/>
                    <a:pt x="35" y="9"/>
                  </a:cubicBezTo>
                  <a:cubicBezTo>
                    <a:pt x="29" y="6"/>
                    <a:pt x="23" y="3"/>
                    <a:pt x="17" y="0"/>
                  </a:cubicBezTo>
                  <a:lnTo>
                    <a:pt x="0" y="37"/>
                  </a:lnTo>
                  <a:cubicBezTo>
                    <a:pt x="26" y="48"/>
                    <a:pt x="50" y="63"/>
                    <a:pt x="73" y="80"/>
                  </a:cubicBezTo>
                  <a:lnTo>
                    <a:pt x="97" y="48"/>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44">
              <a:extLst>
                <a:ext uri="{FF2B5EF4-FFF2-40B4-BE49-F238E27FC236}">
                  <a16:creationId xmlns:a16="http://schemas.microsoft.com/office/drawing/2014/main" id="{E88183C6-3736-EC6D-B0D0-D75389AA0391}"/>
                </a:ext>
              </a:extLst>
            </p:cNvPr>
            <p:cNvSpPr>
              <a:spLocks/>
            </p:cNvSpPr>
            <p:nvPr/>
          </p:nvSpPr>
          <p:spPr bwMode="auto">
            <a:xfrm>
              <a:off x="2342" y="2047"/>
              <a:ext cx="26" cy="43"/>
            </a:xfrm>
            <a:custGeom>
              <a:avLst/>
              <a:gdLst>
                <a:gd name="T0" fmla="*/ 57 w 57"/>
                <a:gd name="T1" fmla="*/ 13 h 95"/>
                <a:gd name="T2" fmla="*/ 57 w 57"/>
                <a:gd name="T3" fmla="*/ 13 h 95"/>
                <a:gd name="T4" fmla="*/ 19 w 57"/>
                <a:gd name="T5" fmla="*/ 0 h 95"/>
                <a:gd name="T6" fmla="*/ 0 w 57"/>
                <a:gd name="T7" fmla="*/ 91 h 95"/>
                <a:gd name="T8" fmla="*/ 40 w 57"/>
                <a:gd name="T9" fmla="*/ 95 h 95"/>
                <a:gd name="T10" fmla="*/ 57 w 57"/>
                <a:gd name="T11" fmla="*/ 13 h 95"/>
              </a:gdLst>
              <a:ahLst/>
              <a:cxnLst>
                <a:cxn ang="0">
                  <a:pos x="T0" y="T1"/>
                </a:cxn>
                <a:cxn ang="0">
                  <a:pos x="T2" y="T3"/>
                </a:cxn>
                <a:cxn ang="0">
                  <a:pos x="T4" y="T5"/>
                </a:cxn>
                <a:cxn ang="0">
                  <a:pos x="T6" y="T7"/>
                </a:cxn>
                <a:cxn ang="0">
                  <a:pos x="T8" y="T9"/>
                </a:cxn>
                <a:cxn ang="0">
                  <a:pos x="T10" y="T11"/>
                </a:cxn>
              </a:cxnLst>
              <a:rect l="0" t="0" r="r" b="b"/>
              <a:pathLst>
                <a:path w="57" h="95">
                  <a:moveTo>
                    <a:pt x="57" y="13"/>
                  </a:moveTo>
                  <a:lnTo>
                    <a:pt x="57" y="13"/>
                  </a:lnTo>
                  <a:lnTo>
                    <a:pt x="19" y="0"/>
                  </a:lnTo>
                  <a:cubicBezTo>
                    <a:pt x="9" y="29"/>
                    <a:pt x="3" y="60"/>
                    <a:pt x="0" y="91"/>
                  </a:cubicBezTo>
                  <a:lnTo>
                    <a:pt x="40" y="95"/>
                  </a:lnTo>
                  <a:cubicBezTo>
                    <a:pt x="42" y="67"/>
                    <a:pt x="48" y="39"/>
                    <a:pt x="57" y="13"/>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45">
              <a:extLst>
                <a:ext uri="{FF2B5EF4-FFF2-40B4-BE49-F238E27FC236}">
                  <a16:creationId xmlns:a16="http://schemas.microsoft.com/office/drawing/2014/main" id="{391FC21C-8096-73B1-5649-58EC1B69C5A0}"/>
                </a:ext>
              </a:extLst>
            </p:cNvPr>
            <p:cNvSpPr>
              <a:spLocks/>
            </p:cNvSpPr>
            <p:nvPr/>
          </p:nvSpPr>
          <p:spPr bwMode="auto">
            <a:xfrm>
              <a:off x="2350" y="2161"/>
              <a:ext cx="33" cy="45"/>
            </a:xfrm>
            <a:custGeom>
              <a:avLst/>
              <a:gdLst>
                <a:gd name="T0" fmla="*/ 39 w 73"/>
                <a:gd name="T1" fmla="*/ 0 h 97"/>
                <a:gd name="T2" fmla="*/ 21 w 73"/>
                <a:gd name="T3" fmla="*/ 64 h 97"/>
                <a:gd name="T4" fmla="*/ 21 w 73"/>
                <a:gd name="T5" fmla="*/ 65 h 97"/>
                <a:gd name="T6" fmla="*/ 21 w 73"/>
                <a:gd name="T7" fmla="*/ 65 h 97"/>
                <a:gd name="T8" fmla="*/ 21 w 73"/>
                <a:gd name="T9" fmla="*/ 65 h 97"/>
                <a:gd name="T10" fmla="*/ 22 w 73"/>
                <a:gd name="T11" fmla="*/ 66 h 97"/>
                <a:gd name="T12" fmla="*/ 22 w 73"/>
                <a:gd name="T13" fmla="*/ 66 h 97"/>
                <a:gd name="T14" fmla="*/ 22 w 73"/>
                <a:gd name="T15" fmla="*/ 66 h 97"/>
                <a:gd name="T16" fmla="*/ 22 w 73"/>
                <a:gd name="T17" fmla="*/ 66 h 97"/>
                <a:gd name="T18" fmla="*/ 22 w 73"/>
                <a:gd name="T19" fmla="*/ 66 h 97"/>
                <a:gd name="T20" fmla="*/ 22 w 73"/>
                <a:gd name="T21" fmla="*/ 67 h 97"/>
                <a:gd name="T22" fmla="*/ 22 w 73"/>
                <a:gd name="T23" fmla="*/ 67 h 97"/>
                <a:gd name="T24" fmla="*/ 22 w 73"/>
                <a:gd name="T25" fmla="*/ 67 h 97"/>
                <a:gd name="T26" fmla="*/ 22 w 73"/>
                <a:gd name="T27" fmla="*/ 67 h 97"/>
                <a:gd name="T28" fmla="*/ 22 w 73"/>
                <a:gd name="T29" fmla="*/ 67 h 97"/>
                <a:gd name="T30" fmla="*/ 22 w 73"/>
                <a:gd name="T31" fmla="*/ 68 h 97"/>
                <a:gd name="T32" fmla="*/ 23 w 73"/>
                <a:gd name="T33" fmla="*/ 68 h 97"/>
                <a:gd name="T34" fmla="*/ 23 w 73"/>
                <a:gd name="T35" fmla="*/ 68 h 97"/>
                <a:gd name="T36" fmla="*/ 23 w 73"/>
                <a:gd name="T37" fmla="*/ 68 h 97"/>
                <a:gd name="T38" fmla="*/ 23 w 73"/>
                <a:gd name="T39" fmla="*/ 69 h 97"/>
                <a:gd name="T40" fmla="*/ 23 w 73"/>
                <a:gd name="T41" fmla="*/ 69 h 97"/>
                <a:gd name="T42" fmla="*/ 23 w 73"/>
                <a:gd name="T43" fmla="*/ 69 h 97"/>
                <a:gd name="T44" fmla="*/ 23 w 73"/>
                <a:gd name="T45" fmla="*/ 69 h 97"/>
                <a:gd name="T46" fmla="*/ 23 w 73"/>
                <a:gd name="T47" fmla="*/ 69 h 97"/>
                <a:gd name="T48" fmla="*/ 23 w 73"/>
                <a:gd name="T49" fmla="*/ 69 h 97"/>
                <a:gd name="T50" fmla="*/ 23 w 73"/>
                <a:gd name="T51" fmla="*/ 70 h 97"/>
                <a:gd name="T52" fmla="*/ 23 w 73"/>
                <a:gd name="T53" fmla="*/ 70 h 97"/>
                <a:gd name="T54" fmla="*/ 24 w 73"/>
                <a:gd name="T55" fmla="*/ 70 h 97"/>
                <a:gd name="T56" fmla="*/ 24 w 73"/>
                <a:gd name="T57" fmla="*/ 70 h 97"/>
                <a:gd name="T58" fmla="*/ 24 w 73"/>
                <a:gd name="T59" fmla="*/ 70 h 97"/>
                <a:gd name="T60" fmla="*/ 24 w 73"/>
                <a:gd name="T61" fmla="*/ 71 h 97"/>
                <a:gd name="T62" fmla="*/ 24 w 73"/>
                <a:gd name="T63" fmla="*/ 71 h 97"/>
                <a:gd name="T64" fmla="*/ 24 w 73"/>
                <a:gd name="T65" fmla="*/ 71 h 97"/>
                <a:gd name="T66" fmla="*/ 24 w 73"/>
                <a:gd name="T67" fmla="*/ 71 h 97"/>
                <a:gd name="T68" fmla="*/ 24 w 73"/>
                <a:gd name="T69" fmla="*/ 71 h 97"/>
                <a:gd name="T70" fmla="*/ 25 w 73"/>
                <a:gd name="T71" fmla="*/ 72 h 97"/>
                <a:gd name="T72" fmla="*/ 25 w 73"/>
                <a:gd name="T73" fmla="*/ 72 h 97"/>
                <a:gd name="T74" fmla="*/ 73 w 73"/>
                <a:gd name="T75" fmla="*/ 7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97">
                  <a:moveTo>
                    <a:pt x="39" y="0"/>
                  </a:moveTo>
                  <a:lnTo>
                    <a:pt x="39" y="0"/>
                  </a:lnTo>
                  <a:lnTo>
                    <a:pt x="0" y="12"/>
                  </a:lnTo>
                  <a:cubicBezTo>
                    <a:pt x="6" y="30"/>
                    <a:pt x="13" y="47"/>
                    <a:pt x="21" y="64"/>
                  </a:cubicBezTo>
                  <a:cubicBezTo>
                    <a:pt x="21" y="64"/>
                    <a:pt x="21" y="64"/>
                    <a:pt x="21" y="65"/>
                  </a:cubicBezTo>
                  <a:lnTo>
                    <a:pt x="21" y="65"/>
                  </a:lnTo>
                  <a:cubicBezTo>
                    <a:pt x="21" y="65"/>
                    <a:pt x="21" y="65"/>
                    <a:pt x="21" y="65"/>
                  </a:cubicBezTo>
                  <a:cubicBezTo>
                    <a:pt x="21" y="65"/>
                    <a:pt x="21" y="65"/>
                    <a:pt x="21" y="65"/>
                  </a:cubicBezTo>
                  <a:cubicBezTo>
                    <a:pt x="21" y="65"/>
                    <a:pt x="21" y="65"/>
                    <a:pt x="21" y="65"/>
                  </a:cubicBezTo>
                  <a:lnTo>
                    <a:pt x="21" y="65"/>
                  </a:lnTo>
                  <a:cubicBezTo>
                    <a:pt x="21" y="65"/>
                    <a:pt x="21" y="65"/>
                    <a:pt x="22" y="66"/>
                  </a:cubicBezTo>
                  <a:cubicBezTo>
                    <a:pt x="22" y="66"/>
                    <a:pt x="22" y="66"/>
                    <a:pt x="22" y="66"/>
                  </a:cubicBezTo>
                  <a:cubicBezTo>
                    <a:pt x="22" y="66"/>
                    <a:pt x="22" y="66"/>
                    <a:pt x="22" y="66"/>
                  </a:cubicBezTo>
                  <a:lnTo>
                    <a:pt x="22" y="66"/>
                  </a:lnTo>
                  <a:cubicBezTo>
                    <a:pt x="22" y="66"/>
                    <a:pt x="22" y="66"/>
                    <a:pt x="22" y="66"/>
                  </a:cubicBezTo>
                  <a:cubicBezTo>
                    <a:pt x="22" y="66"/>
                    <a:pt x="22" y="66"/>
                    <a:pt x="22" y="66"/>
                  </a:cubicBezTo>
                  <a:cubicBezTo>
                    <a:pt x="22" y="66"/>
                    <a:pt x="22" y="66"/>
                    <a:pt x="22" y="66"/>
                  </a:cubicBezTo>
                  <a:cubicBezTo>
                    <a:pt x="22" y="66"/>
                    <a:pt x="22" y="66"/>
                    <a:pt x="22" y="66"/>
                  </a:cubicBezTo>
                  <a:cubicBezTo>
                    <a:pt x="22" y="66"/>
                    <a:pt x="22" y="66"/>
                    <a:pt x="22" y="66"/>
                  </a:cubicBezTo>
                  <a:cubicBezTo>
                    <a:pt x="22" y="66"/>
                    <a:pt x="22" y="66"/>
                    <a:pt x="22" y="66"/>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8"/>
                    <a:pt x="22" y="68"/>
                    <a:pt x="22" y="68"/>
                  </a:cubicBezTo>
                  <a:cubicBezTo>
                    <a:pt x="22" y="68"/>
                    <a:pt x="22" y="68"/>
                    <a:pt x="22" y="68"/>
                  </a:cubicBezTo>
                  <a:cubicBezTo>
                    <a:pt x="23" y="68"/>
                    <a:pt x="23" y="68"/>
                    <a:pt x="23" y="68"/>
                  </a:cubicBezTo>
                  <a:cubicBezTo>
                    <a:pt x="23" y="68"/>
                    <a:pt x="23" y="68"/>
                    <a:pt x="23" y="68"/>
                  </a:cubicBezTo>
                  <a:cubicBezTo>
                    <a:pt x="23" y="68"/>
                    <a:pt x="23" y="68"/>
                    <a:pt x="23" y="68"/>
                  </a:cubicBezTo>
                  <a:cubicBezTo>
                    <a:pt x="23" y="68"/>
                    <a:pt x="23" y="68"/>
                    <a:pt x="23" y="68"/>
                  </a:cubicBezTo>
                  <a:cubicBezTo>
                    <a:pt x="23" y="68"/>
                    <a:pt x="23" y="68"/>
                    <a:pt x="23" y="68"/>
                  </a:cubicBezTo>
                  <a:cubicBezTo>
                    <a:pt x="23" y="68"/>
                    <a:pt x="23" y="68"/>
                    <a:pt x="23" y="68"/>
                  </a:cubicBezTo>
                  <a:cubicBezTo>
                    <a:pt x="23" y="68"/>
                    <a:pt x="23" y="68"/>
                    <a:pt x="23" y="68"/>
                  </a:cubicBezTo>
                  <a:cubicBezTo>
                    <a:pt x="23" y="68"/>
                    <a:pt x="23" y="68"/>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70"/>
                  </a:cubicBezTo>
                  <a:cubicBezTo>
                    <a:pt x="23" y="70"/>
                    <a:pt x="23" y="70"/>
                    <a:pt x="23" y="70"/>
                  </a:cubicBezTo>
                  <a:cubicBezTo>
                    <a:pt x="23" y="70"/>
                    <a:pt x="23" y="70"/>
                    <a:pt x="23" y="70"/>
                  </a:cubicBezTo>
                  <a:cubicBezTo>
                    <a:pt x="23" y="70"/>
                    <a:pt x="23" y="70"/>
                    <a:pt x="23" y="70"/>
                  </a:cubicBezTo>
                  <a:cubicBezTo>
                    <a:pt x="24" y="70"/>
                    <a:pt x="24" y="70"/>
                    <a:pt x="24" y="70"/>
                  </a:cubicBezTo>
                  <a:cubicBezTo>
                    <a:pt x="24" y="70"/>
                    <a:pt x="24" y="70"/>
                    <a:pt x="24" y="70"/>
                  </a:cubicBezTo>
                  <a:cubicBezTo>
                    <a:pt x="24" y="70"/>
                    <a:pt x="24" y="70"/>
                    <a:pt x="24" y="70"/>
                  </a:cubicBezTo>
                  <a:cubicBezTo>
                    <a:pt x="24" y="70"/>
                    <a:pt x="24" y="70"/>
                    <a:pt x="24" y="70"/>
                  </a:cubicBezTo>
                  <a:cubicBezTo>
                    <a:pt x="24" y="70"/>
                    <a:pt x="24" y="70"/>
                    <a:pt x="24" y="70"/>
                  </a:cubicBezTo>
                  <a:cubicBezTo>
                    <a:pt x="24" y="70"/>
                    <a:pt x="24" y="70"/>
                    <a:pt x="24" y="70"/>
                  </a:cubicBezTo>
                  <a:cubicBezTo>
                    <a:pt x="24" y="70"/>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2"/>
                    <a:pt x="25" y="72"/>
                    <a:pt x="25" y="72"/>
                  </a:cubicBezTo>
                  <a:cubicBezTo>
                    <a:pt x="25" y="72"/>
                    <a:pt x="25" y="72"/>
                    <a:pt x="25" y="72"/>
                  </a:cubicBezTo>
                  <a:cubicBezTo>
                    <a:pt x="25" y="72"/>
                    <a:pt x="25" y="72"/>
                    <a:pt x="25" y="72"/>
                  </a:cubicBezTo>
                  <a:cubicBezTo>
                    <a:pt x="25" y="72"/>
                    <a:pt x="25" y="72"/>
                    <a:pt x="25" y="72"/>
                  </a:cubicBezTo>
                  <a:cubicBezTo>
                    <a:pt x="29" y="81"/>
                    <a:pt x="33" y="89"/>
                    <a:pt x="38" y="97"/>
                  </a:cubicBezTo>
                  <a:lnTo>
                    <a:pt x="73" y="77"/>
                  </a:lnTo>
                  <a:cubicBezTo>
                    <a:pt x="59" y="53"/>
                    <a:pt x="47" y="27"/>
                    <a:pt x="39" y="0"/>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46">
              <a:extLst>
                <a:ext uri="{FF2B5EF4-FFF2-40B4-BE49-F238E27FC236}">
                  <a16:creationId xmlns:a16="http://schemas.microsoft.com/office/drawing/2014/main" id="{F5D8EF41-D80A-41D1-C6AF-A5A83F476E00}"/>
                </a:ext>
              </a:extLst>
            </p:cNvPr>
            <p:cNvSpPr>
              <a:spLocks/>
            </p:cNvSpPr>
            <p:nvPr/>
          </p:nvSpPr>
          <p:spPr bwMode="auto">
            <a:xfrm>
              <a:off x="2677" y="2181"/>
              <a:ext cx="37" cy="44"/>
            </a:xfrm>
            <a:custGeom>
              <a:avLst/>
              <a:gdLst>
                <a:gd name="T0" fmla="*/ 0 w 80"/>
                <a:gd name="T1" fmla="*/ 73 h 97"/>
                <a:gd name="T2" fmla="*/ 0 w 80"/>
                <a:gd name="T3" fmla="*/ 73 h 97"/>
                <a:gd name="T4" fmla="*/ 32 w 80"/>
                <a:gd name="T5" fmla="*/ 97 h 97"/>
                <a:gd name="T6" fmla="*/ 33 w 80"/>
                <a:gd name="T7" fmla="*/ 97 h 97"/>
                <a:gd name="T8" fmla="*/ 33 w 80"/>
                <a:gd name="T9" fmla="*/ 96 h 97"/>
                <a:gd name="T10" fmla="*/ 33 w 80"/>
                <a:gd name="T11" fmla="*/ 96 h 97"/>
                <a:gd name="T12" fmla="*/ 33 w 80"/>
                <a:gd name="T13" fmla="*/ 96 h 97"/>
                <a:gd name="T14" fmla="*/ 33 w 80"/>
                <a:gd name="T15" fmla="*/ 96 h 97"/>
                <a:gd name="T16" fmla="*/ 33 w 80"/>
                <a:gd name="T17" fmla="*/ 96 h 97"/>
                <a:gd name="T18" fmla="*/ 33 w 80"/>
                <a:gd name="T19" fmla="*/ 96 h 97"/>
                <a:gd name="T20" fmla="*/ 33 w 80"/>
                <a:gd name="T21" fmla="*/ 96 h 97"/>
                <a:gd name="T22" fmla="*/ 33 w 80"/>
                <a:gd name="T23" fmla="*/ 96 h 97"/>
                <a:gd name="T24" fmla="*/ 33 w 80"/>
                <a:gd name="T25" fmla="*/ 96 h 97"/>
                <a:gd name="T26" fmla="*/ 33 w 80"/>
                <a:gd name="T27" fmla="*/ 96 h 97"/>
                <a:gd name="T28" fmla="*/ 33 w 80"/>
                <a:gd name="T29" fmla="*/ 96 h 97"/>
                <a:gd name="T30" fmla="*/ 33 w 80"/>
                <a:gd name="T31" fmla="*/ 96 h 97"/>
                <a:gd name="T32" fmla="*/ 34 w 80"/>
                <a:gd name="T33" fmla="*/ 96 h 97"/>
                <a:gd name="T34" fmla="*/ 34 w 80"/>
                <a:gd name="T35" fmla="*/ 95 h 97"/>
                <a:gd name="T36" fmla="*/ 34 w 80"/>
                <a:gd name="T37" fmla="*/ 95 h 97"/>
                <a:gd name="T38" fmla="*/ 34 w 80"/>
                <a:gd name="T39" fmla="*/ 95 h 97"/>
                <a:gd name="T40" fmla="*/ 34 w 80"/>
                <a:gd name="T41" fmla="*/ 95 h 97"/>
                <a:gd name="T42" fmla="*/ 34 w 80"/>
                <a:gd name="T43" fmla="*/ 95 h 97"/>
                <a:gd name="T44" fmla="*/ 34 w 80"/>
                <a:gd name="T45" fmla="*/ 95 h 97"/>
                <a:gd name="T46" fmla="*/ 34 w 80"/>
                <a:gd name="T47" fmla="*/ 95 h 97"/>
                <a:gd name="T48" fmla="*/ 34 w 80"/>
                <a:gd name="T49" fmla="*/ 95 h 97"/>
                <a:gd name="T50" fmla="*/ 34 w 80"/>
                <a:gd name="T51" fmla="*/ 95 h 97"/>
                <a:gd name="T52" fmla="*/ 34 w 80"/>
                <a:gd name="T53" fmla="*/ 95 h 97"/>
                <a:gd name="T54" fmla="*/ 34 w 80"/>
                <a:gd name="T55" fmla="*/ 94 h 97"/>
                <a:gd name="T56" fmla="*/ 34 w 80"/>
                <a:gd name="T57" fmla="*/ 94 h 97"/>
                <a:gd name="T58" fmla="*/ 34 w 80"/>
                <a:gd name="T59" fmla="*/ 94 h 97"/>
                <a:gd name="T60" fmla="*/ 34 w 80"/>
                <a:gd name="T61" fmla="*/ 94 h 97"/>
                <a:gd name="T62" fmla="*/ 80 w 80"/>
                <a:gd name="T63" fmla="*/ 17 h 97"/>
                <a:gd name="T64" fmla="*/ 43 w 80"/>
                <a:gd name="T65" fmla="*/ 0 h 97"/>
                <a:gd name="T66" fmla="*/ 0 w 80"/>
                <a:gd name="T67" fmla="*/ 7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0" h="97">
                  <a:moveTo>
                    <a:pt x="0" y="73"/>
                  </a:moveTo>
                  <a:lnTo>
                    <a:pt x="0" y="73"/>
                  </a:lnTo>
                  <a:lnTo>
                    <a:pt x="32" y="97"/>
                  </a:lnTo>
                  <a:cubicBezTo>
                    <a:pt x="33" y="97"/>
                    <a:pt x="33" y="97"/>
                    <a:pt x="33" y="97"/>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4" y="96"/>
                  </a:cubicBezTo>
                  <a:cubicBezTo>
                    <a:pt x="34" y="96"/>
                    <a:pt x="34" y="95"/>
                    <a:pt x="34" y="95"/>
                  </a:cubicBezTo>
                  <a:cubicBezTo>
                    <a:pt x="34" y="95"/>
                    <a:pt x="34" y="95"/>
                    <a:pt x="34" y="95"/>
                  </a:cubicBezTo>
                  <a:cubicBezTo>
                    <a:pt x="34" y="95"/>
                    <a:pt x="34" y="95"/>
                    <a:pt x="34" y="95"/>
                  </a:cubicBezTo>
                  <a:cubicBezTo>
                    <a:pt x="34" y="95"/>
                    <a:pt x="34" y="95"/>
                    <a:pt x="34" y="95"/>
                  </a:cubicBezTo>
                  <a:cubicBezTo>
                    <a:pt x="34" y="95"/>
                    <a:pt x="34" y="95"/>
                    <a:pt x="34" y="95"/>
                  </a:cubicBezTo>
                  <a:cubicBezTo>
                    <a:pt x="34" y="95"/>
                    <a:pt x="34" y="95"/>
                    <a:pt x="34" y="95"/>
                  </a:cubicBezTo>
                  <a:cubicBezTo>
                    <a:pt x="34" y="95"/>
                    <a:pt x="34" y="95"/>
                    <a:pt x="34" y="95"/>
                  </a:cubicBezTo>
                  <a:lnTo>
                    <a:pt x="34" y="95"/>
                  </a:lnTo>
                  <a:cubicBezTo>
                    <a:pt x="34" y="95"/>
                    <a:pt x="34" y="95"/>
                    <a:pt x="34" y="95"/>
                  </a:cubicBezTo>
                  <a:lnTo>
                    <a:pt x="34" y="95"/>
                  </a:lnTo>
                  <a:cubicBezTo>
                    <a:pt x="34" y="94"/>
                    <a:pt x="34" y="94"/>
                    <a:pt x="34" y="94"/>
                  </a:cubicBezTo>
                  <a:cubicBezTo>
                    <a:pt x="34" y="94"/>
                    <a:pt x="34" y="94"/>
                    <a:pt x="34" y="94"/>
                  </a:cubicBezTo>
                  <a:cubicBezTo>
                    <a:pt x="34" y="94"/>
                    <a:pt x="34" y="94"/>
                    <a:pt x="34" y="94"/>
                  </a:cubicBezTo>
                  <a:lnTo>
                    <a:pt x="34" y="94"/>
                  </a:lnTo>
                  <a:cubicBezTo>
                    <a:pt x="52" y="70"/>
                    <a:pt x="68" y="44"/>
                    <a:pt x="80" y="17"/>
                  </a:cubicBezTo>
                  <a:lnTo>
                    <a:pt x="43" y="0"/>
                  </a:lnTo>
                  <a:cubicBezTo>
                    <a:pt x="32" y="26"/>
                    <a:pt x="17" y="50"/>
                    <a:pt x="0" y="73"/>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47">
              <a:extLst>
                <a:ext uri="{FF2B5EF4-FFF2-40B4-BE49-F238E27FC236}">
                  <a16:creationId xmlns:a16="http://schemas.microsoft.com/office/drawing/2014/main" id="{454ABF64-7924-BE0E-BDA7-8BAB2F6377DA}"/>
                </a:ext>
              </a:extLst>
            </p:cNvPr>
            <p:cNvSpPr>
              <a:spLocks/>
            </p:cNvSpPr>
            <p:nvPr/>
          </p:nvSpPr>
          <p:spPr bwMode="auto">
            <a:xfrm>
              <a:off x="2638" y="2227"/>
              <a:ext cx="43" cy="41"/>
            </a:xfrm>
            <a:custGeom>
              <a:avLst/>
              <a:gdLst>
                <a:gd name="T0" fmla="*/ 0 w 93"/>
                <a:gd name="T1" fmla="*/ 56 h 89"/>
                <a:gd name="T2" fmla="*/ 0 w 93"/>
                <a:gd name="T3" fmla="*/ 56 h 89"/>
                <a:gd name="T4" fmla="*/ 23 w 93"/>
                <a:gd name="T5" fmla="*/ 89 h 89"/>
                <a:gd name="T6" fmla="*/ 34 w 93"/>
                <a:gd name="T7" fmla="*/ 80 h 89"/>
                <a:gd name="T8" fmla="*/ 34 w 93"/>
                <a:gd name="T9" fmla="*/ 80 h 89"/>
                <a:gd name="T10" fmla="*/ 34 w 93"/>
                <a:gd name="T11" fmla="*/ 80 h 89"/>
                <a:gd name="T12" fmla="*/ 34 w 93"/>
                <a:gd name="T13" fmla="*/ 80 h 89"/>
                <a:gd name="T14" fmla="*/ 34 w 93"/>
                <a:gd name="T15" fmla="*/ 80 h 89"/>
                <a:gd name="T16" fmla="*/ 34 w 93"/>
                <a:gd name="T17" fmla="*/ 80 h 89"/>
                <a:gd name="T18" fmla="*/ 35 w 93"/>
                <a:gd name="T19" fmla="*/ 80 h 89"/>
                <a:gd name="T20" fmla="*/ 35 w 93"/>
                <a:gd name="T21" fmla="*/ 80 h 89"/>
                <a:gd name="T22" fmla="*/ 35 w 93"/>
                <a:gd name="T23" fmla="*/ 80 h 89"/>
                <a:gd name="T24" fmla="*/ 35 w 93"/>
                <a:gd name="T25" fmla="*/ 80 h 89"/>
                <a:gd name="T26" fmla="*/ 35 w 93"/>
                <a:gd name="T27" fmla="*/ 80 h 89"/>
                <a:gd name="T28" fmla="*/ 35 w 93"/>
                <a:gd name="T29" fmla="*/ 80 h 89"/>
                <a:gd name="T30" fmla="*/ 35 w 93"/>
                <a:gd name="T31" fmla="*/ 80 h 89"/>
                <a:gd name="T32" fmla="*/ 35 w 93"/>
                <a:gd name="T33" fmla="*/ 80 h 89"/>
                <a:gd name="T34" fmla="*/ 35 w 93"/>
                <a:gd name="T35" fmla="*/ 80 h 89"/>
                <a:gd name="T36" fmla="*/ 35 w 93"/>
                <a:gd name="T37" fmla="*/ 80 h 89"/>
                <a:gd name="T38" fmla="*/ 35 w 93"/>
                <a:gd name="T39" fmla="*/ 80 h 89"/>
                <a:gd name="T40" fmla="*/ 35 w 93"/>
                <a:gd name="T41" fmla="*/ 80 h 89"/>
                <a:gd name="T42" fmla="*/ 35 w 93"/>
                <a:gd name="T43" fmla="*/ 80 h 89"/>
                <a:gd name="T44" fmla="*/ 35 w 93"/>
                <a:gd name="T45" fmla="*/ 79 h 89"/>
                <a:gd name="T46" fmla="*/ 36 w 93"/>
                <a:gd name="T47" fmla="*/ 79 h 89"/>
                <a:gd name="T48" fmla="*/ 36 w 93"/>
                <a:gd name="T49" fmla="*/ 79 h 89"/>
                <a:gd name="T50" fmla="*/ 36 w 93"/>
                <a:gd name="T51" fmla="*/ 79 h 89"/>
                <a:gd name="T52" fmla="*/ 36 w 93"/>
                <a:gd name="T53" fmla="*/ 79 h 89"/>
                <a:gd name="T54" fmla="*/ 36 w 93"/>
                <a:gd name="T55" fmla="*/ 79 h 89"/>
                <a:gd name="T56" fmla="*/ 36 w 93"/>
                <a:gd name="T57" fmla="*/ 79 h 89"/>
                <a:gd name="T58" fmla="*/ 36 w 93"/>
                <a:gd name="T59" fmla="*/ 79 h 89"/>
                <a:gd name="T60" fmla="*/ 36 w 93"/>
                <a:gd name="T61" fmla="*/ 79 h 89"/>
                <a:gd name="T62" fmla="*/ 36 w 93"/>
                <a:gd name="T63" fmla="*/ 79 h 89"/>
                <a:gd name="T64" fmla="*/ 36 w 93"/>
                <a:gd name="T65" fmla="*/ 79 h 89"/>
                <a:gd name="T66" fmla="*/ 36 w 93"/>
                <a:gd name="T67" fmla="*/ 79 h 89"/>
                <a:gd name="T68" fmla="*/ 37 w 93"/>
                <a:gd name="T69" fmla="*/ 79 h 89"/>
                <a:gd name="T70" fmla="*/ 37 w 93"/>
                <a:gd name="T71" fmla="*/ 79 h 89"/>
                <a:gd name="T72" fmla="*/ 93 w 93"/>
                <a:gd name="T73" fmla="*/ 27 h 89"/>
                <a:gd name="T74" fmla="*/ 63 w 93"/>
                <a:gd name="T75" fmla="*/ 0 h 89"/>
                <a:gd name="T76" fmla="*/ 0 w 93"/>
                <a:gd name="T77" fmla="*/ 5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89">
                  <a:moveTo>
                    <a:pt x="0" y="56"/>
                  </a:moveTo>
                  <a:lnTo>
                    <a:pt x="0" y="56"/>
                  </a:lnTo>
                  <a:lnTo>
                    <a:pt x="23" y="89"/>
                  </a:lnTo>
                  <a:cubicBezTo>
                    <a:pt x="27" y="86"/>
                    <a:pt x="30" y="83"/>
                    <a:pt x="34" y="80"/>
                  </a:cubicBezTo>
                  <a:cubicBezTo>
                    <a:pt x="34" y="80"/>
                    <a:pt x="34" y="80"/>
                    <a:pt x="34" y="80"/>
                  </a:cubicBezTo>
                  <a:cubicBezTo>
                    <a:pt x="34" y="80"/>
                    <a:pt x="34" y="80"/>
                    <a:pt x="34" y="80"/>
                  </a:cubicBezTo>
                  <a:cubicBezTo>
                    <a:pt x="34" y="80"/>
                    <a:pt x="34" y="80"/>
                    <a:pt x="34" y="80"/>
                  </a:cubicBezTo>
                  <a:cubicBezTo>
                    <a:pt x="34" y="80"/>
                    <a:pt x="34" y="80"/>
                    <a:pt x="34" y="80"/>
                  </a:cubicBezTo>
                  <a:cubicBezTo>
                    <a:pt x="34" y="80"/>
                    <a:pt x="34" y="80"/>
                    <a:pt x="34" y="80"/>
                  </a:cubicBezTo>
                  <a:cubicBezTo>
                    <a:pt x="34"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79"/>
                    <a:pt x="35" y="79"/>
                    <a:pt x="35"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lnTo>
                    <a:pt x="36" y="79"/>
                  </a:ln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7" y="79"/>
                  </a:cubicBezTo>
                  <a:cubicBezTo>
                    <a:pt x="37" y="79"/>
                    <a:pt x="37" y="79"/>
                    <a:pt x="37" y="79"/>
                  </a:cubicBezTo>
                  <a:cubicBezTo>
                    <a:pt x="57" y="63"/>
                    <a:pt x="76" y="46"/>
                    <a:pt x="93" y="27"/>
                  </a:cubicBezTo>
                  <a:lnTo>
                    <a:pt x="63" y="0"/>
                  </a:lnTo>
                  <a:cubicBezTo>
                    <a:pt x="44" y="21"/>
                    <a:pt x="23" y="39"/>
                    <a:pt x="0" y="56"/>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48">
              <a:extLst>
                <a:ext uri="{FF2B5EF4-FFF2-40B4-BE49-F238E27FC236}">
                  <a16:creationId xmlns:a16="http://schemas.microsoft.com/office/drawing/2014/main" id="{FAECCCFF-0D84-2132-577A-516D092BA625}"/>
                </a:ext>
              </a:extLst>
            </p:cNvPr>
            <p:cNvSpPr>
              <a:spLocks/>
            </p:cNvSpPr>
            <p:nvPr/>
          </p:nvSpPr>
          <p:spPr bwMode="auto">
            <a:xfrm>
              <a:off x="2709" y="2068"/>
              <a:ext cx="22" cy="43"/>
            </a:xfrm>
            <a:custGeom>
              <a:avLst/>
              <a:gdLst>
                <a:gd name="T0" fmla="*/ 48 w 48"/>
                <a:gd name="T1" fmla="*/ 85 h 93"/>
                <a:gd name="T2" fmla="*/ 48 w 48"/>
                <a:gd name="T3" fmla="*/ 85 h 93"/>
                <a:gd name="T4" fmla="*/ 48 w 48"/>
                <a:gd name="T5" fmla="*/ 85 h 93"/>
                <a:gd name="T6" fmla="*/ 48 w 48"/>
                <a:gd name="T7" fmla="*/ 84 h 93"/>
                <a:gd name="T8" fmla="*/ 48 w 48"/>
                <a:gd name="T9" fmla="*/ 84 h 93"/>
                <a:gd name="T10" fmla="*/ 48 w 48"/>
                <a:gd name="T11" fmla="*/ 84 h 93"/>
                <a:gd name="T12" fmla="*/ 48 w 48"/>
                <a:gd name="T13" fmla="*/ 83 h 93"/>
                <a:gd name="T14" fmla="*/ 48 w 48"/>
                <a:gd name="T15" fmla="*/ 83 h 93"/>
                <a:gd name="T16" fmla="*/ 48 w 48"/>
                <a:gd name="T17" fmla="*/ 83 h 93"/>
                <a:gd name="T18" fmla="*/ 48 w 48"/>
                <a:gd name="T19" fmla="*/ 82 h 93"/>
                <a:gd name="T20" fmla="*/ 48 w 48"/>
                <a:gd name="T21" fmla="*/ 82 h 93"/>
                <a:gd name="T22" fmla="*/ 48 w 48"/>
                <a:gd name="T23" fmla="*/ 82 h 93"/>
                <a:gd name="T24" fmla="*/ 48 w 48"/>
                <a:gd name="T25" fmla="*/ 81 h 93"/>
                <a:gd name="T26" fmla="*/ 48 w 48"/>
                <a:gd name="T27" fmla="*/ 81 h 93"/>
                <a:gd name="T28" fmla="*/ 48 w 48"/>
                <a:gd name="T29" fmla="*/ 81 h 93"/>
                <a:gd name="T30" fmla="*/ 48 w 48"/>
                <a:gd name="T31" fmla="*/ 80 h 93"/>
                <a:gd name="T32" fmla="*/ 48 w 48"/>
                <a:gd name="T33" fmla="*/ 80 h 93"/>
                <a:gd name="T34" fmla="*/ 48 w 48"/>
                <a:gd name="T35" fmla="*/ 79 h 93"/>
                <a:gd name="T36" fmla="*/ 48 w 48"/>
                <a:gd name="T37" fmla="*/ 79 h 93"/>
                <a:gd name="T38" fmla="*/ 48 w 48"/>
                <a:gd name="T39" fmla="*/ 79 h 93"/>
                <a:gd name="T40" fmla="*/ 48 w 48"/>
                <a:gd name="T41" fmla="*/ 78 h 93"/>
                <a:gd name="T42" fmla="*/ 48 w 48"/>
                <a:gd name="T43" fmla="*/ 78 h 93"/>
                <a:gd name="T44" fmla="*/ 48 w 48"/>
                <a:gd name="T45" fmla="*/ 78 h 93"/>
                <a:gd name="T46" fmla="*/ 48 w 48"/>
                <a:gd name="T47" fmla="*/ 77 h 93"/>
                <a:gd name="T48" fmla="*/ 48 w 48"/>
                <a:gd name="T49" fmla="*/ 77 h 93"/>
                <a:gd name="T50" fmla="*/ 48 w 48"/>
                <a:gd name="T51" fmla="*/ 77 h 93"/>
                <a:gd name="T52" fmla="*/ 48 w 48"/>
                <a:gd name="T53" fmla="*/ 76 h 93"/>
                <a:gd name="T54" fmla="*/ 48 w 48"/>
                <a:gd name="T55" fmla="*/ 76 h 93"/>
                <a:gd name="T56" fmla="*/ 48 w 48"/>
                <a:gd name="T57" fmla="*/ 76 h 93"/>
                <a:gd name="T58" fmla="*/ 48 w 48"/>
                <a:gd name="T59" fmla="*/ 75 h 93"/>
                <a:gd name="T60" fmla="*/ 48 w 48"/>
                <a:gd name="T61" fmla="*/ 75 h 93"/>
                <a:gd name="T62" fmla="*/ 48 w 48"/>
                <a:gd name="T63" fmla="*/ 75 h 93"/>
                <a:gd name="T64" fmla="*/ 48 w 48"/>
                <a:gd name="T65" fmla="*/ 74 h 93"/>
                <a:gd name="T66" fmla="*/ 48 w 48"/>
                <a:gd name="T67" fmla="*/ 74 h 93"/>
                <a:gd name="T68" fmla="*/ 48 w 48"/>
                <a:gd name="T69" fmla="*/ 74 h 93"/>
                <a:gd name="T70" fmla="*/ 48 w 48"/>
                <a:gd name="T71" fmla="*/ 73 h 93"/>
                <a:gd name="T72" fmla="*/ 48 w 48"/>
                <a:gd name="T73" fmla="*/ 73 h 93"/>
                <a:gd name="T74" fmla="*/ 48 w 48"/>
                <a:gd name="T75" fmla="*/ 73 h 93"/>
                <a:gd name="T76" fmla="*/ 48 w 48"/>
                <a:gd name="T77" fmla="*/ 72 h 93"/>
                <a:gd name="T78" fmla="*/ 48 w 48"/>
                <a:gd name="T79" fmla="*/ 72 h 93"/>
                <a:gd name="T80" fmla="*/ 48 w 48"/>
                <a:gd name="T81" fmla="*/ 72 h 93"/>
                <a:gd name="T82" fmla="*/ 48 w 48"/>
                <a:gd name="T83" fmla="*/ 71 h 93"/>
                <a:gd name="T84" fmla="*/ 48 w 48"/>
                <a:gd name="T85" fmla="*/ 71 h 93"/>
                <a:gd name="T86" fmla="*/ 48 w 48"/>
                <a:gd name="T87" fmla="*/ 71 h 93"/>
                <a:gd name="T88" fmla="*/ 48 w 48"/>
                <a:gd name="T89" fmla="*/ 70 h 93"/>
                <a:gd name="T90" fmla="*/ 0 w 48"/>
                <a:gd name="T91" fmla="*/ 8 h 93"/>
                <a:gd name="T92" fmla="*/ 48 w 48"/>
                <a:gd name="T93" fmla="*/ 88 h 93"/>
                <a:gd name="T94" fmla="*/ 48 w 48"/>
                <a:gd name="T95" fmla="*/ 87 h 93"/>
                <a:gd name="T96" fmla="*/ 48 w 48"/>
                <a:gd name="T97" fmla="*/ 87 h 93"/>
                <a:gd name="T98" fmla="*/ 48 w 48"/>
                <a:gd name="T99" fmla="*/ 86 h 93"/>
                <a:gd name="T100" fmla="*/ 48 w 48"/>
                <a:gd name="T101"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93">
                  <a:moveTo>
                    <a:pt x="48" y="85"/>
                  </a:moveTo>
                  <a:lnTo>
                    <a:pt x="48" y="85"/>
                  </a:lnTo>
                  <a:cubicBezTo>
                    <a:pt x="48" y="85"/>
                    <a:pt x="48" y="85"/>
                    <a:pt x="48" y="85"/>
                  </a:cubicBezTo>
                  <a:cubicBezTo>
                    <a:pt x="48" y="85"/>
                    <a:pt x="48" y="85"/>
                    <a:pt x="48" y="85"/>
                  </a:cubicBezTo>
                  <a:cubicBezTo>
                    <a:pt x="48" y="85"/>
                    <a:pt x="48" y="85"/>
                    <a:pt x="48" y="85"/>
                  </a:cubicBezTo>
                  <a:cubicBezTo>
                    <a:pt x="48" y="85"/>
                    <a:pt x="48" y="85"/>
                    <a:pt x="48" y="85"/>
                  </a:cubicBezTo>
                  <a:cubicBezTo>
                    <a:pt x="48" y="85"/>
                    <a:pt x="48" y="85"/>
                    <a:pt x="48" y="85"/>
                  </a:cubicBezTo>
                  <a:cubicBezTo>
                    <a:pt x="48" y="85"/>
                    <a:pt x="48" y="85"/>
                    <a:pt x="48" y="85"/>
                  </a:cubicBezTo>
                  <a:lnTo>
                    <a:pt x="48" y="85"/>
                  </a:lnTo>
                  <a:cubicBezTo>
                    <a:pt x="48" y="85"/>
                    <a:pt x="48" y="85"/>
                    <a:pt x="48" y="85"/>
                  </a:cubicBezTo>
                  <a:cubicBezTo>
                    <a:pt x="48" y="85"/>
                    <a:pt x="48" y="85"/>
                    <a:pt x="48" y="85"/>
                  </a:cubicBezTo>
                  <a:cubicBezTo>
                    <a:pt x="48" y="85"/>
                    <a:pt x="48" y="85"/>
                    <a:pt x="48" y="85"/>
                  </a:cubicBezTo>
                  <a:cubicBezTo>
                    <a:pt x="48" y="85"/>
                    <a:pt x="48" y="85"/>
                    <a:pt x="48" y="85"/>
                  </a:cubicBezTo>
                  <a:cubicBezTo>
                    <a:pt x="48" y="85"/>
                    <a:pt x="48" y="85"/>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4"/>
                    <a:pt x="48" y="74"/>
                  </a:cubicBezTo>
                  <a:cubicBezTo>
                    <a:pt x="48" y="74"/>
                    <a:pt x="48" y="74"/>
                    <a:pt x="48" y="74"/>
                  </a:cubicBezTo>
                  <a:cubicBezTo>
                    <a:pt x="48" y="74"/>
                    <a:pt x="48" y="74"/>
                    <a:pt x="48" y="74"/>
                  </a:cubicBezTo>
                  <a:lnTo>
                    <a:pt x="48" y="74"/>
                  </a:lnTo>
                  <a:cubicBezTo>
                    <a:pt x="48" y="74"/>
                    <a:pt x="48" y="74"/>
                    <a:pt x="48" y="74"/>
                  </a:cubicBezTo>
                  <a:lnTo>
                    <a:pt x="48" y="74"/>
                  </a:lnTo>
                  <a:cubicBezTo>
                    <a:pt x="48" y="74"/>
                    <a:pt x="48" y="74"/>
                    <a:pt x="48" y="74"/>
                  </a:cubicBezTo>
                  <a:lnTo>
                    <a:pt x="48" y="74"/>
                  </a:lnTo>
                  <a:cubicBezTo>
                    <a:pt x="48" y="74"/>
                    <a:pt x="48" y="74"/>
                    <a:pt x="48" y="74"/>
                  </a:cubicBezTo>
                  <a:lnTo>
                    <a:pt x="48" y="74"/>
                  </a:lnTo>
                  <a:cubicBezTo>
                    <a:pt x="48" y="74"/>
                    <a:pt x="48" y="74"/>
                    <a:pt x="48" y="74"/>
                  </a:cubicBezTo>
                  <a:lnTo>
                    <a:pt x="48" y="74"/>
                  </a:lnTo>
                  <a:cubicBezTo>
                    <a:pt x="48" y="73"/>
                    <a:pt x="48" y="73"/>
                    <a:pt x="48" y="73"/>
                  </a:cubicBezTo>
                  <a:lnTo>
                    <a:pt x="48" y="73"/>
                  </a:ln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1"/>
                    <a:pt x="48" y="72"/>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0"/>
                  </a:cubicBezTo>
                  <a:cubicBezTo>
                    <a:pt x="48" y="70"/>
                    <a:pt x="48" y="70"/>
                    <a:pt x="48" y="70"/>
                  </a:cubicBezTo>
                  <a:cubicBezTo>
                    <a:pt x="48" y="70"/>
                    <a:pt x="48" y="70"/>
                    <a:pt x="48" y="70"/>
                  </a:cubicBezTo>
                  <a:cubicBezTo>
                    <a:pt x="48" y="70"/>
                    <a:pt x="48" y="70"/>
                    <a:pt x="48" y="70"/>
                  </a:cubicBezTo>
                  <a:cubicBezTo>
                    <a:pt x="48" y="70"/>
                    <a:pt x="48" y="70"/>
                    <a:pt x="48" y="70"/>
                  </a:cubicBezTo>
                  <a:cubicBezTo>
                    <a:pt x="48" y="70"/>
                    <a:pt x="48" y="70"/>
                    <a:pt x="48" y="69"/>
                  </a:cubicBezTo>
                  <a:cubicBezTo>
                    <a:pt x="47" y="46"/>
                    <a:pt x="44" y="23"/>
                    <a:pt x="39" y="0"/>
                  </a:cubicBezTo>
                  <a:lnTo>
                    <a:pt x="0" y="8"/>
                  </a:lnTo>
                  <a:cubicBezTo>
                    <a:pt x="5" y="34"/>
                    <a:pt x="8" y="60"/>
                    <a:pt x="8" y="86"/>
                  </a:cubicBezTo>
                  <a:cubicBezTo>
                    <a:pt x="8" y="88"/>
                    <a:pt x="8" y="90"/>
                    <a:pt x="7" y="93"/>
                  </a:cubicBezTo>
                  <a:lnTo>
                    <a:pt x="48" y="93"/>
                  </a:lnTo>
                  <a:cubicBezTo>
                    <a:pt x="48" y="91"/>
                    <a:pt x="48" y="90"/>
                    <a:pt x="48" y="88"/>
                  </a:cubicBezTo>
                  <a:cubicBezTo>
                    <a:pt x="48" y="88"/>
                    <a:pt x="48" y="88"/>
                    <a:pt x="48" y="88"/>
                  </a:cubicBezTo>
                  <a:cubicBezTo>
                    <a:pt x="48" y="88"/>
                    <a:pt x="48" y="87"/>
                    <a:pt x="48" y="87"/>
                  </a:cubicBezTo>
                  <a:cubicBezTo>
                    <a:pt x="48" y="87"/>
                    <a:pt x="48" y="87"/>
                    <a:pt x="48" y="87"/>
                  </a:cubicBezTo>
                  <a:cubicBezTo>
                    <a:pt x="48" y="87"/>
                    <a:pt x="48" y="87"/>
                    <a:pt x="48" y="87"/>
                  </a:cubicBezTo>
                  <a:cubicBezTo>
                    <a:pt x="48" y="87"/>
                    <a:pt x="48" y="87"/>
                    <a:pt x="48" y="87"/>
                  </a:cubicBezTo>
                  <a:cubicBezTo>
                    <a:pt x="48" y="87"/>
                    <a:pt x="48" y="87"/>
                    <a:pt x="48" y="87"/>
                  </a:cubicBezTo>
                  <a:cubicBezTo>
                    <a:pt x="48" y="87"/>
                    <a:pt x="48" y="87"/>
                    <a:pt x="48" y="87"/>
                  </a:cubicBezTo>
                  <a:cubicBezTo>
                    <a:pt x="48" y="87"/>
                    <a:pt x="48" y="87"/>
                    <a:pt x="48" y="87"/>
                  </a:cubicBezTo>
                  <a:cubicBezTo>
                    <a:pt x="48" y="87"/>
                    <a:pt x="48" y="87"/>
                    <a:pt x="48" y="87"/>
                  </a:cubicBezTo>
                  <a:cubicBezTo>
                    <a:pt x="48" y="87"/>
                    <a:pt x="48" y="87"/>
                    <a:pt x="48" y="87"/>
                  </a:cubicBezTo>
                  <a:cubicBezTo>
                    <a:pt x="48" y="86"/>
                    <a:pt x="48" y="86"/>
                    <a:pt x="48" y="86"/>
                  </a:cubicBezTo>
                  <a:cubicBezTo>
                    <a:pt x="48" y="86"/>
                    <a:pt x="48" y="86"/>
                    <a:pt x="48" y="86"/>
                  </a:cubicBezTo>
                  <a:cubicBezTo>
                    <a:pt x="48" y="86"/>
                    <a:pt x="48" y="86"/>
                    <a:pt x="48" y="86"/>
                  </a:cubicBezTo>
                  <a:cubicBezTo>
                    <a:pt x="48" y="86"/>
                    <a:pt x="48" y="86"/>
                    <a:pt x="48" y="86"/>
                  </a:cubicBezTo>
                  <a:cubicBezTo>
                    <a:pt x="48" y="86"/>
                    <a:pt x="48" y="86"/>
                    <a:pt x="48" y="86"/>
                  </a:cubicBezTo>
                  <a:cubicBezTo>
                    <a:pt x="48" y="86"/>
                    <a:pt x="48" y="86"/>
                    <a:pt x="48" y="85"/>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49">
              <a:extLst>
                <a:ext uri="{FF2B5EF4-FFF2-40B4-BE49-F238E27FC236}">
                  <a16:creationId xmlns:a16="http://schemas.microsoft.com/office/drawing/2014/main" id="{04FB202E-920D-D730-144B-6B42A6282E97}"/>
                </a:ext>
              </a:extLst>
            </p:cNvPr>
            <p:cNvSpPr>
              <a:spLocks/>
            </p:cNvSpPr>
            <p:nvPr/>
          </p:nvSpPr>
          <p:spPr bwMode="auto">
            <a:xfrm>
              <a:off x="2703" y="2127"/>
              <a:ext cx="27" cy="44"/>
            </a:xfrm>
            <a:custGeom>
              <a:avLst/>
              <a:gdLst>
                <a:gd name="T0" fmla="*/ 0 w 58"/>
                <a:gd name="T1" fmla="*/ 82 h 95"/>
                <a:gd name="T2" fmla="*/ 0 w 58"/>
                <a:gd name="T3" fmla="*/ 82 h 95"/>
                <a:gd name="T4" fmla="*/ 38 w 58"/>
                <a:gd name="T5" fmla="*/ 95 h 95"/>
                <a:gd name="T6" fmla="*/ 58 w 58"/>
                <a:gd name="T7" fmla="*/ 4 h 95"/>
                <a:gd name="T8" fmla="*/ 18 w 58"/>
                <a:gd name="T9" fmla="*/ 0 h 95"/>
                <a:gd name="T10" fmla="*/ 0 w 58"/>
                <a:gd name="T11" fmla="*/ 82 h 95"/>
              </a:gdLst>
              <a:ahLst/>
              <a:cxnLst>
                <a:cxn ang="0">
                  <a:pos x="T0" y="T1"/>
                </a:cxn>
                <a:cxn ang="0">
                  <a:pos x="T2" y="T3"/>
                </a:cxn>
                <a:cxn ang="0">
                  <a:pos x="T4" y="T5"/>
                </a:cxn>
                <a:cxn ang="0">
                  <a:pos x="T6" y="T7"/>
                </a:cxn>
                <a:cxn ang="0">
                  <a:pos x="T8" y="T9"/>
                </a:cxn>
                <a:cxn ang="0">
                  <a:pos x="T10" y="T11"/>
                </a:cxn>
              </a:cxnLst>
              <a:rect l="0" t="0" r="r" b="b"/>
              <a:pathLst>
                <a:path w="58" h="95">
                  <a:moveTo>
                    <a:pt x="0" y="82"/>
                  </a:moveTo>
                  <a:lnTo>
                    <a:pt x="0" y="82"/>
                  </a:lnTo>
                  <a:lnTo>
                    <a:pt x="38" y="95"/>
                  </a:lnTo>
                  <a:cubicBezTo>
                    <a:pt x="48" y="66"/>
                    <a:pt x="55" y="36"/>
                    <a:pt x="58" y="4"/>
                  </a:cubicBezTo>
                  <a:lnTo>
                    <a:pt x="18" y="0"/>
                  </a:lnTo>
                  <a:cubicBezTo>
                    <a:pt x="15" y="28"/>
                    <a:pt x="9" y="56"/>
                    <a:pt x="0" y="82"/>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50">
              <a:extLst>
                <a:ext uri="{FF2B5EF4-FFF2-40B4-BE49-F238E27FC236}">
                  <a16:creationId xmlns:a16="http://schemas.microsoft.com/office/drawing/2014/main" id="{9B2D3A79-9475-BE4A-430A-A351294D39C3}"/>
                </a:ext>
              </a:extLst>
            </p:cNvPr>
            <p:cNvSpPr>
              <a:spLocks/>
            </p:cNvSpPr>
            <p:nvPr/>
          </p:nvSpPr>
          <p:spPr bwMode="auto">
            <a:xfrm>
              <a:off x="2589" y="2261"/>
              <a:ext cx="44" cy="33"/>
            </a:xfrm>
            <a:custGeom>
              <a:avLst/>
              <a:gdLst>
                <a:gd name="T0" fmla="*/ 0 w 97"/>
                <a:gd name="T1" fmla="*/ 34 h 72"/>
                <a:gd name="T2" fmla="*/ 0 w 97"/>
                <a:gd name="T3" fmla="*/ 34 h 72"/>
                <a:gd name="T4" fmla="*/ 12 w 97"/>
                <a:gd name="T5" fmla="*/ 72 h 72"/>
                <a:gd name="T6" fmla="*/ 30 w 97"/>
                <a:gd name="T7" fmla="*/ 66 h 72"/>
                <a:gd name="T8" fmla="*/ 30 w 97"/>
                <a:gd name="T9" fmla="*/ 66 h 72"/>
                <a:gd name="T10" fmla="*/ 30 w 97"/>
                <a:gd name="T11" fmla="*/ 66 h 72"/>
                <a:gd name="T12" fmla="*/ 30 w 97"/>
                <a:gd name="T13" fmla="*/ 66 h 72"/>
                <a:gd name="T14" fmla="*/ 30 w 97"/>
                <a:gd name="T15" fmla="*/ 66 h 72"/>
                <a:gd name="T16" fmla="*/ 30 w 97"/>
                <a:gd name="T17" fmla="*/ 66 h 72"/>
                <a:gd name="T18" fmla="*/ 30 w 97"/>
                <a:gd name="T19" fmla="*/ 66 h 72"/>
                <a:gd name="T20" fmla="*/ 30 w 97"/>
                <a:gd name="T21" fmla="*/ 66 h 72"/>
                <a:gd name="T22" fmla="*/ 30 w 97"/>
                <a:gd name="T23" fmla="*/ 66 h 72"/>
                <a:gd name="T24" fmla="*/ 30 w 97"/>
                <a:gd name="T25" fmla="*/ 66 h 72"/>
                <a:gd name="T26" fmla="*/ 31 w 97"/>
                <a:gd name="T27" fmla="*/ 66 h 72"/>
                <a:gd name="T28" fmla="*/ 31 w 97"/>
                <a:gd name="T29" fmla="*/ 66 h 72"/>
                <a:gd name="T30" fmla="*/ 31 w 97"/>
                <a:gd name="T31" fmla="*/ 66 h 72"/>
                <a:gd name="T32" fmla="*/ 31 w 97"/>
                <a:gd name="T33" fmla="*/ 66 h 72"/>
                <a:gd name="T34" fmla="*/ 31 w 97"/>
                <a:gd name="T35" fmla="*/ 66 h 72"/>
                <a:gd name="T36" fmla="*/ 31 w 97"/>
                <a:gd name="T37" fmla="*/ 66 h 72"/>
                <a:gd name="T38" fmla="*/ 31 w 97"/>
                <a:gd name="T39" fmla="*/ 66 h 72"/>
                <a:gd name="T40" fmla="*/ 32 w 97"/>
                <a:gd name="T41" fmla="*/ 66 h 72"/>
                <a:gd name="T42" fmla="*/ 32 w 97"/>
                <a:gd name="T43" fmla="*/ 66 h 72"/>
                <a:gd name="T44" fmla="*/ 32 w 97"/>
                <a:gd name="T45" fmla="*/ 66 h 72"/>
                <a:gd name="T46" fmla="*/ 32 w 97"/>
                <a:gd name="T47" fmla="*/ 66 h 72"/>
                <a:gd name="T48" fmla="*/ 32 w 97"/>
                <a:gd name="T49" fmla="*/ 66 h 72"/>
                <a:gd name="T50" fmla="*/ 32 w 97"/>
                <a:gd name="T51" fmla="*/ 66 h 72"/>
                <a:gd name="T52" fmla="*/ 32 w 97"/>
                <a:gd name="T53" fmla="*/ 66 h 72"/>
                <a:gd name="T54" fmla="*/ 32 w 97"/>
                <a:gd name="T55" fmla="*/ 65 h 72"/>
                <a:gd name="T56" fmla="*/ 32 w 97"/>
                <a:gd name="T57" fmla="*/ 65 h 72"/>
                <a:gd name="T58" fmla="*/ 33 w 97"/>
                <a:gd name="T59" fmla="*/ 65 h 72"/>
                <a:gd name="T60" fmla="*/ 33 w 97"/>
                <a:gd name="T61" fmla="*/ 65 h 72"/>
                <a:gd name="T62" fmla="*/ 33 w 97"/>
                <a:gd name="T63" fmla="*/ 65 h 72"/>
                <a:gd name="T64" fmla="*/ 33 w 97"/>
                <a:gd name="T65" fmla="*/ 65 h 72"/>
                <a:gd name="T66" fmla="*/ 33 w 97"/>
                <a:gd name="T67" fmla="*/ 65 h 72"/>
                <a:gd name="T68" fmla="*/ 33 w 97"/>
                <a:gd name="T69" fmla="*/ 65 h 72"/>
                <a:gd name="T70" fmla="*/ 33 w 97"/>
                <a:gd name="T71" fmla="*/ 65 h 72"/>
                <a:gd name="T72" fmla="*/ 33 w 97"/>
                <a:gd name="T73" fmla="*/ 65 h 72"/>
                <a:gd name="T74" fmla="*/ 33 w 97"/>
                <a:gd name="T75" fmla="*/ 65 h 72"/>
                <a:gd name="T76" fmla="*/ 33 w 97"/>
                <a:gd name="T77" fmla="*/ 65 h 72"/>
                <a:gd name="T78" fmla="*/ 33 w 97"/>
                <a:gd name="T79" fmla="*/ 65 h 72"/>
                <a:gd name="T80" fmla="*/ 33 w 97"/>
                <a:gd name="T81" fmla="*/ 65 h 72"/>
                <a:gd name="T82" fmla="*/ 34 w 97"/>
                <a:gd name="T83" fmla="*/ 65 h 72"/>
                <a:gd name="T84" fmla="*/ 34 w 97"/>
                <a:gd name="T85" fmla="*/ 65 h 72"/>
                <a:gd name="T86" fmla="*/ 34 w 97"/>
                <a:gd name="T87" fmla="*/ 65 h 72"/>
                <a:gd name="T88" fmla="*/ 34 w 97"/>
                <a:gd name="T89" fmla="*/ 65 h 72"/>
                <a:gd name="T90" fmla="*/ 34 w 97"/>
                <a:gd name="T91" fmla="*/ 65 h 72"/>
                <a:gd name="T92" fmla="*/ 34 w 97"/>
                <a:gd name="T93" fmla="*/ 65 h 72"/>
                <a:gd name="T94" fmla="*/ 34 w 97"/>
                <a:gd name="T95" fmla="*/ 65 h 72"/>
                <a:gd name="T96" fmla="*/ 34 w 97"/>
                <a:gd name="T97" fmla="*/ 65 h 72"/>
                <a:gd name="T98" fmla="*/ 34 w 97"/>
                <a:gd name="T99" fmla="*/ 65 h 72"/>
                <a:gd name="T100" fmla="*/ 34 w 97"/>
                <a:gd name="T101" fmla="*/ 65 h 72"/>
                <a:gd name="T102" fmla="*/ 97 w 97"/>
                <a:gd name="T103" fmla="*/ 35 h 72"/>
                <a:gd name="T104" fmla="*/ 77 w 97"/>
                <a:gd name="T105" fmla="*/ 0 h 72"/>
                <a:gd name="T106" fmla="*/ 0 w 97"/>
                <a:gd name="T107"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72">
                  <a:moveTo>
                    <a:pt x="0" y="34"/>
                  </a:moveTo>
                  <a:lnTo>
                    <a:pt x="0" y="34"/>
                  </a:lnTo>
                  <a:lnTo>
                    <a:pt x="12" y="72"/>
                  </a:lnTo>
                  <a:cubicBezTo>
                    <a:pt x="18" y="71"/>
                    <a:pt x="24" y="68"/>
                    <a:pt x="30" y="66"/>
                  </a:cubicBezTo>
                  <a:lnTo>
                    <a:pt x="30" y="66"/>
                  </a:lnTo>
                  <a:cubicBezTo>
                    <a:pt x="30" y="66"/>
                    <a:pt x="30" y="66"/>
                    <a:pt x="30" y="66"/>
                  </a:cubicBezTo>
                  <a:cubicBezTo>
                    <a:pt x="30" y="66"/>
                    <a:pt x="30" y="66"/>
                    <a:pt x="30" y="66"/>
                  </a:cubicBezTo>
                  <a:cubicBezTo>
                    <a:pt x="30" y="66"/>
                    <a:pt x="30" y="66"/>
                    <a:pt x="30" y="66"/>
                  </a:cubicBezTo>
                  <a:lnTo>
                    <a:pt x="30" y="66"/>
                  </a:lnTo>
                  <a:cubicBezTo>
                    <a:pt x="30" y="66"/>
                    <a:pt x="30" y="66"/>
                    <a:pt x="30" y="66"/>
                  </a:cubicBezTo>
                  <a:cubicBezTo>
                    <a:pt x="30" y="66"/>
                    <a:pt x="30" y="66"/>
                    <a:pt x="30" y="66"/>
                  </a:cubicBezTo>
                  <a:cubicBezTo>
                    <a:pt x="30" y="66"/>
                    <a:pt x="30" y="66"/>
                    <a:pt x="30" y="66"/>
                  </a:cubicBezTo>
                  <a:cubicBezTo>
                    <a:pt x="30" y="66"/>
                    <a:pt x="30" y="66"/>
                    <a:pt x="30" y="66"/>
                  </a:cubicBezTo>
                  <a:cubicBezTo>
                    <a:pt x="31" y="66"/>
                    <a:pt x="31" y="66"/>
                    <a:pt x="31" y="66"/>
                  </a:cubicBezTo>
                  <a:cubicBezTo>
                    <a:pt x="31" y="66"/>
                    <a:pt x="31" y="66"/>
                    <a:pt x="31" y="66"/>
                  </a:cubicBezTo>
                  <a:cubicBezTo>
                    <a:pt x="31" y="66"/>
                    <a:pt x="31" y="66"/>
                    <a:pt x="31" y="66"/>
                  </a:cubicBezTo>
                  <a:cubicBezTo>
                    <a:pt x="31" y="66"/>
                    <a:pt x="31" y="66"/>
                    <a:pt x="31" y="66"/>
                  </a:cubicBezTo>
                  <a:cubicBezTo>
                    <a:pt x="31" y="66"/>
                    <a:pt x="31" y="66"/>
                    <a:pt x="31" y="66"/>
                  </a:cubicBezTo>
                  <a:cubicBezTo>
                    <a:pt x="31" y="66"/>
                    <a:pt x="31" y="66"/>
                    <a:pt x="31" y="66"/>
                  </a:cubicBezTo>
                  <a:cubicBezTo>
                    <a:pt x="31" y="66"/>
                    <a:pt x="31" y="66"/>
                    <a:pt x="31" y="66"/>
                  </a:cubicBezTo>
                  <a:cubicBezTo>
                    <a:pt x="31" y="66"/>
                    <a:pt x="31" y="66"/>
                    <a:pt x="32" y="66"/>
                  </a:cubicBezTo>
                  <a:cubicBezTo>
                    <a:pt x="32" y="66"/>
                    <a:pt x="32" y="66"/>
                    <a:pt x="32" y="66"/>
                  </a:cubicBezTo>
                  <a:cubicBezTo>
                    <a:pt x="32" y="66"/>
                    <a:pt x="32" y="66"/>
                    <a:pt x="32" y="66"/>
                  </a:cubicBezTo>
                  <a:cubicBezTo>
                    <a:pt x="32" y="66"/>
                    <a:pt x="32" y="66"/>
                    <a:pt x="32" y="66"/>
                  </a:cubicBezTo>
                  <a:cubicBezTo>
                    <a:pt x="32" y="66"/>
                    <a:pt x="32" y="66"/>
                    <a:pt x="32" y="66"/>
                  </a:cubicBezTo>
                  <a:cubicBezTo>
                    <a:pt x="32" y="66"/>
                    <a:pt x="32" y="66"/>
                    <a:pt x="32" y="66"/>
                  </a:cubicBezTo>
                  <a:cubicBezTo>
                    <a:pt x="32" y="66"/>
                    <a:pt x="32" y="66"/>
                    <a:pt x="32" y="66"/>
                  </a:cubicBezTo>
                  <a:cubicBezTo>
                    <a:pt x="32" y="66"/>
                    <a:pt x="32" y="65"/>
                    <a:pt x="32" y="65"/>
                  </a:cubicBezTo>
                  <a:cubicBezTo>
                    <a:pt x="32" y="65"/>
                    <a:pt x="32" y="65"/>
                    <a:pt x="32" y="65"/>
                  </a:cubicBezTo>
                  <a:cubicBezTo>
                    <a:pt x="32" y="65"/>
                    <a:pt x="32"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4" y="65"/>
                    <a:pt x="34" y="65"/>
                  </a:cubicBezTo>
                  <a:lnTo>
                    <a:pt x="34" y="65"/>
                  </a:ln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lnTo>
                    <a:pt x="34" y="65"/>
                  </a:lnTo>
                  <a:cubicBezTo>
                    <a:pt x="34" y="65"/>
                    <a:pt x="34" y="65"/>
                    <a:pt x="34" y="65"/>
                  </a:cubicBezTo>
                  <a:cubicBezTo>
                    <a:pt x="34" y="65"/>
                    <a:pt x="34" y="65"/>
                    <a:pt x="34" y="65"/>
                  </a:cubicBezTo>
                  <a:cubicBezTo>
                    <a:pt x="56" y="57"/>
                    <a:pt x="77" y="47"/>
                    <a:pt x="97" y="35"/>
                  </a:cubicBezTo>
                  <a:lnTo>
                    <a:pt x="77" y="0"/>
                  </a:lnTo>
                  <a:cubicBezTo>
                    <a:pt x="53" y="14"/>
                    <a:pt x="27" y="26"/>
                    <a:pt x="0" y="34"/>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51">
              <a:extLst>
                <a:ext uri="{FF2B5EF4-FFF2-40B4-BE49-F238E27FC236}">
                  <a16:creationId xmlns:a16="http://schemas.microsoft.com/office/drawing/2014/main" id="{E1C0B9BC-F9BD-1F0E-FEA8-CFC139E0BEDB}"/>
                </a:ext>
              </a:extLst>
            </p:cNvPr>
            <p:cNvSpPr>
              <a:spLocks/>
            </p:cNvSpPr>
            <p:nvPr/>
          </p:nvSpPr>
          <p:spPr bwMode="auto">
            <a:xfrm>
              <a:off x="2420" y="2250"/>
              <a:ext cx="44" cy="36"/>
            </a:xfrm>
            <a:custGeom>
              <a:avLst/>
              <a:gdLst>
                <a:gd name="T0" fmla="*/ 5 w 97"/>
                <a:gd name="T1" fmla="*/ 36 h 80"/>
                <a:gd name="T2" fmla="*/ 6 w 97"/>
                <a:gd name="T3" fmla="*/ 37 h 80"/>
                <a:gd name="T4" fmla="*/ 7 w 97"/>
                <a:gd name="T5" fmla="*/ 37 h 80"/>
                <a:gd name="T6" fmla="*/ 7 w 97"/>
                <a:gd name="T7" fmla="*/ 38 h 80"/>
                <a:gd name="T8" fmla="*/ 7 w 97"/>
                <a:gd name="T9" fmla="*/ 38 h 80"/>
                <a:gd name="T10" fmla="*/ 8 w 97"/>
                <a:gd name="T11" fmla="*/ 38 h 80"/>
                <a:gd name="T12" fmla="*/ 8 w 97"/>
                <a:gd name="T13" fmla="*/ 38 h 80"/>
                <a:gd name="T14" fmla="*/ 8 w 97"/>
                <a:gd name="T15" fmla="*/ 38 h 80"/>
                <a:gd name="T16" fmla="*/ 8 w 97"/>
                <a:gd name="T17" fmla="*/ 39 h 80"/>
                <a:gd name="T18" fmla="*/ 9 w 97"/>
                <a:gd name="T19" fmla="*/ 39 h 80"/>
                <a:gd name="T20" fmla="*/ 9 w 97"/>
                <a:gd name="T21" fmla="*/ 39 h 80"/>
                <a:gd name="T22" fmla="*/ 9 w 97"/>
                <a:gd name="T23" fmla="*/ 39 h 80"/>
                <a:gd name="T24" fmla="*/ 9 w 97"/>
                <a:gd name="T25" fmla="*/ 39 h 80"/>
                <a:gd name="T26" fmla="*/ 10 w 97"/>
                <a:gd name="T27" fmla="*/ 40 h 80"/>
                <a:gd name="T28" fmla="*/ 10 w 97"/>
                <a:gd name="T29" fmla="*/ 40 h 80"/>
                <a:gd name="T30" fmla="*/ 10 w 97"/>
                <a:gd name="T31" fmla="*/ 40 h 80"/>
                <a:gd name="T32" fmla="*/ 11 w 97"/>
                <a:gd name="T33" fmla="*/ 40 h 80"/>
                <a:gd name="T34" fmla="*/ 11 w 97"/>
                <a:gd name="T35" fmla="*/ 40 h 80"/>
                <a:gd name="T36" fmla="*/ 11 w 97"/>
                <a:gd name="T37" fmla="*/ 41 h 80"/>
                <a:gd name="T38" fmla="*/ 11 w 97"/>
                <a:gd name="T39" fmla="*/ 41 h 80"/>
                <a:gd name="T40" fmla="*/ 12 w 97"/>
                <a:gd name="T41" fmla="*/ 41 h 80"/>
                <a:gd name="T42" fmla="*/ 12 w 97"/>
                <a:gd name="T43" fmla="*/ 41 h 80"/>
                <a:gd name="T44" fmla="*/ 13 w 97"/>
                <a:gd name="T45" fmla="*/ 42 h 80"/>
                <a:gd name="T46" fmla="*/ 14 w 97"/>
                <a:gd name="T47" fmla="*/ 43 h 80"/>
                <a:gd name="T48" fmla="*/ 65 w 97"/>
                <a:gd name="T49" fmla="*/ 72 h 80"/>
                <a:gd name="T50" fmla="*/ 65 w 97"/>
                <a:gd name="T51" fmla="*/ 72 h 80"/>
                <a:gd name="T52" fmla="*/ 66 w 97"/>
                <a:gd name="T53" fmla="*/ 73 h 80"/>
                <a:gd name="T54" fmla="*/ 67 w 97"/>
                <a:gd name="T55" fmla="*/ 73 h 80"/>
                <a:gd name="T56" fmla="*/ 67 w 97"/>
                <a:gd name="T57" fmla="*/ 73 h 80"/>
                <a:gd name="T58" fmla="*/ 68 w 97"/>
                <a:gd name="T59" fmla="*/ 74 h 80"/>
                <a:gd name="T60" fmla="*/ 68 w 97"/>
                <a:gd name="T61" fmla="*/ 74 h 80"/>
                <a:gd name="T62" fmla="*/ 69 w 97"/>
                <a:gd name="T63" fmla="*/ 74 h 80"/>
                <a:gd name="T64" fmla="*/ 69 w 97"/>
                <a:gd name="T65" fmla="*/ 74 h 80"/>
                <a:gd name="T66" fmla="*/ 69 w 97"/>
                <a:gd name="T67" fmla="*/ 74 h 80"/>
                <a:gd name="T68" fmla="*/ 70 w 97"/>
                <a:gd name="T69" fmla="*/ 75 h 80"/>
                <a:gd name="T70" fmla="*/ 70 w 97"/>
                <a:gd name="T71" fmla="*/ 75 h 80"/>
                <a:gd name="T72" fmla="*/ 70 w 97"/>
                <a:gd name="T73" fmla="*/ 75 h 80"/>
                <a:gd name="T74" fmla="*/ 70 w 97"/>
                <a:gd name="T75" fmla="*/ 75 h 80"/>
                <a:gd name="T76" fmla="*/ 71 w 97"/>
                <a:gd name="T77" fmla="*/ 75 h 80"/>
                <a:gd name="T78" fmla="*/ 71 w 97"/>
                <a:gd name="T79" fmla="*/ 75 h 80"/>
                <a:gd name="T80" fmla="*/ 71 w 97"/>
                <a:gd name="T81" fmla="*/ 75 h 80"/>
                <a:gd name="T82" fmla="*/ 71 w 97"/>
                <a:gd name="T83" fmla="*/ 75 h 80"/>
                <a:gd name="T84" fmla="*/ 72 w 97"/>
                <a:gd name="T85" fmla="*/ 76 h 80"/>
                <a:gd name="T86" fmla="*/ 72 w 97"/>
                <a:gd name="T87" fmla="*/ 76 h 80"/>
                <a:gd name="T88" fmla="*/ 72 w 97"/>
                <a:gd name="T89" fmla="*/ 76 h 80"/>
                <a:gd name="T90" fmla="*/ 72 w 97"/>
                <a:gd name="T91" fmla="*/ 76 h 80"/>
                <a:gd name="T92" fmla="*/ 73 w 97"/>
                <a:gd name="T93" fmla="*/ 76 h 80"/>
                <a:gd name="T94" fmla="*/ 73 w 97"/>
                <a:gd name="T95" fmla="*/ 76 h 80"/>
                <a:gd name="T96" fmla="*/ 73 w 97"/>
                <a:gd name="T97" fmla="*/ 76 h 80"/>
                <a:gd name="T98" fmla="*/ 73 w 97"/>
                <a:gd name="T99" fmla="*/ 76 h 80"/>
                <a:gd name="T100" fmla="*/ 74 w 97"/>
                <a:gd name="T101" fmla="*/ 77 h 80"/>
                <a:gd name="T102" fmla="*/ 74 w 97"/>
                <a:gd name="T103" fmla="*/ 77 h 80"/>
                <a:gd name="T104" fmla="*/ 75 w 97"/>
                <a:gd name="T105" fmla="*/ 77 h 80"/>
                <a:gd name="T106" fmla="*/ 75 w 97"/>
                <a:gd name="T107" fmla="*/ 77 h 80"/>
                <a:gd name="T108" fmla="*/ 75 w 97"/>
                <a:gd name="T109" fmla="*/ 77 h 80"/>
                <a:gd name="T110" fmla="*/ 76 w 97"/>
                <a:gd name="T111" fmla="*/ 78 h 80"/>
                <a:gd name="T112" fmla="*/ 76 w 97"/>
                <a:gd name="T113" fmla="*/ 78 h 80"/>
                <a:gd name="T114" fmla="*/ 77 w 97"/>
                <a:gd name="T115" fmla="*/ 78 h 80"/>
                <a:gd name="T116" fmla="*/ 97 w 97"/>
                <a:gd name="T117" fmla="*/ 4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7" h="80">
                  <a:moveTo>
                    <a:pt x="0" y="33"/>
                  </a:moveTo>
                  <a:lnTo>
                    <a:pt x="0" y="33"/>
                  </a:lnTo>
                  <a:cubicBezTo>
                    <a:pt x="2" y="34"/>
                    <a:pt x="4" y="35"/>
                    <a:pt x="5" y="36"/>
                  </a:cubicBezTo>
                  <a:cubicBezTo>
                    <a:pt x="6" y="37"/>
                    <a:pt x="6" y="37"/>
                    <a:pt x="6" y="37"/>
                  </a:cubicBezTo>
                  <a:cubicBezTo>
                    <a:pt x="6" y="37"/>
                    <a:pt x="6" y="37"/>
                    <a:pt x="6" y="37"/>
                  </a:cubicBezTo>
                  <a:cubicBezTo>
                    <a:pt x="6" y="37"/>
                    <a:pt x="6" y="37"/>
                    <a:pt x="6" y="37"/>
                  </a:cubicBezTo>
                  <a:cubicBezTo>
                    <a:pt x="6" y="37"/>
                    <a:pt x="6" y="37"/>
                    <a:pt x="7" y="37"/>
                  </a:cubicBezTo>
                  <a:cubicBezTo>
                    <a:pt x="7" y="37"/>
                    <a:pt x="7" y="37"/>
                    <a:pt x="7" y="37"/>
                  </a:cubicBezTo>
                  <a:cubicBezTo>
                    <a:pt x="7" y="37"/>
                    <a:pt x="7" y="37"/>
                    <a:pt x="7" y="37"/>
                  </a:cubicBezTo>
                  <a:cubicBezTo>
                    <a:pt x="7" y="37"/>
                    <a:pt x="7" y="37"/>
                    <a:pt x="7" y="37"/>
                  </a:cubicBezTo>
                  <a:cubicBezTo>
                    <a:pt x="7" y="37"/>
                    <a:pt x="7" y="37"/>
                    <a:pt x="7" y="38"/>
                  </a:cubicBezTo>
                  <a:lnTo>
                    <a:pt x="7" y="38"/>
                  </a:lnTo>
                  <a:cubicBezTo>
                    <a:pt x="7" y="38"/>
                    <a:pt x="7" y="38"/>
                    <a:pt x="7" y="38"/>
                  </a:cubicBezTo>
                  <a:cubicBezTo>
                    <a:pt x="7" y="38"/>
                    <a:pt x="7" y="38"/>
                    <a:pt x="7" y="38"/>
                  </a:cubicBezTo>
                  <a:cubicBezTo>
                    <a:pt x="7" y="38"/>
                    <a:pt x="7" y="38"/>
                    <a:pt x="7" y="38"/>
                  </a:cubicBezTo>
                  <a:cubicBezTo>
                    <a:pt x="7" y="38"/>
                    <a:pt x="7" y="38"/>
                    <a:pt x="7" y="38"/>
                  </a:cubicBezTo>
                  <a:cubicBezTo>
                    <a:pt x="7" y="38"/>
                    <a:pt x="8" y="38"/>
                    <a:pt x="8" y="38"/>
                  </a:cubicBezTo>
                  <a:cubicBezTo>
                    <a:pt x="8" y="38"/>
                    <a:pt x="8" y="38"/>
                    <a:pt x="8" y="38"/>
                  </a:cubicBezTo>
                  <a:cubicBezTo>
                    <a:pt x="8" y="38"/>
                    <a:pt x="8" y="38"/>
                    <a:pt x="8" y="38"/>
                  </a:cubicBezTo>
                  <a:cubicBezTo>
                    <a:pt x="8" y="38"/>
                    <a:pt x="8" y="38"/>
                    <a:pt x="8" y="38"/>
                  </a:cubicBezTo>
                  <a:cubicBezTo>
                    <a:pt x="8" y="38"/>
                    <a:pt x="8" y="38"/>
                    <a:pt x="8" y="38"/>
                  </a:cubicBezTo>
                  <a:cubicBezTo>
                    <a:pt x="8" y="38"/>
                    <a:pt x="8" y="38"/>
                    <a:pt x="8" y="38"/>
                  </a:cubicBezTo>
                  <a:cubicBezTo>
                    <a:pt x="8" y="38"/>
                    <a:pt x="8" y="38"/>
                    <a:pt x="8" y="38"/>
                  </a:cubicBezTo>
                  <a:cubicBezTo>
                    <a:pt x="8" y="38"/>
                    <a:pt x="8" y="38"/>
                    <a:pt x="8" y="38"/>
                  </a:cubicBezTo>
                  <a:cubicBezTo>
                    <a:pt x="8" y="38"/>
                    <a:pt x="8" y="38"/>
                    <a:pt x="8" y="39"/>
                  </a:cubicBezTo>
                  <a:cubicBezTo>
                    <a:pt x="8" y="39"/>
                    <a:pt x="8" y="39"/>
                    <a:pt x="8" y="39"/>
                  </a:cubicBezTo>
                  <a:cubicBezTo>
                    <a:pt x="8" y="39"/>
                    <a:pt x="8" y="39"/>
                    <a:pt x="8" y="39"/>
                  </a:cubicBezTo>
                  <a:cubicBezTo>
                    <a:pt x="8" y="39"/>
                    <a:pt x="8" y="39"/>
                    <a:pt x="8" y="39"/>
                  </a:cubicBezTo>
                  <a:cubicBezTo>
                    <a:pt x="8" y="39"/>
                    <a:pt x="8" y="39"/>
                    <a:pt x="8"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10" y="39"/>
                    <a:pt x="10" y="39"/>
                  </a:cubicBezTo>
                  <a:cubicBezTo>
                    <a:pt x="10" y="39"/>
                    <a:pt x="10" y="39"/>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1" y="40"/>
                  </a:cubicBezTo>
                  <a:cubicBezTo>
                    <a:pt x="11" y="40"/>
                    <a:pt x="11" y="40"/>
                    <a:pt x="11" y="40"/>
                  </a:cubicBezTo>
                  <a:cubicBezTo>
                    <a:pt x="11" y="40"/>
                    <a:pt x="11" y="40"/>
                    <a:pt x="11" y="40"/>
                  </a:cubicBezTo>
                  <a:cubicBezTo>
                    <a:pt x="11" y="40"/>
                    <a:pt x="11" y="40"/>
                    <a:pt x="11" y="40"/>
                  </a:cubicBezTo>
                  <a:cubicBezTo>
                    <a:pt x="11" y="40"/>
                    <a:pt x="11" y="40"/>
                    <a:pt x="11" y="40"/>
                  </a:cubicBezTo>
                  <a:cubicBezTo>
                    <a:pt x="11" y="40"/>
                    <a:pt x="11" y="40"/>
                    <a:pt x="11" y="40"/>
                  </a:cubicBezTo>
                  <a:cubicBezTo>
                    <a:pt x="11" y="40"/>
                    <a:pt x="11" y="40"/>
                    <a:pt x="11" y="41"/>
                  </a:cubicBezTo>
                  <a:cubicBezTo>
                    <a:pt x="11" y="41"/>
                    <a:pt x="11" y="41"/>
                    <a:pt x="11" y="41"/>
                  </a:cubicBezTo>
                  <a:cubicBezTo>
                    <a:pt x="11" y="41"/>
                    <a:pt x="11" y="41"/>
                    <a:pt x="11" y="41"/>
                  </a:cubicBezTo>
                  <a:lnTo>
                    <a:pt x="11" y="41"/>
                  </a:lnTo>
                  <a:cubicBezTo>
                    <a:pt x="11" y="41"/>
                    <a:pt x="12" y="41"/>
                    <a:pt x="12" y="41"/>
                  </a:cubicBezTo>
                  <a:lnTo>
                    <a:pt x="12" y="41"/>
                  </a:lnTo>
                  <a:cubicBezTo>
                    <a:pt x="12" y="41"/>
                    <a:pt x="12" y="41"/>
                    <a:pt x="12" y="41"/>
                  </a:cubicBezTo>
                  <a:cubicBezTo>
                    <a:pt x="12" y="41"/>
                    <a:pt x="12" y="41"/>
                    <a:pt x="12" y="41"/>
                  </a:cubicBezTo>
                  <a:cubicBezTo>
                    <a:pt x="12" y="41"/>
                    <a:pt x="12" y="41"/>
                    <a:pt x="12" y="41"/>
                  </a:cubicBezTo>
                  <a:lnTo>
                    <a:pt x="12" y="41"/>
                  </a:lnTo>
                  <a:cubicBezTo>
                    <a:pt x="12" y="41"/>
                    <a:pt x="12" y="41"/>
                    <a:pt x="12" y="41"/>
                  </a:cubicBezTo>
                  <a:lnTo>
                    <a:pt x="12" y="41"/>
                  </a:lnTo>
                  <a:cubicBezTo>
                    <a:pt x="13" y="42"/>
                    <a:pt x="13" y="42"/>
                    <a:pt x="13" y="42"/>
                  </a:cubicBezTo>
                  <a:lnTo>
                    <a:pt x="13" y="42"/>
                  </a:lnTo>
                  <a:cubicBezTo>
                    <a:pt x="13" y="42"/>
                    <a:pt x="13" y="42"/>
                    <a:pt x="13" y="42"/>
                  </a:cubicBezTo>
                  <a:cubicBezTo>
                    <a:pt x="14" y="42"/>
                    <a:pt x="14" y="42"/>
                    <a:pt x="14" y="43"/>
                  </a:cubicBezTo>
                  <a:cubicBezTo>
                    <a:pt x="14" y="43"/>
                    <a:pt x="14" y="43"/>
                    <a:pt x="14" y="43"/>
                  </a:cubicBezTo>
                  <a:lnTo>
                    <a:pt x="14" y="43"/>
                  </a:lnTo>
                  <a:cubicBezTo>
                    <a:pt x="30" y="54"/>
                    <a:pt x="47" y="64"/>
                    <a:pt x="65" y="72"/>
                  </a:cubicBezTo>
                  <a:cubicBezTo>
                    <a:pt x="65" y="72"/>
                    <a:pt x="65" y="72"/>
                    <a:pt x="65" y="72"/>
                  </a:cubicBezTo>
                  <a:cubicBezTo>
                    <a:pt x="65" y="72"/>
                    <a:pt x="65" y="72"/>
                    <a:pt x="65" y="72"/>
                  </a:cubicBezTo>
                  <a:lnTo>
                    <a:pt x="65" y="72"/>
                  </a:lnTo>
                  <a:cubicBezTo>
                    <a:pt x="65" y="73"/>
                    <a:pt x="66" y="73"/>
                    <a:pt x="66" y="73"/>
                  </a:cubicBezTo>
                  <a:cubicBezTo>
                    <a:pt x="66" y="73"/>
                    <a:pt x="66" y="73"/>
                    <a:pt x="66" y="73"/>
                  </a:cubicBezTo>
                  <a:cubicBezTo>
                    <a:pt x="66" y="73"/>
                    <a:pt x="66" y="73"/>
                    <a:pt x="66" y="73"/>
                  </a:cubicBezTo>
                  <a:cubicBezTo>
                    <a:pt x="66" y="73"/>
                    <a:pt x="66" y="73"/>
                    <a:pt x="66" y="73"/>
                  </a:cubicBezTo>
                  <a:lnTo>
                    <a:pt x="66" y="73"/>
                  </a:lnTo>
                  <a:cubicBezTo>
                    <a:pt x="67" y="73"/>
                    <a:pt x="67" y="73"/>
                    <a:pt x="67" y="73"/>
                  </a:cubicBezTo>
                  <a:lnTo>
                    <a:pt x="67" y="73"/>
                  </a:lnTo>
                  <a:cubicBezTo>
                    <a:pt x="67" y="73"/>
                    <a:pt x="67" y="73"/>
                    <a:pt x="67" y="73"/>
                  </a:cubicBezTo>
                  <a:cubicBezTo>
                    <a:pt x="67" y="73"/>
                    <a:pt x="67" y="73"/>
                    <a:pt x="67" y="73"/>
                  </a:cubicBezTo>
                  <a:cubicBezTo>
                    <a:pt x="67" y="74"/>
                    <a:pt x="67" y="74"/>
                    <a:pt x="67" y="74"/>
                  </a:cubicBezTo>
                  <a:lnTo>
                    <a:pt x="67" y="74"/>
                  </a:lnTo>
                  <a:cubicBezTo>
                    <a:pt x="67" y="74"/>
                    <a:pt x="67" y="74"/>
                    <a:pt x="68" y="74"/>
                  </a:cubicBezTo>
                  <a:cubicBezTo>
                    <a:pt x="68" y="74"/>
                    <a:pt x="68" y="74"/>
                    <a:pt x="68" y="74"/>
                  </a:cubicBezTo>
                  <a:cubicBezTo>
                    <a:pt x="68" y="74"/>
                    <a:pt x="68" y="74"/>
                    <a:pt x="68" y="74"/>
                  </a:cubicBezTo>
                  <a:lnTo>
                    <a:pt x="68" y="74"/>
                  </a:lnTo>
                  <a:cubicBezTo>
                    <a:pt x="68" y="74"/>
                    <a:pt x="68" y="74"/>
                    <a:pt x="68" y="74"/>
                  </a:cubicBezTo>
                  <a:cubicBezTo>
                    <a:pt x="68" y="74"/>
                    <a:pt x="68" y="74"/>
                    <a:pt x="68" y="74"/>
                  </a:cubicBezTo>
                  <a:cubicBezTo>
                    <a:pt x="68" y="74"/>
                    <a:pt x="68" y="74"/>
                    <a:pt x="69" y="74"/>
                  </a:cubicBezTo>
                  <a:lnTo>
                    <a:pt x="69" y="74"/>
                  </a:lnTo>
                  <a:cubicBezTo>
                    <a:pt x="69" y="74"/>
                    <a:pt x="69" y="74"/>
                    <a:pt x="69" y="74"/>
                  </a:cubicBezTo>
                  <a:cubicBezTo>
                    <a:pt x="69" y="74"/>
                    <a:pt x="69" y="74"/>
                    <a:pt x="69" y="74"/>
                  </a:cubicBezTo>
                  <a:cubicBezTo>
                    <a:pt x="69" y="74"/>
                    <a:pt x="69" y="74"/>
                    <a:pt x="69" y="74"/>
                  </a:cubicBezTo>
                  <a:lnTo>
                    <a:pt x="69" y="74"/>
                  </a:lnTo>
                  <a:cubicBezTo>
                    <a:pt x="69" y="74"/>
                    <a:pt x="69" y="74"/>
                    <a:pt x="69" y="74"/>
                  </a:cubicBezTo>
                  <a:cubicBezTo>
                    <a:pt x="69" y="74"/>
                    <a:pt x="69" y="74"/>
                    <a:pt x="69" y="75"/>
                  </a:cubicBezTo>
                  <a:cubicBezTo>
                    <a:pt x="69" y="75"/>
                    <a:pt x="69" y="75"/>
                    <a:pt x="69" y="75"/>
                  </a:cubicBezTo>
                  <a:cubicBezTo>
                    <a:pt x="69" y="75"/>
                    <a:pt x="69"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6"/>
                    <a:pt x="71" y="76"/>
                  </a:cubicBezTo>
                  <a:cubicBezTo>
                    <a:pt x="71" y="76"/>
                    <a:pt x="71" y="76"/>
                    <a:pt x="72" y="76"/>
                  </a:cubicBezTo>
                  <a:cubicBezTo>
                    <a:pt x="72" y="76"/>
                    <a:pt x="72" y="76"/>
                    <a:pt x="72" y="76"/>
                  </a:cubicBezTo>
                  <a:lnTo>
                    <a:pt x="72" y="76"/>
                  </a:ln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4" y="76"/>
                    <a:pt x="74" y="77"/>
                  </a:cubicBezTo>
                  <a:cubicBezTo>
                    <a:pt x="74" y="77"/>
                    <a:pt x="74" y="77"/>
                    <a:pt x="74" y="77"/>
                  </a:cubicBezTo>
                  <a:cubicBezTo>
                    <a:pt x="74" y="77"/>
                    <a:pt x="74" y="77"/>
                    <a:pt x="74" y="77"/>
                  </a:cubicBezTo>
                  <a:cubicBezTo>
                    <a:pt x="74" y="77"/>
                    <a:pt x="74" y="77"/>
                    <a:pt x="74" y="77"/>
                  </a:cubicBezTo>
                  <a:cubicBezTo>
                    <a:pt x="74" y="77"/>
                    <a:pt x="74" y="77"/>
                    <a:pt x="74" y="77"/>
                  </a:cubicBezTo>
                  <a:cubicBezTo>
                    <a:pt x="74" y="77"/>
                    <a:pt x="74" y="77"/>
                    <a:pt x="74" y="77"/>
                  </a:cubicBezTo>
                  <a:cubicBezTo>
                    <a:pt x="74" y="77"/>
                    <a:pt x="74" y="77"/>
                    <a:pt x="74" y="77"/>
                  </a:cubicBezTo>
                  <a:cubicBezTo>
                    <a:pt x="74" y="77"/>
                    <a:pt x="74" y="77"/>
                    <a:pt x="74" y="77"/>
                  </a:cubicBezTo>
                  <a:cubicBezTo>
                    <a:pt x="75" y="77"/>
                    <a:pt x="75" y="77"/>
                    <a:pt x="75" y="77"/>
                  </a:cubicBezTo>
                  <a:cubicBezTo>
                    <a:pt x="75" y="77"/>
                    <a:pt x="75" y="77"/>
                    <a:pt x="75" y="77"/>
                  </a:cubicBezTo>
                  <a:cubicBezTo>
                    <a:pt x="75" y="77"/>
                    <a:pt x="75" y="77"/>
                    <a:pt x="75" y="77"/>
                  </a:cubicBezTo>
                  <a:cubicBezTo>
                    <a:pt x="75" y="77"/>
                    <a:pt x="75" y="77"/>
                    <a:pt x="75" y="77"/>
                  </a:cubicBezTo>
                  <a:cubicBezTo>
                    <a:pt x="75" y="77"/>
                    <a:pt x="75" y="77"/>
                    <a:pt x="75" y="77"/>
                  </a:cubicBezTo>
                  <a:cubicBezTo>
                    <a:pt x="75" y="77"/>
                    <a:pt x="75" y="77"/>
                    <a:pt x="75" y="77"/>
                  </a:cubicBezTo>
                  <a:cubicBezTo>
                    <a:pt x="75" y="77"/>
                    <a:pt x="75" y="77"/>
                    <a:pt x="75" y="77"/>
                  </a:cubicBezTo>
                  <a:cubicBezTo>
                    <a:pt x="75" y="77"/>
                    <a:pt x="75" y="77"/>
                    <a:pt x="75" y="77"/>
                  </a:cubicBezTo>
                  <a:cubicBezTo>
                    <a:pt x="75" y="77"/>
                    <a:pt x="76" y="77"/>
                    <a:pt x="76" y="78"/>
                  </a:cubicBezTo>
                  <a:cubicBezTo>
                    <a:pt x="76" y="78"/>
                    <a:pt x="76" y="78"/>
                    <a:pt x="76" y="78"/>
                  </a:cubicBezTo>
                  <a:cubicBezTo>
                    <a:pt x="76" y="78"/>
                    <a:pt x="76" y="78"/>
                    <a:pt x="76" y="78"/>
                  </a:cubicBezTo>
                  <a:cubicBezTo>
                    <a:pt x="76" y="78"/>
                    <a:pt x="76" y="78"/>
                    <a:pt x="76" y="78"/>
                  </a:cubicBezTo>
                  <a:cubicBezTo>
                    <a:pt x="76" y="78"/>
                    <a:pt x="76" y="78"/>
                    <a:pt x="76" y="78"/>
                  </a:cubicBezTo>
                  <a:cubicBezTo>
                    <a:pt x="76" y="78"/>
                    <a:pt x="76" y="78"/>
                    <a:pt x="76" y="78"/>
                  </a:cubicBezTo>
                  <a:cubicBezTo>
                    <a:pt x="77" y="78"/>
                    <a:pt x="77" y="78"/>
                    <a:pt x="77" y="78"/>
                  </a:cubicBezTo>
                  <a:cubicBezTo>
                    <a:pt x="77" y="78"/>
                    <a:pt x="77" y="78"/>
                    <a:pt x="77" y="78"/>
                  </a:cubicBezTo>
                  <a:cubicBezTo>
                    <a:pt x="78" y="78"/>
                    <a:pt x="78" y="79"/>
                    <a:pt x="79" y="79"/>
                  </a:cubicBezTo>
                  <a:cubicBezTo>
                    <a:pt x="79" y="79"/>
                    <a:pt x="80" y="79"/>
                    <a:pt x="81" y="80"/>
                  </a:cubicBezTo>
                  <a:lnTo>
                    <a:pt x="97" y="43"/>
                  </a:lnTo>
                  <a:cubicBezTo>
                    <a:pt x="71" y="32"/>
                    <a:pt x="47" y="17"/>
                    <a:pt x="24" y="0"/>
                  </a:cubicBezTo>
                  <a:lnTo>
                    <a:pt x="0" y="33"/>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52">
              <a:extLst>
                <a:ext uri="{FF2B5EF4-FFF2-40B4-BE49-F238E27FC236}">
                  <a16:creationId xmlns:a16="http://schemas.microsoft.com/office/drawing/2014/main" id="{CA4446CF-271C-95DE-A2F3-97491331A051}"/>
                </a:ext>
              </a:extLst>
            </p:cNvPr>
            <p:cNvSpPr>
              <a:spLocks/>
            </p:cNvSpPr>
            <p:nvPr/>
          </p:nvSpPr>
          <p:spPr bwMode="auto">
            <a:xfrm>
              <a:off x="2534" y="2281"/>
              <a:ext cx="42" cy="22"/>
            </a:xfrm>
            <a:custGeom>
              <a:avLst/>
              <a:gdLst>
                <a:gd name="T0" fmla="*/ 2 w 93"/>
                <a:gd name="T1" fmla="*/ 48 h 49"/>
                <a:gd name="T2" fmla="*/ 4 w 93"/>
                <a:gd name="T3" fmla="*/ 49 h 49"/>
                <a:gd name="T4" fmla="*/ 5 w 93"/>
                <a:gd name="T5" fmla="*/ 49 h 49"/>
                <a:gd name="T6" fmla="*/ 6 w 93"/>
                <a:gd name="T7" fmla="*/ 49 h 49"/>
                <a:gd name="T8" fmla="*/ 6 w 93"/>
                <a:gd name="T9" fmla="*/ 49 h 49"/>
                <a:gd name="T10" fmla="*/ 7 w 93"/>
                <a:gd name="T11" fmla="*/ 49 h 49"/>
                <a:gd name="T12" fmla="*/ 8 w 93"/>
                <a:gd name="T13" fmla="*/ 48 h 49"/>
                <a:gd name="T14" fmla="*/ 9 w 93"/>
                <a:gd name="T15" fmla="*/ 48 h 49"/>
                <a:gd name="T16" fmla="*/ 10 w 93"/>
                <a:gd name="T17" fmla="*/ 48 h 49"/>
                <a:gd name="T18" fmla="*/ 11 w 93"/>
                <a:gd name="T19" fmla="*/ 48 h 49"/>
                <a:gd name="T20" fmla="*/ 12 w 93"/>
                <a:gd name="T21" fmla="*/ 48 h 49"/>
                <a:gd name="T22" fmla="*/ 12 w 93"/>
                <a:gd name="T23" fmla="*/ 48 h 49"/>
                <a:gd name="T24" fmla="*/ 14 w 93"/>
                <a:gd name="T25" fmla="*/ 48 h 49"/>
                <a:gd name="T26" fmla="*/ 14 w 93"/>
                <a:gd name="T27" fmla="*/ 48 h 49"/>
                <a:gd name="T28" fmla="*/ 15 w 93"/>
                <a:gd name="T29" fmla="*/ 48 h 49"/>
                <a:gd name="T30" fmla="*/ 16 w 93"/>
                <a:gd name="T31" fmla="*/ 48 h 49"/>
                <a:gd name="T32" fmla="*/ 17 w 93"/>
                <a:gd name="T33" fmla="*/ 48 h 49"/>
                <a:gd name="T34" fmla="*/ 18 w 93"/>
                <a:gd name="T35" fmla="*/ 48 h 49"/>
                <a:gd name="T36" fmla="*/ 19 w 93"/>
                <a:gd name="T37" fmla="*/ 48 h 49"/>
                <a:gd name="T38" fmla="*/ 20 w 93"/>
                <a:gd name="T39" fmla="*/ 48 h 49"/>
                <a:gd name="T40" fmla="*/ 21 w 93"/>
                <a:gd name="T41" fmla="*/ 48 h 49"/>
                <a:gd name="T42" fmla="*/ 22 w 93"/>
                <a:gd name="T43" fmla="*/ 48 h 49"/>
                <a:gd name="T44" fmla="*/ 23 w 93"/>
                <a:gd name="T45" fmla="*/ 48 h 49"/>
                <a:gd name="T46" fmla="*/ 24 w 93"/>
                <a:gd name="T47" fmla="*/ 48 h 49"/>
                <a:gd name="T48" fmla="*/ 25 w 93"/>
                <a:gd name="T49" fmla="*/ 48 h 49"/>
                <a:gd name="T50" fmla="*/ 26 w 93"/>
                <a:gd name="T51" fmla="*/ 48 h 49"/>
                <a:gd name="T52" fmla="*/ 27 w 93"/>
                <a:gd name="T53" fmla="*/ 48 h 49"/>
                <a:gd name="T54" fmla="*/ 27 w 93"/>
                <a:gd name="T55" fmla="*/ 48 h 49"/>
                <a:gd name="T56" fmla="*/ 30 w 93"/>
                <a:gd name="T57" fmla="*/ 48 h 49"/>
                <a:gd name="T58" fmla="*/ 31 w 93"/>
                <a:gd name="T59" fmla="*/ 48 h 49"/>
                <a:gd name="T60" fmla="*/ 31 w 93"/>
                <a:gd name="T61" fmla="*/ 48 h 49"/>
                <a:gd name="T62" fmla="*/ 32 w 93"/>
                <a:gd name="T63" fmla="*/ 48 h 49"/>
                <a:gd name="T64" fmla="*/ 33 w 93"/>
                <a:gd name="T65" fmla="*/ 48 h 49"/>
                <a:gd name="T66" fmla="*/ 34 w 93"/>
                <a:gd name="T67" fmla="*/ 48 h 49"/>
                <a:gd name="T68" fmla="*/ 35 w 93"/>
                <a:gd name="T69" fmla="*/ 47 h 49"/>
                <a:gd name="T70" fmla="*/ 37 w 93"/>
                <a:gd name="T71" fmla="*/ 47 h 49"/>
                <a:gd name="T72" fmla="*/ 38 w 93"/>
                <a:gd name="T73" fmla="*/ 47 h 49"/>
                <a:gd name="T74" fmla="*/ 39 w 93"/>
                <a:gd name="T75" fmla="*/ 47 h 49"/>
                <a:gd name="T76" fmla="*/ 40 w 93"/>
                <a:gd name="T77" fmla="*/ 47 h 49"/>
                <a:gd name="T78" fmla="*/ 41 w 93"/>
                <a:gd name="T79" fmla="*/ 47 h 49"/>
                <a:gd name="T80" fmla="*/ 42 w 93"/>
                <a:gd name="T81" fmla="*/ 47 h 49"/>
                <a:gd name="T82" fmla="*/ 43 w 93"/>
                <a:gd name="T83" fmla="*/ 47 h 49"/>
                <a:gd name="T84" fmla="*/ 43 w 93"/>
                <a:gd name="T85" fmla="*/ 47 h 49"/>
                <a:gd name="T86" fmla="*/ 45 w 93"/>
                <a:gd name="T87" fmla="*/ 47 h 49"/>
                <a:gd name="T88" fmla="*/ 46 w 93"/>
                <a:gd name="T89" fmla="*/ 47 h 49"/>
                <a:gd name="T90" fmla="*/ 47 w 93"/>
                <a:gd name="T91" fmla="*/ 46 h 49"/>
                <a:gd name="T92" fmla="*/ 48 w 93"/>
                <a:gd name="T93" fmla="*/ 46 h 49"/>
                <a:gd name="T94" fmla="*/ 49 w 93"/>
                <a:gd name="T95" fmla="*/ 46 h 49"/>
                <a:gd name="T96" fmla="*/ 50 w 93"/>
                <a:gd name="T97" fmla="*/ 46 h 49"/>
                <a:gd name="T98" fmla="*/ 51 w 93"/>
                <a:gd name="T99" fmla="*/ 46 h 49"/>
                <a:gd name="T100" fmla="*/ 52 w 93"/>
                <a:gd name="T101" fmla="*/ 46 h 49"/>
                <a:gd name="T102" fmla="*/ 53 w 93"/>
                <a:gd name="T103" fmla="*/ 46 h 49"/>
                <a:gd name="T104" fmla="*/ 54 w 93"/>
                <a:gd name="T105" fmla="*/ 46 h 49"/>
                <a:gd name="T106" fmla="*/ 55 w 93"/>
                <a:gd name="T107" fmla="*/ 46 h 49"/>
                <a:gd name="T108" fmla="*/ 55 w 93"/>
                <a:gd name="T109" fmla="*/ 46 h 49"/>
                <a:gd name="T110" fmla="*/ 56 w 93"/>
                <a:gd name="T111" fmla="*/ 45 h 49"/>
                <a:gd name="T112" fmla="*/ 57 w 93"/>
                <a:gd name="T113" fmla="*/ 45 h 49"/>
                <a:gd name="T114" fmla="*/ 85 w 93"/>
                <a:gd name="T11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3" h="49">
                  <a:moveTo>
                    <a:pt x="5" y="8"/>
                  </a:moveTo>
                  <a:lnTo>
                    <a:pt x="5" y="8"/>
                  </a:lnTo>
                  <a:lnTo>
                    <a:pt x="1" y="8"/>
                  </a:lnTo>
                  <a:lnTo>
                    <a:pt x="0" y="48"/>
                  </a:lnTo>
                  <a:cubicBezTo>
                    <a:pt x="1" y="48"/>
                    <a:pt x="1" y="48"/>
                    <a:pt x="2" y="48"/>
                  </a:cubicBezTo>
                  <a:cubicBezTo>
                    <a:pt x="2" y="48"/>
                    <a:pt x="2" y="48"/>
                    <a:pt x="2" y="48"/>
                  </a:cubicBezTo>
                  <a:cubicBezTo>
                    <a:pt x="2" y="48"/>
                    <a:pt x="2" y="48"/>
                    <a:pt x="2" y="48"/>
                  </a:cubicBezTo>
                  <a:cubicBezTo>
                    <a:pt x="2" y="48"/>
                    <a:pt x="2" y="48"/>
                    <a:pt x="2" y="48"/>
                  </a:cubicBezTo>
                  <a:cubicBezTo>
                    <a:pt x="2" y="48"/>
                    <a:pt x="2" y="48"/>
                    <a:pt x="2" y="48"/>
                  </a:cubicBezTo>
                  <a:cubicBezTo>
                    <a:pt x="2" y="48"/>
                    <a:pt x="2" y="48"/>
                    <a:pt x="2" y="48"/>
                  </a:cubicBezTo>
                  <a:cubicBezTo>
                    <a:pt x="2" y="48"/>
                    <a:pt x="2" y="48"/>
                    <a:pt x="2" y="48"/>
                  </a:cubicBezTo>
                  <a:cubicBezTo>
                    <a:pt x="2" y="48"/>
                    <a:pt x="2" y="48"/>
                    <a:pt x="2" y="48"/>
                  </a:cubicBezTo>
                  <a:lnTo>
                    <a:pt x="3" y="48"/>
                  </a:lnTo>
                  <a:cubicBezTo>
                    <a:pt x="3" y="48"/>
                    <a:pt x="3" y="48"/>
                    <a:pt x="3" y="49"/>
                  </a:cubicBezTo>
                  <a:cubicBezTo>
                    <a:pt x="3" y="49"/>
                    <a:pt x="3" y="49"/>
                    <a:pt x="3" y="49"/>
                  </a:cubicBezTo>
                  <a:cubicBezTo>
                    <a:pt x="3" y="49"/>
                    <a:pt x="3" y="49"/>
                    <a:pt x="3" y="49"/>
                  </a:cubicBezTo>
                  <a:cubicBezTo>
                    <a:pt x="3" y="49"/>
                    <a:pt x="3" y="49"/>
                    <a:pt x="3" y="49"/>
                  </a:cubicBezTo>
                  <a:cubicBezTo>
                    <a:pt x="3" y="49"/>
                    <a:pt x="3" y="49"/>
                    <a:pt x="3" y="49"/>
                  </a:cubicBezTo>
                  <a:lnTo>
                    <a:pt x="3" y="49"/>
                  </a:lnTo>
                  <a:cubicBezTo>
                    <a:pt x="3" y="49"/>
                    <a:pt x="3" y="49"/>
                    <a:pt x="4" y="49"/>
                  </a:cubicBezTo>
                  <a:lnTo>
                    <a:pt x="4" y="49"/>
                  </a:ln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8" y="49"/>
                  </a:cubicBezTo>
                  <a:cubicBezTo>
                    <a:pt x="8" y="49"/>
                    <a:pt x="8" y="49"/>
                    <a:pt x="8" y="49"/>
                  </a:cubicBezTo>
                  <a:cubicBezTo>
                    <a:pt x="8" y="49"/>
                    <a:pt x="8" y="49"/>
                    <a:pt x="8" y="49"/>
                  </a:cubicBezTo>
                  <a:cubicBezTo>
                    <a:pt x="8" y="49"/>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0" y="48"/>
                  </a:cubicBezTo>
                  <a:lnTo>
                    <a:pt x="20" y="48"/>
                  </a:lnTo>
                  <a:cubicBezTo>
                    <a:pt x="20" y="48"/>
                    <a:pt x="20" y="48"/>
                    <a:pt x="20" y="48"/>
                  </a:cubicBezTo>
                  <a:cubicBezTo>
                    <a:pt x="20" y="48"/>
                    <a:pt x="20" y="48"/>
                    <a:pt x="20" y="48"/>
                  </a:cubicBezTo>
                  <a:cubicBezTo>
                    <a:pt x="20" y="48"/>
                    <a:pt x="20" y="48"/>
                    <a:pt x="20" y="48"/>
                  </a:cubicBezTo>
                  <a:cubicBezTo>
                    <a:pt x="20" y="48"/>
                    <a:pt x="20" y="48"/>
                    <a:pt x="20" y="48"/>
                  </a:cubicBezTo>
                  <a:cubicBezTo>
                    <a:pt x="21" y="48"/>
                    <a:pt x="21" y="48"/>
                    <a:pt x="21" y="48"/>
                  </a:cubicBezTo>
                  <a:cubicBezTo>
                    <a:pt x="21" y="48"/>
                    <a:pt x="21" y="48"/>
                    <a:pt x="21"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8" y="48"/>
                    <a:pt x="28" y="48"/>
                    <a:pt x="28" y="48"/>
                  </a:cubicBezTo>
                  <a:lnTo>
                    <a:pt x="28" y="48"/>
                  </a:lnTo>
                  <a:cubicBezTo>
                    <a:pt x="28" y="48"/>
                    <a:pt x="29" y="48"/>
                    <a:pt x="29" y="48"/>
                  </a:cubicBezTo>
                  <a:lnTo>
                    <a:pt x="29" y="48"/>
                  </a:lnTo>
                  <a:cubicBezTo>
                    <a:pt x="29" y="48"/>
                    <a:pt x="29" y="48"/>
                    <a:pt x="29" y="48"/>
                  </a:cubicBezTo>
                  <a:cubicBezTo>
                    <a:pt x="29" y="48"/>
                    <a:pt x="29" y="48"/>
                    <a:pt x="29" y="48"/>
                  </a:cubicBezTo>
                  <a:cubicBezTo>
                    <a:pt x="29" y="48"/>
                    <a:pt x="29" y="48"/>
                    <a:pt x="29" y="48"/>
                  </a:cubicBezTo>
                  <a:cubicBezTo>
                    <a:pt x="29" y="48"/>
                    <a:pt x="29"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5" y="48"/>
                    <a:pt x="35" y="48"/>
                    <a:pt x="35" y="48"/>
                  </a:cubicBezTo>
                  <a:cubicBezTo>
                    <a:pt x="35" y="48"/>
                    <a:pt x="35" y="48"/>
                    <a:pt x="35" y="48"/>
                  </a:cubicBezTo>
                  <a:cubicBezTo>
                    <a:pt x="35" y="48"/>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6" y="47"/>
                    <a:pt x="37" y="47"/>
                    <a:pt x="37" y="47"/>
                  </a:cubicBezTo>
                  <a:cubicBezTo>
                    <a:pt x="37" y="47"/>
                    <a:pt x="37" y="47"/>
                    <a:pt x="37" y="47"/>
                  </a:cubicBezTo>
                  <a:cubicBezTo>
                    <a:pt x="38" y="47"/>
                    <a:pt x="38" y="47"/>
                    <a:pt x="38" y="47"/>
                  </a:cubicBezTo>
                  <a:lnTo>
                    <a:pt x="38" y="47"/>
                  </a:ln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4" y="47"/>
                    <a:pt x="44"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7" y="47"/>
                    <a:pt x="47" y="47"/>
                  </a:cubicBezTo>
                  <a:cubicBezTo>
                    <a:pt x="47" y="47"/>
                    <a:pt x="47" y="47"/>
                    <a:pt x="47" y="47"/>
                  </a:cubicBezTo>
                  <a:cubicBezTo>
                    <a:pt x="47" y="47"/>
                    <a:pt x="47" y="47"/>
                    <a:pt x="47" y="47"/>
                  </a:cubicBezTo>
                  <a:cubicBezTo>
                    <a:pt x="47" y="47"/>
                    <a:pt x="47" y="47"/>
                    <a:pt x="47" y="47"/>
                  </a:cubicBezTo>
                  <a:cubicBezTo>
                    <a:pt x="47" y="46"/>
                    <a:pt x="47" y="46"/>
                    <a:pt x="47" y="46"/>
                  </a:cubicBezTo>
                  <a:cubicBezTo>
                    <a:pt x="47" y="46"/>
                    <a:pt x="47" y="46"/>
                    <a:pt x="47" y="46"/>
                  </a:cubicBezTo>
                  <a:cubicBezTo>
                    <a:pt x="47" y="46"/>
                    <a:pt x="47" y="46"/>
                    <a:pt x="47" y="46"/>
                  </a:cubicBezTo>
                  <a:cubicBezTo>
                    <a:pt x="47" y="46"/>
                    <a:pt x="47" y="46"/>
                    <a:pt x="47" y="46"/>
                  </a:cubicBezTo>
                  <a:cubicBezTo>
                    <a:pt x="47" y="46"/>
                    <a:pt x="47" y="46"/>
                    <a:pt x="47" y="46"/>
                  </a:cubicBezTo>
                  <a:cubicBezTo>
                    <a:pt x="47" y="46"/>
                    <a:pt x="47" y="46"/>
                    <a:pt x="47" y="46"/>
                  </a:cubicBezTo>
                  <a:cubicBezTo>
                    <a:pt x="47" y="46"/>
                    <a:pt x="47" y="46"/>
                    <a:pt x="47" y="46"/>
                  </a:cubicBezTo>
                  <a:cubicBezTo>
                    <a:pt x="47" y="46"/>
                    <a:pt x="47" y="46"/>
                    <a:pt x="47"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2" y="46"/>
                    <a:pt x="52" y="46"/>
                    <a:pt x="52" y="46"/>
                  </a:cubicBezTo>
                  <a:cubicBezTo>
                    <a:pt x="52" y="46"/>
                    <a:pt x="52" y="46"/>
                    <a:pt x="52" y="46"/>
                  </a:cubicBezTo>
                  <a:cubicBezTo>
                    <a:pt x="52" y="46"/>
                    <a:pt x="52" y="46"/>
                    <a:pt x="52" y="46"/>
                  </a:cubicBezTo>
                  <a:cubicBezTo>
                    <a:pt x="52" y="46"/>
                    <a:pt x="52" y="46"/>
                    <a:pt x="52" y="46"/>
                  </a:cubicBezTo>
                  <a:cubicBezTo>
                    <a:pt x="52" y="46"/>
                    <a:pt x="52" y="46"/>
                    <a:pt x="52" y="46"/>
                  </a:cubicBezTo>
                  <a:cubicBezTo>
                    <a:pt x="52" y="46"/>
                    <a:pt x="52" y="46"/>
                    <a:pt x="52" y="46"/>
                  </a:cubicBezTo>
                  <a:cubicBezTo>
                    <a:pt x="52" y="46"/>
                    <a:pt x="52" y="46"/>
                    <a:pt x="52"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6" y="46"/>
                    <a:pt x="56" y="46"/>
                  </a:cubicBezTo>
                  <a:cubicBezTo>
                    <a:pt x="56" y="46"/>
                    <a:pt x="56" y="46"/>
                    <a:pt x="56" y="46"/>
                  </a:cubicBezTo>
                  <a:cubicBezTo>
                    <a:pt x="56" y="46"/>
                    <a:pt x="56" y="46"/>
                    <a:pt x="56" y="46"/>
                  </a:cubicBezTo>
                  <a:cubicBezTo>
                    <a:pt x="56" y="46"/>
                    <a:pt x="56" y="46"/>
                    <a:pt x="56" y="46"/>
                  </a:cubicBezTo>
                  <a:cubicBezTo>
                    <a:pt x="56" y="46"/>
                    <a:pt x="56" y="46"/>
                    <a:pt x="56" y="46"/>
                  </a:cubicBezTo>
                  <a:cubicBezTo>
                    <a:pt x="56" y="46"/>
                    <a:pt x="56" y="46"/>
                    <a:pt x="56" y="46"/>
                  </a:cubicBezTo>
                  <a:cubicBezTo>
                    <a:pt x="56" y="46"/>
                    <a:pt x="56" y="46"/>
                    <a:pt x="56" y="46"/>
                  </a:cubicBezTo>
                  <a:cubicBezTo>
                    <a:pt x="56" y="45"/>
                    <a:pt x="56" y="45"/>
                    <a:pt x="56" y="45"/>
                  </a:cubicBezTo>
                  <a:cubicBezTo>
                    <a:pt x="56" y="45"/>
                    <a:pt x="56" y="45"/>
                    <a:pt x="56" y="45"/>
                  </a:cubicBezTo>
                  <a:cubicBezTo>
                    <a:pt x="56" y="45"/>
                    <a:pt x="56" y="45"/>
                    <a:pt x="56" y="45"/>
                  </a:cubicBezTo>
                  <a:cubicBezTo>
                    <a:pt x="56" y="45"/>
                    <a:pt x="56" y="45"/>
                    <a:pt x="56" y="45"/>
                  </a:cubicBezTo>
                  <a:cubicBezTo>
                    <a:pt x="56" y="45"/>
                    <a:pt x="56" y="45"/>
                    <a:pt x="56" y="45"/>
                  </a:cubicBezTo>
                  <a:cubicBezTo>
                    <a:pt x="56" y="45"/>
                    <a:pt x="57" y="45"/>
                    <a:pt x="57" y="45"/>
                  </a:cubicBezTo>
                  <a:cubicBezTo>
                    <a:pt x="57" y="45"/>
                    <a:pt x="57" y="45"/>
                    <a:pt x="57" y="45"/>
                  </a:cubicBezTo>
                  <a:cubicBezTo>
                    <a:pt x="57" y="45"/>
                    <a:pt x="57" y="45"/>
                    <a:pt x="57" y="45"/>
                  </a:cubicBezTo>
                  <a:cubicBezTo>
                    <a:pt x="57" y="45"/>
                    <a:pt x="57" y="45"/>
                    <a:pt x="57" y="45"/>
                  </a:cubicBezTo>
                  <a:cubicBezTo>
                    <a:pt x="57" y="45"/>
                    <a:pt x="57" y="45"/>
                    <a:pt x="57" y="45"/>
                  </a:cubicBezTo>
                  <a:cubicBezTo>
                    <a:pt x="57" y="45"/>
                    <a:pt x="57" y="45"/>
                    <a:pt x="57" y="45"/>
                  </a:cubicBezTo>
                  <a:cubicBezTo>
                    <a:pt x="57" y="45"/>
                    <a:pt x="57" y="45"/>
                    <a:pt x="57" y="45"/>
                  </a:cubicBezTo>
                  <a:lnTo>
                    <a:pt x="57" y="45"/>
                  </a:lnTo>
                  <a:cubicBezTo>
                    <a:pt x="57" y="45"/>
                    <a:pt x="57" y="45"/>
                    <a:pt x="57" y="45"/>
                  </a:cubicBezTo>
                  <a:lnTo>
                    <a:pt x="57" y="45"/>
                  </a:lnTo>
                  <a:cubicBezTo>
                    <a:pt x="57" y="45"/>
                    <a:pt x="58" y="45"/>
                    <a:pt x="58" y="45"/>
                  </a:cubicBezTo>
                  <a:lnTo>
                    <a:pt x="58" y="45"/>
                  </a:lnTo>
                  <a:cubicBezTo>
                    <a:pt x="58" y="45"/>
                    <a:pt x="58" y="45"/>
                    <a:pt x="58" y="45"/>
                  </a:cubicBezTo>
                  <a:cubicBezTo>
                    <a:pt x="58" y="45"/>
                    <a:pt x="58" y="45"/>
                    <a:pt x="58" y="45"/>
                  </a:cubicBezTo>
                  <a:lnTo>
                    <a:pt x="58" y="45"/>
                  </a:lnTo>
                  <a:cubicBezTo>
                    <a:pt x="70" y="44"/>
                    <a:pt x="81" y="42"/>
                    <a:pt x="93" y="39"/>
                  </a:cubicBezTo>
                  <a:lnTo>
                    <a:pt x="85" y="0"/>
                  </a:lnTo>
                  <a:cubicBezTo>
                    <a:pt x="59" y="5"/>
                    <a:pt x="32" y="8"/>
                    <a:pt x="5" y="8"/>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53">
              <a:extLst>
                <a:ext uri="{FF2B5EF4-FFF2-40B4-BE49-F238E27FC236}">
                  <a16:creationId xmlns:a16="http://schemas.microsoft.com/office/drawing/2014/main" id="{5C85520A-1D7D-0089-8820-EE226E77F8A8}"/>
                </a:ext>
              </a:extLst>
            </p:cNvPr>
            <p:cNvSpPr>
              <a:spLocks/>
            </p:cNvSpPr>
            <p:nvPr/>
          </p:nvSpPr>
          <p:spPr bwMode="auto">
            <a:xfrm>
              <a:off x="2377" y="2210"/>
              <a:ext cx="41" cy="43"/>
            </a:xfrm>
            <a:custGeom>
              <a:avLst/>
              <a:gdLst>
                <a:gd name="T0" fmla="*/ 33 w 89"/>
                <a:gd name="T1" fmla="*/ 0 h 93"/>
                <a:gd name="T2" fmla="*/ 33 w 89"/>
                <a:gd name="T3" fmla="*/ 0 h 93"/>
                <a:gd name="T4" fmla="*/ 0 w 89"/>
                <a:gd name="T5" fmla="*/ 24 h 93"/>
                <a:gd name="T6" fmla="*/ 62 w 89"/>
                <a:gd name="T7" fmla="*/ 93 h 93"/>
                <a:gd name="T8" fmla="*/ 89 w 89"/>
                <a:gd name="T9" fmla="*/ 63 h 93"/>
                <a:gd name="T10" fmla="*/ 33 w 89"/>
                <a:gd name="T11" fmla="*/ 0 h 93"/>
              </a:gdLst>
              <a:ahLst/>
              <a:cxnLst>
                <a:cxn ang="0">
                  <a:pos x="T0" y="T1"/>
                </a:cxn>
                <a:cxn ang="0">
                  <a:pos x="T2" y="T3"/>
                </a:cxn>
                <a:cxn ang="0">
                  <a:pos x="T4" y="T5"/>
                </a:cxn>
                <a:cxn ang="0">
                  <a:pos x="T6" y="T7"/>
                </a:cxn>
                <a:cxn ang="0">
                  <a:pos x="T8" y="T9"/>
                </a:cxn>
                <a:cxn ang="0">
                  <a:pos x="T10" y="T11"/>
                </a:cxn>
              </a:cxnLst>
              <a:rect l="0" t="0" r="r" b="b"/>
              <a:pathLst>
                <a:path w="89" h="93">
                  <a:moveTo>
                    <a:pt x="33" y="0"/>
                  </a:moveTo>
                  <a:lnTo>
                    <a:pt x="33" y="0"/>
                  </a:lnTo>
                  <a:lnTo>
                    <a:pt x="0" y="24"/>
                  </a:lnTo>
                  <a:cubicBezTo>
                    <a:pt x="18" y="49"/>
                    <a:pt x="39" y="73"/>
                    <a:pt x="62" y="93"/>
                  </a:cubicBezTo>
                  <a:lnTo>
                    <a:pt x="89" y="63"/>
                  </a:lnTo>
                  <a:cubicBezTo>
                    <a:pt x="68" y="45"/>
                    <a:pt x="49" y="23"/>
                    <a:pt x="33" y="0"/>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54">
              <a:extLst>
                <a:ext uri="{FF2B5EF4-FFF2-40B4-BE49-F238E27FC236}">
                  <a16:creationId xmlns:a16="http://schemas.microsoft.com/office/drawing/2014/main" id="{CB00EFDE-B9D7-D07F-A83A-1F9703218233}"/>
                </a:ext>
              </a:extLst>
            </p:cNvPr>
            <p:cNvSpPr>
              <a:spLocks/>
            </p:cNvSpPr>
            <p:nvPr/>
          </p:nvSpPr>
          <p:spPr bwMode="auto">
            <a:xfrm>
              <a:off x="2474" y="2275"/>
              <a:ext cx="43" cy="27"/>
            </a:xfrm>
            <a:custGeom>
              <a:avLst/>
              <a:gdLst>
                <a:gd name="T0" fmla="*/ 0 w 95"/>
                <a:gd name="T1" fmla="*/ 38 h 58"/>
                <a:gd name="T2" fmla="*/ 21 w 95"/>
                <a:gd name="T3" fmla="*/ 45 h 58"/>
                <a:gd name="T4" fmla="*/ 21 w 95"/>
                <a:gd name="T5" fmla="*/ 45 h 58"/>
                <a:gd name="T6" fmla="*/ 22 w 95"/>
                <a:gd name="T7" fmla="*/ 45 h 58"/>
                <a:gd name="T8" fmla="*/ 22 w 95"/>
                <a:gd name="T9" fmla="*/ 45 h 58"/>
                <a:gd name="T10" fmla="*/ 22 w 95"/>
                <a:gd name="T11" fmla="*/ 45 h 58"/>
                <a:gd name="T12" fmla="*/ 23 w 95"/>
                <a:gd name="T13" fmla="*/ 45 h 58"/>
                <a:gd name="T14" fmla="*/ 23 w 95"/>
                <a:gd name="T15" fmla="*/ 45 h 58"/>
                <a:gd name="T16" fmla="*/ 23 w 95"/>
                <a:gd name="T17" fmla="*/ 45 h 58"/>
                <a:gd name="T18" fmla="*/ 23 w 95"/>
                <a:gd name="T19" fmla="*/ 45 h 58"/>
                <a:gd name="T20" fmla="*/ 24 w 95"/>
                <a:gd name="T21" fmla="*/ 46 h 58"/>
                <a:gd name="T22" fmla="*/ 24 w 95"/>
                <a:gd name="T23" fmla="*/ 46 h 58"/>
                <a:gd name="T24" fmla="*/ 24 w 95"/>
                <a:gd name="T25" fmla="*/ 46 h 58"/>
                <a:gd name="T26" fmla="*/ 24 w 95"/>
                <a:gd name="T27" fmla="*/ 46 h 58"/>
                <a:gd name="T28" fmla="*/ 24 w 95"/>
                <a:gd name="T29" fmla="*/ 46 h 58"/>
                <a:gd name="T30" fmla="*/ 24 w 95"/>
                <a:gd name="T31" fmla="*/ 46 h 58"/>
                <a:gd name="T32" fmla="*/ 25 w 95"/>
                <a:gd name="T33" fmla="*/ 46 h 58"/>
                <a:gd name="T34" fmla="*/ 25 w 95"/>
                <a:gd name="T35" fmla="*/ 46 h 58"/>
                <a:gd name="T36" fmla="*/ 25 w 95"/>
                <a:gd name="T37" fmla="*/ 46 h 58"/>
                <a:gd name="T38" fmla="*/ 25 w 95"/>
                <a:gd name="T39" fmla="*/ 46 h 58"/>
                <a:gd name="T40" fmla="*/ 25 w 95"/>
                <a:gd name="T41" fmla="*/ 46 h 58"/>
                <a:gd name="T42" fmla="*/ 26 w 95"/>
                <a:gd name="T43" fmla="*/ 46 h 58"/>
                <a:gd name="T44" fmla="*/ 26 w 95"/>
                <a:gd name="T45" fmla="*/ 46 h 58"/>
                <a:gd name="T46" fmla="*/ 26 w 95"/>
                <a:gd name="T47" fmla="*/ 46 h 58"/>
                <a:gd name="T48" fmla="*/ 26 w 95"/>
                <a:gd name="T49" fmla="*/ 46 h 58"/>
                <a:gd name="T50" fmla="*/ 26 w 95"/>
                <a:gd name="T51" fmla="*/ 46 h 58"/>
                <a:gd name="T52" fmla="*/ 26 w 95"/>
                <a:gd name="T53" fmla="*/ 46 h 58"/>
                <a:gd name="T54" fmla="*/ 27 w 95"/>
                <a:gd name="T55" fmla="*/ 46 h 58"/>
                <a:gd name="T56" fmla="*/ 27 w 95"/>
                <a:gd name="T57" fmla="*/ 46 h 58"/>
                <a:gd name="T58" fmla="*/ 27 w 95"/>
                <a:gd name="T59" fmla="*/ 46 h 58"/>
                <a:gd name="T60" fmla="*/ 27 w 95"/>
                <a:gd name="T61" fmla="*/ 47 h 58"/>
                <a:gd name="T62" fmla="*/ 28 w 95"/>
                <a:gd name="T63" fmla="*/ 47 h 58"/>
                <a:gd name="T64" fmla="*/ 28 w 95"/>
                <a:gd name="T65" fmla="*/ 47 h 58"/>
                <a:gd name="T66" fmla="*/ 28 w 95"/>
                <a:gd name="T67" fmla="*/ 47 h 58"/>
                <a:gd name="T68" fmla="*/ 28 w 95"/>
                <a:gd name="T69" fmla="*/ 47 h 58"/>
                <a:gd name="T70" fmla="*/ 28 w 95"/>
                <a:gd name="T71" fmla="*/ 47 h 58"/>
                <a:gd name="T72" fmla="*/ 29 w 95"/>
                <a:gd name="T73" fmla="*/ 47 h 58"/>
                <a:gd name="T74" fmla="*/ 29 w 95"/>
                <a:gd name="T75" fmla="*/ 47 h 58"/>
                <a:gd name="T76" fmla="*/ 30 w 95"/>
                <a:gd name="T77" fmla="*/ 47 h 58"/>
                <a:gd name="T78" fmla="*/ 30 w 95"/>
                <a:gd name="T79" fmla="*/ 47 h 58"/>
                <a:gd name="T80" fmla="*/ 30 w 95"/>
                <a:gd name="T81" fmla="*/ 47 h 58"/>
                <a:gd name="T82" fmla="*/ 91 w 95"/>
                <a:gd name="T83" fmla="*/ 58 h 58"/>
                <a:gd name="T84" fmla="*/ 13 w 95"/>
                <a:gd name="T8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5" h="58">
                  <a:moveTo>
                    <a:pt x="0" y="38"/>
                  </a:moveTo>
                  <a:lnTo>
                    <a:pt x="0" y="38"/>
                  </a:lnTo>
                  <a:cubicBezTo>
                    <a:pt x="7" y="41"/>
                    <a:pt x="14" y="43"/>
                    <a:pt x="21" y="45"/>
                  </a:cubicBezTo>
                  <a:lnTo>
                    <a:pt x="21" y="45"/>
                  </a:lnTo>
                  <a:cubicBezTo>
                    <a:pt x="21" y="45"/>
                    <a:pt x="21" y="45"/>
                    <a:pt x="21" y="45"/>
                  </a:cubicBezTo>
                  <a:lnTo>
                    <a:pt x="21" y="45"/>
                  </a:lnTo>
                  <a:cubicBezTo>
                    <a:pt x="21" y="45"/>
                    <a:pt x="22" y="45"/>
                    <a:pt x="22" y="45"/>
                  </a:cubicBezTo>
                  <a:lnTo>
                    <a:pt x="22" y="45"/>
                  </a:lnTo>
                  <a:cubicBezTo>
                    <a:pt x="22" y="45"/>
                    <a:pt x="22" y="45"/>
                    <a:pt x="22" y="45"/>
                  </a:cubicBezTo>
                  <a:cubicBezTo>
                    <a:pt x="22" y="45"/>
                    <a:pt x="22" y="45"/>
                    <a:pt x="22" y="45"/>
                  </a:cubicBezTo>
                  <a:cubicBezTo>
                    <a:pt x="22" y="45"/>
                    <a:pt x="22" y="45"/>
                    <a:pt x="22" y="45"/>
                  </a:cubicBezTo>
                  <a:cubicBezTo>
                    <a:pt x="22" y="45"/>
                    <a:pt x="22" y="45"/>
                    <a:pt x="22" y="45"/>
                  </a:cubicBezTo>
                  <a:cubicBezTo>
                    <a:pt x="22" y="45"/>
                    <a:pt x="23" y="45"/>
                    <a:pt x="23" y="45"/>
                  </a:cubicBezTo>
                  <a:lnTo>
                    <a:pt x="23" y="45"/>
                  </a:ln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lnTo>
                    <a:pt x="23" y="45"/>
                  </a:lnTo>
                  <a:cubicBezTo>
                    <a:pt x="23" y="45"/>
                    <a:pt x="23" y="45"/>
                    <a:pt x="23" y="45"/>
                  </a:cubicBezTo>
                  <a:cubicBezTo>
                    <a:pt x="23" y="45"/>
                    <a:pt x="24" y="45"/>
                    <a:pt x="24" y="46"/>
                  </a:cubicBezTo>
                  <a:cubicBezTo>
                    <a:pt x="24" y="46"/>
                    <a:pt x="24" y="46"/>
                    <a:pt x="24" y="46"/>
                  </a:cubicBezTo>
                  <a:cubicBezTo>
                    <a:pt x="24" y="46"/>
                    <a:pt x="24" y="46"/>
                    <a:pt x="24" y="46"/>
                  </a:cubicBezTo>
                  <a:lnTo>
                    <a:pt x="24" y="46"/>
                  </a:lnTo>
                  <a:cubicBezTo>
                    <a:pt x="24" y="46"/>
                    <a:pt x="24" y="46"/>
                    <a:pt x="24" y="46"/>
                  </a:cubicBezTo>
                  <a:cubicBezTo>
                    <a:pt x="24" y="46"/>
                    <a:pt x="24" y="46"/>
                    <a:pt x="24" y="46"/>
                  </a:cubicBezTo>
                  <a:cubicBezTo>
                    <a:pt x="24" y="46"/>
                    <a:pt x="24" y="46"/>
                    <a:pt x="24" y="46"/>
                  </a:cubicBezTo>
                  <a:cubicBezTo>
                    <a:pt x="24" y="46"/>
                    <a:pt x="24" y="46"/>
                    <a:pt x="24" y="46"/>
                  </a:cubicBezTo>
                  <a:cubicBezTo>
                    <a:pt x="24" y="46"/>
                    <a:pt x="24" y="46"/>
                    <a:pt x="24" y="46"/>
                  </a:cubicBezTo>
                  <a:cubicBezTo>
                    <a:pt x="24" y="46"/>
                    <a:pt x="24" y="46"/>
                    <a:pt x="24" y="46"/>
                  </a:cubicBezTo>
                  <a:cubicBezTo>
                    <a:pt x="24" y="46"/>
                    <a:pt x="24" y="46"/>
                    <a:pt x="24"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7" y="46"/>
                    <a:pt x="27" y="46"/>
                    <a:pt x="27" y="46"/>
                  </a:cubicBezTo>
                  <a:cubicBezTo>
                    <a:pt x="27" y="46"/>
                    <a:pt x="27" y="46"/>
                    <a:pt x="27" y="46"/>
                  </a:cubicBezTo>
                  <a:cubicBezTo>
                    <a:pt x="27" y="46"/>
                    <a:pt x="27" y="46"/>
                    <a:pt x="27" y="46"/>
                  </a:cubicBezTo>
                  <a:cubicBezTo>
                    <a:pt x="27" y="46"/>
                    <a:pt x="27" y="46"/>
                    <a:pt x="27" y="46"/>
                  </a:cubicBezTo>
                  <a:cubicBezTo>
                    <a:pt x="27" y="46"/>
                    <a:pt x="27" y="46"/>
                    <a:pt x="27" y="46"/>
                  </a:cubicBezTo>
                  <a:cubicBezTo>
                    <a:pt x="27" y="47"/>
                    <a:pt x="27" y="47"/>
                    <a:pt x="27" y="47"/>
                  </a:cubicBezTo>
                  <a:cubicBezTo>
                    <a:pt x="27" y="47"/>
                    <a:pt x="27" y="47"/>
                    <a:pt x="27"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9" y="47"/>
                    <a:pt x="29" y="47"/>
                    <a:pt x="29" y="47"/>
                  </a:cubicBezTo>
                  <a:lnTo>
                    <a:pt x="29" y="47"/>
                  </a:lnTo>
                  <a:cubicBezTo>
                    <a:pt x="29" y="47"/>
                    <a:pt x="29" y="47"/>
                    <a:pt x="29" y="47"/>
                  </a:cubicBezTo>
                  <a:cubicBezTo>
                    <a:pt x="29" y="47"/>
                    <a:pt x="29" y="47"/>
                    <a:pt x="29" y="47"/>
                  </a:cubicBezTo>
                  <a:cubicBezTo>
                    <a:pt x="29" y="47"/>
                    <a:pt x="29" y="47"/>
                    <a:pt x="30" y="47"/>
                  </a:cubicBezTo>
                  <a:cubicBezTo>
                    <a:pt x="30" y="47"/>
                    <a:pt x="30" y="47"/>
                    <a:pt x="30" y="47"/>
                  </a:cubicBezTo>
                  <a:cubicBezTo>
                    <a:pt x="30" y="47"/>
                    <a:pt x="30" y="47"/>
                    <a:pt x="30" y="47"/>
                  </a:cubicBezTo>
                  <a:cubicBezTo>
                    <a:pt x="30" y="47"/>
                    <a:pt x="30" y="47"/>
                    <a:pt x="30" y="47"/>
                  </a:cubicBezTo>
                  <a:cubicBezTo>
                    <a:pt x="30" y="47"/>
                    <a:pt x="30" y="47"/>
                    <a:pt x="30" y="47"/>
                  </a:cubicBezTo>
                  <a:cubicBezTo>
                    <a:pt x="30" y="47"/>
                    <a:pt x="30" y="47"/>
                    <a:pt x="30" y="47"/>
                  </a:cubicBezTo>
                  <a:cubicBezTo>
                    <a:pt x="30" y="47"/>
                    <a:pt x="30" y="47"/>
                    <a:pt x="30" y="47"/>
                  </a:cubicBezTo>
                  <a:cubicBezTo>
                    <a:pt x="50" y="52"/>
                    <a:pt x="70" y="56"/>
                    <a:pt x="91" y="58"/>
                  </a:cubicBezTo>
                  <a:lnTo>
                    <a:pt x="95" y="18"/>
                  </a:lnTo>
                  <a:cubicBezTo>
                    <a:pt x="67" y="15"/>
                    <a:pt x="39" y="9"/>
                    <a:pt x="13" y="0"/>
                  </a:cubicBezTo>
                  <a:lnTo>
                    <a:pt x="0" y="38"/>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55">
              <a:extLst>
                <a:ext uri="{FF2B5EF4-FFF2-40B4-BE49-F238E27FC236}">
                  <a16:creationId xmlns:a16="http://schemas.microsoft.com/office/drawing/2014/main" id="{EEBBA567-4E6D-2948-3043-F7D0CED7A61F}"/>
                </a:ext>
              </a:extLst>
            </p:cNvPr>
            <p:cNvSpPr>
              <a:spLocks noEditPoints="1"/>
            </p:cNvSpPr>
            <p:nvPr/>
          </p:nvSpPr>
          <p:spPr bwMode="auto">
            <a:xfrm>
              <a:off x="2379" y="1954"/>
              <a:ext cx="308" cy="308"/>
            </a:xfrm>
            <a:custGeom>
              <a:avLst/>
              <a:gdLst>
                <a:gd name="T0" fmla="*/ 337 w 674"/>
                <a:gd name="T1" fmla="*/ 40 h 673"/>
                <a:gd name="T2" fmla="*/ 337 w 674"/>
                <a:gd name="T3" fmla="*/ 40 h 673"/>
                <a:gd name="T4" fmla="*/ 40 w 674"/>
                <a:gd name="T5" fmla="*/ 336 h 673"/>
                <a:gd name="T6" fmla="*/ 337 w 674"/>
                <a:gd name="T7" fmla="*/ 633 h 673"/>
                <a:gd name="T8" fmla="*/ 634 w 674"/>
                <a:gd name="T9" fmla="*/ 336 h 673"/>
                <a:gd name="T10" fmla="*/ 337 w 674"/>
                <a:gd name="T11" fmla="*/ 40 h 673"/>
                <a:gd name="T12" fmla="*/ 337 w 674"/>
                <a:gd name="T13" fmla="*/ 40 h 673"/>
                <a:gd name="T14" fmla="*/ 337 w 674"/>
                <a:gd name="T15" fmla="*/ 673 h 673"/>
                <a:gd name="T16" fmla="*/ 337 w 674"/>
                <a:gd name="T17" fmla="*/ 673 h 673"/>
                <a:gd name="T18" fmla="*/ 0 w 674"/>
                <a:gd name="T19" fmla="*/ 336 h 673"/>
                <a:gd name="T20" fmla="*/ 337 w 674"/>
                <a:gd name="T21" fmla="*/ 0 h 673"/>
                <a:gd name="T22" fmla="*/ 674 w 674"/>
                <a:gd name="T23" fmla="*/ 336 h 673"/>
                <a:gd name="T24" fmla="*/ 337 w 674"/>
                <a:gd name="T25" fmla="*/ 673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4" h="673">
                  <a:moveTo>
                    <a:pt x="337" y="40"/>
                  </a:moveTo>
                  <a:lnTo>
                    <a:pt x="337" y="40"/>
                  </a:lnTo>
                  <a:cubicBezTo>
                    <a:pt x="173" y="40"/>
                    <a:pt x="40" y="173"/>
                    <a:pt x="40" y="336"/>
                  </a:cubicBezTo>
                  <a:cubicBezTo>
                    <a:pt x="40" y="500"/>
                    <a:pt x="173" y="633"/>
                    <a:pt x="337" y="633"/>
                  </a:cubicBezTo>
                  <a:cubicBezTo>
                    <a:pt x="500" y="633"/>
                    <a:pt x="634" y="500"/>
                    <a:pt x="634" y="336"/>
                  </a:cubicBezTo>
                  <a:cubicBezTo>
                    <a:pt x="634" y="173"/>
                    <a:pt x="500" y="40"/>
                    <a:pt x="337" y="40"/>
                  </a:cubicBezTo>
                  <a:lnTo>
                    <a:pt x="337" y="40"/>
                  </a:lnTo>
                  <a:close/>
                  <a:moveTo>
                    <a:pt x="337" y="673"/>
                  </a:moveTo>
                  <a:lnTo>
                    <a:pt x="337" y="673"/>
                  </a:lnTo>
                  <a:cubicBezTo>
                    <a:pt x="151" y="673"/>
                    <a:pt x="0" y="522"/>
                    <a:pt x="0" y="336"/>
                  </a:cubicBezTo>
                  <a:cubicBezTo>
                    <a:pt x="0" y="151"/>
                    <a:pt x="151" y="0"/>
                    <a:pt x="337" y="0"/>
                  </a:cubicBezTo>
                  <a:cubicBezTo>
                    <a:pt x="522" y="0"/>
                    <a:pt x="674" y="151"/>
                    <a:pt x="674" y="336"/>
                  </a:cubicBezTo>
                  <a:cubicBezTo>
                    <a:pt x="674" y="522"/>
                    <a:pt x="522" y="673"/>
                    <a:pt x="337" y="673"/>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5" name="object 11">
            <a:extLst>
              <a:ext uri="{FF2B5EF4-FFF2-40B4-BE49-F238E27FC236}">
                <a16:creationId xmlns:a16="http://schemas.microsoft.com/office/drawing/2014/main" id="{5D1E01E8-6DC2-0D80-0779-42832D1B8CD4}"/>
              </a:ext>
            </a:extLst>
          </p:cNvPr>
          <p:cNvSpPr txBox="1"/>
          <p:nvPr/>
        </p:nvSpPr>
        <p:spPr>
          <a:xfrm>
            <a:off x="9557670" y="1592993"/>
            <a:ext cx="109793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esign Alternative</a:t>
            </a:r>
          </a:p>
        </p:txBody>
      </p:sp>
      <p:sp>
        <p:nvSpPr>
          <p:cNvPr id="10" name="TextBox 9">
            <a:extLst>
              <a:ext uri="{FF2B5EF4-FFF2-40B4-BE49-F238E27FC236}">
                <a16:creationId xmlns:a16="http://schemas.microsoft.com/office/drawing/2014/main" id="{B85158F0-B455-A146-D93E-3725DC0A528C}"/>
              </a:ext>
            </a:extLst>
          </p:cNvPr>
          <p:cNvSpPr txBox="1"/>
          <p:nvPr/>
        </p:nvSpPr>
        <p:spPr>
          <a:xfrm>
            <a:off x="5161342" y="2753287"/>
            <a:ext cx="140139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ource Code Management</a:t>
            </a:r>
          </a:p>
        </p:txBody>
      </p:sp>
      <p:sp>
        <p:nvSpPr>
          <p:cNvPr id="25" name="TextBox 24">
            <a:extLst>
              <a:ext uri="{FF2B5EF4-FFF2-40B4-BE49-F238E27FC236}">
                <a16:creationId xmlns:a16="http://schemas.microsoft.com/office/drawing/2014/main" id="{D4E5A8E0-1D38-4F7F-8DE6-EEA64E4BF849}"/>
              </a:ext>
            </a:extLst>
          </p:cNvPr>
          <p:cNvSpPr txBox="1"/>
          <p:nvPr/>
        </p:nvSpPr>
        <p:spPr>
          <a:xfrm>
            <a:off x="10562781" y="4195901"/>
            <a:ext cx="168165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ustomization</a:t>
            </a:r>
          </a:p>
        </p:txBody>
      </p:sp>
      <p:pic>
        <p:nvPicPr>
          <p:cNvPr id="34" name="Graphic 33">
            <a:extLst>
              <a:ext uri="{FF2B5EF4-FFF2-40B4-BE49-F238E27FC236}">
                <a16:creationId xmlns:a16="http://schemas.microsoft.com/office/drawing/2014/main" id="{6766756E-AA52-1BFB-F9DF-1C2E3004AB59}"/>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11013084" y="4521973"/>
            <a:ext cx="781050" cy="609600"/>
          </a:xfrm>
          <a:prstGeom prst="rect">
            <a:avLst/>
          </a:prstGeom>
        </p:spPr>
      </p:pic>
      <p:pic>
        <p:nvPicPr>
          <p:cNvPr id="5" name="Graphic 4">
            <a:extLst>
              <a:ext uri="{FF2B5EF4-FFF2-40B4-BE49-F238E27FC236}">
                <a16:creationId xmlns:a16="http://schemas.microsoft.com/office/drawing/2014/main" id="{6C53A4FF-2767-0B04-23C2-CD0BA65441FA}"/>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5471515" y="3218472"/>
            <a:ext cx="781050" cy="609600"/>
          </a:xfrm>
          <a:prstGeom prst="rect">
            <a:avLst/>
          </a:prstGeom>
        </p:spPr>
      </p:pic>
      <p:pic>
        <p:nvPicPr>
          <p:cNvPr id="9" name="Graphic 8">
            <a:extLst>
              <a:ext uri="{FF2B5EF4-FFF2-40B4-BE49-F238E27FC236}">
                <a16:creationId xmlns:a16="http://schemas.microsoft.com/office/drawing/2014/main" id="{D4FB8D05-0819-38C0-308E-F18D62227CB3}"/>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9779786" y="1828881"/>
            <a:ext cx="774700" cy="609600"/>
          </a:xfrm>
          <a:prstGeom prst="rect">
            <a:avLst/>
          </a:prstGeom>
        </p:spPr>
      </p:pic>
      <p:pic>
        <p:nvPicPr>
          <p:cNvPr id="40" name="Graphic 39">
            <a:extLst>
              <a:ext uri="{FF2B5EF4-FFF2-40B4-BE49-F238E27FC236}">
                <a16:creationId xmlns:a16="http://schemas.microsoft.com/office/drawing/2014/main" id="{DBB03FFA-1E47-3875-A05A-7474579A3B31}"/>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4352067" y="5799768"/>
            <a:ext cx="609600" cy="609600"/>
          </a:xfrm>
          <a:prstGeom prst="rect">
            <a:avLst/>
          </a:prstGeom>
        </p:spPr>
      </p:pic>
      <p:sp>
        <p:nvSpPr>
          <p:cNvPr id="12" name="object 25">
            <a:extLst>
              <a:ext uri="{FF2B5EF4-FFF2-40B4-BE49-F238E27FC236}">
                <a16:creationId xmlns:a16="http://schemas.microsoft.com/office/drawing/2014/main" id="{B9A19929-B693-5607-4659-A9E995855E05}"/>
              </a:ext>
            </a:extLst>
          </p:cNvPr>
          <p:cNvSpPr txBox="1"/>
          <p:nvPr/>
        </p:nvSpPr>
        <p:spPr>
          <a:xfrm>
            <a:off x="6356615" y="5503038"/>
            <a:ext cx="134683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rotected N</a:t>
            </a:r>
            <a:r>
              <a:rPr lang="en-US" dirty="0"/>
              <a:t>etwork</a:t>
            </a:r>
            <a:endParaRPr dirty="0"/>
          </a:p>
        </p:txBody>
      </p:sp>
      <p:sp>
        <p:nvSpPr>
          <p:cNvPr id="20" name="object 5">
            <a:extLst>
              <a:ext uri="{FF2B5EF4-FFF2-40B4-BE49-F238E27FC236}">
                <a16:creationId xmlns:a16="http://schemas.microsoft.com/office/drawing/2014/main" id="{FAA78B4C-FE62-B871-429F-4CD99C0D6239}"/>
              </a:ext>
            </a:extLst>
          </p:cNvPr>
          <p:cNvSpPr txBox="1"/>
          <p:nvPr/>
        </p:nvSpPr>
        <p:spPr>
          <a:xfrm>
            <a:off x="7520489" y="5503038"/>
            <a:ext cx="12623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Global Net</a:t>
            </a:r>
            <a:r>
              <a:rPr lang="en-US" dirty="0"/>
              <a:t>work</a:t>
            </a:r>
            <a:endParaRPr dirty="0"/>
          </a:p>
        </p:txBody>
      </p:sp>
      <p:sp>
        <p:nvSpPr>
          <p:cNvPr id="24" name="object 40">
            <a:extLst>
              <a:ext uri="{FF2B5EF4-FFF2-40B4-BE49-F238E27FC236}">
                <a16:creationId xmlns:a16="http://schemas.microsoft.com/office/drawing/2014/main" id="{9837FC00-F4E8-1340-BF08-64B21D1DB937}"/>
              </a:ext>
            </a:extLst>
          </p:cNvPr>
          <p:cNvSpPr txBox="1"/>
          <p:nvPr/>
        </p:nvSpPr>
        <p:spPr>
          <a:xfrm>
            <a:off x="8529480" y="5503038"/>
            <a:ext cx="13887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Formula</a:t>
            </a:r>
          </a:p>
        </p:txBody>
      </p:sp>
      <p:sp>
        <p:nvSpPr>
          <p:cNvPr id="42" name="object 36">
            <a:extLst>
              <a:ext uri="{FF2B5EF4-FFF2-40B4-BE49-F238E27FC236}">
                <a16:creationId xmlns:a16="http://schemas.microsoft.com/office/drawing/2014/main" id="{A64FAD1E-591B-6465-D388-1118FEF6A6B6}"/>
              </a:ext>
            </a:extLst>
          </p:cNvPr>
          <p:cNvSpPr txBox="1"/>
          <p:nvPr/>
        </p:nvSpPr>
        <p:spPr>
          <a:xfrm>
            <a:off x="9545761" y="5503038"/>
            <a:ext cx="15544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Database</a:t>
            </a:r>
          </a:p>
        </p:txBody>
      </p:sp>
      <p:sp>
        <p:nvSpPr>
          <p:cNvPr id="46" name="object 25">
            <a:extLst>
              <a:ext uri="{FF2B5EF4-FFF2-40B4-BE49-F238E27FC236}">
                <a16:creationId xmlns:a16="http://schemas.microsoft.com/office/drawing/2014/main" id="{71A3E82B-32B6-33F2-C6CB-AD01425A1E1A}"/>
              </a:ext>
            </a:extLst>
          </p:cNvPr>
          <p:cNvSpPr txBox="1"/>
          <p:nvPr/>
        </p:nvSpPr>
        <p:spPr>
          <a:xfrm>
            <a:off x="5209405" y="5503038"/>
            <a:ext cx="134683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hermometer</a:t>
            </a:r>
          </a:p>
        </p:txBody>
      </p:sp>
      <p:pic>
        <p:nvPicPr>
          <p:cNvPr id="18" name="Graphic 17">
            <a:extLst>
              <a:ext uri="{FF2B5EF4-FFF2-40B4-BE49-F238E27FC236}">
                <a16:creationId xmlns:a16="http://schemas.microsoft.com/office/drawing/2014/main" id="{3D705816-66CA-3A2E-79DE-375C13A71910}"/>
              </a:ext>
            </a:extLst>
          </p:cNvPr>
          <p:cNvPicPr>
            <a:picLocks noChangeAspect="1"/>
          </p:cNvPicPr>
          <p:nvPr/>
        </p:nvPicPr>
        <p:blipFill>
          <a:blip r:embed="rId61">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a:off x="7761154" y="5714043"/>
            <a:ext cx="781050" cy="781050"/>
          </a:xfrm>
          <a:prstGeom prst="rect">
            <a:avLst/>
          </a:prstGeom>
        </p:spPr>
      </p:pic>
      <p:pic>
        <p:nvPicPr>
          <p:cNvPr id="47" name="Graphic 46">
            <a:extLst>
              <a:ext uri="{FF2B5EF4-FFF2-40B4-BE49-F238E27FC236}">
                <a16:creationId xmlns:a16="http://schemas.microsoft.com/office/drawing/2014/main" id="{68A50137-2B4D-8D73-2D78-4A047ADF345C}"/>
              </a:ext>
            </a:extLst>
          </p:cNvPr>
          <p:cNvPicPr>
            <a:picLocks noChangeAspect="1"/>
          </p:cNvPicPr>
          <p:nvPr/>
        </p:nvPicPr>
        <p:blipFill>
          <a:blip r:embed="rId63">
            <a:extLst>
              <a:ext uri="{28A0092B-C50C-407E-A947-70E740481C1C}">
                <a14:useLocalDpi xmlns:a14="http://schemas.microsoft.com/office/drawing/2010/main" val="0"/>
              </a:ext>
              <a:ext uri="{96DAC541-7B7A-43D3-8B79-37D633B846F1}">
                <asvg:svgBlip xmlns:asvg="http://schemas.microsoft.com/office/drawing/2016/SVG/main" r:embed="rId64"/>
              </a:ext>
            </a:extLst>
          </a:blip>
          <a:stretch>
            <a:fillRect/>
          </a:stretch>
        </p:blipFill>
        <p:spPr>
          <a:xfrm>
            <a:off x="1769547" y="5738808"/>
            <a:ext cx="731520" cy="731520"/>
          </a:xfrm>
          <a:prstGeom prst="rect">
            <a:avLst/>
          </a:prstGeom>
        </p:spPr>
      </p:pic>
      <p:pic>
        <p:nvPicPr>
          <p:cNvPr id="49" name="Graphic 48">
            <a:extLst>
              <a:ext uri="{FF2B5EF4-FFF2-40B4-BE49-F238E27FC236}">
                <a16:creationId xmlns:a16="http://schemas.microsoft.com/office/drawing/2014/main" id="{4BE559BA-0590-B8A5-C150-A85EDEA80C8C}"/>
              </a:ext>
            </a:extLst>
          </p:cNvPr>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6849057" y="5714043"/>
            <a:ext cx="361950" cy="781050"/>
          </a:xfrm>
          <a:prstGeom prst="rect">
            <a:avLst/>
          </a:prstGeom>
        </p:spPr>
      </p:pic>
      <p:sp>
        <p:nvSpPr>
          <p:cNvPr id="59" name="TextBox 58">
            <a:extLst>
              <a:ext uri="{FF2B5EF4-FFF2-40B4-BE49-F238E27FC236}">
                <a16:creationId xmlns:a16="http://schemas.microsoft.com/office/drawing/2014/main" id="{4C2FD383-844D-3A5B-B838-F6AC906BE9FD}"/>
              </a:ext>
            </a:extLst>
          </p:cNvPr>
          <p:cNvSpPr txBox="1"/>
          <p:nvPr/>
        </p:nvSpPr>
        <p:spPr>
          <a:xfrm>
            <a:off x="1479245" y="5503038"/>
            <a:ext cx="131212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achine Learning</a:t>
            </a:r>
          </a:p>
        </p:txBody>
      </p:sp>
      <p:pic>
        <p:nvPicPr>
          <p:cNvPr id="156" name="Graphic 155">
            <a:extLst>
              <a:ext uri="{FF2B5EF4-FFF2-40B4-BE49-F238E27FC236}">
                <a16:creationId xmlns:a16="http://schemas.microsoft.com/office/drawing/2014/main" id="{407945A5-0E9B-3D2A-996F-F70068DCB209}"/>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10018201" y="5799768"/>
            <a:ext cx="609600" cy="609600"/>
          </a:xfrm>
          <a:prstGeom prst="rect">
            <a:avLst/>
          </a:prstGeom>
        </p:spPr>
      </p:pic>
      <p:grpSp>
        <p:nvGrpSpPr>
          <p:cNvPr id="53" name="Group 52">
            <a:extLst>
              <a:ext uri="{FF2B5EF4-FFF2-40B4-BE49-F238E27FC236}">
                <a16:creationId xmlns:a16="http://schemas.microsoft.com/office/drawing/2014/main" id="{9536663B-59B9-3B97-71E9-4147A47B38C2}"/>
              </a:ext>
            </a:extLst>
          </p:cNvPr>
          <p:cNvGrpSpPr/>
          <p:nvPr/>
        </p:nvGrpSpPr>
        <p:grpSpPr>
          <a:xfrm>
            <a:off x="534788" y="4540070"/>
            <a:ext cx="609600" cy="572452"/>
            <a:chOff x="534788" y="4540070"/>
            <a:chExt cx="609600" cy="572452"/>
          </a:xfrm>
        </p:grpSpPr>
        <p:sp>
          <p:nvSpPr>
            <p:cNvPr id="16" name="Freeform: Shape 15">
              <a:extLst>
                <a:ext uri="{FF2B5EF4-FFF2-40B4-BE49-F238E27FC236}">
                  <a16:creationId xmlns:a16="http://schemas.microsoft.com/office/drawing/2014/main" id="{985015DE-2046-DE20-6715-4C92AD7E9314}"/>
                </a:ext>
              </a:extLst>
            </p:cNvPr>
            <p:cNvSpPr/>
            <p:nvPr/>
          </p:nvSpPr>
          <p:spPr>
            <a:xfrm>
              <a:off x="645710" y="4772956"/>
              <a:ext cx="202450" cy="59531"/>
            </a:xfrm>
            <a:custGeom>
              <a:avLst/>
              <a:gdLst>
                <a:gd name="connsiteX0" fmla="*/ 202450 w 202450"/>
                <a:gd name="connsiteY0" fmla="*/ 35719 h 59531"/>
                <a:gd name="connsiteX1" fmla="*/ 191973 w 202450"/>
                <a:gd name="connsiteY1" fmla="*/ 12859 h 59531"/>
                <a:gd name="connsiteX2" fmla="*/ 131965 w 202450"/>
                <a:gd name="connsiteY2" fmla="*/ 1429 h 59531"/>
                <a:gd name="connsiteX3" fmla="*/ 89103 w 202450"/>
                <a:gd name="connsiteY3" fmla="*/ 22384 h 59531"/>
                <a:gd name="connsiteX4" fmla="*/ 15760 w 202450"/>
                <a:gd name="connsiteY4" fmla="*/ 23336 h 59531"/>
                <a:gd name="connsiteX5" fmla="*/ 2425 w 202450"/>
                <a:gd name="connsiteY5" fmla="*/ 24289 h 59531"/>
                <a:gd name="connsiteX6" fmla="*/ 3378 w 202450"/>
                <a:gd name="connsiteY6" fmla="*/ 37624 h 59531"/>
                <a:gd name="connsiteX7" fmla="*/ 51003 w 202450"/>
                <a:gd name="connsiteY7" fmla="*/ 59531 h 59531"/>
                <a:gd name="connsiteX8" fmla="*/ 100533 w 202450"/>
                <a:gd name="connsiteY8" fmla="*/ 37624 h 59531"/>
                <a:gd name="connsiteX9" fmla="*/ 134823 w 202450"/>
                <a:gd name="connsiteY9" fmla="*/ 19526 h 59531"/>
                <a:gd name="connsiteX10" fmla="*/ 179590 w 202450"/>
                <a:gd name="connsiteY10" fmla="*/ 26194 h 59531"/>
                <a:gd name="connsiteX11" fmla="*/ 184353 w 202450"/>
                <a:gd name="connsiteY11" fmla="*/ 34766 h 59531"/>
                <a:gd name="connsiteX12" fmla="*/ 193878 w 202450"/>
                <a:gd name="connsiteY12" fmla="*/ 44291 h 59531"/>
                <a:gd name="connsiteX13" fmla="*/ 202450 w 202450"/>
                <a:gd name="connsiteY13" fmla="*/ 35719 h 5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450" h="59531">
                  <a:moveTo>
                    <a:pt x="202450" y="35719"/>
                  </a:moveTo>
                  <a:cubicBezTo>
                    <a:pt x="202450" y="34766"/>
                    <a:pt x="202450" y="22384"/>
                    <a:pt x="191973" y="12859"/>
                  </a:cubicBezTo>
                  <a:cubicBezTo>
                    <a:pt x="179590" y="1429"/>
                    <a:pt x="159588" y="-2381"/>
                    <a:pt x="131965" y="1429"/>
                  </a:cubicBezTo>
                  <a:cubicBezTo>
                    <a:pt x="114820" y="3334"/>
                    <a:pt x="101485" y="13811"/>
                    <a:pt x="89103" y="22384"/>
                  </a:cubicBezTo>
                  <a:cubicBezTo>
                    <a:pt x="65290" y="39529"/>
                    <a:pt x="48145" y="51911"/>
                    <a:pt x="15760" y="23336"/>
                  </a:cubicBezTo>
                  <a:cubicBezTo>
                    <a:pt x="11950" y="19526"/>
                    <a:pt x="6235" y="20479"/>
                    <a:pt x="2425" y="24289"/>
                  </a:cubicBezTo>
                  <a:cubicBezTo>
                    <a:pt x="-1385" y="28099"/>
                    <a:pt x="-432" y="33814"/>
                    <a:pt x="3378" y="37624"/>
                  </a:cubicBezTo>
                  <a:cubicBezTo>
                    <a:pt x="21475" y="53816"/>
                    <a:pt x="37668" y="59531"/>
                    <a:pt x="51003" y="59531"/>
                  </a:cubicBezTo>
                  <a:cubicBezTo>
                    <a:pt x="71005" y="59531"/>
                    <a:pt x="86245" y="48101"/>
                    <a:pt x="100533" y="37624"/>
                  </a:cubicBezTo>
                  <a:cubicBezTo>
                    <a:pt x="111963" y="29051"/>
                    <a:pt x="123393" y="21431"/>
                    <a:pt x="134823" y="19526"/>
                  </a:cubicBezTo>
                  <a:cubicBezTo>
                    <a:pt x="155778" y="16669"/>
                    <a:pt x="171970" y="19526"/>
                    <a:pt x="179590" y="26194"/>
                  </a:cubicBezTo>
                  <a:cubicBezTo>
                    <a:pt x="184353" y="30004"/>
                    <a:pt x="184353" y="34766"/>
                    <a:pt x="184353" y="34766"/>
                  </a:cubicBezTo>
                  <a:cubicBezTo>
                    <a:pt x="184353" y="39529"/>
                    <a:pt x="188163" y="44291"/>
                    <a:pt x="193878" y="44291"/>
                  </a:cubicBezTo>
                  <a:cubicBezTo>
                    <a:pt x="196735" y="45244"/>
                    <a:pt x="201498" y="41434"/>
                    <a:pt x="202450" y="35719"/>
                  </a:cubicBezTo>
                  <a:close/>
                </a:path>
              </a:pathLst>
            </a:custGeom>
            <a:solidFill>
              <a:srgbClr val="40AA1D"/>
            </a:solidFill>
            <a:ln w="9525"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C94D78B1-79AF-71AF-C5AE-62BB040120B7}"/>
                </a:ext>
              </a:extLst>
            </p:cNvPr>
            <p:cNvSpPr/>
            <p:nvPr/>
          </p:nvSpPr>
          <p:spPr>
            <a:xfrm>
              <a:off x="607983" y="4845823"/>
              <a:ext cx="190222" cy="161925"/>
            </a:xfrm>
            <a:custGeom>
              <a:avLst/>
              <a:gdLst>
                <a:gd name="connsiteX0" fmla="*/ 189694 w 190222"/>
                <a:gd name="connsiteY0" fmla="*/ 8573 h 161925"/>
                <a:gd name="connsiteX1" fmla="*/ 179217 w 190222"/>
                <a:gd name="connsiteY1" fmla="*/ 0 h 161925"/>
                <a:gd name="connsiteX2" fmla="*/ 170644 w 190222"/>
                <a:gd name="connsiteY2" fmla="*/ 10477 h 161925"/>
                <a:gd name="connsiteX3" fmla="*/ 134449 w 190222"/>
                <a:gd name="connsiteY3" fmla="*/ 63818 h 161925"/>
                <a:gd name="connsiteX4" fmla="*/ 69679 w 190222"/>
                <a:gd name="connsiteY4" fmla="*/ 92393 h 161925"/>
                <a:gd name="connsiteX5" fmla="*/ 35389 w 190222"/>
                <a:gd name="connsiteY5" fmla="*/ 74295 h 161925"/>
                <a:gd name="connsiteX6" fmla="*/ 19197 w 190222"/>
                <a:gd name="connsiteY6" fmla="*/ 47625 h 161925"/>
                <a:gd name="connsiteX7" fmla="*/ 7767 w 190222"/>
                <a:gd name="connsiteY7" fmla="*/ 40005 h 161925"/>
                <a:gd name="connsiteX8" fmla="*/ 147 w 190222"/>
                <a:gd name="connsiteY8" fmla="*/ 51435 h 161925"/>
                <a:gd name="connsiteX9" fmla="*/ 23959 w 190222"/>
                <a:gd name="connsiteY9" fmla="*/ 88582 h 161925"/>
                <a:gd name="connsiteX10" fmla="*/ 53487 w 190222"/>
                <a:gd name="connsiteY10" fmla="*/ 106680 h 161925"/>
                <a:gd name="connsiteX11" fmla="*/ 26817 w 190222"/>
                <a:gd name="connsiteY11" fmla="*/ 150495 h 161925"/>
                <a:gd name="connsiteX12" fmla="*/ 33484 w 190222"/>
                <a:gd name="connsiteY12" fmla="*/ 161925 h 161925"/>
                <a:gd name="connsiteX13" fmla="*/ 35389 w 190222"/>
                <a:gd name="connsiteY13" fmla="*/ 161925 h 161925"/>
                <a:gd name="connsiteX14" fmla="*/ 44914 w 190222"/>
                <a:gd name="connsiteY14" fmla="*/ 154305 h 161925"/>
                <a:gd name="connsiteX15" fmla="*/ 139212 w 190222"/>
                <a:gd name="connsiteY15" fmla="*/ 80963 h 161925"/>
                <a:gd name="connsiteX16" fmla="*/ 189694 w 190222"/>
                <a:gd name="connsiteY16" fmla="*/ 857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222" h="161925">
                  <a:moveTo>
                    <a:pt x="189694" y="8573"/>
                  </a:moveTo>
                  <a:cubicBezTo>
                    <a:pt x="188742" y="3810"/>
                    <a:pt x="183979" y="0"/>
                    <a:pt x="179217" y="0"/>
                  </a:cubicBezTo>
                  <a:cubicBezTo>
                    <a:pt x="174454" y="952"/>
                    <a:pt x="170644" y="5715"/>
                    <a:pt x="170644" y="10477"/>
                  </a:cubicBezTo>
                  <a:cubicBezTo>
                    <a:pt x="170644" y="12382"/>
                    <a:pt x="175407" y="53340"/>
                    <a:pt x="134449" y="63818"/>
                  </a:cubicBezTo>
                  <a:cubicBezTo>
                    <a:pt x="106827" y="70485"/>
                    <a:pt x="85872" y="80963"/>
                    <a:pt x="69679" y="92393"/>
                  </a:cubicBezTo>
                  <a:cubicBezTo>
                    <a:pt x="63964" y="91440"/>
                    <a:pt x="51582" y="86677"/>
                    <a:pt x="35389" y="74295"/>
                  </a:cubicBezTo>
                  <a:cubicBezTo>
                    <a:pt x="23007" y="61913"/>
                    <a:pt x="19197" y="47625"/>
                    <a:pt x="19197" y="47625"/>
                  </a:cubicBezTo>
                  <a:cubicBezTo>
                    <a:pt x="18244" y="42863"/>
                    <a:pt x="13482" y="39052"/>
                    <a:pt x="7767" y="40005"/>
                  </a:cubicBezTo>
                  <a:cubicBezTo>
                    <a:pt x="3004" y="40957"/>
                    <a:pt x="-806" y="45720"/>
                    <a:pt x="147" y="51435"/>
                  </a:cubicBezTo>
                  <a:cubicBezTo>
                    <a:pt x="147" y="52388"/>
                    <a:pt x="4909" y="72390"/>
                    <a:pt x="23959" y="88582"/>
                  </a:cubicBezTo>
                  <a:cubicBezTo>
                    <a:pt x="35389" y="98107"/>
                    <a:pt x="44914" y="103823"/>
                    <a:pt x="53487" y="106680"/>
                  </a:cubicBezTo>
                  <a:cubicBezTo>
                    <a:pt x="32532" y="128588"/>
                    <a:pt x="26817" y="148590"/>
                    <a:pt x="26817" y="150495"/>
                  </a:cubicBezTo>
                  <a:cubicBezTo>
                    <a:pt x="25864" y="155258"/>
                    <a:pt x="28722" y="160973"/>
                    <a:pt x="33484" y="161925"/>
                  </a:cubicBezTo>
                  <a:cubicBezTo>
                    <a:pt x="34437" y="161925"/>
                    <a:pt x="35389" y="161925"/>
                    <a:pt x="35389" y="161925"/>
                  </a:cubicBezTo>
                  <a:cubicBezTo>
                    <a:pt x="39199" y="161925"/>
                    <a:pt x="43962" y="159068"/>
                    <a:pt x="44914" y="154305"/>
                  </a:cubicBezTo>
                  <a:cubicBezTo>
                    <a:pt x="44914" y="153352"/>
                    <a:pt x="58249" y="100965"/>
                    <a:pt x="139212" y="80963"/>
                  </a:cubicBezTo>
                  <a:cubicBezTo>
                    <a:pt x="184932" y="70485"/>
                    <a:pt x="192552" y="28575"/>
                    <a:pt x="189694" y="8573"/>
                  </a:cubicBezTo>
                  <a:close/>
                </a:path>
              </a:pathLst>
            </a:custGeom>
            <a:solidFill>
              <a:srgbClr val="40AA1D"/>
            </a:solidFill>
            <a:ln w="9525"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3D883B76-FD1F-5FB7-A284-C5590880A786}"/>
                </a:ext>
              </a:extLst>
            </p:cNvPr>
            <p:cNvSpPr/>
            <p:nvPr/>
          </p:nvSpPr>
          <p:spPr>
            <a:xfrm flipV="1">
              <a:off x="750408" y="4949417"/>
              <a:ext cx="87030" cy="64045"/>
            </a:xfrm>
            <a:custGeom>
              <a:avLst/>
              <a:gdLst>
                <a:gd name="connsiteX0" fmla="*/ 83464 w 87030"/>
                <a:gd name="connsiteY0" fmla="*/ 4038 h 64045"/>
                <a:gd name="connsiteX1" fmla="*/ 32982 w 87030"/>
                <a:gd name="connsiteY1" fmla="*/ 9753 h 64045"/>
                <a:gd name="connsiteX2" fmla="*/ 597 w 87030"/>
                <a:gd name="connsiteY2" fmla="*/ 50710 h 64045"/>
                <a:gd name="connsiteX3" fmla="*/ 6312 w 87030"/>
                <a:gd name="connsiteY3" fmla="*/ 63093 h 64045"/>
                <a:gd name="connsiteX4" fmla="*/ 9169 w 87030"/>
                <a:gd name="connsiteY4" fmla="*/ 64045 h 64045"/>
                <a:gd name="connsiteX5" fmla="*/ 17742 w 87030"/>
                <a:gd name="connsiteY5" fmla="*/ 57378 h 64045"/>
                <a:gd name="connsiteX6" fmla="*/ 41554 w 87030"/>
                <a:gd name="connsiteY6" fmla="*/ 25945 h 64045"/>
                <a:gd name="connsiteX7" fmla="*/ 72034 w 87030"/>
                <a:gd name="connsiteY7" fmla="*/ 19278 h 64045"/>
                <a:gd name="connsiteX8" fmla="*/ 85369 w 87030"/>
                <a:gd name="connsiteY8" fmla="*/ 16420 h 64045"/>
                <a:gd name="connsiteX9" fmla="*/ 83464 w 87030"/>
                <a:gd name="connsiteY9" fmla="*/ 4038 h 64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030" h="64045">
                  <a:moveTo>
                    <a:pt x="83464" y="4038"/>
                  </a:moveTo>
                  <a:cubicBezTo>
                    <a:pt x="81559" y="3085"/>
                    <a:pt x="63462" y="-7392"/>
                    <a:pt x="32982" y="9753"/>
                  </a:cubicBezTo>
                  <a:cubicBezTo>
                    <a:pt x="10122" y="23088"/>
                    <a:pt x="597" y="49758"/>
                    <a:pt x="597" y="50710"/>
                  </a:cubicBezTo>
                  <a:cubicBezTo>
                    <a:pt x="-1308" y="55473"/>
                    <a:pt x="1549" y="61188"/>
                    <a:pt x="6312" y="63093"/>
                  </a:cubicBezTo>
                  <a:cubicBezTo>
                    <a:pt x="7264" y="63093"/>
                    <a:pt x="8217" y="64045"/>
                    <a:pt x="9169" y="64045"/>
                  </a:cubicBezTo>
                  <a:cubicBezTo>
                    <a:pt x="12979" y="64045"/>
                    <a:pt x="16789" y="61188"/>
                    <a:pt x="17742" y="57378"/>
                  </a:cubicBezTo>
                  <a:cubicBezTo>
                    <a:pt x="17742" y="57378"/>
                    <a:pt x="25362" y="35470"/>
                    <a:pt x="41554" y="25945"/>
                  </a:cubicBezTo>
                  <a:cubicBezTo>
                    <a:pt x="61557" y="14515"/>
                    <a:pt x="72034" y="19278"/>
                    <a:pt x="72034" y="19278"/>
                  </a:cubicBezTo>
                  <a:cubicBezTo>
                    <a:pt x="76797" y="22135"/>
                    <a:pt x="82512" y="21183"/>
                    <a:pt x="85369" y="16420"/>
                  </a:cubicBezTo>
                  <a:cubicBezTo>
                    <a:pt x="88227" y="11658"/>
                    <a:pt x="87274" y="6895"/>
                    <a:pt x="83464" y="4038"/>
                  </a:cubicBezTo>
                  <a:close/>
                </a:path>
              </a:pathLst>
            </a:custGeom>
            <a:solidFill>
              <a:srgbClr val="40AA1D"/>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1DB822A6-DDEA-5956-159C-8C087D56D170}"/>
                </a:ext>
              </a:extLst>
            </p:cNvPr>
            <p:cNvSpPr/>
            <p:nvPr/>
          </p:nvSpPr>
          <p:spPr>
            <a:xfrm>
              <a:off x="640871" y="4650916"/>
              <a:ext cx="129839" cy="102514"/>
            </a:xfrm>
            <a:custGeom>
              <a:avLst/>
              <a:gdLst>
                <a:gd name="connsiteX0" fmla="*/ 32982 w 129839"/>
                <a:gd name="connsiteY0" fmla="*/ 54889 h 102514"/>
                <a:gd name="connsiteX1" fmla="*/ 26314 w 129839"/>
                <a:gd name="connsiteY1" fmla="*/ 68224 h 102514"/>
                <a:gd name="connsiteX2" fmla="*/ 22504 w 129839"/>
                <a:gd name="connsiteY2" fmla="*/ 93942 h 102514"/>
                <a:gd name="connsiteX3" fmla="*/ 32029 w 129839"/>
                <a:gd name="connsiteY3" fmla="*/ 102514 h 102514"/>
                <a:gd name="connsiteX4" fmla="*/ 32982 w 129839"/>
                <a:gd name="connsiteY4" fmla="*/ 102514 h 102514"/>
                <a:gd name="connsiteX5" fmla="*/ 41554 w 129839"/>
                <a:gd name="connsiteY5" fmla="*/ 92037 h 102514"/>
                <a:gd name="connsiteX6" fmla="*/ 44412 w 129839"/>
                <a:gd name="connsiteY6" fmla="*/ 74892 h 102514"/>
                <a:gd name="connsiteX7" fmla="*/ 50127 w 129839"/>
                <a:gd name="connsiteY7" fmla="*/ 65367 h 102514"/>
                <a:gd name="connsiteX8" fmla="*/ 58699 w 129839"/>
                <a:gd name="connsiteY8" fmla="*/ 69177 h 102514"/>
                <a:gd name="connsiteX9" fmla="*/ 92037 w 129839"/>
                <a:gd name="connsiteY9" fmla="*/ 76797 h 102514"/>
                <a:gd name="connsiteX10" fmla="*/ 125374 w 129839"/>
                <a:gd name="connsiteY10" fmla="*/ 68224 h 102514"/>
                <a:gd name="connsiteX11" fmla="*/ 128232 w 129839"/>
                <a:gd name="connsiteY11" fmla="*/ 54889 h 102514"/>
                <a:gd name="connsiteX12" fmla="*/ 114897 w 129839"/>
                <a:gd name="connsiteY12" fmla="*/ 52032 h 102514"/>
                <a:gd name="connsiteX13" fmla="*/ 66319 w 129839"/>
                <a:gd name="connsiteY13" fmla="*/ 51079 h 102514"/>
                <a:gd name="connsiteX14" fmla="*/ 18694 w 129839"/>
                <a:gd name="connsiteY14" fmla="*/ 6312 h 102514"/>
                <a:gd name="connsiteX15" fmla="*/ 6312 w 129839"/>
                <a:gd name="connsiteY15" fmla="*/ 597 h 102514"/>
                <a:gd name="connsiteX16" fmla="*/ 597 w 129839"/>
                <a:gd name="connsiteY16" fmla="*/ 12979 h 102514"/>
                <a:gd name="connsiteX17" fmla="*/ 32982 w 129839"/>
                <a:gd name="connsiteY17" fmla="*/ 54889 h 10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9839" h="102514">
                  <a:moveTo>
                    <a:pt x="32982" y="54889"/>
                  </a:moveTo>
                  <a:cubicBezTo>
                    <a:pt x="31077" y="57747"/>
                    <a:pt x="28219" y="62509"/>
                    <a:pt x="26314" y="68224"/>
                  </a:cubicBezTo>
                  <a:cubicBezTo>
                    <a:pt x="21552" y="79654"/>
                    <a:pt x="22504" y="92037"/>
                    <a:pt x="22504" y="93942"/>
                  </a:cubicBezTo>
                  <a:cubicBezTo>
                    <a:pt x="22504" y="98704"/>
                    <a:pt x="27267" y="102514"/>
                    <a:pt x="32029" y="102514"/>
                  </a:cubicBezTo>
                  <a:cubicBezTo>
                    <a:pt x="32029" y="102514"/>
                    <a:pt x="32029" y="102514"/>
                    <a:pt x="32982" y="102514"/>
                  </a:cubicBezTo>
                  <a:cubicBezTo>
                    <a:pt x="37744" y="102514"/>
                    <a:pt x="42507" y="97752"/>
                    <a:pt x="41554" y="92037"/>
                  </a:cubicBezTo>
                  <a:cubicBezTo>
                    <a:pt x="41554" y="92037"/>
                    <a:pt x="40602" y="82512"/>
                    <a:pt x="44412" y="74892"/>
                  </a:cubicBezTo>
                  <a:cubicBezTo>
                    <a:pt x="46317" y="70129"/>
                    <a:pt x="48222" y="67272"/>
                    <a:pt x="50127" y="65367"/>
                  </a:cubicBezTo>
                  <a:cubicBezTo>
                    <a:pt x="52984" y="67272"/>
                    <a:pt x="55842" y="68224"/>
                    <a:pt x="58699" y="69177"/>
                  </a:cubicBezTo>
                  <a:cubicBezTo>
                    <a:pt x="71082" y="74892"/>
                    <a:pt x="82512" y="76797"/>
                    <a:pt x="92037" y="76797"/>
                  </a:cubicBezTo>
                  <a:cubicBezTo>
                    <a:pt x="112039" y="76797"/>
                    <a:pt x="124422" y="68224"/>
                    <a:pt x="125374" y="68224"/>
                  </a:cubicBezTo>
                  <a:cubicBezTo>
                    <a:pt x="130137" y="65367"/>
                    <a:pt x="131089" y="59652"/>
                    <a:pt x="128232" y="54889"/>
                  </a:cubicBezTo>
                  <a:cubicBezTo>
                    <a:pt x="125374" y="50127"/>
                    <a:pt x="119659" y="49174"/>
                    <a:pt x="114897" y="52032"/>
                  </a:cubicBezTo>
                  <a:cubicBezTo>
                    <a:pt x="114897" y="52032"/>
                    <a:pt x="93942" y="65367"/>
                    <a:pt x="66319" y="51079"/>
                  </a:cubicBezTo>
                  <a:cubicBezTo>
                    <a:pt x="29172" y="32982"/>
                    <a:pt x="18694" y="7264"/>
                    <a:pt x="18694" y="6312"/>
                  </a:cubicBezTo>
                  <a:cubicBezTo>
                    <a:pt x="16789" y="1549"/>
                    <a:pt x="11074" y="-1308"/>
                    <a:pt x="6312" y="597"/>
                  </a:cubicBezTo>
                  <a:cubicBezTo>
                    <a:pt x="1549" y="2502"/>
                    <a:pt x="-1308" y="8217"/>
                    <a:pt x="597" y="12979"/>
                  </a:cubicBezTo>
                  <a:cubicBezTo>
                    <a:pt x="597" y="15837"/>
                    <a:pt x="8217" y="35839"/>
                    <a:pt x="32982" y="54889"/>
                  </a:cubicBezTo>
                  <a:close/>
                </a:path>
              </a:pathLst>
            </a:custGeom>
            <a:solidFill>
              <a:srgbClr val="40AA1D"/>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3D4307A4-61EB-F822-A889-0578FFB58BBB}"/>
                </a:ext>
              </a:extLst>
            </p:cNvPr>
            <p:cNvSpPr/>
            <p:nvPr/>
          </p:nvSpPr>
          <p:spPr>
            <a:xfrm flipV="1">
              <a:off x="768956" y="4639936"/>
              <a:ext cx="69679" cy="56344"/>
            </a:xfrm>
            <a:custGeom>
              <a:avLst/>
              <a:gdLst>
                <a:gd name="connsiteX0" fmla="*/ 19197 w 69679"/>
                <a:gd name="connsiteY0" fmla="*/ 43009 h 56344"/>
                <a:gd name="connsiteX1" fmla="*/ 57297 w 69679"/>
                <a:gd name="connsiteY1" fmla="*/ 56344 h 56344"/>
                <a:gd name="connsiteX2" fmla="*/ 61107 w 69679"/>
                <a:gd name="connsiteY2" fmla="*/ 56344 h 56344"/>
                <a:gd name="connsiteX3" fmla="*/ 69679 w 69679"/>
                <a:gd name="connsiteY3" fmla="*/ 45867 h 56344"/>
                <a:gd name="connsiteX4" fmla="*/ 59202 w 69679"/>
                <a:gd name="connsiteY4" fmla="*/ 37294 h 56344"/>
                <a:gd name="connsiteX5" fmla="*/ 31579 w 69679"/>
                <a:gd name="connsiteY5" fmla="*/ 27769 h 56344"/>
                <a:gd name="connsiteX6" fmla="*/ 18244 w 69679"/>
                <a:gd name="connsiteY6" fmla="*/ 7767 h 56344"/>
                <a:gd name="connsiteX7" fmla="*/ 7767 w 69679"/>
                <a:gd name="connsiteY7" fmla="*/ 147 h 56344"/>
                <a:gd name="connsiteX8" fmla="*/ 147 w 69679"/>
                <a:gd name="connsiteY8" fmla="*/ 10624 h 56344"/>
                <a:gd name="connsiteX9" fmla="*/ 19197 w 69679"/>
                <a:gd name="connsiteY9" fmla="*/ 43009 h 56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79" h="56344">
                  <a:moveTo>
                    <a:pt x="19197" y="43009"/>
                  </a:moveTo>
                  <a:cubicBezTo>
                    <a:pt x="34437" y="55392"/>
                    <a:pt x="49677" y="56344"/>
                    <a:pt x="57297" y="56344"/>
                  </a:cubicBezTo>
                  <a:cubicBezTo>
                    <a:pt x="59202" y="56344"/>
                    <a:pt x="61107" y="56344"/>
                    <a:pt x="61107" y="56344"/>
                  </a:cubicBezTo>
                  <a:cubicBezTo>
                    <a:pt x="65869" y="55392"/>
                    <a:pt x="69679" y="50629"/>
                    <a:pt x="69679" y="45867"/>
                  </a:cubicBezTo>
                  <a:cubicBezTo>
                    <a:pt x="68727" y="41104"/>
                    <a:pt x="64917" y="37294"/>
                    <a:pt x="59202" y="37294"/>
                  </a:cubicBezTo>
                  <a:cubicBezTo>
                    <a:pt x="58249" y="37294"/>
                    <a:pt x="44914" y="38247"/>
                    <a:pt x="31579" y="27769"/>
                  </a:cubicBezTo>
                  <a:cubicBezTo>
                    <a:pt x="21102" y="19197"/>
                    <a:pt x="18244" y="7767"/>
                    <a:pt x="18244" y="7767"/>
                  </a:cubicBezTo>
                  <a:cubicBezTo>
                    <a:pt x="17292" y="3004"/>
                    <a:pt x="12529" y="-806"/>
                    <a:pt x="7767" y="147"/>
                  </a:cubicBezTo>
                  <a:cubicBezTo>
                    <a:pt x="3004" y="1099"/>
                    <a:pt x="-806" y="5862"/>
                    <a:pt x="147" y="10624"/>
                  </a:cubicBezTo>
                  <a:cubicBezTo>
                    <a:pt x="-806" y="12529"/>
                    <a:pt x="3004" y="29674"/>
                    <a:pt x="19197" y="43009"/>
                  </a:cubicBezTo>
                  <a:close/>
                </a:path>
              </a:pathLst>
            </a:custGeom>
            <a:solidFill>
              <a:srgbClr val="40AA1D"/>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FD310196-615B-70D4-3963-E90263E7BA4C}"/>
                </a:ext>
              </a:extLst>
            </p:cNvPr>
            <p:cNvSpPr/>
            <p:nvPr/>
          </p:nvSpPr>
          <p:spPr>
            <a:xfrm>
              <a:off x="832920" y="4821143"/>
              <a:ext cx="203402" cy="58969"/>
            </a:xfrm>
            <a:custGeom>
              <a:avLst/>
              <a:gdLst>
                <a:gd name="connsiteX0" fmla="*/ 52388 w 203402"/>
                <a:gd name="connsiteY0" fmla="*/ 58970 h 58969"/>
                <a:gd name="connsiteX1" fmla="*/ 71438 w 203402"/>
                <a:gd name="connsiteY1" fmla="*/ 58017 h 58969"/>
                <a:gd name="connsiteX2" fmla="*/ 114300 w 203402"/>
                <a:gd name="connsiteY2" fmla="*/ 37062 h 58969"/>
                <a:gd name="connsiteX3" fmla="*/ 187643 w 203402"/>
                <a:gd name="connsiteY3" fmla="*/ 36110 h 58969"/>
                <a:gd name="connsiteX4" fmla="*/ 200978 w 203402"/>
                <a:gd name="connsiteY4" fmla="*/ 35157 h 58969"/>
                <a:gd name="connsiteX5" fmla="*/ 200025 w 203402"/>
                <a:gd name="connsiteY5" fmla="*/ 21822 h 58969"/>
                <a:gd name="connsiteX6" fmla="*/ 102870 w 203402"/>
                <a:gd name="connsiteY6" fmla="*/ 21822 h 58969"/>
                <a:gd name="connsiteX7" fmla="*/ 68580 w 203402"/>
                <a:gd name="connsiteY7" fmla="*/ 39920 h 58969"/>
                <a:gd name="connsiteX8" fmla="*/ 23813 w 203402"/>
                <a:gd name="connsiteY8" fmla="*/ 33252 h 58969"/>
                <a:gd name="connsiteX9" fmla="*/ 19050 w 203402"/>
                <a:gd name="connsiteY9" fmla="*/ 24680 h 58969"/>
                <a:gd name="connsiteX10" fmla="*/ 9525 w 203402"/>
                <a:gd name="connsiteY10" fmla="*/ 15155 h 58969"/>
                <a:gd name="connsiteX11" fmla="*/ 0 w 203402"/>
                <a:gd name="connsiteY11" fmla="*/ 24680 h 58969"/>
                <a:gd name="connsiteX12" fmla="*/ 10478 w 203402"/>
                <a:gd name="connsiteY12" fmla="*/ 47540 h 58969"/>
                <a:gd name="connsiteX13" fmla="*/ 52388 w 203402"/>
                <a:gd name="connsiteY13" fmla="*/ 58970 h 5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3402" h="58969">
                  <a:moveTo>
                    <a:pt x="52388" y="58970"/>
                  </a:moveTo>
                  <a:cubicBezTo>
                    <a:pt x="58103" y="58970"/>
                    <a:pt x="64770" y="58970"/>
                    <a:pt x="71438" y="58017"/>
                  </a:cubicBezTo>
                  <a:cubicBezTo>
                    <a:pt x="88582" y="56112"/>
                    <a:pt x="101918" y="45635"/>
                    <a:pt x="114300" y="37062"/>
                  </a:cubicBezTo>
                  <a:cubicBezTo>
                    <a:pt x="138113" y="19917"/>
                    <a:pt x="155258" y="7535"/>
                    <a:pt x="187643" y="36110"/>
                  </a:cubicBezTo>
                  <a:cubicBezTo>
                    <a:pt x="191453" y="39920"/>
                    <a:pt x="197168" y="38967"/>
                    <a:pt x="200978" y="35157"/>
                  </a:cubicBezTo>
                  <a:cubicBezTo>
                    <a:pt x="204788" y="31347"/>
                    <a:pt x="203835" y="25632"/>
                    <a:pt x="200025" y="21822"/>
                  </a:cubicBezTo>
                  <a:cubicBezTo>
                    <a:pt x="156210" y="-17230"/>
                    <a:pt x="126682" y="4677"/>
                    <a:pt x="102870" y="21822"/>
                  </a:cubicBezTo>
                  <a:cubicBezTo>
                    <a:pt x="91440" y="30395"/>
                    <a:pt x="80010" y="38015"/>
                    <a:pt x="68580" y="39920"/>
                  </a:cubicBezTo>
                  <a:cubicBezTo>
                    <a:pt x="47625" y="42777"/>
                    <a:pt x="31432" y="39920"/>
                    <a:pt x="23813" y="33252"/>
                  </a:cubicBezTo>
                  <a:cubicBezTo>
                    <a:pt x="19050" y="29442"/>
                    <a:pt x="19050" y="24680"/>
                    <a:pt x="19050" y="24680"/>
                  </a:cubicBezTo>
                  <a:cubicBezTo>
                    <a:pt x="19050" y="19917"/>
                    <a:pt x="15240" y="15155"/>
                    <a:pt x="9525" y="15155"/>
                  </a:cubicBezTo>
                  <a:cubicBezTo>
                    <a:pt x="4763" y="15155"/>
                    <a:pt x="0" y="18965"/>
                    <a:pt x="0" y="24680"/>
                  </a:cubicBezTo>
                  <a:cubicBezTo>
                    <a:pt x="0" y="25632"/>
                    <a:pt x="0" y="38015"/>
                    <a:pt x="10478" y="47540"/>
                  </a:cubicBezTo>
                  <a:cubicBezTo>
                    <a:pt x="19050" y="55160"/>
                    <a:pt x="33338" y="58970"/>
                    <a:pt x="52388" y="58970"/>
                  </a:cubicBezTo>
                  <a:close/>
                </a:path>
              </a:pathLst>
            </a:custGeom>
            <a:solidFill>
              <a:srgbClr val="40AA1D"/>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39274CD4-1047-DA21-2A24-85E4B4650014}"/>
                </a:ext>
              </a:extLst>
            </p:cNvPr>
            <p:cNvSpPr/>
            <p:nvPr/>
          </p:nvSpPr>
          <p:spPr>
            <a:xfrm>
              <a:off x="841284" y="4647556"/>
              <a:ext cx="87482" cy="63461"/>
            </a:xfrm>
            <a:custGeom>
              <a:avLst/>
              <a:gdLst>
                <a:gd name="connsiteX0" fmla="*/ 4971 w 87482"/>
                <a:gd name="connsiteY0" fmla="*/ 59652 h 63461"/>
                <a:gd name="connsiteX1" fmla="*/ 22116 w 87482"/>
                <a:gd name="connsiteY1" fmla="*/ 63462 h 63461"/>
                <a:gd name="connsiteX2" fmla="*/ 54501 w 87482"/>
                <a:gd name="connsiteY2" fmla="*/ 53937 h 63461"/>
                <a:gd name="connsiteX3" fmla="*/ 86886 w 87482"/>
                <a:gd name="connsiteY3" fmla="*/ 12979 h 63461"/>
                <a:gd name="connsiteX4" fmla="*/ 81171 w 87482"/>
                <a:gd name="connsiteY4" fmla="*/ 597 h 63461"/>
                <a:gd name="connsiteX5" fmla="*/ 68788 w 87482"/>
                <a:gd name="connsiteY5" fmla="*/ 6312 h 63461"/>
                <a:gd name="connsiteX6" fmla="*/ 44976 w 87482"/>
                <a:gd name="connsiteY6" fmla="*/ 37744 h 63461"/>
                <a:gd name="connsiteX7" fmla="*/ 14496 w 87482"/>
                <a:gd name="connsiteY7" fmla="*/ 44412 h 63461"/>
                <a:gd name="connsiteX8" fmla="*/ 1161 w 87482"/>
                <a:gd name="connsiteY8" fmla="*/ 47269 h 63461"/>
                <a:gd name="connsiteX9" fmla="*/ 4971 w 87482"/>
                <a:gd name="connsiteY9" fmla="*/ 59652 h 63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482" h="63461">
                  <a:moveTo>
                    <a:pt x="4971" y="59652"/>
                  </a:moveTo>
                  <a:cubicBezTo>
                    <a:pt x="5923" y="60604"/>
                    <a:pt x="11638" y="63462"/>
                    <a:pt x="22116" y="63462"/>
                  </a:cubicBezTo>
                  <a:cubicBezTo>
                    <a:pt x="30688" y="63462"/>
                    <a:pt x="41166" y="61557"/>
                    <a:pt x="54501" y="53937"/>
                  </a:cubicBezTo>
                  <a:cubicBezTo>
                    <a:pt x="77361" y="40602"/>
                    <a:pt x="86886" y="13932"/>
                    <a:pt x="86886" y="12979"/>
                  </a:cubicBezTo>
                  <a:cubicBezTo>
                    <a:pt x="88791" y="8217"/>
                    <a:pt x="85933" y="2502"/>
                    <a:pt x="81171" y="597"/>
                  </a:cubicBezTo>
                  <a:cubicBezTo>
                    <a:pt x="76408" y="-1308"/>
                    <a:pt x="70693" y="1549"/>
                    <a:pt x="68788" y="6312"/>
                  </a:cubicBezTo>
                  <a:cubicBezTo>
                    <a:pt x="68788" y="6312"/>
                    <a:pt x="61168" y="28219"/>
                    <a:pt x="44976" y="37744"/>
                  </a:cubicBezTo>
                  <a:cubicBezTo>
                    <a:pt x="24973" y="49174"/>
                    <a:pt x="14496" y="44412"/>
                    <a:pt x="14496" y="44412"/>
                  </a:cubicBezTo>
                  <a:cubicBezTo>
                    <a:pt x="9733" y="41554"/>
                    <a:pt x="4018" y="42507"/>
                    <a:pt x="1161" y="47269"/>
                  </a:cubicBezTo>
                  <a:cubicBezTo>
                    <a:pt x="-1697" y="52032"/>
                    <a:pt x="1161" y="56794"/>
                    <a:pt x="4971" y="59652"/>
                  </a:cubicBezTo>
                  <a:close/>
                </a:path>
              </a:pathLst>
            </a:custGeom>
            <a:solidFill>
              <a:srgbClr val="40AA1D"/>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92C1EC2E-7FBD-B0FE-44AD-6EC51EF6881A}"/>
                </a:ext>
              </a:extLst>
            </p:cNvPr>
            <p:cNvSpPr/>
            <p:nvPr/>
          </p:nvSpPr>
          <p:spPr>
            <a:xfrm>
              <a:off x="910370" y="4899992"/>
              <a:ext cx="128886" cy="101087"/>
            </a:xfrm>
            <a:custGeom>
              <a:avLst/>
              <a:gdLst>
                <a:gd name="connsiteX0" fmla="*/ 95905 w 128886"/>
                <a:gd name="connsiteY0" fmla="*/ 47748 h 101087"/>
                <a:gd name="connsiteX1" fmla="*/ 102572 w 128886"/>
                <a:gd name="connsiteY1" fmla="*/ 34413 h 101087"/>
                <a:gd name="connsiteX2" fmla="*/ 106382 w 128886"/>
                <a:gd name="connsiteY2" fmla="*/ 8695 h 101087"/>
                <a:gd name="connsiteX3" fmla="*/ 96857 w 128886"/>
                <a:gd name="connsiteY3" fmla="*/ 123 h 101087"/>
                <a:gd name="connsiteX4" fmla="*/ 88285 w 128886"/>
                <a:gd name="connsiteY4" fmla="*/ 9648 h 101087"/>
                <a:gd name="connsiteX5" fmla="*/ 85427 w 128886"/>
                <a:gd name="connsiteY5" fmla="*/ 26793 h 101087"/>
                <a:gd name="connsiteX6" fmla="*/ 79712 w 128886"/>
                <a:gd name="connsiteY6" fmla="*/ 36318 h 101087"/>
                <a:gd name="connsiteX7" fmla="*/ 71140 w 128886"/>
                <a:gd name="connsiteY7" fmla="*/ 32508 h 101087"/>
                <a:gd name="connsiteX8" fmla="*/ 4465 w 128886"/>
                <a:gd name="connsiteY8" fmla="*/ 33460 h 101087"/>
                <a:gd name="connsiteX9" fmla="*/ 1607 w 128886"/>
                <a:gd name="connsiteY9" fmla="*/ 46795 h 101087"/>
                <a:gd name="connsiteX10" fmla="*/ 14942 w 128886"/>
                <a:gd name="connsiteY10" fmla="*/ 49653 h 101087"/>
                <a:gd name="connsiteX11" fmla="*/ 63520 w 128886"/>
                <a:gd name="connsiteY11" fmla="*/ 50605 h 101087"/>
                <a:gd name="connsiteX12" fmla="*/ 111145 w 128886"/>
                <a:gd name="connsiteY12" fmla="*/ 95373 h 101087"/>
                <a:gd name="connsiteX13" fmla="*/ 119717 w 128886"/>
                <a:gd name="connsiteY13" fmla="*/ 101088 h 101087"/>
                <a:gd name="connsiteX14" fmla="*/ 122575 w 128886"/>
                <a:gd name="connsiteY14" fmla="*/ 100135 h 101087"/>
                <a:gd name="connsiteX15" fmla="*/ 128290 w 128886"/>
                <a:gd name="connsiteY15" fmla="*/ 87753 h 101087"/>
                <a:gd name="connsiteX16" fmla="*/ 95905 w 128886"/>
                <a:gd name="connsiteY16" fmla="*/ 47748 h 101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886" h="101087">
                  <a:moveTo>
                    <a:pt x="95905" y="47748"/>
                  </a:moveTo>
                  <a:cubicBezTo>
                    <a:pt x="97810" y="44890"/>
                    <a:pt x="100667" y="40128"/>
                    <a:pt x="102572" y="34413"/>
                  </a:cubicBezTo>
                  <a:cubicBezTo>
                    <a:pt x="107335" y="22983"/>
                    <a:pt x="106382" y="10600"/>
                    <a:pt x="106382" y="8695"/>
                  </a:cubicBezTo>
                  <a:cubicBezTo>
                    <a:pt x="106382" y="3933"/>
                    <a:pt x="101620" y="-830"/>
                    <a:pt x="96857" y="123"/>
                  </a:cubicBezTo>
                  <a:cubicBezTo>
                    <a:pt x="92095" y="123"/>
                    <a:pt x="87332" y="4885"/>
                    <a:pt x="88285" y="9648"/>
                  </a:cubicBezTo>
                  <a:cubicBezTo>
                    <a:pt x="88285" y="9648"/>
                    <a:pt x="89237" y="19173"/>
                    <a:pt x="85427" y="26793"/>
                  </a:cubicBezTo>
                  <a:cubicBezTo>
                    <a:pt x="83522" y="31555"/>
                    <a:pt x="81617" y="34413"/>
                    <a:pt x="79712" y="36318"/>
                  </a:cubicBezTo>
                  <a:cubicBezTo>
                    <a:pt x="76855" y="34413"/>
                    <a:pt x="73997" y="33460"/>
                    <a:pt x="71140" y="32508"/>
                  </a:cubicBezTo>
                  <a:cubicBezTo>
                    <a:pt x="33992" y="14410"/>
                    <a:pt x="5417" y="32508"/>
                    <a:pt x="4465" y="33460"/>
                  </a:cubicBezTo>
                  <a:cubicBezTo>
                    <a:pt x="-298" y="36318"/>
                    <a:pt x="-1250" y="42033"/>
                    <a:pt x="1607" y="46795"/>
                  </a:cubicBezTo>
                  <a:cubicBezTo>
                    <a:pt x="4465" y="51558"/>
                    <a:pt x="10180" y="52510"/>
                    <a:pt x="14942" y="49653"/>
                  </a:cubicBezTo>
                  <a:cubicBezTo>
                    <a:pt x="14942" y="49653"/>
                    <a:pt x="35897" y="36318"/>
                    <a:pt x="63520" y="50605"/>
                  </a:cubicBezTo>
                  <a:cubicBezTo>
                    <a:pt x="100667" y="68703"/>
                    <a:pt x="111145" y="93468"/>
                    <a:pt x="111145" y="95373"/>
                  </a:cubicBezTo>
                  <a:cubicBezTo>
                    <a:pt x="112097" y="99183"/>
                    <a:pt x="115907" y="101088"/>
                    <a:pt x="119717" y="101088"/>
                  </a:cubicBezTo>
                  <a:cubicBezTo>
                    <a:pt x="120670" y="101088"/>
                    <a:pt x="121622" y="101088"/>
                    <a:pt x="122575" y="100135"/>
                  </a:cubicBezTo>
                  <a:cubicBezTo>
                    <a:pt x="127337" y="98230"/>
                    <a:pt x="130195" y="92515"/>
                    <a:pt x="128290" y="87753"/>
                  </a:cubicBezTo>
                  <a:cubicBezTo>
                    <a:pt x="128290" y="86800"/>
                    <a:pt x="120670" y="66798"/>
                    <a:pt x="95905" y="47748"/>
                  </a:cubicBezTo>
                  <a:close/>
                </a:path>
              </a:pathLst>
            </a:custGeom>
            <a:solidFill>
              <a:srgbClr val="40AA1D"/>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86DAF219-B799-B962-EBDB-D8201FDE9741}"/>
                </a:ext>
              </a:extLst>
            </p:cNvPr>
            <p:cNvSpPr/>
            <p:nvPr/>
          </p:nvSpPr>
          <p:spPr>
            <a:xfrm>
              <a:off x="841493" y="4946911"/>
              <a:ext cx="70631" cy="56391"/>
            </a:xfrm>
            <a:custGeom>
              <a:avLst/>
              <a:gdLst>
                <a:gd name="connsiteX0" fmla="*/ 50482 w 70631"/>
                <a:gd name="connsiteY0" fmla="*/ 13529 h 56391"/>
                <a:gd name="connsiteX1" fmla="*/ 8572 w 70631"/>
                <a:gd name="connsiteY1" fmla="*/ 194 h 56391"/>
                <a:gd name="connsiteX2" fmla="*/ 0 w 70631"/>
                <a:gd name="connsiteY2" fmla="*/ 10672 h 56391"/>
                <a:gd name="connsiteX3" fmla="*/ 10477 w 70631"/>
                <a:gd name="connsiteY3" fmla="*/ 19244 h 56391"/>
                <a:gd name="connsiteX4" fmla="*/ 38100 w 70631"/>
                <a:gd name="connsiteY4" fmla="*/ 28769 h 56391"/>
                <a:gd name="connsiteX5" fmla="*/ 51435 w 70631"/>
                <a:gd name="connsiteY5" fmla="*/ 48772 h 56391"/>
                <a:gd name="connsiteX6" fmla="*/ 60960 w 70631"/>
                <a:gd name="connsiteY6" fmla="*/ 56392 h 56391"/>
                <a:gd name="connsiteX7" fmla="*/ 62865 w 70631"/>
                <a:gd name="connsiteY7" fmla="*/ 56392 h 56391"/>
                <a:gd name="connsiteX8" fmla="*/ 70485 w 70631"/>
                <a:gd name="connsiteY8" fmla="*/ 45914 h 56391"/>
                <a:gd name="connsiteX9" fmla="*/ 50482 w 70631"/>
                <a:gd name="connsiteY9" fmla="*/ 13529 h 5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631" h="56391">
                  <a:moveTo>
                    <a:pt x="50482" y="13529"/>
                  </a:moveTo>
                  <a:cubicBezTo>
                    <a:pt x="31432" y="-2663"/>
                    <a:pt x="9525" y="194"/>
                    <a:pt x="8572" y="194"/>
                  </a:cubicBezTo>
                  <a:cubicBezTo>
                    <a:pt x="3810" y="1147"/>
                    <a:pt x="0" y="5909"/>
                    <a:pt x="0" y="10672"/>
                  </a:cubicBezTo>
                  <a:cubicBezTo>
                    <a:pt x="952" y="15434"/>
                    <a:pt x="4763" y="19244"/>
                    <a:pt x="10477" y="19244"/>
                  </a:cubicBezTo>
                  <a:cubicBezTo>
                    <a:pt x="11430" y="19244"/>
                    <a:pt x="24765" y="18292"/>
                    <a:pt x="38100" y="28769"/>
                  </a:cubicBezTo>
                  <a:cubicBezTo>
                    <a:pt x="48577" y="37342"/>
                    <a:pt x="51435" y="48772"/>
                    <a:pt x="51435" y="48772"/>
                  </a:cubicBezTo>
                  <a:cubicBezTo>
                    <a:pt x="52388" y="53534"/>
                    <a:pt x="56197" y="56392"/>
                    <a:pt x="60960" y="56392"/>
                  </a:cubicBezTo>
                  <a:cubicBezTo>
                    <a:pt x="61913" y="56392"/>
                    <a:pt x="61913" y="56392"/>
                    <a:pt x="62865" y="56392"/>
                  </a:cubicBezTo>
                  <a:cubicBezTo>
                    <a:pt x="67627" y="55439"/>
                    <a:pt x="71438" y="50677"/>
                    <a:pt x="70485" y="45914"/>
                  </a:cubicBezTo>
                  <a:cubicBezTo>
                    <a:pt x="70485" y="44009"/>
                    <a:pt x="66675" y="26864"/>
                    <a:pt x="50482" y="13529"/>
                  </a:cubicBezTo>
                  <a:close/>
                </a:path>
              </a:pathLst>
            </a:custGeom>
            <a:solidFill>
              <a:srgbClr val="40AA1D"/>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41C2AE27-67E3-48BF-BD73-6A1E58B23753}"/>
                </a:ext>
              </a:extLst>
            </p:cNvPr>
            <p:cNvSpPr/>
            <p:nvPr/>
          </p:nvSpPr>
          <p:spPr>
            <a:xfrm>
              <a:off x="881213" y="4645615"/>
              <a:ext cx="190338" cy="162107"/>
            </a:xfrm>
            <a:custGeom>
              <a:avLst/>
              <a:gdLst>
                <a:gd name="connsiteX0" fmla="*/ 189832 w 190338"/>
                <a:gd name="connsiteY0" fmla="*/ 110673 h 162107"/>
                <a:gd name="connsiteX1" fmla="*/ 166020 w 190338"/>
                <a:gd name="connsiteY1" fmla="*/ 73525 h 162107"/>
                <a:gd name="connsiteX2" fmla="*/ 136492 w 190338"/>
                <a:gd name="connsiteY2" fmla="*/ 55427 h 162107"/>
                <a:gd name="connsiteX3" fmla="*/ 163162 w 190338"/>
                <a:gd name="connsiteY3" fmla="*/ 11613 h 162107"/>
                <a:gd name="connsiteX4" fmla="*/ 156495 w 190338"/>
                <a:gd name="connsiteY4" fmla="*/ 183 h 162107"/>
                <a:gd name="connsiteX5" fmla="*/ 145065 w 190338"/>
                <a:gd name="connsiteY5" fmla="*/ 6850 h 162107"/>
                <a:gd name="connsiteX6" fmla="*/ 50767 w 190338"/>
                <a:gd name="connsiteY6" fmla="*/ 80193 h 162107"/>
                <a:gd name="connsiteX7" fmla="*/ 285 w 190338"/>
                <a:gd name="connsiteY7" fmla="*/ 153535 h 162107"/>
                <a:gd name="connsiteX8" fmla="*/ 9810 w 190338"/>
                <a:gd name="connsiteY8" fmla="*/ 162108 h 162107"/>
                <a:gd name="connsiteX9" fmla="*/ 10762 w 190338"/>
                <a:gd name="connsiteY9" fmla="*/ 162108 h 162107"/>
                <a:gd name="connsiteX10" fmla="*/ 19335 w 190338"/>
                <a:gd name="connsiteY10" fmla="*/ 151630 h 162107"/>
                <a:gd name="connsiteX11" fmla="*/ 55530 w 190338"/>
                <a:gd name="connsiteY11" fmla="*/ 98290 h 162107"/>
                <a:gd name="connsiteX12" fmla="*/ 120300 w 190338"/>
                <a:gd name="connsiteY12" fmla="*/ 69715 h 162107"/>
                <a:gd name="connsiteX13" fmla="*/ 154590 w 190338"/>
                <a:gd name="connsiteY13" fmla="*/ 87813 h 162107"/>
                <a:gd name="connsiteX14" fmla="*/ 172687 w 190338"/>
                <a:gd name="connsiteY14" fmla="*/ 114483 h 162107"/>
                <a:gd name="connsiteX15" fmla="*/ 182212 w 190338"/>
                <a:gd name="connsiteY15" fmla="*/ 122102 h 162107"/>
                <a:gd name="connsiteX16" fmla="*/ 184117 w 190338"/>
                <a:gd name="connsiteY16" fmla="*/ 122102 h 162107"/>
                <a:gd name="connsiteX17" fmla="*/ 189832 w 190338"/>
                <a:gd name="connsiteY17" fmla="*/ 110673 h 162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338" h="162107">
                  <a:moveTo>
                    <a:pt x="189832" y="110673"/>
                  </a:moveTo>
                  <a:cubicBezTo>
                    <a:pt x="189832" y="109720"/>
                    <a:pt x="185070" y="89718"/>
                    <a:pt x="166020" y="73525"/>
                  </a:cubicBezTo>
                  <a:cubicBezTo>
                    <a:pt x="154590" y="64000"/>
                    <a:pt x="145065" y="58285"/>
                    <a:pt x="136492" y="55427"/>
                  </a:cubicBezTo>
                  <a:cubicBezTo>
                    <a:pt x="157447" y="33520"/>
                    <a:pt x="163162" y="13517"/>
                    <a:pt x="163162" y="11613"/>
                  </a:cubicBezTo>
                  <a:cubicBezTo>
                    <a:pt x="164115" y="6850"/>
                    <a:pt x="161257" y="1135"/>
                    <a:pt x="156495" y="183"/>
                  </a:cubicBezTo>
                  <a:cubicBezTo>
                    <a:pt x="151732" y="-770"/>
                    <a:pt x="146017" y="2088"/>
                    <a:pt x="145065" y="6850"/>
                  </a:cubicBezTo>
                  <a:cubicBezTo>
                    <a:pt x="145065" y="7803"/>
                    <a:pt x="131730" y="60190"/>
                    <a:pt x="50767" y="80193"/>
                  </a:cubicBezTo>
                  <a:cubicBezTo>
                    <a:pt x="5047" y="91623"/>
                    <a:pt x="-1620" y="133533"/>
                    <a:pt x="285" y="153535"/>
                  </a:cubicBezTo>
                  <a:cubicBezTo>
                    <a:pt x="1237" y="158298"/>
                    <a:pt x="5047" y="162108"/>
                    <a:pt x="9810" y="162108"/>
                  </a:cubicBezTo>
                  <a:cubicBezTo>
                    <a:pt x="9810" y="162108"/>
                    <a:pt x="10762" y="162108"/>
                    <a:pt x="10762" y="162108"/>
                  </a:cubicBezTo>
                  <a:cubicBezTo>
                    <a:pt x="15525" y="161155"/>
                    <a:pt x="19335" y="156393"/>
                    <a:pt x="19335" y="151630"/>
                  </a:cubicBezTo>
                  <a:cubicBezTo>
                    <a:pt x="19335" y="149725"/>
                    <a:pt x="14572" y="108768"/>
                    <a:pt x="55530" y="98290"/>
                  </a:cubicBezTo>
                  <a:cubicBezTo>
                    <a:pt x="83152" y="91623"/>
                    <a:pt x="104107" y="81145"/>
                    <a:pt x="120300" y="69715"/>
                  </a:cubicBezTo>
                  <a:cubicBezTo>
                    <a:pt x="126015" y="70668"/>
                    <a:pt x="138397" y="75430"/>
                    <a:pt x="154590" y="87813"/>
                  </a:cubicBezTo>
                  <a:cubicBezTo>
                    <a:pt x="168877" y="99243"/>
                    <a:pt x="172687" y="113530"/>
                    <a:pt x="172687" y="114483"/>
                  </a:cubicBezTo>
                  <a:cubicBezTo>
                    <a:pt x="173640" y="119245"/>
                    <a:pt x="177450" y="122102"/>
                    <a:pt x="182212" y="122102"/>
                  </a:cubicBezTo>
                  <a:cubicBezTo>
                    <a:pt x="183165" y="122102"/>
                    <a:pt x="183165" y="122102"/>
                    <a:pt x="184117" y="122102"/>
                  </a:cubicBezTo>
                  <a:cubicBezTo>
                    <a:pt x="187927" y="121150"/>
                    <a:pt x="191737" y="115435"/>
                    <a:pt x="189832" y="110673"/>
                  </a:cubicBezTo>
                  <a:close/>
                </a:path>
              </a:pathLst>
            </a:custGeom>
            <a:solidFill>
              <a:srgbClr val="40AA1D"/>
            </a:solidFill>
            <a:ln w="9525"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414F6C67-80E6-ED89-25CC-A8851DACA181}"/>
                </a:ext>
              </a:extLst>
            </p:cNvPr>
            <p:cNvSpPr/>
            <p:nvPr/>
          </p:nvSpPr>
          <p:spPr>
            <a:xfrm>
              <a:off x="534788" y="4540070"/>
              <a:ext cx="609600" cy="572452"/>
            </a:xfrm>
            <a:custGeom>
              <a:avLst/>
              <a:gdLst>
                <a:gd name="connsiteX0" fmla="*/ 609600 w 609600"/>
                <a:gd name="connsiteY0" fmla="*/ 237173 h 572452"/>
                <a:gd name="connsiteX1" fmla="*/ 515303 w 609600"/>
                <a:gd name="connsiteY1" fmla="*/ 108585 h 572452"/>
                <a:gd name="connsiteX2" fmla="*/ 403860 w 609600"/>
                <a:gd name="connsiteY2" fmla="*/ 0 h 572452"/>
                <a:gd name="connsiteX3" fmla="*/ 305753 w 609600"/>
                <a:gd name="connsiteY3" fmla="*/ 60960 h 572452"/>
                <a:gd name="connsiteX4" fmla="*/ 207645 w 609600"/>
                <a:gd name="connsiteY4" fmla="*/ 0 h 572452"/>
                <a:gd name="connsiteX5" fmla="*/ 94298 w 609600"/>
                <a:gd name="connsiteY5" fmla="*/ 112395 h 572452"/>
                <a:gd name="connsiteX6" fmla="*/ 94298 w 609600"/>
                <a:gd name="connsiteY6" fmla="*/ 112395 h 572452"/>
                <a:gd name="connsiteX7" fmla="*/ 60008 w 609600"/>
                <a:gd name="connsiteY7" fmla="*/ 184785 h 572452"/>
                <a:gd name="connsiteX8" fmla="*/ 65723 w 609600"/>
                <a:gd name="connsiteY8" fmla="*/ 219075 h 572452"/>
                <a:gd name="connsiteX9" fmla="*/ 0 w 609600"/>
                <a:gd name="connsiteY9" fmla="*/ 336233 h 572452"/>
                <a:gd name="connsiteX10" fmla="*/ 94298 w 609600"/>
                <a:gd name="connsiteY10" fmla="*/ 464820 h 572452"/>
                <a:gd name="connsiteX11" fmla="*/ 206693 w 609600"/>
                <a:gd name="connsiteY11" fmla="*/ 572453 h 572452"/>
                <a:gd name="connsiteX12" fmla="*/ 304800 w 609600"/>
                <a:gd name="connsiteY12" fmla="*/ 511493 h 572452"/>
                <a:gd name="connsiteX13" fmla="*/ 402908 w 609600"/>
                <a:gd name="connsiteY13" fmla="*/ 572453 h 572452"/>
                <a:gd name="connsiteX14" fmla="*/ 515303 w 609600"/>
                <a:gd name="connsiteY14" fmla="*/ 460058 h 572452"/>
                <a:gd name="connsiteX15" fmla="*/ 515303 w 609600"/>
                <a:gd name="connsiteY15" fmla="*/ 460058 h 572452"/>
                <a:gd name="connsiteX16" fmla="*/ 549593 w 609600"/>
                <a:gd name="connsiteY16" fmla="*/ 387668 h 572452"/>
                <a:gd name="connsiteX17" fmla="*/ 543878 w 609600"/>
                <a:gd name="connsiteY17" fmla="*/ 353378 h 572452"/>
                <a:gd name="connsiteX18" fmla="*/ 609600 w 609600"/>
                <a:gd name="connsiteY18" fmla="*/ 237173 h 572452"/>
                <a:gd name="connsiteX19" fmla="*/ 290513 w 609600"/>
                <a:gd name="connsiteY19" fmla="*/ 454343 h 572452"/>
                <a:gd name="connsiteX20" fmla="*/ 206693 w 609600"/>
                <a:gd name="connsiteY20" fmla="*/ 543878 h 572452"/>
                <a:gd name="connsiteX21" fmla="*/ 122873 w 609600"/>
                <a:gd name="connsiteY21" fmla="*/ 461963 h 572452"/>
                <a:gd name="connsiteX22" fmla="*/ 120968 w 609600"/>
                <a:gd name="connsiteY22" fmla="*/ 441960 h 572452"/>
                <a:gd name="connsiteX23" fmla="*/ 101918 w 609600"/>
                <a:gd name="connsiteY23" fmla="*/ 436245 h 572452"/>
                <a:gd name="connsiteX24" fmla="*/ 28575 w 609600"/>
                <a:gd name="connsiteY24" fmla="*/ 336233 h 572452"/>
                <a:gd name="connsiteX25" fmla="*/ 80010 w 609600"/>
                <a:gd name="connsiteY25" fmla="*/ 243840 h 572452"/>
                <a:gd name="connsiteX26" fmla="*/ 100965 w 609600"/>
                <a:gd name="connsiteY26" fmla="*/ 231458 h 572452"/>
                <a:gd name="connsiteX27" fmla="*/ 92393 w 609600"/>
                <a:gd name="connsiteY27" fmla="*/ 208598 h 572452"/>
                <a:gd name="connsiteX28" fmla="*/ 87630 w 609600"/>
                <a:gd name="connsiteY28" fmla="*/ 184785 h 572452"/>
                <a:gd name="connsiteX29" fmla="*/ 111443 w 609600"/>
                <a:gd name="connsiteY29" fmla="*/ 134303 h 572452"/>
                <a:gd name="connsiteX30" fmla="*/ 121920 w 609600"/>
                <a:gd name="connsiteY30" fmla="*/ 125730 h 572452"/>
                <a:gd name="connsiteX31" fmla="*/ 121920 w 609600"/>
                <a:gd name="connsiteY31" fmla="*/ 113348 h 572452"/>
                <a:gd name="connsiteX32" fmla="*/ 205740 w 609600"/>
                <a:gd name="connsiteY32" fmla="*/ 28575 h 572452"/>
                <a:gd name="connsiteX33" fmla="*/ 289560 w 609600"/>
                <a:gd name="connsiteY33" fmla="*/ 118110 h 572452"/>
                <a:gd name="connsiteX34" fmla="*/ 289560 w 609600"/>
                <a:gd name="connsiteY34" fmla="*/ 454343 h 572452"/>
                <a:gd name="connsiteX35" fmla="*/ 529590 w 609600"/>
                <a:gd name="connsiteY35" fmla="*/ 329565 h 572452"/>
                <a:gd name="connsiteX36" fmla="*/ 508635 w 609600"/>
                <a:gd name="connsiteY36" fmla="*/ 341948 h 572452"/>
                <a:gd name="connsiteX37" fmla="*/ 517208 w 609600"/>
                <a:gd name="connsiteY37" fmla="*/ 364808 h 572452"/>
                <a:gd name="connsiteX38" fmla="*/ 521970 w 609600"/>
                <a:gd name="connsiteY38" fmla="*/ 388620 h 572452"/>
                <a:gd name="connsiteX39" fmla="*/ 498158 w 609600"/>
                <a:gd name="connsiteY39" fmla="*/ 439103 h 572452"/>
                <a:gd name="connsiteX40" fmla="*/ 487680 w 609600"/>
                <a:gd name="connsiteY40" fmla="*/ 447675 h 572452"/>
                <a:gd name="connsiteX41" fmla="*/ 487680 w 609600"/>
                <a:gd name="connsiteY41" fmla="*/ 460058 h 572452"/>
                <a:gd name="connsiteX42" fmla="*/ 403860 w 609600"/>
                <a:gd name="connsiteY42" fmla="*/ 544830 h 572452"/>
                <a:gd name="connsiteX43" fmla="*/ 320040 w 609600"/>
                <a:gd name="connsiteY43" fmla="*/ 455295 h 572452"/>
                <a:gd name="connsiteX44" fmla="*/ 320040 w 609600"/>
                <a:gd name="connsiteY44" fmla="*/ 119063 h 572452"/>
                <a:gd name="connsiteX45" fmla="*/ 403860 w 609600"/>
                <a:gd name="connsiteY45" fmla="*/ 29528 h 572452"/>
                <a:gd name="connsiteX46" fmla="*/ 487680 w 609600"/>
                <a:gd name="connsiteY46" fmla="*/ 111443 h 572452"/>
                <a:gd name="connsiteX47" fmla="*/ 489585 w 609600"/>
                <a:gd name="connsiteY47" fmla="*/ 131445 h 572452"/>
                <a:gd name="connsiteX48" fmla="*/ 508635 w 609600"/>
                <a:gd name="connsiteY48" fmla="*/ 137160 h 572452"/>
                <a:gd name="connsiteX49" fmla="*/ 581978 w 609600"/>
                <a:gd name="connsiteY49" fmla="*/ 238125 h 572452"/>
                <a:gd name="connsiteX50" fmla="*/ 529590 w 609600"/>
                <a:gd name="connsiteY50" fmla="*/ 329565 h 572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600" h="572452">
                  <a:moveTo>
                    <a:pt x="609600" y="237173"/>
                  </a:moveTo>
                  <a:cubicBezTo>
                    <a:pt x="609600" y="175260"/>
                    <a:pt x="569595" y="122873"/>
                    <a:pt x="515303" y="108585"/>
                  </a:cubicBezTo>
                  <a:cubicBezTo>
                    <a:pt x="510540" y="47625"/>
                    <a:pt x="462915" y="0"/>
                    <a:pt x="403860" y="0"/>
                  </a:cubicBezTo>
                  <a:cubicBezTo>
                    <a:pt x="361950" y="0"/>
                    <a:pt x="324803" y="24765"/>
                    <a:pt x="305753" y="60960"/>
                  </a:cubicBezTo>
                  <a:cubicBezTo>
                    <a:pt x="286703" y="24765"/>
                    <a:pt x="249555" y="0"/>
                    <a:pt x="207645" y="0"/>
                  </a:cubicBezTo>
                  <a:cubicBezTo>
                    <a:pt x="147638" y="0"/>
                    <a:pt x="99060" y="48578"/>
                    <a:pt x="94298" y="112395"/>
                  </a:cubicBezTo>
                  <a:cubicBezTo>
                    <a:pt x="94298" y="112395"/>
                    <a:pt x="94298" y="112395"/>
                    <a:pt x="94298" y="112395"/>
                  </a:cubicBezTo>
                  <a:cubicBezTo>
                    <a:pt x="73343" y="129540"/>
                    <a:pt x="60008" y="155258"/>
                    <a:pt x="60008" y="184785"/>
                  </a:cubicBezTo>
                  <a:cubicBezTo>
                    <a:pt x="60008" y="197168"/>
                    <a:pt x="61913" y="208598"/>
                    <a:pt x="65723" y="219075"/>
                  </a:cubicBezTo>
                  <a:cubicBezTo>
                    <a:pt x="27623" y="241935"/>
                    <a:pt x="0" y="285750"/>
                    <a:pt x="0" y="336233"/>
                  </a:cubicBezTo>
                  <a:cubicBezTo>
                    <a:pt x="0" y="398145"/>
                    <a:pt x="40005" y="450533"/>
                    <a:pt x="94298" y="464820"/>
                  </a:cubicBezTo>
                  <a:cubicBezTo>
                    <a:pt x="99060" y="525780"/>
                    <a:pt x="147638" y="572453"/>
                    <a:pt x="206693" y="572453"/>
                  </a:cubicBezTo>
                  <a:cubicBezTo>
                    <a:pt x="248603" y="572453"/>
                    <a:pt x="285750" y="547688"/>
                    <a:pt x="304800" y="511493"/>
                  </a:cubicBezTo>
                  <a:cubicBezTo>
                    <a:pt x="323850" y="547688"/>
                    <a:pt x="360998" y="572453"/>
                    <a:pt x="402908" y="572453"/>
                  </a:cubicBezTo>
                  <a:cubicBezTo>
                    <a:pt x="461963" y="572453"/>
                    <a:pt x="510540" y="523875"/>
                    <a:pt x="515303" y="460058"/>
                  </a:cubicBezTo>
                  <a:cubicBezTo>
                    <a:pt x="515303" y="460058"/>
                    <a:pt x="515303" y="460058"/>
                    <a:pt x="515303" y="460058"/>
                  </a:cubicBezTo>
                  <a:cubicBezTo>
                    <a:pt x="536258" y="442913"/>
                    <a:pt x="549593" y="417195"/>
                    <a:pt x="549593" y="387668"/>
                  </a:cubicBezTo>
                  <a:cubicBezTo>
                    <a:pt x="549593" y="375285"/>
                    <a:pt x="547688" y="363855"/>
                    <a:pt x="543878" y="353378"/>
                  </a:cubicBezTo>
                  <a:cubicBezTo>
                    <a:pt x="582930" y="331470"/>
                    <a:pt x="609600" y="287655"/>
                    <a:pt x="609600" y="237173"/>
                  </a:cubicBezTo>
                  <a:close/>
                  <a:moveTo>
                    <a:pt x="290513" y="454343"/>
                  </a:moveTo>
                  <a:cubicBezTo>
                    <a:pt x="290513" y="503873"/>
                    <a:pt x="252413" y="543878"/>
                    <a:pt x="206693" y="543878"/>
                  </a:cubicBezTo>
                  <a:cubicBezTo>
                    <a:pt x="163830" y="543878"/>
                    <a:pt x="126683" y="507683"/>
                    <a:pt x="122873" y="461963"/>
                  </a:cubicBezTo>
                  <a:lnTo>
                    <a:pt x="120968" y="441960"/>
                  </a:lnTo>
                  <a:lnTo>
                    <a:pt x="101918" y="436245"/>
                  </a:lnTo>
                  <a:cubicBezTo>
                    <a:pt x="59055" y="425768"/>
                    <a:pt x="28575" y="383858"/>
                    <a:pt x="28575" y="336233"/>
                  </a:cubicBezTo>
                  <a:cubicBezTo>
                    <a:pt x="28575" y="297180"/>
                    <a:pt x="48578" y="261938"/>
                    <a:pt x="80010" y="243840"/>
                  </a:cubicBezTo>
                  <a:lnTo>
                    <a:pt x="100965" y="231458"/>
                  </a:lnTo>
                  <a:lnTo>
                    <a:pt x="92393" y="208598"/>
                  </a:lnTo>
                  <a:cubicBezTo>
                    <a:pt x="89535" y="200978"/>
                    <a:pt x="87630" y="193358"/>
                    <a:pt x="87630" y="184785"/>
                  </a:cubicBezTo>
                  <a:cubicBezTo>
                    <a:pt x="87630" y="164783"/>
                    <a:pt x="96203" y="146685"/>
                    <a:pt x="111443" y="134303"/>
                  </a:cubicBezTo>
                  <a:lnTo>
                    <a:pt x="121920" y="125730"/>
                  </a:lnTo>
                  <a:lnTo>
                    <a:pt x="121920" y="113348"/>
                  </a:lnTo>
                  <a:cubicBezTo>
                    <a:pt x="125730" y="64770"/>
                    <a:pt x="161925" y="28575"/>
                    <a:pt x="205740" y="28575"/>
                  </a:cubicBezTo>
                  <a:cubicBezTo>
                    <a:pt x="252413" y="28575"/>
                    <a:pt x="289560" y="68580"/>
                    <a:pt x="289560" y="118110"/>
                  </a:cubicBezTo>
                  <a:lnTo>
                    <a:pt x="289560" y="454343"/>
                  </a:lnTo>
                  <a:close/>
                  <a:moveTo>
                    <a:pt x="529590" y="329565"/>
                  </a:moveTo>
                  <a:lnTo>
                    <a:pt x="508635" y="341948"/>
                  </a:lnTo>
                  <a:lnTo>
                    <a:pt x="517208" y="364808"/>
                  </a:lnTo>
                  <a:cubicBezTo>
                    <a:pt x="520065" y="372428"/>
                    <a:pt x="521970" y="380048"/>
                    <a:pt x="521970" y="388620"/>
                  </a:cubicBezTo>
                  <a:cubicBezTo>
                    <a:pt x="521970" y="408623"/>
                    <a:pt x="513398" y="426720"/>
                    <a:pt x="498158" y="439103"/>
                  </a:cubicBezTo>
                  <a:lnTo>
                    <a:pt x="487680" y="447675"/>
                  </a:lnTo>
                  <a:lnTo>
                    <a:pt x="487680" y="460058"/>
                  </a:lnTo>
                  <a:cubicBezTo>
                    <a:pt x="483870" y="508635"/>
                    <a:pt x="447675" y="544830"/>
                    <a:pt x="403860" y="544830"/>
                  </a:cubicBezTo>
                  <a:cubicBezTo>
                    <a:pt x="357188" y="544830"/>
                    <a:pt x="320040" y="504825"/>
                    <a:pt x="320040" y="455295"/>
                  </a:cubicBezTo>
                  <a:lnTo>
                    <a:pt x="320040" y="119063"/>
                  </a:lnTo>
                  <a:cubicBezTo>
                    <a:pt x="320040" y="69533"/>
                    <a:pt x="358140" y="29528"/>
                    <a:pt x="403860" y="29528"/>
                  </a:cubicBezTo>
                  <a:cubicBezTo>
                    <a:pt x="446723" y="29528"/>
                    <a:pt x="483870" y="65723"/>
                    <a:pt x="487680" y="111443"/>
                  </a:cubicBezTo>
                  <a:lnTo>
                    <a:pt x="489585" y="131445"/>
                  </a:lnTo>
                  <a:lnTo>
                    <a:pt x="508635" y="137160"/>
                  </a:lnTo>
                  <a:cubicBezTo>
                    <a:pt x="551498" y="148590"/>
                    <a:pt x="581978" y="190500"/>
                    <a:pt x="581978" y="238125"/>
                  </a:cubicBezTo>
                  <a:cubicBezTo>
                    <a:pt x="581025" y="275273"/>
                    <a:pt x="561975" y="311468"/>
                    <a:pt x="529590" y="329565"/>
                  </a:cubicBezTo>
                  <a:close/>
                </a:path>
              </a:pathLst>
            </a:custGeom>
            <a:solidFill>
              <a:srgbClr val="3D4647"/>
            </a:solidFill>
            <a:ln w="9525" cap="flat">
              <a:noFill/>
              <a:prstDash val="solid"/>
              <a:miter/>
            </a:ln>
          </p:spPr>
          <p:txBody>
            <a:bodyPr rtlCol="0" anchor="ctr"/>
            <a:lstStyle/>
            <a:p>
              <a:endParaRPr lang="en-US" dirty="0"/>
            </a:p>
          </p:txBody>
        </p:sp>
      </p:grpSp>
      <p:sp>
        <p:nvSpPr>
          <p:cNvPr id="164" name="TextBox 163">
            <a:extLst>
              <a:ext uri="{FF2B5EF4-FFF2-40B4-BE49-F238E27FC236}">
                <a16:creationId xmlns:a16="http://schemas.microsoft.com/office/drawing/2014/main" id="{18B590B1-D26F-5CA6-E720-C0E68CA69362}"/>
              </a:ext>
            </a:extLst>
          </p:cNvPr>
          <p:cNvSpPr txBox="1"/>
          <p:nvPr/>
        </p:nvSpPr>
        <p:spPr>
          <a:xfrm>
            <a:off x="572688" y="4195901"/>
            <a:ext cx="5338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rain</a:t>
            </a:r>
          </a:p>
        </p:txBody>
      </p:sp>
      <p:sp>
        <p:nvSpPr>
          <p:cNvPr id="4" name="Rectangle 3">
            <a:extLst>
              <a:ext uri="{FF2B5EF4-FFF2-40B4-BE49-F238E27FC236}">
                <a16:creationId xmlns:a16="http://schemas.microsoft.com/office/drawing/2014/main" id="{F552DCEB-C186-39AB-3BE4-8F2B37E73888}"/>
              </a:ext>
            </a:extLst>
          </p:cNvPr>
          <p:cNvSpPr/>
          <p:nvPr/>
        </p:nvSpPr>
        <p:spPr>
          <a:xfrm>
            <a:off x="502478" y="1196438"/>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Technology</a:t>
            </a:r>
          </a:p>
        </p:txBody>
      </p:sp>
      <p:sp>
        <p:nvSpPr>
          <p:cNvPr id="69" name="TextBox 68">
            <a:extLst>
              <a:ext uri="{FF2B5EF4-FFF2-40B4-BE49-F238E27FC236}">
                <a16:creationId xmlns:a16="http://schemas.microsoft.com/office/drawing/2014/main" id="{D0AECEAA-0E5E-AA29-EBCA-B33A694A69AE}"/>
              </a:ext>
            </a:extLst>
          </p:cNvPr>
          <p:cNvSpPr txBox="1"/>
          <p:nvPr/>
        </p:nvSpPr>
        <p:spPr>
          <a:xfrm>
            <a:off x="8791590" y="4195901"/>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Versioning </a:t>
            </a:r>
          </a:p>
        </p:txBody>
      </p:sp>
      <p:sp>
        <p:nvSpPr>
          <p:cNvPr id="84" name="TextBox 83">
            <a:extLst>
              <a:ext uri="{FF2B5EF4-FFF2-40B4-BE49-F238E27FC236}">
                <a16:creationId xmlns:a16="http://schemas.microsoft.com/office/drawing/2014/main" id="{1EBAFEBC-7ACD-EF76-19AF-E8F0D80B90C6}"/>
              </a:ext>
            </a:extLst>
          </p:cNvPr>
          <p:cNvSpPr txBox="1"/>
          <p:nvPr/>
        </p:nvSpPr>
        <p:spPr>
          <a:xfrm>
            <a:off x="9845019" y="4195901"/>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emplates </a:t>
            </a:r>
          </a:p>
        </p:txBody>
      </p:sp>
      <p:pic>
        <p:nvPicPr>
          <p:cNvPr id="88" name="Graphic 87">
            <a:extLst>
              <a:ext uri="{FF2B5EF4-FFF2-40B4-BE49-F238E27FC236}">
                <a16:creationId xmlns:a16="http://schemas.microsoft.com/office/drawing/2014/main" id="{10C52DEA-0E21-1204-CE34-86E9C185736C}"/>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9997419" y="4436248"/>
            <a:ext cx="609600" cy="781050"/>
          </a:xfrm>
          <a:prstGeom prst="rect">
            <a:avLst/>
          </a:prstGeom>
        </p:spPr>
      </p:pic>
      <p:pic>
        <p:nvPicPr>
          <p:cNvPr id="90" name="Graphic 89">
            <a:extLst>
              <a:ext uri="{FF2B5EF4-FFF2-40B4-BE49-F238E27FC236}">
                <a16:creationId xmlns:a16="http://schemas.microsoft.com/office/drawing/2014/main" id="{6091C8E7-7527-1CF1-6175-6441981B9F87}"/>
              </a:ext>
            </a:extLst>
          </p:cNvPr>
          <p:cNvPicPr>
            <a:picLocks noChangeAspect="1"/>
          </p:cNvPicPr>
          <p:nvPr/>
        </p:nvPicPr>
        <p:blipFill>
          <a:blip r:embed="rId71">
            <a:extLst>
              <a:ext uri="{28A0092B-C50C-407E-A947-70E740481C1C}">
                <a14:useLocalDpi xmlns:a14="http://schemas.microsoft.com/office/drawing/2010/main" val="0"/>
              </a:ext>
              <a:ext uri="{96DAC541-7B7A-43D3-8B79-37D633B846F1}">
                <asvg:svgBlip xmlns:asvg="http://schemas.microsoft.com/office/drawing/2016/SVG/main" r:embed="rId72"/>
              </a:ext>
            </a:extLst>
          </a:blip>
          <a:stretch>
            <a:fillRect/>
          </a:stretch>
        </p:blipFill>
        <p:spPr>
          <a:xfrm>
            <a:off x="8812545" y="4521973"/>
            <a:ext cx="781050" cy="609600"/>
          </a:xfrm>
          <a:prstGeom prst="rect">
            <a:avLst/>
          </a:prstGeom>
        </p:spPr>
      </p:pic>
      <p:sp>
        <p:nvSpPr>
          <p:cNvPr id="96" name="TextBox 95">
            <a:extLst>
              <a:ext uri="{FF2B5EF4-FFF2-40B4-BE49-F238E27FC236}">
                <a16:creationId xmlns:a16="http://schemas.microsoft.com/office/drawing/2014/main" id="{2B190763-7E2B-27E4-69F0-A4F1F4C37714}"/>
              </a:ext>
            </a:extLst>
          </p:cNvPr>
          <p:cNvSpPr txBox="1"/>
          <p:nvPr/>
        </p:nvSpPr>
        <p:spPr>
          <a:xfrm>
            <a:off x="4014863" y="2753287"/>
            <a:ext cx="1242444"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utomated Code Synchronization</a:t>
            </a:r>
          </a:p>
        </p:txBody>
      </p:sp>
      <p:pic>
        <p:nvPicPr>
          <p:cNvPr id="98" name="Graphic 97">
            <a:extLst>
              <a:ext uri="{FF2B5EF4-FFF2-40B4-BE49-F238E27FC236}">
                <a16:creationId xmlns:a16="http://schemas.microsoft.com/office/drawing/2014/main" id="{5BF281FA-20DB-D1AA-6C47-8462BAF6F362}"/>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4245560" y="3218472"/>
            <a:ext cx="781050" cy="609600"/>
          </a:xfrm>
          <a:prstGeom prst="rect">
            <a:avLst/>
          </a:prstGeom>
        </p:spPr>
      </p:pic>
      <p:pic>
        <p:nvPicPr>
          <p:cNvPr id="6" name="Graphic 5">
            <a:extLst>
              <a:ext uri="{FF2B5EF4-FFF2-40B4-BE49-F238E27FC236}">
                <a16:creationId xmlns:a16="http://schemas.microsoft.com/office/drawing/2014/main" id="{FF80F506-3340-5BF1-F5BE-BAE5189D5E4C}"/>
              </a:ext>
            </a:extLst>
          </p:cNvPr>
          <p:cNvPicPr>
            <a:picLocks noChangeAspect="1"/>
          </p:cNvPicPr>
          <p:nvPr/>
        </p:nvPicPr>
        <p:blipFill>
          <a:blip r:embed="rId75">
            <a:extLst>
              <a:ext uri="{96DAC541-7B7A-43D3-8B79-37D633B846F1}">
                <asvg:svgBlip xmlns:asvg="http://schemas.microsoft.com/office/drawing/2016/SVG/main" r:embed="rId76"/>
              </a:ext>
            </a:extLst>
          </a:blip>
          <a:stretch>
            <a:fillRect/>
          </a:stretch>
        </p:blipFill>
        <p:spPr>
          <a:xfrm>
            <a:off x="481340" y="5838740"/>
            <a:ext cx="695325" cy="609600"/>
          </a:xfrm>
          <a:prstGeom prst="rect">
            <a:avLst/>
          </a:prstGeom>
        </p:spPr>
      </p:pic>
    </p:spTree>
    <p:extLst>
      <p:ext uri="{BB962C8B-B14F-4D97-AF65-F5344CB8AC3E}">
        <p14:creationId xmlns:p14="http://schemas.microsoft.com/office/powerpoint/2010/main" val="283296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F8EB5B-7FE6-0E8D-D316-7889D17A91BB}"/>
              </a:ext>
            </a:extLst>
          </p:cNvPr>
          <p:cNvSpPr>
            <a:spLocks noGrp="1"/>
          </p:cNvSpPr>
          <p:nvPr>
            <p:ph type="title"/>
          </p:nvPr>
        </p:nvSpPr>
        <p:spPr>
          <a:xfrm>
            <a:off x="490760" y="547539"/>
            <a:ext cx="10789920" cy="369332"/>
          </a:xfrm>
        </p:spPr>
        <p:txBody>
          <a:bodyPr/>
          <a:lstStyle/>
          <a:p>
            <a:r>
              <a:rPr lang="en-US" dirty="0"/>
              <a:t>PTC ICONS  </a:t>
            </a:r>
          </a:p>
        </p:txBody>
      </p:sp>
      <p:sp>
        <p:nvSpPr>
          <p:cNvPr id="58" name="Text Placeholder 81">
            <a:extLst>
              <a:ext uri="{FF2B5EF4-FFF2-40B4-BE49-F238E27FC236}">
                <a16:creationId xmlns:a16="http://schemas.microsoft.com/office/drawing/2014/main" id="{A7938B4F-89B4-DDE0-9FD4-C6A1A0560AF1}"/>
              </a:ext>
            </a:extLst>
          </p:cNvPr>
          <p:cNvSpPr txBox="1">
            <a:spLocks/>
          </p:cNvSpPr>
          <p:nvPr/>
        </p:nvSpPr>
        <p:spPr>
          <a:xfrm>
            <a:off x="6856477" y="1606304"/>
            <a:ext cx="9228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upply Chain</a:t>
            </a:r>
          </a:p>
        </p:txBody>
      </p:sp>
      <p:pic>
        <p:nvPicPr>
          <p:cNvPr id="59" name="Graphic 58">
            <a:extLst>
              <a:ext uri="{FF2B5EF4-FFF2-40B4-BE49-F238E27FC236}">
                <a16:creationId xmlns:a16="http://schemas.microsoft.com/office/drawing/2014/main" id="{05A5DA34-CE0D-5EDF-965D-0FFCF31C6A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29871" y="1924230"/>
            <a:ext cx="664091" cy="612648"/>
          </a:xfrm>
          <a:prstGeom prst="rect">
            <a:avLst/>
          </a:prstGeom>
        </p:spPr>
      </p:pic>
      <p:sp>
        <p:nvSpPr>
          <p:cNvPr id="60" name="TextBox 59">
            <a:extLst>
              <a:ext uri="{FF2B5EF4-FFF2-40B4-BE49-F238E27FC236}">
                <a16:creationId xmlns:a16="http://schemas.microsoft.com/office/drawing/2014/main" id="{0314AB73-A5A6-CFE4-DAB5-1C39C8A148FC}"/>
              </a:ext>
            </a:extLst>
          </p:cNvPr>
          <p:cNvSpPr txBox="1"/>
          <p:nvPr/>
        </p:nvSpPr>
        <p:spPr>
          <a:xfrm>
            <a:off x="419569" y="1606304"/>
            <a:ext cx="123108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xpand, Scale</a:t>
            </a:r>
          </a:p>
        </p:txBody>
      </p:sp>
      <p:sp>
        <p:nvSpPr>
          <p:cNvPr id="61" name="Text Placeholder 81">
            <a:extLst>
              <a:ext uri="{FF2B5EF4-FFF2-40B4-BE49-F238E27FC236}">
                <a16:creationId xmlns:a16="http://schemas.microsoft.com/office/drawing/2014/main" id="{370F7A16-7866-4F1D-AE86-BFE91491540A}"/>
              </a:ext>
            </a:extLst>
          </p:cNvPr>
          <p:cNvSpPr txBox="1">
            <a:spLocks/>
          </p:cNvSpPr>
          <p:nvPr/>
        </p:nvSpPr>
        <p:spPr>
          <a:xfrm>
            <a:off x="408573" y="2933153"/>
            <a:ext cx="125308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dditive</a:t>
            </a:r>
            <a:br>
              <a:rPr lang="en-US" dirty="0"/>
            </a:br>
            <a:r>
              <a:rPr lang="en-US" dirty="0"/>
              <a:t> Manufacturing</a:t>
            </a:r>
          </a:p>
        </p:txBody>
      </p:sp>
      <p:pic>
        <p:nvPicPr>
          <p:cNvPr id="62" name="Graphic 61">
            <a:extLst>
              <a:ext uri="{FF2B5EF4-FFF2-40B4-BE49-F238E27FC236}">
                <a16:creationId xmlns:a16="http://schemas.microsoft.com/office/drawing/2014/main" id="{0E41EC69-1AB7-6275-817E-373F7CCEFBB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0313" y="3356003"/>
            <a:ext cx="609600" cy="609600"/>
          </a:xfrm>
          <a:prstGeom prst="rect">
            <a:avLst/>
          </a:prstGeom>
        </p:spPr>
      </p:pic>
      <p:sp>
        <p:nvSpPr>
          <p:cNvPr id="65" name="Text Placeholder 81">
            <a:extLst>
              <a:ext uri="{FF2B5EF4-FFF2-40B4-BE49-F238E27FC236}">
                <a16:creationId xmlns:a16="http://schemas.microsoft.com/office/drawing/2014/main" id="{CC02E783-9F0E-6476-E84A-A55A3EDB6469}"/>
              </a:ext>
            </a:extLst>
          </p:cNvPr>
          <p:cNvSpPr txBox="1">
            <a:spLocks/>
          </p:cNvSpPr>
          <p:nvPr/>
        </p:nvSpPr>
        <p:spPr>
          <a:xfrm>
            <a:off x="1721298" y="2933153"/>
            <a:ext cx="1281578"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iltration, Funnel,   </a:t>
            </a:r>
            <a:br>
              <a:rPr lang="en-US" dirty="0"/>
            </a:br>
            <a:r>
              <a:rPr lang="en-US" dirty="0"/>
              <a:t>Throughput </a:t>
            </a:r>
          </a:p>
        </p:txBody>
      </p:sp>
      <p:sp>
        <p:nvSpPr>
          <p:cNvPr id="66" name="object 13">
            <a:extLst>
              <a:ext uri="{FF2B5EF4-FFF2-40B4-BE49-F238E27FC236}">
                <a16:creationId xmlns:a16="http://schemas.microsoft.com/office/drawing/2014/main" id="{A69EAE97-8021-F82D-0397-F59A23FE9820}"/>
              </a:ext>
            </a:extLst>
          </p:cNvPr>
          <p:cNvSpPr txBox="1"/>
          <p:nvPr/>
        </p:nvSpPr>
        <p:spPr>
          <a:xfrm>
            <a:off x="5637057" y="1606304"/>
            <a:ext cx="7315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roduct</a:t>
            </a:r>
          </a:p>
        </p:txBody>
      </p:sp>
      <p:sp>
        <p:nvSpPr>
          <p:cNvPr id="67" name="object 25">
            <a:extLst>
              <a:ext uri="{FF2B5EF4-FFF2-40B4-BE49-F238E27FC236}">
                <a16:creationId xmlns:a16="http://schemas.microsoft.com/office/drawing/2014/main" id="{2A1DD660-B9F3-16D6-2C81-4CC369233445}"/>
              </a:ext>
            </a:extLst>
          </p:cNvPr>
          <p:cNvSpPr txBox="1"/>
          <p:nvPr/>
        </p:nvSpPr>
        <p:spPr>
          <a:xfrm>
            <a:off x="10737859" y="1537054"/>
            <a:ext cx="125470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roduct</a:t>
            </a:r>
            <a:r>
              <a:rPr lang="en-US" dirty="0"/>
              <a:t> </a:t>
            </a:r>
            <a:r>
              <a:rPr dirty="0"/>
              <a:t>Line</a:t>
            </a:r>
            <a:r>
              <a:rPr lang="en-US" dirty="0"/>
              <a:t> </a:t>
            </a:r>
            <a:br>
              <a:rPr lang="en-US" dirty="0"/>
            </a:br>
            <a:r>
              <a:rPr dirty="0"/>
              <a:t>Manag</a:t>
            </a:r>
            <a:r>
              <a:rPr lang="en-US" dirty="0"/>
              <a:t>ement</a:t>
            </a:r>
            <a:endParaRPr dirty="0"/>
          </a:p>
        </p:txBody>
      </p:sp>
      <p:sp>
        <p:nvSpPr>
          <p:cNvPr id="87" name="object 17">
            <a:extLst>
              <a:ext uri="{FF2B5EF4-FFF2-40B4-BE49-F238E27FC236}">
                <a16:creationId xmlns:a16="http://schemas.microsoft.com/office/drawing/2014/main" id="{A7959366-E4BB-DD38-DF8D-D5D6ADCDB742}"/>
              </a:ext>
            </a:extLst>
          </p:cNvPr>
          <p:cNvSpPr txBox="1"/>
          <p:nvPr/>
        </p:nvSpPr>
        <p:spPr>
          <a:xfrm>
            <a:off x="9412673" y="1537054"/>
            <a:ext cx="124587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auge, Screening Levels</a:t>
            </a:r>
            <a:endParaRPr dirty="0"/>
          </a:p>
        </p:txBody>
      </p:sp>
      <p:sp>
        <p:nvSpPr>
          <p:cNvPr id="88" name="object 7">
            <a:extLst>
              <a:ext uri="{FF2B5EF4-FFF2-40B4-BE49-F238E27FC236}">
                <a16:creationId xmlns:a16="http://schemas.microsoft.com/office/drawing/2014/main" id="{35B29249-CC99-82F7-87D1-28975F1AEAF1}"/>
              </a:ext>
            </a:extLst>
          </p:cNvPr>
          <p:cNvSpPr txBox="1"/>
          <p:nvPr/>
        </p:nvSpPr>
        <p:spPr>
          <a:xfrm>
            <a:off x="8077704" y="1537054"/>
            <a:ext cx="112927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elease</a:t>
            </a:r>
            <a:r>
              <a:rPr lang="en-US" dirty="0"/>
              <a:t> </a:t>
            </a:r>
            <a:br>
              <a:rPr lang="en-US" dirty="0"/>
            </a:br>
            <a:r>
              <a:rPr dirty="0"/>
              <a:t>Manageme</a:t>
            </a:r>
            <a:r>
              <a:rPr lang="en-US" dirty="0"/>
              <a:t>nt</a:t>
            </a:r>
            <a:endParaRPr dirty="0"/>
          </a:p>
        </p:txBody>
      </p:sp>
      <p:sp>
        <p:nvSpPr>
          <p:cNvPr id="89" name="object 11">
            <a:extLst>
              <a:ext uri="{FF2B5EF4-FFF2-40B4-BE49-F238E27FC236}">
                <a16:creationId xmlns:a16="http://schemas.microsoft.com/office/drawing/2014/main" id="{9BD3EE27-9582-64AB-082D-EE4FA393D473}"/>
              </a:ext>
            </a:extLst>
          </p:cNvPr>
          <p:cNvSpPr txBox="1"/>
          <p:nvPr/>
        </p:nvSpPr>
        <p:spPr>
          <a:xfrm>
            <a:off x="3160099" y="2933153"/>
            <a:ext cx="86430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isk</a:t>
            </a:r>
            <a:r>
              <a:rPr lang="en-US" dirty="0"/>
              <a:t> </a:t>
            </a:r>
            <a:r>
              <a:rPr dirty="0"/>
              <a:t>Management</a:t>
            </a:r>
          </a:p>
        </p:txBody>
      </p:sp>
      <p:sp>
        <p:nvSpPr>
          <p:cNvPr id="90" name="object 23">
            <a:extLst>
              <a:ext uri="{FF2B5EF4-FFF2-40B4-BE49-F238E27FC236}">
                <a16:creationId xmlns:a16="http://schemas.microsoft.com/office/drawing/2014/main" id="{B8C8C718-6057-1340-C338-B8AFE420F5C3}"/>
              </a:ext>
            </a:extLst>
          </p:cNvPr>
          <p:cNvSpPr txBox="1"/>
          <p:nvPr/>
        </p:nvSpPr>
        <p:spPr>
          <a:xfrm>
            <a:off x="4474576" y="3002403"/>
            <a:ext cx="93473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isk</a:t>
            </a:r>
            <a:r>
              <a:rPr lang="en-US" dirty="0"/>
              <a:t> </a:t>
            </a:r>
            <a:r>
              <a:rPr dirty="0"/>
              <a:t>Matrix</a:t>
            </a:r>
          </a:p>
        </p:txBody>
      </p:sp>
      <p:sp>
        <p:nvSpPr>
          <p:cNvPr id="92" name="object 9">
            <a:extLst>
              <a:ext uri="{FF2B5EF4-FFF2-40B4-BE49-F238E27FC236}">
                <a16:creationId xmlns:a16="http://schemas.microsoft.com/office/drawing/2014/main" id="{EDCCCAFA-69C5-A264-8399-78C6B76CCE16}"/>
              </a:ext>
            </a:extLst>
          </p:cNvPr>
          <p:cNvSpPr txBox="1"/>
          <p:nvPr/>
        </p:nvSpPr>
        <p:spPr>
          <a:xfrm>
            <a:off x="6656718" y="4286572"/>
            <a:ext cx="1089501"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ariability</a:t>
            </a:r>
            <a:r>
              <a:rPr lang="en-US" dirty="0"/>
              <a:t> </a:t>
            </a:r>
            <a:r>
              <a:rPr dirty="0"/>
              <a:t>Modeling</a:t>
            </a:r>
          </a:p>
        </p:txBody>
      </p:sp>
      <p:sp>
        <p:nvSpPr>
          <p:cNvPr id="93" name="Rectangle 92">
            <a:extLst>
              <a:ext uri="{FF2B5EF4-FFF2-40B4-BE49-F238E27FC236}">
                <a16:creationId xmlns:a16="http://schemas.microsoft.com/office/drawing/2014/main" id="{0923A72F-EBB1-0E98-36FA-B581BDA8811A}"/>
              </a:ext>
            </a:extLst>
          </p:cNvPr>
          <p:cNvSpPr/>
          <p:nvPr/>
        </p:nvSpPr>
        <p:spPr>
          <a:xfrm>
            <a:off x="502478" y="1196438"/>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Manufacturing / Production  </a:t>
            </a:r>
          </a:p>
        </p:txBody>
      </p:sp>
      <p:pic>
        <p:nvPicPr>
          <p:cNvPr id="96" name="Graphic 95">
            <a:extLst>
              <a:ext uri="{FF2B5EF4-FFF2-40B4-BE49-F238E27FC236}">
                <a16:creationId xmlns:a16="http://schemas.microsoft.com/office/drawing/2014/main" id="{AC47675E-83C7-DD96-3E20-DEF696281E67}"/>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17949" b="22854"/>
          <a:stretch/>
        </p:blipFill>
        <p:spPr>
          <a:xfrm>
            <a:off x="9559486" y="1986971"/>
            <a:ext cx="822960" cy="487166"/>
          </a:xfrm>
          <a:prstGeom prst="rect">
            <a:avLst/>
          </a:prstGeom>
        </p:spPr>
      </p:pic>
      <p:pic>
        <p:nvPicPr>
          <p:cNvPr id="97" name="Graphic 96">
            <a:extLst>
              <a:ext uri="{FF2B5EF4-FFF2-40B4-BE49-F238E27FC236}">
                <a16:creationId xmlns:a16="http://schemas.microsoft.com/office/drawing/2014/main" id="{665EB832-9929-6186-F378-5212041942E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77861" y="1925754"/>
            <a:ext cx="774700" cy="609600"/>
          </a:xfrm>
          <a:prstGeom prst="rect">
            <a:avLst/>
          </a:prstGeom>
        </p:spPr>
      </p:pic>
      <p:pic>
        <p:nvPicPr>
          <p:cNvPr id="98" name="Graphic 97">
            <a:extLst>
              <a:ext uri="{FF2B5EF4-FFF2-40B4-BE49-F238E27FC236}">
                <a16:creationId xmlns:a16="http://schemas.microsoft.com/office/drawing/2014/main" id="{00D608C5-6AC4-1EE5-5B21-1DC6A85B85F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724859" y="1925754"/>
            <a:ext cx="609600" cy="609600"/>
          </a:xfrm>
          <a:prstGeom prst="rect">
            <a:avLst/>
          </a:prstGeom>
        </p:spPr>
      </p:pic>
      <p:pic>
        <p:nvPicPr>
          <p:cNvPr id="99" name="Graphic 98">
            <a:extLst>
              <a:ext uri="{FF2B5EF4-FFF2-40B4-BE49-F238E27FC236}">
                <a16:creationId xmlns:a16="http://schemas.microsoft.com/office/drawing/2014/main" id="{CFDA9C99-0F57-639F-2058-0864EE5F5E3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54990" y="1925754"/>
            <a:ext cx="774700" cy="609600"/>
          </a:xfrm>
          <a:prstGeom prst="rect">
            <a:avLst/>
          </a:prstGeom>
        </p:spPr>
      </p:pic>
      <p:pic>
        <p:nvPicPr>
          <p:cNvPr id="100" name="Graphic 99">
            <a:extLst>
              <a:ext uri="{FF2B5EF4-FFF2-40B4-BE49-F238E27FC236}">
                <a16:creationId xmlns:a16="http://schemas.microsoft.com/office/drawing/2014/main" id="{1E3473D0-3C4C-CC8C-C544-38291501B3C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30313" y="1925754"/>
            <a:ext cx="609600" cy="609600"/>
          </a:xfrm>
          <a:prstGeom prst="rect">
            <a:avLst/>
          </a:prstGeom>
        </p:spPr>
      </p:pic>
      <p:pic>
        <p:nvPicPr>
          <p:cNvPr id="101" name="Graphic 100">
            <a:extLst>
              <a:ext uri="{FF2B5EF4-FFF2-40B4-BE49-F238E27FC236}">
                <a16:creationId xmlns:a16="http://schemas.microsoft.com/office/drawing/2014/main" id="{05AC16CF-C1FE-AA49-FB3D-93026B70E02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057287" y="3356003"/>
            <a:ext cx="609600" cy="609600"/>
          </a:xfrm>
          <a:prstGeom prst="rect">
            <a:avLst/>
          </a:prstGeom>
        </p:spPr>
      </p:pic>
      <p:pic>
        <p:nvPicPr>
          <p:cNvPr id="102" name="Graphic 101">
            <a:extLst>
              <a:ext uri="{FF2B5EF4-FFF2-40B4-BE49-F238E27FC236}">
                <a16:creationId xmlns:a16="http://schemas.microsoft.com/office/drawing/2014/main" id="{5E22DE7E-D9AE-C7BE-8906-9A8ED79C69B5}"/>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204902" y="3356003"/>
            <a:ext cx="774700" cy="609600"/>
          </a:xfrm>
          <a:prstGeom prst="rect">
            <a:avLst/>
          </a:prstGeom>
        </p:spPr>
      </p:pic>
      <p:pic>
        <p:nvPicPr>
          <p:cNvPr id="103" name="Graphic 102">
            <a:extLst>
              <a:ext uri="{FF2B5EF4-FFF2-40B4-BE49-F238E27FC236}">
                <a16:creationId xmlns:a16="http://schemas.microsoft.com/office/drawing/2014/main" id="{AE22E04A-9363-144F-5ECA-7CF3EAB4C4F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554591" y="3356003"/>
            <a:ext cx="774700" cy="609600"/>
          </a:xfrm>
          <a:prstGeom prst="rect">
            <a:avLst/>
          </a:prstGeom>
        </p:spPr>
      </p:pic>
      <p:pic>
        <p:nvPicPr>
          <p:cNvPr id="105" name="Graphic 104">
            <a:extLst>
              <a:ext uri="{FF2B5EF4-FFF2-40B4-BE49-F238E27FC236}">
                <a16:creationId xmlns:a16="http://schemas.microsoft.com/office/drawing/2014/main" id="{5298F2D8-3CE6-B8FB-C2E8-A2CF06E666E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814118" y="4682224"/>
            <a:ext cx="774700" cy="609600"/>
          </a:xfrm>
          <a:prstGeom prst="rect">
            <a:avLst/>
          </a:prstGeom>
        </p:spPr>
      </p:pic>
      <p:sp>
        <p:nvSpPr>
          <p:cNvPr id="8" name="TextBox 7">
            <a:extLst>
              <a:ext uri="{FF2B5EF4-FFF2-40B4-BE49-F238E27FC236}">
                <a16:creationId xmlns:a16="http://schemas.microsoft.com/office/drawing/2014/main" id="{20B63631-B7A6-7452-A1ED-F53EA380FB01}"/>
              </a:ext>
            </a:extLst>
          </p:cNvPr>
          <p:cNvSpPr txBox="1"/>
          <p:nvPr/>
        </p:nvSpPr>
        <p:spPr>
          <a:xfrm>
            <a:off x="1729970" y="1606304"/>
            <a:ext cx="11887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calable</a:t>
            </a:r>
          </a:p>
        </p:txBody>
      </p:sp>
      <p:pic>
        <p:nvPicPr>
          <p:cNvPr id="9" name="Graphic 8">
            <a:extLst>
              <a:ext uri="{FF2B5EF4-FFF2-40B4-BE49-F238E27FC236}">
                <a16:creationId xmlns:a16="http://schemas.microsoft.com/office/drawing/2014/main" id="{1E7B632B-B9E4-B7D4-4380-E6EE2685307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935325" y="1925754"/>
            <a:ext cx="781050" cy="609600"/>
          </a:xfrm>
          <a:prstGeom prst="rect">
            <a:avLst/>
          </a:prstGeom>
        </p:spPr>
      </p:pic>
      <p:sp>
        <p:nvSpPr>
          <p:cNvPr id="21" name="object 13">
            <a:extLst>
              <a:ext uri="{FF2B5EF4-FFF2-40B4-BE49-F238E27FC236}">
                <a16:creationId xmlns:a16="http://schemas.microsoft.com/office/drawing/2014/main" id="{66271536-54F7-1FA9-1263-4ABDFA58762B}"/>
              </a:ext>
            </a:extLst>
          </p:cNvPr>
          <p:cNvSpPr txBox="1"/>
          <p:nvPr/>
        </p:nvSpPr>
        <p:spPr>
          <a:xfrm>
            <a:off x="571374" y="4352359"/>
            <a:ext cx="1554480"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Factory</a:t>
            </a:r>
          </a:p>
        </p:txBody>
      </p:sp>
      <p:pic>
        <p:nvPicPr>
          <p:cNvPr id="23" name="Graphic 22">
            <a:extLst>
              <a:ext uri="{FF2B5EF4-FFF2-40B4-BE49-F238E27FC236}">
                <a16:creationId xmlns:a16="http://schemas.microsoft.com/office/drawing/2014/main" id="{8A2AE318-8B34-BA96-C93E-02DD7AC46490}"/>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flipH="1">
            <a:off x="3311787" y="1924230"/>
            <a:ext cx="612648" cy="612648"/>
          </a:xfrm>
          <a:prstGeom prst="rect">
            <a:avLst/>
          </a:prstGeom>
        </p:spPr>
      </p:pic>
      <p:sp>
        <p:nvSpPr>
          <p:cNvPr id="24" name="Text Placeholder 81">
            <a:extLst>
              <a:ext uri="{FF2B5EF4-FFF2-40B4-BE49-F238E27FC236}">
                <a16:creationId xmlns:a16="http://schemas.microsoft.com/office/drawing/2014/main" id="{FB73BCBF-EEA0-2D92-8E66-90B1A0957D62}"/>
              </a:ext>
            </a:extLst>
          </p:cNvPr>
          <p:cNvSpPr txBox="1">
            <a:spLocks/>
          </p:cNvSpPr>
          <p:nvPr/>
        </p:nvSpPr>
        <p:spPr>
          <a:xfrm>
            <a:off x="2998002" y="1606304"/>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cent Activity</a:t>
            </a:r>
          </a:p>
        </p:txBody>
      </p:sp>
      <p:sp>
        <p:nvSpPr>
          <p:cNvPr id="26" name="object 38">
            <a:extLst>
              <a:ext uri="{FF2B5EF4-FFF2-40B4-BE49-F238E27FC236}">
                <a16:creationId xmlns:a16="http://schemas.microsoft.com/office/drawing/2014/main" id="{3D540EDB-189B-69A6-5A9B-6C86F28B1C04}"/>
              </a:ext>
            </a:extLst>
          </p:cNvPr>
          <p:cNvSpPr txBox="1"/>
          <p:nvPr/>
        </p:nvSpPr>
        <p:spPr>
          <a:xfrm>
            <a:off x="10687666" y="3002403"/>
            <a:ext cx="13550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Design</a:t>
            </a:r>
            <a:r>
              <a:rPr lang="en-US" dirty="0"/>
              <a:t> Alternate</a:t>
            </a:r>
            <a:endParaRPr dirty="0"/>
          </a:p>
        </p:txBody>
      </p:sp>
      <p:pic>
        <p:nvPicPr>
          <p:cNvPr id="27" name="Graphic 26">
            <a:extLst>
              <a:ext uri="{FF2B5EF4-FFF2-40B4-BE49-F238E27FC236}">
                <a16:creationId xmlns:a16="http://schemas.microsoft.com/office/drawing/2014/main" id="{28DCFC5D-C2E0-8975-A1B3-4F5EB92ACE1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484429" y="4596499"/>
            <a:ext cx="781050" cy="781050"/>
          </a:xfrm>
          <a:prstGeom prst="rect">
            <a:avLst/>
          </a:prstGeom>
        </p:spPr>
      </p:pic>
      <p:pic>
        <p:nvPicPr>
          <p:cNvPr id="7" name="Graphic 6">
            <a:extLst>
              <a:ext uri="{FF2B5EF4-FFF2-40B4-BE49-F238E27FC236}">
                <a16:creationId xmlns:a16="http://schemas.microsoft.com/office/drawing/2014/main" id="{7A1C89F1-779B-AE48-F29A-59D09FE4D0FE}"/>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42967" y="4767949"/>
            <a:ext cx="609600" cy="609600"/>
          </a:xfrm>
          <a:prstGeom prst="rect">
            <a:avLst/>
          </a:prstGeom>
        </p:spPr>
      </p:pic>
      <p:pic>
        <p:nvPicPr>
          <p:cNvPr id="22" name="Graphic 21">
            <a:extLst>
              <a:ext uri="{FF2B5EF4-FFF2-40B4-BE49-F238E27FC236}">
                <a16:creationId xmlns:a16="http://schemas.microsoft.com/office/drawing/2014/main" id="{DEFA0A50-B22D-8594-6514-B3C2AEE605F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0974686" y="3356003"/>
            <a:ext cx="781050" cy="609600"/>
          </a:xfrm>
          <a:prstGeom prst="rect">
            <a:avLst/>
          </a:prstGeom>
        </p:spPr>
      </p:pic>
      <p:sp>
        <p:nvSpPr>
          <p:cNvPr id="6" name="object 13">
            <a:extLst>
              <a:ext uri="{FF2B5EF4-FFF2-40B4-BE49-F238E27FC236}">
                <a16:creationId xmlns:a16="http://schemas.microsoft.com/office/drawing/2014/main" id="{7A790F86-5D13-5287-318B-E6B649D1E338}"/>
              </a:ext>
            </a:extLst>
          </p:cNvPr>
          <p:cNvSpPr txBox="1"/>
          <p:nvPr/>
        </p:nvSpPr>
        <p:spPr>
          <a:xfrm>
            <a:off x="2685212" y="4352359"/>
            <a:ext cx="3749040"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Productivity</a:t>
            </a:r>
          </a:p>
        </p:txBody>
      </p:sp>
      <p:pic>
        <p:nvPicPr>
          <p:cNvPr id="10" name="Graphic 9">
            <a:extLst>
              <a:ext uri="{FF2B5EF4-FFF2-40B4-BE49-F238E27FC236}">
                <a16:creationId xmlns:a16="http://schemas.microsoft.com/office/drawing/2014/main" id="{040CA372-CCEA-C25A-73E1-7E050524AC8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698462" y="4682224"/>
            <a:ext cx="609600" cy="609600"/>
          </a:xfrm>
          <a:prstGeom prst="rect">
            <a:avLst/>
          </a:prstGeom>
        </p:spPr>
      </p:pic>
      <p:pic>
        <p:nvPicPr>
          <p:cNvPr id="11" name="Graphic 10">
            <a:extLst>
              <a:ext uri="{FF2B5EF4-FFF2-40B4-BE49-F238E27FC236}">
                <a16:creationId xmlns:a16="http://schemas.microsoft.com/office/drawing/2014/main" id="{AC4A830F-5572-1876-8920-55C2AE8378E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3782851" y="4682224"/>
            <a:ext cx="609600" cy="609600"/>
          </a:xfrm>
          <a:prstGeom prst="rect">
            <a:avLst/>
          </a:prstGeom>
        </p:spPr>
      </p:pic>
      <p:pic>
        <p:nvPicPr>
          <p:cNvPr id="12" name="Graphic 11">
            <a:extLst>
              <a:ext uri="{FF2B5EF4-FFF2-40B4-BE49-F238E27FC236}">
                <a16:creationId xmlns:a16="http://schemas.microsoft.com/office/drawing/2014/main" id="{B32F0E53-31AF-8473-D351-308C080DD079}"/>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2825046" y="4682224"/>
            <a:ext cx="609600" cy="609600"/>
          </a:xfrm>
          <a:prstGeom prst="rect">
            <a:avLst/>
          </a:prstGeom>
        </p:spPr>
      </p:pic>
      <p:pic>
        <p:nvPicPr>
          <p:cNvPr id="14" name="Graphic 13">
            <a:extLst>
              <a:ext uri="{FF2B5EF4-FFF2-40B4-BE49-F238E27FC236}">
                <a16:creationId xmlns:a16="http://schemas.microsoft.com/office/drawing/2014/main" id="{42B1AF4D-D4A4-5184-E32C-4A77939C3C0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4740656" y="4682224"/>
            <a:ext cx="609600" cy="609600"/>
          </a:xfrm>
          <a:prstGeom prst="rect">
            <a:avLst/>
          </a:prstGeom>
        </p:spPr>
      </p:pic>
      <p:sp>
        <p:nvSpPr>
          <p:cNvPr id="31" name="object 7">
            <a:extLst>
              <a:ext uri="{FF2B5EF4-FFF2-40B4-BE49-F238E27FC236}">
                <a16:creationId xmlns:a16="http://schemas.microsoft.com/office/drawing/2014/main" id="{2546D6D7-896D-D85A-8160-2A0836CBE7A1}"/>
              </a:ext>
            </a:extLst>
          </p:cNvPr>
          <p:cNvSpPr txBox="1"/>
          <p:nvPr/>
        </p:nvSpPr>
        <p:spPr>
          <a:xfrm>
            <a:off x="5521179" y="3002403"/>
            <a:ext cx="124587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erformant</a:t>
            </a:r>
          </a:p>
        </p:txBody>
      </p:sp>
      <p:sp>
        <p:nvSpPr>
          <p:cNvPr id="32" name="object 3">
            <a:extLst>
              <a:ext uri="{FF2B5EF4-FFF2-40B4-BE49-F238E27FC236}">
                <a16:creationId xmlns:a16="http://schemas.microsoft.com/office/drawing/2014/main" id="{393D663F-4E9D-16DC-E693-2C12FC1E4652}"/>
              </a:ext>
            </a:extLst>
          </p:cNvPr>
          <p:cNvSpPr txBox="1"/>
          <p:nvPr/>
        </p:nvSpPr>
        <p:spPr>
          <a:xfrm>
            <a:off x="8212812" y="3002403"/>
            <a:ext cx="85905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alidation</a:t>
            </a:r>
          </a:p>
        </p:txBody>
      </p:sp>
      <p:pic>
        <p:nvPicPr>
          <p:cNvPr id="33" name="Graphic 32">
            <a:extLst>
              <a:ext uri="{FF2B5EF4-FFF2-40B4-BE49-F238E27FC236}">
                <a16:creationId xmlns:a16="http://schemas.microsoft.com/office/drawing/2014/main" id="{E7C3DF22-7DC7-4CC5-5813-00ECFC4D7A4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5756764" y="3356003"/>
            <a:ext cx="774700" cy="609600"/>
          </a:xfrm>
          <a:prstGeom prst="rect">
            <a:avLst/>
          </a:prstGeom>
        </p:spPr>
      </p:pic>
      <p:pic>
        <p:nvPicPr>
          <p:cNvPr id="34" name="Graphic 33">
            <a:extLst>
              <a:ext uri="{FF2B5EF4-FFF2-40B4-BE49-F238E27FC236}">
                <a16:creationId xmlns:a16="http://schemas.microsoft.com/office/drawing/2014/main" id="{F0CEA8EB-4FF7-9A1B-A5B0-391FE74CD1BE}"/>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8254990" y="3356003"/>
            <a:ext cx="774700" cy="609600"/>
          </a:xfrm>
          <a:prstGeom prst="rect">
            <a:avLst/>
          </a:prstGeom>
        </p:spPr>
      </p:pic>
      <p:sp>
        <p:nvSpPr>
          <p:cNvPr id="35" name="TextBox 34">
            <a:extLst>
              <a:ext uri="{FF2B5EF4-FFF2-40B4-BE49-F238E27FC236}">
                <a16:creationId xmlns:a16="http://schemas.microsoft.com/office/drawing/2014/main" id="{830D0764-BA51-E672-7607-ADF56EB2A658}"/>
              </a:ext>
            </a:extLst>
          </p:cNvPr>
          <p:cNvSpPr txBox="1"/>
          <p:nvPr/>
        </p:nvSpPr>
        <p:spPr>
          <a:xfrm>
            <a:off x="9185358" y="3002403"/>
            <a:ext cx="168165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mpliance</a:t>
            </a:r>
          </a:p>
        </p:txBody>
      </p:sp>
      <p:sp>
        <p:nvSpPr>
          <p:cNvPr id="36" name="TextBox 35">
            <a:extLst>
              <a:ext uri="{FF2B5EF4-FFF2-40B4-BE49-F238E27FC236}">
                <a16:creationId xmlns:a16="http://schemas.microsoft.com/office/drawing/2014/main" id="{56F270CF-EF5F-D901-211B-2E83D2491552}"/>
              </a:ext>
            </a:extLst>
          </p:cNvPr>
          <p:cNvSpPr txBox="1"/>
          <p:nvPr/>
        </p:nvSpPr>
        <p:spPr>
          <a:xfrm>
            <a:off x="6948324" y="3002403"/>
            <a:ext cx="97570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AFe</a:t>
            </a:r>
          </a:p>
        </p:txBody>
      </p:sp>
      <p:pic>
        <p:nvPicPr>
          <p:cNvPr id="37" name="Graphic 36">
            <a:extLst>
              <a:ext uri="{FF2B5EF4-FFF2-40B4-BE49-F238E27FC236}">
                <a16:creationId xmlns:a16="http://schemas.microsoft.com/office/drawing/2014/main" id="{690FD910-7BF4-F7F1-F0B2-2518037A6594}"/>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9635661" y="3356003"/>
            <a:ext cx="781050" cy="609600"/>
          </a:xfrm>
          <a:prstGeom prst="rect">
            <a:avLst/>
          </a:prstGeom>
        </p:spPr>
      </p:pic>
      <p:pic>
        <p:nvPicPr>
          <p:cNvPr id="38" name="Graphic 37">
            <a:extLst>
              <a:ext uri="{FF2B5EF4-FFF2-40B4-BE49-F238E27FC236}">
                <a16:creationId xmlns:a16="http://schemas.microsoft.com/office/drawing/2014/main" id="{48CEF38F-62B3-EC64-FDE8-6469973EFA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7045651" y="3356003"/>
            <a:ext cx="781050" cy="609600"/>
          </a:xfrm>
          <a:prstGeom prst="rect">
            <a:avLst/>
          </a:prstGeom>
        </p:spPr>
      </p:pic>
      <p:sp>
        <p:nvSpPr>
          <p:cNvPr id="5" name="Text Placeholder 81">
            <a:extLst>
              <a:ext uri="{FF2B5EF4-FFF2-40B4-BE49-F238E27FC236}">
                <a16:creationId xmlns:a16="http://schemas.microsoft.com/office/drawing/2014/main" id="{61E987D7-7441-15E6-2C3C-367E85A453CC}"/>
              </a:ext>
            </a:extLst>
          </p:cNvPr>
          <p:cNvSpPr txBox="1">
            <a:spLocks/>
          </p:cNvSpPr>
          <p:nvPr/>
        </p:nvSpPr>
        <p:spPr>
          <a:xfrm>
            <a:off x="4127286" y="1606304"/>
            <a:ext cx="149141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size</a:t>
            </a:r>
          </a:p>
        </p:txBody>
      </p:sp>
      <p:pic>
        <p:nvPicPr>
          <p:cNvPr id="13" name="Graphic 12">
            <a:extLst>
              <a:ext uri="{FF2B5EF4-FFF2-40B4-BE49-F238E27FC236}">
                <a16:creationId xmlns:a16="http://schemas.microsoft.com/office/drawing/2014/main" id="{31618F19-A445-E1CF-3750-63EF7AA0289A}"/>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4519847" y="1925754"/>
            <a:ext cx="609600" cy="609600"/>
          </a:xfrm>
          <a:prstGeom prst="rect">
            <a:avLst/>
          </a:prstGeom>
        </p:spPr>
      </p:pic>
    </p:spTree>
    <p:extLst>
      <p:ext uri="{BB962C8B-B14F-4D97-AF65-F5344CB8AC3E}">
        <p14:creationId xmlns:p14="http://schemas.microsoft.com/office/powerpoint/2010/main" val="3406956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 name="Graphic 116">
            <a:extLst>
              <a:ext uri="{FF2B5EF4-FFF2-40B4-BE49-F238E27FC236}">
                <a16:creationId xmlns:a16="http://schemas.microsoft.com/office/drawing/2014/main" id="{9004D953-1E46-A5FE-E914-30054E3A39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04099" y="4445058"/>
            <a:ext cx="609600" cy="590550"/>
          </a:xfrm>
          <a:prstGeom prst="rect">
            <a:avLst/>
          </a:prstGeom>
        </p:spPr>
      </p:pic>
      <p:sp>
        <p:nvSpPr>
          <p:cNvPr id="59" name="Text Placeholder 81">
            <a:extLst>
              <a:ext uri="{FF2B5EF4-FFF2-40B4-BE49-F238E27FC236}">
                <a16:creationId xmlns:a16="http://schemas.microsoft.com/office/drawing/2014/main" id="{C47B2529-E1B3-3D4C-95AE-06672C0BBB93}"/>
              </a:ext>
            </a:extLst>
          </p:cNvPr>
          <p:cNvSpPr txBox="1">
            <a:spLocks/>
          </p:cNvSpPr>
          <p:nvPr/>
        </p:nvSpPr>
        <p:spPr>
          <a:xfrm>
            <a:off x="3684965" y="2921150"/>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ime</a:t>
            </a:r>
          </a:p>
        </p:txBody>
      </p:sp>
      <p:sp>
        <p:nvSpPr>
          <p:cNvPr id="7" name="Text Placeholder 81">
            <a:extLst>
              <a:ext uri="{FF2B5EF4-FFF2-40B4-BE49-F238E27FC236}">
                <a16:creationId xmlns:a16="http://schemas.microsoft.com/office/drawing/2014/main" id="{96985E25-C2FD-E04C-68C2-0D9648AD1F6D}"/>
              </a:ext>
            </a:extLst>
          </p:cNvPr>
          <p:cNvSpPr txBox="1">
            <a:spLocks/>
          </p:cNvSpPr>
          <p:nvPr/>
        </p:nvSpPr>
        <p:spPr>
          <a:xfrm>
            <a:off x="1491434" y="2921151"/>
            <a:ext cx="96999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oney, Pay</a:t>
            </a:r>
          </a:p>
        </p:txBody>
      </p:sp>
      <p:sp>
        <p:nvSpPr>
          <p:cNvPr id="10" name="Title 9">
            <a:extLst>
              <a:ext uri="{FF2B5EF4-FFF2-40B4-BE49-F238E27FC236}">
                <a16:creationId xmlns:a16="http://schemas.microsoft.com/office/drawing/2014/main" id="{B82C035B-7D97-3A9B-A476-0E18CE99FD7A}"/>
              </a:ext>
            </a:extLst>
          </p:cNvPr>
          <p:cNvSpPr>
            <a:spLocks noGrp="1"/>
          </p:cNvSpPr>
          <p:nvPr>
            <p:ph type="title"/>
          </p:nvPr>
        </p:nvSpPr>
        <p:spPr>
          <a:xfrm>
            <a:off x="490760" y="547539"/>
            <a:ext cx="10789920" cy="369332"/>
          </a:xfrm>
        </p:spPr>
        <p:txBody>
          <a:bodyPr/>
          <a:lstStyle/>
          <a:p>
            <a:r>
              <a:rPr lang="en-US" dirty="0"/>
              <a:t>PTC ICONS</a:t>
            </a:r>
          </a:p>
        </p:txBody>
      </p:sp>
      <p:sp>
        <p:nvSpPr>
          <p:cNvPr id="37" name="object 49">
            <a:extLst>
              <a:ext uri="{FF2B5EF4-FFF2-40B4-BE49-F238E27FC236}">
                <a16:creationId xmlns:a16="http://schemas.microsoft.com/office/drawing/2014/main" id="{0DC4F36C-59F0-9201-F63C-DFEAA3EBE6AC}"/>
              </a:ext>
            </a:extLst>
          </p:cNvPr>
          <p:cNvSpPr txBox="1"/>
          <p:nvPr/>
        </p:nvSpPr>
        <p:spPr>
          <a:xfrm>
            <a:off x="9885464" y="1628374"/>
            <a:ext cx="10109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nalytics</a:t>
            </a:r>
          </a:p>
        </p:txBody>
      </p:sp>
      <p:sp>
        <p:nvSpPr>
          <p:cNvPr id="67" name="object 39">
            <a:extLst>
              <a:ext uri="{FF2B5EF4-FFF2-40B4-BE49-F238E27FC236}">
                <a16:creationId xmlns:a16="http://schemas.microsoft.com/office/drawing/2014/main" id="{618958AE-D357-F22C-319D-CAA378DE1A56}"/>
              </a:ext>
            </a:extLst>
          </p:cNvPr>
          <p:cNvSpPr txBox="1"/>
          <p:nvPr/>
        </p:nvSpPr>
        <p:spPr>
          <a:xfrm>
            <a:off x="6201560" y="1559124"/>
            <a:ext cx="841871"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Line </a:t>
            </a:r>
            <a:r>
              <a:rPr lang="en-US" dirty="0"/>
              <a:t>Chart, Reduced</a:t>
            </a:r>
            <a:endParaRPr dirty="0"/>
          </a:p>
        </p:txBody>
      </p:sp>
      <p:sp>
        <p:nvSpPr>
          <p:cNvPr id="69" name="object 17">
            <a:extLst>
              <a:ext uri="{FF2B5EF4-FFF2-40B4-BE49-F238E27FC236}">
                <a16:creationId xmlns:a16="http://schemas.microsoft.com/office/drawing/2014/main" id="{8EEF465C-5DF8-E43E-932D-7D8C31CD34E9}"/>
              </a:ext>
            </a:extLst>
          </p:cNvPr>
          <p:cNvSpPr txBox="1"/>
          <p:nvPr/>
        </p:nvSpPr>
        <p:spPr>
          <a:xfrm>
            <a:off x="7259453" y="1559124"/>
            <a:ext cx="80406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Line </a:t>
            </a:r>
            <a:r>
              <a:rPr lang="en-US" dirty="0"/>
              <a:t>Chart, Increased</a:t>
            </a:r>
            <a:endParaRPr dirty="0"/>
          </a:p>
        </p:txBody>
      </p:sp>
      <p:sp>
        <p:nvSpPr>
          <p:cNvPr id="73" name="object 7">
            <a:extLst>
              <a:ext uri="{FF2B5EF4-FFF2-40B4-BE49-F238E27FC236}">
                <a16:creationId xmlns:a16="http://schemas.microsoft.com/office/drawing/2014/main" id="{21C884FB-3210-4633-33E1-EF31B44C904E}"/>
              </a:ext>
            </a:extLst>
          </p:cNvPr>
          <p:cNvSpPr txBox="1"/>
          <p:nvPr/>
        </p:nvSpPr>
        <p:spPr>
          <a:xfrm>
            <a:off x="10854375" y="2851900"/>
            <a:ext cx="103050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a:t>
            </a:r>
            <a:r>
              <a:rPr dirty="0"/>
              <a:t>nhanced</a:t>
            </a:r>
            <a:r>
              <a:rPr lang="en-US" dirty="0"/>
              <a:t> Collaboration</a:t>
            </a:r>
            <a:endParaRPr dirty="0"/>
          </a:p>
        </p:txBody>
      </p:sp>
      <p:sp>
        <p:nvSpPr>
          <p:cNvPr id="77" name="object 19">
            <a:extLst>
              <a:ext uri="{FF2B5EF4-FFF2-40B4-BE49-F238E27FC236}">
                <a16:creationId xmlns:a16="http://schemas.microsoft.com/office/drawing/2014/main" id="{CB1BAB79-F7AE-364C-AC27-F0178B9A7A03}"/>
              </a:ext>
            </a:extLst>
          </p:cNvPr>
          <p:cNvSpPr txBox="1"/>
          <p:nvPr/>
        </p:nvSpPr>
        <p:spPr>
          <a:xfrm>
            <a:off x="6199243" y="2921150"/>
            <a:ext cx="219456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a:t>
            </a:r>
            <a:r>
              <a:rPr dirty="0"/>
              <a:t>and</a:t>
            </a:r>
            <a:r>
              <a:rPr lang="en-US" dirty="0"/>
              <a:t>, P</a:t>
            </a:r>
            <a:r>
              <a:rPr dirty="0"/>
              <a:t>ay</a:t>
            </a:r>
            <a:r>
              <a:rPr lang="en-US" dirty="0"/>
              <a:t>, Gratuity</a:t>
            </a:r>
            <a:endParaRPr dirty="0"/>
          </a:p>
        </p:txBody>
      </p:sp>
      <p:sp>
        <p:nvSpPr>
          <p:cNvPr id="79" name="object 33">
            <a:extLst>
              <a:ext uri="{FF2B5EF4-FFF2-40B4-BE49-F238E27FC236}">
                <a16:creationId xmlns:a16="http://schemas.microsoft.com/office/drawing/2014/main" id="{A314914A-02FD-4603-B55B-E2DF0DB8821C}"/>
              </a:ext>
            </a:extLst>
          </p:cNvPr>
          <p:cNvSpPr txBox="1"/>
          <p:nvPr/>
        </p:nvSpPr>
        <p:spPr>
          <a:xfrm>
            <a:off x="8957170" y="2921150"/>
            <a:ext cx="1511819"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Handshake</a:t>
            </a:r>
          </a:p>
        </p:txBody>
      </p:sp>
      <p:sp>
        <p:nvSpPr>
          <p:cNvPr id="81" name="object 45">
            <a:extLst>
              <a:ext uri="{FF2B5EF4-FFF2-40B4-BE49-F238E27FC236}">
                <a16:creationId xmlns:a16="http://schemas.microsoft.com/office/drawing/2014/main" id="{757A006A-5970-C809-35DA-F4B291BF234A}"/>
              </a:ext>
            </a:extLst>
          </p:cNvPr>
          <p:cNvSpPr txBox="1"/>
          <p:nvPr/>
        </p:nvSpPr>
        <p:spPr>
          <a:xfrm>
            <a:off x="58952" y="2921150"/>
            <a:ext cx="15919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a:t>
            </a:r>
            <a:r>
              <a:rPr dirty="0"/>
              <a:t>isk</a:t>
            </a:r>
            <a:r>
              <a:rPr lang="en-US" dirty="0"/>
              <a:t> Cost Pressures</a:t>
            </a:r>
            <a:endParaRPr dirty="0"/>
          </a:p>
        </p:txBody>
      </p:sp>
      <p:sp>
        <p:nvSpPr>
          <p:cNvPr id="85" name="object 11">
            <a:extLst>
              <a:ext uri="{FF2B5EF4-FFF2-40B4-BE49-F238E27FC236}">
                <a16:creationId xmlns:a16="http://schemas.microsoft.com/office/drawing/2014/main" id="{AC204851-B5AD-037A-93B3-7B9C518E1A12}"/>
              </a:ext>
            </a:extLst>
          </p:cNvPr>
          <p:cNvSpPr txBox="1"/>
          <p:nvPr/>
        </p:nvSpPr>
        <p:spPr>
          <a:xfrm>
            <a:off x="9063404" y="5428177"/>
            <a:ext cx="126238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Strategic</a:t>
            </a:r>
            <a:r>
              <a:rPr lang="en-US" dirty="0"/>
              <a:t> </a:t>
            </a:r>
            <a:r>
              <a:rPr dirty="0"/>
              <a:t>Re-use</a:t>
            </a:r>
          </a:p>
        </p:txBody>
      </p:sp>
      <p:sp>
        <p:nvSpPr>
          <p:cNvPr id="87" name="object 35">
            <a:extLst>
              <a:ext uri="{FF2B5EF4-FFF2-40B4-BE49-F238E27FC236}">
                <a16:creationId xmlns:a16="http://schemas.microsoft.com/office/drawing/2014/main" id="{68C2B501-8D7D-E108-4ED5-A65BED695F02}"/>
              </a:ext>
            </a:extLst>
          </p:cNvPr>
          <p:cNvSpPr txBox="1"/>
          <p:nvPr/>
        </p:nvSpPr>
        <p:spPr>
          <a:xfrm>
            <a:off x="11070823" y="1628374"/>
            <a:ext cx="94683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Strategy</a:t>
            </a:r>
          </a:p>
        </p:txBody>
      </p:sp>
      <p:sp>
        <p:nvSpPr>
          <p:cNvPr id="89" name="object 29">
            <a:extLst>
              <a:ext uri="{FF2B5EF4-FFF2-40B4-BE49-F238E27FC236}">
                <a16:creationId xmlns:a16="http://schemas.microsoft.com/office/drawing/2014/main" id="{2A393ADC-5E40-5351-E20D-EA4317018BE7}"/>
              </a:ext>
            </a:extLst>
          </p:cNvPr>
          <p:cNvSpPr txBox="1"/>
          <p:nvPr/>
        </p:nvSpPr>
        <p:spPr>
          <a:xfrm>
            <a:off x="4836975" y="2921150"/>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ime speed</a:t>
            </a:r>
            <a:endParaRPr dirty="0"/>
          </a:p>
        </p:txBody>
      </p:sp>
      <p:sp>
        <p:nvSpPr>
          <p:cNvPr id="11" name="TextBox 10">
            <a:extLst>
              <a:ext uri="{FF2B5EF4-FFF2-40B4-BE49-F238E27FC236}">
                <a16:creationId xmlns:a16="http://schemas.microsoft.com/office/drawing/2014/main" id="{14EF7E7E-EB29-91BC-E7EA-A360F6670750}"/>
              </a:ext>
            </a:extLst>
          </p:cNvPr>
          <p:cNvSpPr txBox="1"/>
          <p:nvPr/>
        </p:nvSpPr>
        <p:spPr>
          <a:xfrm>
            <a:off x="475861" y="5428177"/>
            <a:ext cx="80406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overnance </a:t>
            </a:r>
          </a:p>
        </p:txBody>
      </p:sp>
      <p:sp>
        <p:nvSpPr>
          <p:cNvPr id="25" name="TextBox 24">
            <a:extLst>
              <a:ext uri="{FF2B5EF4-FFF2-40B4-BE49-F238E27FC236}">
                <a16:creationId xmlns:a16="http://schemas.microsoft.com/office/drawing/2014/main" id="{C4FA56CD-8B11-A401-EDB5-49A9F8F787B7}"/>
              </a:ext>
            </a:extLst>
          </p:cNvPr>
          <p:cNvSpPr txBox="1"/>
          <p:nvPr/>
        </p:nvSpPr>
        <p:spPr>
          <a:xfrm>
            <a:off x="1558237" y="4093312"/>
            <a:ext cx="83638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uilding</a:t>
            </a:r>
          </a:p>
        </p:txBody>
      </p:sp>
      <p:sp>
        <p:nvSpPr>
          <p:cNvPr id="26" name="TextBox 25">
            <a:extLst>
              <a:ext uri="{FF2B5EF4-FFF2-40B4-BE49-F238E27FC236}">
                <a16:creationId xmlns:a16="http://schemas.microsoft.com/office/drawing/2014/main" id="{646680F7-7D75-2FFC-F2AA-99CA8B5E2B1E}"/>
              </a:ext>
            </a:extLst>
          </p:cNvPr>
          <p:cNvSpPr txBox="1"/>
          <p:nvPr/>
        </p:nvSpPr>
        <p:spPr>
          <a:xfrm>
            <a:off x="459700" y="4093312"/>
            <a:ext cx="83638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ity</a:t>
            </a:r>
          </a:p>
        </p:txBody>
      </p:sp>
      <p:sp>
        <p:nvSpPr>
          <p:cNvPr id="31" name="Text Placeholder 81">
            <a:extLst>
              <a:ext uri="{FF2B5EF4-FFF2-40B4-BE49-F238E27FC236}">
                <a16:creationId xmlns:a16="http://schemas.microsoft.com/office/drawing/2014/main" id="{306E81D5-E200-1862-EEF3-130DE22A1E62}"/>
              </a:ext>
            </a:extLst>
          </p:cNvPr>
          <p:cNvSpPr txBox="1">
            <a:spLocks/>
          </p:cNvSpPr>
          <p:nvPr/>
        </p:nvSpPr>
        <p:spPr>
          <a:xfrm>
            <a:off x="2704686" y="4093312"/>
            <a:ext cx="1613491"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solidFill>
                  <a:schemeClr val="accent5"/>
                </a:solidFill>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solidFill>
                  <a:schemeClr val="tx1"/>
                </a:solidFill>
              </a:rPr>
              <a:t>Time, Timing, Schedule</a:t>
            </a:r>
          </a:p>
        </p:txBody>
      </p:sp>
      <p:sp>
        <p:nvSpPr>
          <p:cNvPr id="33" name="Text Placeholder 81">
            <a:extLst>
              <a:ext uri="{FF2B5EF4-FFF2-40B4-BE49-F238E27FC236}">
                <a16:creationId xmlns:a16="http://schemas.microsoft.com/office/drawing/2014/main" id="{1AB4FE53-A79A-9C29-45C6-76ED1328BEE0}"/>
              </a:ext>
            </a:extLst>
          </p:cNvPr>
          <p:cNvSpPr txBox="1">
            <a:spLocks/>
          </p:cNvSpPr>
          <p:nvPr/>
        </p:nvSpPr>
        <p:spPr>
          <a:xfrm>
            <a:off x="4460417" y="4093312"/>
            <a:ext cx="98853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ccelerate</a:t>
            </a:r>
          </a:p>
        </p:txBody>
      </p:sp>
      <p:sp>
        <p:nvSpPr>
          <p:cNvPr id="97" name="Text Placeholder 81">
            <a:extLst>
              <a:ext uri="{FF2B5EF4-FFF2-40B4-BE49-F238E27FC236}">
                <a16:creationId xmlns:a16="http://schemas.microsoft.com/office/drawing/2014/main" id="{EBBFE6C8-C6C5-3F44-C19F-9F0B5007D21F}"/>
              </a:ext>
            </a:extLst>
          </p:cNvPr>
          <p:cNvSpPr txBox="1">
            <a:spLocks/>
          </p:cNvSpPr>
          <p:nvPr/>
        </p:nvSpPr>
        <p:spPr>
          <a:xfrm>
            <a:off x="5682939" y="4093312"/>
            <a:ext cx="219456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solidFill>
                  <a:schemeClr val="accent5"/>
                </a:solidFill>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solidFill>
                  <a:schemeClr val="tx1"/>
                </a:solidFill>
              </a:rPr>
              <a:t>Exchange,  Reassign, Reorder </a:t>
            </a:r>
          </a:p>
        </p:txBody>
      </p:sp>
      <p:sp>
        <p:nvSpPr>
          <p:cNvPr id="100" name="object 23">
            <a:extLst>
              <a:ext uri="{FF2B5EF4-FFF2-40B4-BE49-F238E27FC236}">
                <a16:creationId xmlns:a16="http://schemas.microsoft.com/office/drawing/2014/main" id="{F88D4629-57D8-E835-85FD-8F6ADE401D64}"/>
              </a:ext>
            </a:extLst>
          </p:cNvPr>
          <p:cNvSpPr txBox="1"/>
          <p:nvPr/>
        </p:nvSpPr>
        <p:spPr>
          <a:xfrm>
            <a:off x="8182611" y="4093312"/>
            <a:ext cx="1366499"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sz="1000" dirty="0"/>
              <a:t>Lifecycle</a:t>
            </a:r>
            <a:r>
              <a:rPr lang="en-US" sz="1000" dirty="0"/>
              <a:t>, workflow</a:t>
            </a:r>
            <a:endParaRPr sz="1000" dirty="0"/>
          </a:p>
        </p:txBody>
      </p:sp>
      <p:sp>
        <p:nvSpPr>
          <p:cNvPr id="108" name="TextBox 107">
            <a:extLst>
              <a:ext uri="{FF2B5EF4-FFF2-40B4-BE49-F238E27FC236}">
                <a16:creationId xmlns:a16="http://schemas.microsoft.com/office/drawing/2014/main" id="{748F0474-4003-2F08-BC64-32BAF26A8C40}"/>
              </a:ext>
            </a:extLst>
          </p:cNvPr>
          <p:cNvSpPr txBox="1"/>
          <p:nvPr/>
        </p:nvSpPr>
        <p:spPr>
          <a:xfrm>
            <a:off x="9996462" y="4093312"/>
            <a:ext cx="62292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nnect</a:t>
            </a:r>
          </a:p>
        </p:txBody>
      </p:sp>
      <p:sp>
        <p:nvSpPr>
          <p:cNvPr id="2" name="Rectangle 1">
            <a:extLst>
              <a:ext uri="{FF2B5EF4-FFF2-40B4-BE49-F238E27FC236}">
                <a16:creationId xmlns:a16="http://schemas.microsoft.com/office/drawing/2014/main" id="{415B642D-AE05-B209-3E89-31B01C0788AF}"/>
              </a:ext>
            </a:extLst>
          </p:cNvPr>
          <p:cNvSpPr/>
          <p:nvPr/>
        </p:nvSpPr>
        <p:spPr>
          <a:xfrm>
            <a:off x="502087" y="1189039"/>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Business / Finance  </a:t>
            </a:r>
            <a:endParaRPr lang="en-US" sz="1400" dirty="0">
              <a:solidFill>
                <a:schemeClr val="bg1"/>
              </a:solidFill>
            </a:endParaRPr>
          </a:p>
        </p:txBody>
      </p:sp>
      <p:pic>
        <p:nvPicPr>
          <p:cNvPr id="4" name="Graphic 3">
            <a:extLst>
              <a:ext uri="{FF2B5EF4-FFF2-40B4-BE49-F238E27FC236}">
                <a16:creationId xmlns:a16="http://schemas.microsoft.com/office/drawing/2014/main" id="{AEFFAACE-EC39-6360-3F40-BCAB5DA33C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3094" y="1971541"/>
            <a:ext cx="609600" cy="609600"/>
          </a:xfrm>
          <a:prstGeom prst="rect">
            <a:avLst/>
          </a:prstGeom>
        </p:spPr>
      </p:pic>
      <p:pic>
        <p:nvPicPr>
          <p:cNvPr id="6" name="Graphic 5">
            <a:extLst>
              <a:ext uri="{FF2B5EF4-FFF2-40B4-BE49-F238E27FC236}">
                <a16:creationId xmlns:a16="http://schemas.microsoft.com/office/drawing/2014/main" id="{13B3F849-BCA0-ACC3-6F49-15B75BC7DC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94825" y="1971541"/>
            <a:ext cx="609600" cy="609600"/>
          </a:xfrm>
          <a:prstGeom prst="rect">
            <a:avLst/>
          </a:prstGeom>
        </p:spPr>
      </p:pic>
      <p:pic>
        <p:nvPicPr>
          <p:cNvPr id="14" name="Graphic 13">
            <a:extLst>
              <a:ext uri="{FF2B5EF4-FFF2-40B4-BE49-F238E27FC236}">
                <a16:creationId xmlns:a16="http://schemas.microsoft.com/office/drawing/2014/main" id="{F5C6EC9F-6AF5-FC70-99D6-4F9B7466884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416556" y="1971541"/>
            <a:ext cx="609600" cy="609600"/>
          </a:xfrm>
          <a:prstGeom prst="rect">
            <a:avLst/>
          </a:prstGeom>
        </p:spPr>
      </p:pic>
      <p:pic>
        <p:nvPicPr>
          <p:cNvPr id="43" name="Graphic 42">
            <a:extLst>
              <a:ext uri="{FF2B5EF4-FFF2-40B4-BE49-F238E27FC236}">
                <a16:creationId xmlns:a16="http://schemas.microsoft.com/office/drawing/2014/main" id="{7CFAF04B-4C3C-E867-D9A1-D29E10A021F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05547" y="1971541"/>
            <a:ext cx="609600" cy="609600"/>
          </a:xfrm>
          <a:prstGeom prst="rect">
            <a:avLst/>
          </a:prstGeom>
        </p:spPr>
      </p:pic>
      <p:pic>
        <p:nvPicPr>
          <p:cNvPr id="60" name="Graphic 59">
            <a:extLst>
              <a:ext uri="{FF2B5EF4-FFF2-40B4-BE49-F238E27FC236}">
                <a16:creationId xmlns:a16="http://schemas.microsoft.com/office/drawing/2014/main" id="{5F6332DD-FEAF-FD17-B196-B628EACF712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55929" y="1971541"/>
            <a:ext cx="609600" cy="609600"/>
          </a:xfrm>
          <a:prstGeom prst="rect">
            <a:avLst/>
          </a:prstGeom>
        </p:spPr>
      </p:pic>
      <p:pic>
        <p:nvPicPr>
          <p:cNvPr id="82" name="Graphic 81">
            <a:extLst>
              <a:ext uri="{FF2B5EF4-FFF2-40B4-BE49-F238E27FC236}">
                <a16:creationId xmlns:a16="http://schemas.microsoft.com/office/drawing/2014/main" id="{3C745C1C-7880-8266-1547-EB366E382E2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063226" y="1971541"/>
            <a:ext cx="774700" cy="609600"/>
          </a:xfrm>
          <a:prstGeom prst="rect">
            <a:avLst/>
          </a:prstGeom>
        </p:spPr>
      </p:pic>
      <p:pic>
        <p:nvPicPr>
          <p:cNvPr id="116" name="Graphic 115">
            <a:extLst>
              <a:ext uri="{FF2B5EF4-FFF2-40B4-BE49-F238E27FC236}">
                <a16:creationId xmlns:a16="http://schemas.microsoft.com/office/drawing/2014/main" id="{3F30A03D-AE26-64F1-3CC2-B00C57064F0C}"/>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l="16112" r="13173"/>
          <a:stretch/>
        </p:blipFill>
        <p:spPr>
          <a:xfrm>
            <a:off x="9420676" y="5711643"/>
            <a:ext cx="547836" cy="609600"/>
          </a:xfrm>
          <a:prstGeom prst="rect">
            <a:avLst/>
          </a:prstGeom>
        </p:spPr>
      </p:pic>
      <p:grpSp>
        <p:nvGrpSpPr>
          <p:cNvPr id="261" name="Group 260">
            <a:extLst>
              <a:ext uri="{FF2B5EF4-FFF2-40B4-BE49-F238E27FC236}">
                <a16:creationId xmlns:a16="http://schemas.microsoft.com/office/drawing/2014/main" id="{33423541-3FDE-B09D-8AD3-C39E4992AD67}"/>
              </a:ext>
            </a:extLst>
          </p:cNvPr>
          <p:cNvGrpSpPr/>
          <p:nvPr/>
        </p:nvGrpSpPr>
        <p:grpSpPr>
          <a:xfrm>
            <a:off x="571570" y="5712961"/>
            <a:ext cx="612648" cy="594655"/>
            <a:chOff x="10994491" y="1927858"/>
            <a:chExt cx="612648" cy="594655"/>
          </a:xfrm>
        </p:grpSpPr>
        <p:sp>
          <p:nvSpPr>
            <p:cNvPr id="259" name="Freeform: Shape 258">
              <a:extLst>
                <a:ext uri="{FF2B5EF4-FFF2-40B4-BE49-F238E27FC236}">
                  <a16:creationId xmlns:a16="http://schemas.microsoft.com/office/drawing/2014/main" id="{3E76279B-67B7-2B57-FF19-572F120F2997}"/>
                </a:ext>
              </a:extLst>
            </p:cNvPr>
            <p:cNvSpPr/>
            <p:nvPr/>
          </p:nvSpPr>
          <p:spPr>
            <a:xfrm>
              <a:off x="11027115" y="2436885"/>
              <a:ext cx="547401" cy="30765"/>
            </a:xfrm>
            <a:custGeom>
              <a:avLst/>
              <a:gdLst>
                <a:gd name="connsiteX0" fmla="*/ 0 w 547401"/>
                <a:gd name="connsiteY0" fmla="*/ 0 h 30765"/>
                <a:gd name="connsiteX1" fmla="*/ 547402 w 547401"/>
                <a:gd name="connsiteY1" fmla="*/ 0 h 30765"/>
                <a:gd name="connsiteX2" fmla="*/ 547402 w 547401"/>
                <a:gd name="connsiteY2" fmla="*/ 30766 h 30765"/>
                <a:gd name="connsiteX3" fmla="*/ 0 w 547401"/>
                <a:gd name="connsiteY3" fmla="*/ 30766 h 30765"/>
              </a:gdLst>
              <a:ahLst/>
              <a:cxnLst>
                <a:cxn ang="0">
                  <a:pos x="connsiteX0" y="connsiteY0"/>
                </a:cxn>
                <a:cxn ang="0">
                  <a:pos x="connsiteX1" y="connsiteY1"/>
                </a:cxn>
                <a:cxn ang="0">
                  <a:pos x="connsiteX2" y="connsiteY2"/>
                </a:cxn>
                <a:cxn ang="0">
                  <a:pos x="connsiteX3" y="connsiteY3"/>
                </a:cxn>
              </a:cxnLst>
              <a:rect l="l" t="t" r="r" b="b"/>
              <a:pathLst>
                <a:path w="547401" h="30765">
                  <a:moveTo>
                    <a:pt x="0" y="0"/>
                  </a:moveTo>
                  <a:lnTo>
                    <a:pt x="547402" y="0"/>
                  </a:lnTo>
                  <a:lnTo>
                    <a:pt x="547402" y="30766"/>
                  </a:lnTo>
                  <a:lnTo>
                    <a:pt x="0" y="30766"/>
                  </a:lnTo>
                  <a:close/>
                </a:path>
              </a:pathLst>
            </a:custGeom>
            <a:solidFill>
              <a:srgbClr val="40AA1D"/>
            </a:solidFill>
            <a:ln w="9525" cap="flat">
              <a:noFill/>
              <a:prstDash val="solid"/>
              <a:miter/>
            </a:ln>
          </p:spPr>
          <p:txBody>
            <a:bodyPr rtlCol="0" anchor="ctr"/>
            <a:lstStyle/>
            <a:p>
              <a:endParaRPr lang="en-US" dirty="0"/>
            </a:p>
          </p:txBody>
        </p:sp>
        <p:sp>
          <p:nvSpPr>
            <p:cNvPr id="260" name="Freeform: Shape 259">
              <a:extLst>
                <a:ext uri="{FF2B5EF4-FFF2-40B4-BE49-F238E27FC236}">
                  <a16:creationId xmlns:a16="http://schemas.microsoft.com/office/drawing/2014/main" id="{3F31D168-BD8D-5FEA-0494-CAD2E43E97F3}"/>
                </a:ext>
              </a:extLst>
            </p:cNvPr>
            <p:cNvSpPr/>
            <p:nvPr/>
          </p:nvSpPr>
          <p:spPr>
            <a:xfrm>
              <a:off x="10994491" y="2467649"/>
              <a:ext cx="612648" cy="54864"/>
            </a:xfrm>
            <a:custGeom>
              <a:avLst/>
              <a:gdLst>
                <a:gd name="connsiteX0" fmla="*/ 0 w 547401"/>
                <a:gd name="connsiteY0" fmla="*/ 0 h 30765"/>
                <a:gd name="connsiteX1" fmla="*/ 547402 w 547401"/>
                <a:gd name="connsiteY1" fmla="*/ 0 h 30765"/>
                <a:gd name="connsiteX2" fmla="*/ 547402 w 547401"/>
                <a:gd name="connsiteY2" fmla="*/ 30766 h 30765"/>
                <a:gd name="connsiteX3" fmla="*/ 0 w 547401"/>
                <a:gd name="connsiteY3" fmla="*/ 30766 h 30765"/>
              </a:gdLst>
              <a:ahLst/>
              <a:cxnLst>
                <a:cxn ang="0">
                  <a:pos x="connsiteX0" y="connsiteY0"/>
                </a:cxn>
                <a:cxn ang="0">
                  <a:pos x="connsiteX1" y="connsiteY1"/>
                </a:cxn>
                <a:cxn ang="0">
                  <a:pos x="connsiteX2" y="connsiteY2"/>
                </a:cxn>
                <a:cxn ang="0">
                  <a:pos x="connsiteX3" y="connsiteY3"/>
                </a:cxn>
              </a:cxnLst>
              <a:rect l="l" t="t" r="r" b="b"/>
              <a:pathLst>
                <a:path w="547401" h="30765">
                  <a:moveTo>
                    <a:pt x="0" y="0"/>
                  </a:moveTo>
                  <a:lnTo>
                    <a:pt x="547402" y="0"/>
                  </a:lnTo>
                  <a:lnTo>
                    <a:pt x="547402" y="30766"/>
                  </a:lnTo>
                  <a:lnTo>
                    <a:pt x="0" y="30766"/>
                  </a:lnTo>
                  <a:close/>
                </a:path>
              </a:pathLst>
            </a:custGeom>
            <a:solidFill>
              <a:srgbClr val="40AA1D"/>
            </a:solidFill>
            <a:ln w="9525" cap="flat">
              <a:noFill/>
              <a:prstDash val="solid"/>
              <a:miter/>
            </a:ln>
          </p:spPr>
          <p:txBody>
            <a:bodyPr rtlCol="0" anchor="ctr"/>
            <a:lstStyle/>
            <a:p>
              <a:endParaRPr lang="en-US" dirty="0"/>
            </a:p>
          </p:txBody>
        </p:sp>
        <p:sp>
          <p:nvSpPr>
            <p:cNvPr id="251" name="Freeform: Shape 250">
              <a:extLst>
                <a:ext uri="{FF2B5EF4-FFF2-40B4-BE49-F238E27FC236}">
                  <a16:creationId xmlns:a16="http://schemas.microsoft.com/office/drawing/2014/main" id="{D255E0FA-A000-D36A-6664-FD5AB2AC8C8A}"/>
                </a:ext>
              </a:extLst>
            </p:cNvPr>
            <p:cNvSpPr/>
            <p:nvPr/>
          </p:nvSpPr>
          <p:spPr>
            <a:xfrm>
              <a:off x="11027115" y="2099880"/>
              <a:ext cx="547401" cy="30765"/>
            </a:xfrm>
            <a:custGeom>
              <a:avLst/>
              <a:gdLst>
                <a:gd name="connsiteX0" fmla="*/ 0 w 547401"/>
                <a:gd name="connsiteY0" fmla="*/ 0 h 30765"/>
                <a:gd name="connsiteX1" fmla="*/ 547402 w 547401"/>
                <a:gd name="connsiteY1" fmla="*/ 0 h 30765"/>
                <a:gd name="connsiteX2" fmla="*/ 547402 w 547401"/>
                <a:gd name="connsiteY2" fmla="*/ 30766 h 30765"/>
                <a:gd name="connsiteX3" fmla="*/ 0 w 547401"/>
                <a:gd name="connsiteY3" fmla="*/ 30766 h 30765"/>
              </a:gdLst>
              <a:ahLst/>
              <a:cxnLst>
                <a:cxn ang="0">
                  <a:pos x="connsiteX0" y="connsiteY0"/>
                </a:cxn>
                <a:cxn ang="0">
                  <a:pos x="connsiteX1" y="connsiteY1"/>
                </a:cxn>
                <a:cxn ang="0">
                  <a:pos x="connsiteX2" y="connsiteY2"/>
                </a:cxn>
                <a:cxn ang="0">
                  <a:pos x="connsiteX3" y="connsiteY3"/>
                </a:cxn>
              </a:cxnLst>
              <a:rect l="l" t="t" r="r" b="b"/>
              <a:pathLst>
                <a:path w="547401" h="30765">
                  <a:moveTo>
                    <a:pt x="0" y="0"/>
                  </a:moveTo>
                  <a:lnTo>
                    <a:pt x="547402" y="0"/>
                  </a:lnTo>
                  <a:lnTo>
                    <a:pt x="547402" y="30766"/>
                  </a:lnTo>
                  <a:lnTo>
                    <a:pt x="0" y="30766"/>
                  </a:lnTo>
                  <a:close/>
                </a:path>
              </a:pathLst>
            </a:custGeom>
            <a:solidFill>
              <a:srgbClr val="40AA1D"/>
            </a:solidFill>
            <a:ln w="9525" cap="flat">
              <a:noFill/>
              <a:prstDash val="solid"/>
              <a:miter/>
            </a:ln>
          </p:spPr>
          <p:txBody>
            <a:bodyPr rtlCol="0" anchor="ctr"/>
            <a:lstStyle/>
            <a:p>
              <a:endParaRPr lang="en-US" dirty="0"/>
            </a:p>
          </p:txBody>
        </p:sp>
        <p:sp>
          <p:nvSpPr>
            <p:cNvPr id="252" name="Freeform: Shape 251">
              <a:extLst>
                <a:ext uri="{FF2B5EF4-FFF2-40B4-BE49-F238E27FC236}">
                  <a16:creationId xmlns:a16="http://schemas.microsoft.com/office/drawing/2014/main" id="{FBF69551-A87E-037E-EEBC-01455D2B4399}"/>
                </a:ext>
              </a:extLst>
            </p:cNvPr>
            <p:cNvSpPr/>
            <p:nvPr/>
          </p:nvSpPr>
          <p:spPr>
            <a:xfrm>
              <a:off x="11027115" y="1927858"/>
              <a:ext cx="547401" cy="143446"/>
            </a:xfrm>
            <a:custGeom>
              <a:avLst/>
              <a:gdLst>
                <a:gd name="connsiteX0" fmla="*/ 273749 w 547401"/>
                <a:gd name="connsiteY0" fmla="*/ 0 h 143446"/>
                <a:gd name="connsiteX1" fmla="*/ 0 w 547401"/>
                <a:gd name="connsiteY1" fmla="*/ 111919 h 143446"/>
                <a:gd name="connsiteX2" fmla="*/ 0 w 547401"/>
                <a:gd name="connsiteY2" fmla="*/ 143447 h 143446"/>
                <a:gd name="connsiteX3" fmla="*/ 547402 w 547401"/>
                <a:gd name="connsiteY3" fmla="*/ 143447 h 143446"/>
                <a:gd name="connsiteX4" fmla="*/ 547402 w 547401"/>
                <a:gd name="connsiteY4" fmla="*/ 111919 h 143446"/>
                <a:gd name="connsiteX5" fmla="*/ 273749 w 547401"/>
                <a:gd name="connsiteY5" fmla="*/ 0 h 143446"/>
                <a:gd name="connsiteX6" fmla="*/ 273749 w 547401"/>
                <a:gd name="connsiteY6" fmla="*/ 104680 h 143446"/>
                <a:gd name="connsiteX7" fmla="*/ 240411 w 547401"/>
                <a:gd name="connsiteY7" fmla="*/ 71342 h 143446"/>
                <a:gd name="connsiteX8" fmla="*/ 273749 w 547401"/>
                <a:gd name="connsiteY8" fmla="*/ 38005 h 143446"/>
                <a:gd name="connsiteX9" fmla="*/ 307086 w 547401"/>
                <a:gd name="connsiteY9" fmla="*/ 71342 h 143446"/>
                <a:gd name="connsiteX10" fmla="*/ 273749 w 547401"/>
                <a:gd name="connsiteY10" fmla="*/ 104680 h 14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7401" h="143446">
                  <a:moveTo>
                    <a:pt x="273749" y="0"/>
                  </a:moveTo>
                  <a:lnTo>
                    <a:pt x="0" y="111919"/>
                  </a:lnTo>
                  <a:lnTo>
                    <a:pt x="0" y="143447"/>
                  </a:lnTo>
                  <a:lnTo>
                    <a:pt x="547402" y="143447"/>
                  </a:lnTo>
                  <a:lnTo>
                    <a:pt x="547402" y="111919"/>
                  </a:lnTo>
                  <a:lnTo>
                    <a:pt x="273749" y="0"/>
                  </a:lnTo>
                  <a:close/>
                  <a:moveTo>
                    <a:pt x="273749" y="104680"/>
                  </a:moveTo>
                  <a:cubicBezTo>
                    <a:pt x="255365" y="104680"/>
                    <a:pt x="240411" y="89726"/>
                    <a:pt x="240411" y="71342"/>
                  </a:cubicBezTo>
                  <a:cubicBezTo>
                    <a:pt x="240411" y="52959"/>
                    <a:pt x="255365" y="38005"/>
                    <a:pt x="273749" y="38005"/>
                  </a:cubicBezTo>
                  <a:cubicBezTo>
                    <a:pt x="292132" y="38005"/>
                    <a:pt x="307086" y="52959"/>
                    <a:pt x="307086" y="71342"/>
                  </a:cubicBezTo>
                  <a:cubicBezTo>
                    <a:pt x="307086" y="89726"/>
                    <a:pt x="292132" y="104680"/>
                    <a:pt x="273749" y="104680"/>
                  </a:cubicBezTo>
                  <a:close/>
                </a:path>
              </a:pathLst>
            </a:custGeom>
            <a:solidFill>
              <a:srgbClr val="40AA1D"/>
            </a:solidFill>
            <a:ln w="9525" cap="flat">
              <a:noFill/>
              <a:prstDash val="solid"/>
              <a:miter/>
            </a:ln>
          </p:spPr>
          <p:txBody>
            <a:bodyPr rtlCol="0" anchor="ctr"/>
            <a:lstStyle/>
            <a:p>
              <a:endParaRPr lang="en-US" dirty="0"/>
            </a:p>
          </p:txBody>
        </p:sp>
        <p:sp>
          <p:nvSpPr>
            <p:cNvPr id="254" name="Freeform: Shape 253">
              <a:extLst>
                <a:ext uri="{FF2B5EF4-FFF2-40B4-BE49-F238E27FC236}">
                  <a16:creationId xmlns:a16="http://schemas.microsoft.com/office/drawing/2014/main" id="{E9ADF4E4-E372-9D78-AB9F-39DB8E94611E}"/>
                </a:ext>
              </a:extLst>
            </p:cNvPr>
            <p:cNvSpPr/>
            <p:nvPr/>
          </p:nvSpPr>
          <p:spPr>
            <a:xfrm>
              <a:off x="11059737" y="2158744"/>
              <a:ext cx="57150" cy="248697"/>
            </a:xfrm>
            <a:custGeom>
              <a:avLst/>
              <a:gdLst>
                <a:gd name="connsiteX0" fmla="*/ 0 w 57150"/>
                <a:gd name="connsiteY0" fmla="*/ 0 h 248697"/>
                <a:gd name="connsiteX1" fmla="*/ 57150 w 57150"/>
                <a:gd name="connsiteY1" fmla="*/ 0 h 248697"/>
                <a:gd name="connsiteX2" fmla="*/ 57150 w 57150"/>
                <a:gd name="connsiteY2" fmla="*/ 248698 h 248697"/>
                <a:gd name="connsiteX3" fmla="*/ 0 w 57150"/>
                <a:gd name="connsiteY3" fmla="*/ 248698 h 248697"/>
              </a:gdLst>
              <a:ahLst/>
              <a:cxnLst>
                <a:cxn ang="0">
                  <a:pos x="connsiteX0" y="connsiteY0"/>
                </a:cxn>
                <a:cxn ang="0">
                  <a:pos x="connsiteX1" y="connsiteY1"/>
                </a:cxn>
                <a:cxn ang="0">
                  <a:pos x="connsiteX2" y="connsiteY2"/>
                </a:cxn>
                <a:cxn ang="0">
                  <a:pos x="connsiteX3" y="connsiteY3"/>
                </a:cxn>
              </a:cxnLst>
              <a:rect l="l" t="t" r="r" b="b"/>
              <a:pathLst>
                <a:path w="57150" h="248697">
                  <a:moveTo>
                    <a:pt x="0" y="0"/>
                  </a:moveTo>
                  <a:lnTo>
                    <a:pt x="57150" y="0"/>
                  </a:lnTo>
                  <a:lnTo>
                    <a:pt x="57150" y="248698"/>
                  </a:lnTo>
                  <a:lnTo>
                    <a:pt x="0" y="248698"/>
                  </a:lnTo>
                  <a:close/>
                </a:path>
              </a:pathLst>
            </a:custGeom>
            <a:solidFill>
              <a:srgbClr val="3D4647"/>
            </a:solidFill>
            <a:ln w="9525" cap="flat">
              <a:noFill/>
              <a:prstDash val="solid"/>
              <a:miter/>
            </a:ln>
          </p:spPr>
          <p:txBody>
            <a:bodyPr rtlCol="0" anchor="ctr"/>
            <a:lstStyle/>
            <a:p>
              <a:endParaRPr lang="en-US" dirty="0"/>
            </a:p>
          </p:txBody>
        </p:sp>
        <p:sp>
          <p:nvSpPr>
            <p:cNvPr id="256" name="Freeform: Shape 255">
              <a:extLst>
                <a:ext uri="{FF2B5EF4-FFF2-40B4-BE49-F238E27FC236}">
                  <a16:creationId xmlns:a16="http://schemas.microsoft.com/office/drawing/2014/main" id="{25DD8224-E56F-72E8-4F9D-00FE01969E5B}"/>
                </a:ext>
              </a:extLst>
            </p:cNvPr>
            <p:cNvSpPr/>
            <p:nvPr/>
          </p:nvSpPr>
          <p:spPr>
            <a:xfrm>
              <a:off x="11182038" y="2158744"/>
              <a:ext cx="57150" cy="248697"/>
            </a:xfrm>
            <a:custGeom>
              <a:avLst/>
              <a:gdLst>
                <a:gd name="connsiteX0" fmla="*/ 0 w 57150"/>
                <a:gd name="connsiteY0" fmla="*/ 0 h 248697"/>
                <a:gd name="connsiteX1" fmla="*/ 57150 w 57150"/>
                <a:gd name="connsiteY1" fmla="*/ 0 h 248697"/>
                <a:gd name="connsiteX2" fmla="*/ 57150 w 57150"/>
                <a:gd name="connsiteY2" fmla="*/ 248698 h 248697"/>
                <a:gd name="connsiteX3" fmla="*/ 0 w 57150"/>
                <a:gd name="connsiteY3" fmla="*/ 248698 h 248697"/>
              </a:gdLst>
              <a:ahLst/>
              <a:cxnLst>
                <a:cxn ang="0">
                  <a:pos x="connsiteX0" y="connsiteY0"/>
                </a:cxn>
                <a:cxn ang="0">
                  <a:pos x="connsiteX1" y="connsiteY1"/>
                </a:cxn>
                <a:cxn ang="0">
                  <a:pos x="connsiteX2" y="connsiteY2"/>
                </a:cxn>
                <a:cxn ang="0">
                  <a:pos x="connsiteX3" y="connsiteY3"/>
                </a:cxn>
              </a:cxnLst>
              <a:rect l="l" t="t" r="r" b="b"/>
              <a:pathLst>
                <a:path w="57150" h="248697">
                  <a:moveTo>
                    <a:pt x="0" y="0"/>
                  </a:moveTo>
                  <a:lnTo>
                    <a:pt x="57150" y="0"/>
                  </a:lnTo>
                  <a:lnTo>
                    <a:pt x="57150" y="248698"/>
                  </a:lnTo>
                  <a:lnTo>
                    <a:pt x="0" y="248698"/>
                  </a:lnTo>
                  <a:close/>
                </a:path>
              </a:pathLst>
            </a:custGeom>
            <a:solidFill>
              <a:srgbClr val="3D4647"/>
            </a:solidFill>
            <a:ln w="9525" cap="flat">
              <a:noFill/>
              <a:prstDash val="solid"/>
              <a:miter/>
            </a:ln>
          </p:spPr>
          <p:txBody>
            <a:bodyPr rtlCol="0" anchor="ctr"/>
            <a:lstStyle/>
            <a:p>
              <a:endParaRPr lang="en-US" dirty="0"/>
            </a:p>
          </p:txBody>
        </p:sp>
        <p:sp>
          <p:nvSpPr>
            <p:cNvPr id="257" name="Freeform: Shape 256">
              <a:extLst>
                <a:ext uri="{FF2B5EF4-FFF2-40B4-BE49-F238E27FC236}">
                  <a16:creationId xmlns:a16="http://schemas.microsoft.com/office/drawing/2014/main" id="{BD4ECA19-172B-95EE-0CBD-71A4A5C4CA9A}"/>
                </a:ext>
              </a:extLst>
            </p:cNvPr>
            <p:cNvSpPr/>
            <p:nvPr/>
          </p:nvSpPr>
          <p:spPr>
            <a:xfrm>
              <a:off x="11365680" y="2158744"/>
              <a:ext cx="57150" cy="248697"/>
            </a:xfrm>
            <a:custGeom>
              <a:avLst/>
              <a:gdLst>
                <a:gd name="connsiteX0" fmla="*/ 0 w 57150"/>
                <a:gd name="connsiteY0" fmla="*/ 0 h 248697"/>
                <a:gd name="connsiteX1" fmla="*/ 57150 w 57150"/>
                <a:gd name="connsiteY1" fmla="*/ 0 h 248697"/>
                <a:gd name="connsiteX2" fmla="*/ 57150 w 57150"/>
                <a:gd name="connsiteY2" fmla="*/ 248698 h 248697"/>
                <a:gd name="connsiteX3" fmla="*/ 0 w 57150"/>
                <a:gd name="connsiteY3" fmla="*/ 248698 h 248697"/>
              </a:gdLst>
              <a:ahLst/>
              <a:cxnLst>
                <a:cxn ang="0">
                  <a:pos x="connsiteX0" y="connsiteY0"/>
                </a:cxn>
                <a:cxn ang="0">
                  <a:pos x="connsiteX1" y="connsiteY1"/>
                </a:cxn>
                <a:cxn ang="0">
                  <a:pos x="connsiteX2" y="connsiteY2"/>
                </a:cxn>
                <a:cxn ang="0">
                  <a:pos x="connsiteX3" y="connsiteY3"/>
                </a:cxn>
              </a:cxnLst>
              <a:rect l="l" t="t" r="r" b="b"/>
              <a:pathLst>
                <a:path w="57150" h="248697">
                  <a:moveTo>
                    <a:pt x="0" y="0"/>
                  </a:moveTo>
                  <a:lnTo>
                    <a:pt x="57150" y="0"/>
                  </a:lnTo>
                  <a:lnTo>
                    <a:pt x="57150" y="248698"/>
                  </a:lnTo>
                  <a:lnTo>
                    <a:pt x="0" y="248698"/>
                  </a:lnTo>
                  <a:close/>
                </a:path>
              </a:pathLst>
            </a:custGeom>
            <a:solidFill>
              <a:srgbClr val="3D4647"/>
            </a:solidFill>
            <a:ln w="9525" cap="flat">
              <a:noFill/>
              <a:prstDash val="solid"/>
              <a:miter/>
            </a:ln>
          </p:spPr>
          <p:txBody>
            <a:bodyPr rtlCol="0" anchor="ctr"/>
            <a:lstStyle/>
            <a:p>
              <a:endParaRPr lang="en-US" dirty="0"/>
            </a:p>
          </p:txBody>
        </p:sp>
        <p:sp>
          <p:nvSpPr>
            <p:cNvPr id="258" name="Freeform: Shape 257">
              <a:extLst>
                <a:ext uri="{FF2B5EF4-FFF2-40B4-BE49-F238E27FC236}">
                  <a16:creationId xmlns:a16="http://schemas.microsoft.com/office/drawing/2014/main" id="{7053A6FB-6FC0-BFD8-9279-E029FD8F2E3D}"/>
                </a:ext>
              </a:extLst>
            </p:cNvPr>
            <p:cNvSpPr/>
            <p:nvPr/>
          </p:nvSpPr>
          <p:spPr>
            <a:xfrm>
              <a:off x="11484647" y="2158744"/>
              <a:ext cx="57150" cy="248697"/>
            </a:xfrm>
            <a:custGeom>
              <a:avLst/>
              <a:gdLst>
                <a:gd name="connsiteX0" fmla="*/ 0 w 57150"/>
                <a:gd name="connsiteY0" fmla="*/ 0 h 248697"/>
                <a:gd name="connsiteX1" fmla="*/ 57150 w 57150"/>
                <a:gd name="connsiteY1" fmla="*/ 0 h 248697"/>
                <a:gd name="connsiteX2" fmla="*/ 57150 w 57150"/>
                <a:gd name="connsiteY2" fmla="*/ 248698 h 248697"/>
                <a:gd name="connsiteX3" fmla="*/ 0 w 57150"/>
                <a:gd name="connsiteY3" fmla="*/ 248698 h 248697"/>
              </a:gdLst>
              <a:ahLst/>
              <a:cxnLst>
                <a:cxn ang="0">
                  <a:pos x="connsiteX0" y="connsiteY0"/>
                </a:cxn>
                <a:cxn ang="0">
                  <a:pos x="connsiteX1" y="connsiteY1"/>
                </a:cxn>
                <a:cxn ang="0">
                  <a:pos x="connsiteX2" y="connsiteY2"/>
                </a:cxn>
                <a:cxn ang="0">
                  <a:pos x="connsiteX3" y="connsiteY3"/>
                </a:cxn>
              </a:cxnLst>
              <a:rect l="l" t="t" r="r" b="b"/>
              <a:pathLst>
                <a:path w="57150" h="248697">
                  <a:moveTo>
                    <a:pt x="0" y="0"/>
                  </a:moveTo>
                  <a:lnTo>
                    <a:pt x="57150" y="0"/>
                  </a:lnTo>
                  <a:lnTo>
                    <a:pt x="57150" y="248698"/>
                  </a:lnTo>
                  <a:lnTo>
                    <a:pt x="0" y="248698"/>
                  </a:lnTo>
                  <a:close/>
                </a:path>
              </a:pathLst>
            </a:custGeom>
            <a:solidFill>
              <a:srgbClr val="3D4647"/>
            </a:solidFill>
            <a:ln w="9525" cap="flat">
              <a:noFill/>
              <a:prstDash val="solid"/>
              <a:miter/>
            </a:ln>
          </p:spPr>
          <p:txBody>
            <a:bodyPr rtlCol="0" anchor="ctr"/>
            <a:lstStyle/>
            <a:p>
              <a:endParaRPr lang="en-US" dirty="0"/>
            </a:p>
          </p:txBody>
        </p:sp>
      </p:grpSp>
      <p:pic>
        <p:nvPicPr>
          <p:cNvPr id="130" name="Graphic 129">
            <a:extLst>
              <a:ext uri="{FF2B5EF4-FFF2-40B4-BE49-F238E27FC236}">
                <a16:creationId xmlns:a16="http://schemas.microsoft.com/office/drawing/2014/main" id="{37A6ED51-8673-9CDB-3A55-EBD1114EFA3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974611" y="3205970"/>
            <a:ext cx="774700" cy="609600"/>
          </a:xfrm>
          <a:prstGeom prst="rect">
            <a:avLst/>
          </a:prstGeom>
        </p:spPr>
      </p:pic>
      <p:pic>
        <p:nvPicPr>
          <p:cNvPr id="156" name="Graphic 155">
            <a:extLst>
              <a:ext uri="{FF2B5EF4-FFF2-40B4-BE49-F238E27FC236}">
                <a16:creationId xmlns:a16="http://schemas.microsoft.com/office/drawing/2014/main" id="{FD52EECC-E1BE-4FF0-D8B9-26497ADC024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751442" y="3205970"/>
            <a:ext cx="774700" cy="609600"/>
          </a:xfrm>
          <a:prstGeom prst="rect">
            <a:avLst/>
          </a:prstGeom>
        </p:spPr>
      </p:pic>
      <p:pic>
        <p:nvPicPr>
          <p:cNvPr id="167" name="Graphic 166">
            <a:extLst>
              <a:ext uri="{FF2B5EF4-FFF2-40B4-BE49-F238E27FC236}">
                <a16:creationId xmlns:a16="http://schemas.microsoft.com/office/drawing/2014/main" id="{B3260805-3354-AC0E-6FF7-69DDB5FD2F9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1086933" y="3205970"/>
            <a:ext cx="774700" cy="609600"/>
          </a:xfrm>
          <a:prstGeom prst="rect">
            <a:avLst/>
          </a:prstGeom>
        </p:spPr>
      </p:pic>
      <p:pic>
        <p:nvPicPr>
          <p:cNvPr id="173" name="Graphic 172">
            <a:extLst>
              <a:ext uri="{FF2B5EF4-FFF2-40B4-BE49-F238E27FC236}">
                <a16:creationId xmlns:a16="http://schemas.microsoft.com/office/drawing/2014/main" id="{B51F61DB-EE76-04F2-031C-1E54BD41912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73094" y="4435533"/>
            <a:ext cx="609600" cy="609600"/>
          </a:xfrm>
          <a:prstGeom prst="rect">
            <a:avLst/>
          </a:prstGeom>
        </p:spPr>
      </p:pic>
      <p:pic>
        <p:nvPicPr>
          <p:cNvPr id="175" name="Graphic 174">
            <a:extLst>
              <a:ext uri="{FF2B5EF4-FFF2-40B4-BE49-F238E27FC236}">
                <a16:creationId xmlns:a16="http://schemas.microsoft.com/office/drawing/2014/main" id="{08727218-812A-7CAF-23B8-8D2A6C00196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671631" y="4435533"/>
            <a:ext cx="609600" cy="609600"/>
          </a:xfrm>
          <a:prstGeom prst="rect">
            <a:avLst/>
          </a:prstGeom>
        </p:spPr>
      </p:pic>
      <p:pic>
        <p:nvPicPr>
          <p:cNvPr id="177" name="Graphic 176">
            <a:extLst>
              <a:ext uri="{FF2B5EF4-FFF2-40B4-BE49-F238E27FC236}">
                <a16:creationId xmlns:a16="http://schemas.microsoft.com/office/drawing/2014/main" id="{13681761-D1D6-F186-0ADA-A7D629C4AE6D}"/>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2771906" y="4435533"/>
            <a:ext cx="609600" cy="609600"/>
          </a:xfrm>
          <a:prstGeom prst="rect">
            <a:avLst/>
          </a:prstGeom>
        </p:spPr>
      </p:pic>
      <p:pic>
        <p:nvPicPr>
          <p:cNvPr id="181" name="Graphic 180">
            <a:extLst>
              <a:ext uri="{FF2B5EF4-FFF2-40B4-BE49-F238E27FC236}">
                <a16:creationId xmlns:a16="http://schemas.microsoft.com/office/drawing/2014/main" id="{C83B940B-05A8-377B-15A7-F296CE77880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6552105" y="4435533"/>
            <a:ext cx="609600" cy="609600"/>
          </a:xfrm>
          <a:prstGeom prst="rect">
            <a:avLst/>
          </a:prstGeom>
        </p:spPr>
      </p:pic>
      <p:pic>
        <p:nvPicPr>
          <p:cNvPr id="183" name="Graphic 182">
            <a:extLst>
              <a:ext uri="{FF2B5EF4-FFF2-40B4-BE49-F238E27FC236}">
                <a16:creationId xmlns:a16="http://schemas.microsoft.com/office/drawing/2014/main" id="{C8973A65-0566-4853-9FB9-4A5977E937AD}"/>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9023633" y="4435533"/>
            <a:ext cx="609600" cy="609600"/>
          </a:xfrm>
          <a:prstGeom prst="rect">
            <a:avLst/>
          </a:prstGeom>
        </p:spPr>
      </p:pic>
      <p:pic>
        <p:nvPicPr>
          <p:cNvPr id="185" name="Graphic 184">
            <a:extLst>
              <a:ext uri="{FF2B5EF4-FFF2-40B4-BE49-F238E27FC236}">
                <a16:creationId xmlns:a16="http://schemas.microsoft.com/office/drawing/2014/main" id="{3596E6AE-03A7-5265-6565-CA77D22B35DA}"/>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0020696" y="4435533"/>
            <a:ext cx="609600" cy="609600"/>
          </a:xfrm>
          <a:prstGeom prst="rect">
            <a:avLst/>
          </a:prstGeom>
        </p:spPr>
      </p:pic>
      <p:grpSp>
        <p:nvGrpSpPr>
          <p:cNvPr id="66" name="Group 65">
            <a:extLst>
              <a:ext uri="{FF2B5EF4-FFF2-40B4-BE49-F238E27FC236}">
                <a16:creationId xmlns:a16="http://schemas.microsoft.com/office/drawing/2014/main" id="{7BDBF5D0-554A-099E-D2E0-FA90AAC8A7F4}"/>
              </a:ext>
            </a:extLst>
          </p:cNvPr>
          <p:cNvGrpSpPr/>
          <p:nvPr/>
        </p:nvGrpSpPr>
        <p:grpSpPr>
          <a:xfrm>
            <a:off x="484194" y="3202795"/>
            <a:ext cx="787400" cy="615950"/>
            <a:chOff x="565150" y="3267075"/>
            <a:chExt cx="787400" cy="615950"/>
          </a:xfrm>
        </p:grpSpPr>
        <p:sp>
          <p:nvSpPr>
            <p:cNvPr id="35" name="Freeform 5">
              <a:extLst>
                <a:ext uri="{FF2B5EF4-FFF2-40B4-BE49-F238E27FC236}">
                  <a16:creationId xmlns:a16="http://schemas.microsoft.com/office/drawing/2014/main" id="{1C62DB9B-199E-FBD0-E9A1-DD76E38148BB}"/>
                </a:ext>
              </a:extLst>
            </p:cNvPr>
            <p:cNvSpPr>
              <a:spLocks/>
            </p:cNvSpPr>
            <p:nvPr/>
          </p:nvSpPr>
          <p:spPr bwMode="auto">
            <a:xfrm>
              <a:off x="565150" y="3571875"/>
              <a:ext cx="34925" cy="66675"/>
            </a:xfrm>
            <a:custGeom>
              <a:avLst/>
              <a:gdLst>
                <a:gd name="T0" fmla="*/ 0 w 48"/>
                <a:gd name="T1" fmla="*/ 0 h 92"/>
                <a:gd name="T2" fmla="*/ 0 w 48"/>
                <a:gd name="T3" fmla="*/ 1 h 92"/>
                <a:gd name="T4" fmla="*/ 0 w 48"/>
                <a:gd name="T5" fmla="*/ 2 h 92"/>
                <a:gd name="T6" fmla="*/ 0 w 48"/>
                <a:gd name="T7" fmla="*/ 2 h 92"/>
                <a:gd name="T8" fmla="*/ 0 w 48"/>
                <a:gd name="T9" fmla="*/ 3 h 92"/>
                <a:gd name="T10" fmla="*/ 0 w 48"/>
                <a:gd name="T11" fmla="*/ 3 h 92"/>
                <a:gd name="T12" fmla="*/ 0 w 48"/>
                <a:gd name="T13" fmla="*/ 3 h 92"/>
                <a:gd name="T14" fmla="*/ 0 w 48"/>
                <a:gd name="T15" fmla="*/ 4 h 92"/>
                <a:gd name="T16" fmla="*/ 0 w 48"/>
                <a:gd name="T17" fmla="*/ 4 h 92"/>
                <a:gd name="T18" fmla="*/ 0 w 48"/>
                <a:gd name="T19" fmla="*/ 5 h 92"/>
                <a:gd name="T20" fmla="*/ 0 w 48"/>
                <a:gd name="T21" fmla="*/ 5 h 92"/>
                <a:gd name="T22" fmla="*/ 0 w 48"/>
                <a:gd name="T23" fmla="*/ 5 h 92"/>
                <a:gd name="T24" fmla="*/ 0 w 48"/>
                <a:gd name="T25" fmla="*/ 6 h 92"/>
                <a:gd name="T26" fmla="*/ 0 w 48"/>
                <a:gd name="T27" fmla="*/ 6 h 92"/>
                <a:gd name="T28" fmla="*/ 0 w 48"/>
                <a:gd name="T29" fmla="*/ 6 h 92"/>
                <a:gd name="T30" fmla="*/ 0 w 48"/>
                <a:gd name="T31" fmla="*/ 7 h 92"/>
                <a:gd name="T32" fmla="*/ 0 w 48"/>
                <a:gd name="T33" fmla="*/ 7 h 92"/>
                <a:gd name="T34" fmla="*/ 0 w 48"/>
                <a:gd name="T35" fmla="*/ 7 h 92"/>
                <a:gd name="T36" fmla="*/ 0 w 48"/>
                <a:gd name="T37" fmla="*/ 8 h 92"/>
                <a:gd name="T38" fmla="*/ 0 w 48"/>
                <a:gd name="T39" fmla="*/ 8 h 92"/>
                <a:gd name="T40" fmla="*/ 0 w 48"/>
                <a:gd name="T41" fmla="*/ 8 h 92"/>
                <a:gd name="T42" fmla="*/ 0 w 48"/>
                <a:gd name="T43" fmla="*/ 9 h 92"/>
                <a:gd name="T44" fmla="*/ 0 w 48"/>
                <a:gd name="T45" fmla="*/ 9 h 92"/>
                <a:gd name="T46" fmla="*/ 0 w 48"/>
                <a:gd name="T47" fmla="*/ 10 h 92"/>
                <a:gd name="T48" fmla="*/ 0 w 48"/>
                <a:gd name="T49" fmla="*/ 10 h 92"/>
                <a:gd name="T50" fmla="*/ 0 w 48"/>
                <a:gd name="T51" fmla="*/ 10 h 92"/>
                <a:gd name="T52" fmla="*/ 0 w 48"/>
                <a:gd name="T53" fmla="*/ 11 h 92"/>
                <a:gd name="T54" fmla="*/ 0 w 48"/>
                <a:gd name="T55" fmla="*/ 11 h 92"/>
                <a:gd name="T56" fmla="*/ 0 w 48"/>
                <a:gd name="T57" fmla="*/ 12 h 92"/>
                <a:gd name="T58" fmla="*/ 0 w 48"/>
                <a:gd name="T59" fmla="*/ 12 h 92"/>
                <a:gd name="T60" fmla="*/ 0 w 48"/>
                <a:gd name="T61" fmla="*/ 12 h 92"/>
                <a:gd name="T62" fmla="*/ 0 w 48"/>
                <a:gd name="T63" fmla="*/ 13 h 92"/>
                <a:gd name="T64" fmla="*/ 0 w 48"/>
                <a:gd name="T65" fmla="*/ 13 h 92"/>
                <a:gd name="T66" fmla="*/ 0 w 48"/>
                <a:gd name="T67" fmla="*/ 13 h 92"/>
                <a:gd name="T68" fmla="*/ 0 w 48"/>
                <a:gd name="T69" fmla="*/ 14 h 92"/>
                <a:gd name="T70" fmla="*/ 0 w 48"/>
                <a:gd name="T71" fmla="*/ 14 h 92"/>
                <a:gd name="T72" fmla="*/ 0 w 48"/>
                <a:gd name="T73" fmla="*/ 14 h 92"/>
                <a:gd name="T74" fmla="*/ 0 w 48"/>
                <a:gd name="T75" fmla="*/ 15 h 92"/>
                <a:gd name="T76" fmla="*/ 0 w 48"/>
                <a:gd name="T77" fmla="*/ 15 h 92"/>
                <a:gd name="T78" fmla="*/ 0 w 48"/>
                <a:gd name="T79" fmla="*/ 16 h 92"/>
                <a:gd name="T80" fmla="*/ 0 w 48"/>
                <a:gd name="T81" fmla="*/ 16 h 92"/>
                <a:gd name="T82" fmla="*/ 0 w 48"/>
                <a:gd name="T83" fmla="*/ 17 h 92"/>
                <a:gd name="T84" fmla="*/ 0 w 48"/>
                <a:gd name="T85" fmla="*/ 17 h 92"/>
                <a:gd name="T86" fmla="*/ 0 w 48"/>
                <a:gd name="T87" fmla="*/ 17 h 92"/>
                <a:gd name="T88" fmla="*/ 0 w 48"/>
                <a:gd name="T89" fmla="*/ 18 h 92"/>
                <a:gd name="T90" fmla="*/ 0 w 48"/>
                <a:gd name="T91" fmla="*/ 18 h 92"/>
                <a:gd name="T92" fmla="*/ 0 w 48"/>
                <a:gd name="T93" fmla="*/ 19 h 92"/>
                <a:gd name="T94" fmla="*/ 0 w 48"/>
                <a:gd name="T95" fmla="*/ 19 h 92"/>
                <a:gd name="T96" fmla="*/ 0 w 48"/>
                <a:gd name="T97" fmla="*/ 19 h 92"/>
                <a:gd name="T98" fmla="*/ 0 w 48"/>
                <a:gd name="T99" fmla="*/ 21 h 92"/>
                <a:gd name="T100" fmla="*/ 0 w 48"/>
                <a:gd name="T101" fmla="*/ 21 h 92"/>
                <a:gd name="T102" fmla="*/ 0 w 48"/>
                <a:gd name="T103" fmla="*/ 21 h 92"/>
                <a:gd name="T104" fmla="*/ 0 w 48"/>
                <a:gd name="T105" fmla="*/ 22 h 92"/>
                <a:gd name="T106" fmla="*/ 0 w 48"/>
                <a:gd name="T107" fmla="*/ 22 h 92"/>
                <a:gd name="T108" fmla="*/ 0 w 48"/>
                <a:gd name="T109" fmla="*/ 22 h 92"/>
                <a:gd name="T110" fmla="*/ 0 w 48"/>
                <a:gd name="T111" fmla="*/ 23 h 92"/>
                <a:gd name="T112" fmla="*/ 0 w 48"/>
                <a:gd name="T113" fmla="*/ 23 h 92"/>
                <a:gd name="T114" fmla="*/ 0 w 48"/>
                <a:gd name="T115" fmla="*/ 26 h 92"/>
                <a:gd name="T116" fmla="*/ 0 w 48"/>
                <a:gd name="T117" fmla="*/ 26 h 92"/>
                <a:gd name="T118" fmla="*/ 9 w 48"/>
                <a:gd name="T1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 h="92">
                  <a:moveTo>
                    <a:pt x="40" y="3"/>
                  </a:moveTo>
                  <a:lnTo>
                    <a:pt x="40" y="3"/>
                  </a:lnTo>
                  <a:lnTo>
                    <a:pt x="40" y="0"/>
                  </a:lnTo>
                  <a:lnTo>
                    <a:pt x="0" y="0"/>
                  </a:lnTo>
                  <a:cubicBezTo>
                    <a:pt x="0" y="0"/>
                    <a:pt x="0" y="0"/>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20"/>
                    <a:pt x="0" y="20"/>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3"/>
                    <a:pt x="0" y="23"/>
                  </a:cubicBezTo>
                  <a:lnTo>
                    <a:pt x="0" y="23"/>
                  </a:ln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4"/>
                    <a:pt x="0" y="25"/>
                    <a:pt x="0" y="25"/>
                  </a:cubicBezTo>
                  <a:cubicBezTo>
                    <a:pt x="0" y="25"/>
                    <a:pt x="0" y="25"/>
                    <a:pt x="0" y="25"/>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lnTo>
                    <a:pt x="0" y="27"/>
                  </a:lnTo>
                  <a:cubicBezTo>
                    <a:pt x="0" y="27"/>
                    <a:pt x="0" y="27"/>
                    <a:pt x="0" y="27"/>
                  </a:cubicBezTo>
                  <a:cubicBezTo>
                    <a:pt x="0" y="27"/>
                    <a:pt x="0" y="27"/>
                    <a:pt x="0" y="27"/>
                  </a:cubicBezTo>
                  <a:cubicBezTo>
                    <a:pt x="1" y="49"/>
                    <a:pt x="4" y="71"/>
                    <a:pt x="9" y="92"/>
                  </a:cubicBezTo>
                  <a:lnTo>
                    <a:pt x="48" y="84"/>
                  </a:lnTo>
                  <a:cubicBezTo>
                    <a:pt x="43" y="57"/>
                    <a:pt x="40" y="30"/>
                    <a:pt x="40" y="3"/>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6">
              <a:extLst>
                <a:ext uri="{FF2B5EF4-FFF2-40B4-BE49-F238E27FC236}">
                  <a16:creationId xmlns:a16="http://schemas.microsoft.com/office/drawing/2014/main" id="{AED811FD-1F5F-67D5-1E58-76B0E779ECFA}"/>
                </a:ext>
              </a:extLst>
            </p:cNvPr>
            <p:cNvSpPr>
              <a:spLocks/>
            </p:cNvSpPr>
            <p:nvPr/>
          </p:nvSpPr>
          <p:spPr bwMode="auto">
            <a:xfrm>
              <a:off x="715963" y="3281363"/>
              <a:ext cx="69850" cy="52388"/>
            </a:xfrm>
            <a:custGeom>
              <a:avLst/>
              <a:gdLst>
                <a:gd name="T0" fmla="*/ 97 w 97"/>
                <a:gd name="T1" fmla="*/ 38 h 73"/>
                <a:gd name="T2" fmla="*/ 97 w 97"/>
                <a:gd name="T3" fmla="*/ 38 h 73"/>
                <a:gd name="T4" fmla="*/ 85 w 97"/>
                <a:gd name="T5" fmla="*/ 0 h 73"/>
                <a:gd name="T6" fmla="*/ 0 w 97"/>
                <a:gd name="T7" fmla="*/ 38 h 73"/>
                <a:gd name="T8" fmla="*/ 20 w 97"/>
                <a:gd name="T9" fmla="*/ 73 h 73"/>
                <a:gd name="T10" fmla="*/ 97 w 97"/>
                <a:gd name="T11" fmla="*/ 38 h 73"/>
              </a:gdLst>
              <a:ahLst/>
              <a:cxnLst>
                <a:cxn ang="0">
                  <a:pos x="T0" y="T1"/>
                </a:cxn>
                <a:cxn ang="0">
                  <a:pos x="T2" y="T3"/>
                </a:cxn>
                <a:cxn ang="0">
                  <a:pos x="T4" y="T5"/>
                </a:cxn>
                <a:cxn ang="0">
                  <a:pos x="T6" y="T7"/>
                </a:cxn>
                <a:cxn ang="0">
                  <a:pos x="T8" y="T9"/>
                </a:cxn>
                <a:cxn ang="0">
                  <a:pos x="T10" y="T11"/>
                </a:cxn>
              </a:cxnLst>
              <a:rect l="0" t="0" r="r" b="b"/>
              <a:pathLst>
                <a:path w="97" h="73">
                  <a:moveTo>
                    <a:pt x="97" y="38"/>
                  </a:moveTo>
                  <a:lnTo>
                    <a:pt x="97" y="38"/>
                  </a:lnTo>
                  <a:lnTo>
                    <a:pt x="85" y="0"/>
                  </a:lnTo>
                  <a:cubicBezTo>
                    <a:pt x="55" y="9"/>
                    <a:pt x="27" y="22"/>
                    <a:pt x="0" y="38"/>
                  </a:cubicBezTo>
                  <a:lnTo>
                    <a:pt x="20" y="73"/>
                  </a:lnTo>
                  <a:cubicBezTo>
                    <a:pt x="45" y="58"/>
                    <a:pt x="70" y="47"/>
                    <a:pt x="97" y="38"/>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7">
              <a:extLst>
                <a:ext uri="{FF2B5EF4-FFF2-40B4-BE49-F238E27FC236}">
                  <a16:creationId xmlns:a16="http://schemas.microsoft.com/office/drawing/2014/main" id="{32FEAFED-A3EA-EB36-BE18-F51E157ACD29}"/>
                </a:ext>
              </a:extLst>
            </p:cNvPr>
            <p:cNvSpPr>
              <a:spLocks/>
            </p:cNvSpPr>
            <p:nvPr/>
          </p:nvSpPr>
          <p:spPr bwMode="auto">
            <a:xfrm>
              <a:off x="590550" y="3392488"/>
              <a:ext cx="57150" cy="69850"/>
            </a:xfrm>
            <a:custGeom>
              <a:avLst/>
              <a:gdLst>
                <a:gd name="T0" fmla="*/ 47 w 80"/>
                <a:gd name="T1" fmla="*/ 0 h 97"/>
                <a:gd name="T2" fmla="*/ 39 w 80"/>
                <a:gd name="T3" fmla="*/ 13 h 97"/>
                <a:gd name="T4" fmla="*/ 38 w 80"/>
                <a:gd name="T5" fmla="*/ 13 h 97"/>
                <a:gd name="T6" fmla="*/ 38 w 80"/>
                <a:gd name="T7" fmla="*/ 13 h 97"/>
                <a:gd name="T8" fmla="*/ 38 w 80"/>
                <a:gd name="T9" fmla="*/ 14 h 97"/>
                <a:gd name="T10" fmla="*/ 38 w 80"/>
                <a:gd name="T11" fmla="*/ 14 h 97"/>
                <a:gd name="T12" fmla="*/ 37 w 80"/>
                <a:gd name="T13" fmla="*/ 14 h 97"/>
                <a:gd name="T14" fmla="*/ 37 w 80"/>
                <a:gd name="T15" fmla="*/ 14 h 97"/>
                <a:gd name="T16" fmla="*/ 37 w 80"/>
                <a:gd name="T17" fmla="*/ 15 h 97"/>
                <a:gd name="T18" fmla="*/ 37 w 80"/>
                <a:gd name="T19" fmla="*/ 15 h 97"/>
                <a:gd name="T20" fmla="*/ 37 w 80"/>
                <a:gd name="T21" fmla="*/ 15 h 97"/>
                <a:gd name="T22" fmla="*/ 36 w 80"/>
                <a:gd name="T23" fmla="*/ 16 h 97"/>
                <a:gd name="T24" fmla="*/ 36 w 80"/>
                <a:gd name="T25" fmla="*/ 16 h 97"/>
                <a:gd name="T26" fmla="*/ 36 w 80"/>
                <a:gd name="T27" fmla="*/ 16 h 97"/>
                <a:gd name="T28" fmla="*/ 36 w 80"/>
                <a:gd name="T29" fmla="*/ 17 h 97"/>
                <a:gd name="T30" fmla="*/ 36 w 80"/>
                <a:gd name="T31" fmla="*/ 17 h 97"/>
                <a:gd name="T32" fmla="*/ 35 w 80"/>
                <a:gd name="T33" fmla="*/ 17 h 97"/>
                <a:gd name="T34" fmla="*/ 35 w 80"/>
                <a:gd name="T35" fmla="*/ 17 h 97"/>
                <a:gd name="T36" fmla="*/ 35 w 80"/>
                <a:gd name="T37" fmla="*/ 18 h 97"/>
                <a:gd name="T38" fmla="*/ 35 w 80"/>
                <a:gd name="T39" fmla="*/ 18 h 97"/>
                <a:gd name="T40" fmla="*/ 35 w 80"/>
                <a:gd name="T41" fmla="*/ 18 h 97"/>
                <a:gd name="T42" fmla="*/ 35 w 80"/>
                <a:gd name="T43" fmla="*/ 18 h 97"/>
                <a:gd name="T44" fmla="*/ 35 w 80"/>
                <a:gd name="T45" fmla="*/ 19 h 97"/>
                <a:gd name="T46" fmla="*/ 34 w 80"/>
                <a:gd name="T47" fmla="*/ 19 h 97"/>
                <a:gd name="T48" fmla="*/ 34 w 80"/>
                <a:gd name="T49" fmla="*/ 19 h 97"/>
                <a:gd name="T50" fmla="*/ 34 w 80"/>
                <a:gd name="T51" fmla="*/ 19 h 97"/>
                <a:gd name="T52" fmla="*/ 34 w 80"/>
                <a:gd name="T53" fmla="*/ 19 h 97"/>
                <a:gd name="T54" fmla="*/ 34 w 80"/>
                <a:gd name="T55" fmla="*/ 20 h 97"/>
                <a:gd name="T56" fmla="*/ 34 w 80"/>
                <a:gd name="T57" fmla="*/ 20 h 97"/>
                <a:gd name="T58" fmla="*/ 33 w 80"/>
                <a:gd name="T59" fmla="*/ 20 h 97"/>
                <a:gd name="T60" fmla="*/ 33 w 80"/>
                <a:gd name="T61" fmla="*/ 20 h 97"/>
                <a:gd name="T62" fmla="*/ 33 w 80"/>
                <a:gd name="T63" fmla="*/ 21 h 97"/>
                <a:gd name="T64" fmla="*/ 33 w 80"/>
                <a:gd name="T65" fmla="*/ 21 h 97"/>
                <a:gd name="T66" fmla="*/ 33 w 80"/>
                <a:gd name="T67" fmla="*/ 21 h 97"/>
                <a:gd name="T68" fmla="*/ 33 w 80"/>
                <a:gd name="T69" fmla="*/ 21 h 97"/>
                <a:gd name="T70" fmla="*/ 33 w 80"/>
                <a:gd name="T71" fmla="*/ 22 h 97"/>
                <a:gd name="T72" fmla="*/ 32 w 80"/>
                <a:gd name="T73" fmla="*/ 22 h 97"/>
                <a:gd name="T74" fmla="*/ 32 w 80"/>
                <a:gd name="T75" fmla="*/ 22 h 97"/>
                <a:gd name="T76" fmla="*/ 32 w 80"/>
                <a:gd name="T77" fmla="*/ 22 h 97"/>
                <a:gd name="T78" fmla="*/ 32 w 80"/>
                <a:gd name="T79" fmla="*/ 23 h 97"/>
                <a:gd name="T80" fmla="*/ 32 w 80"/>
                <a:gd name="T81" fmla="*/ 23 h 97"/>
                <a:gd name="T82" fmla="*/ 31 w 80"/>
                <a:gd name="T83" fmla="*/ 23 h 97"/>
                <a:gd name="T84" fmla="*/ 31 w 80"/>
                <a:gd name="T85" fmla="*/ 23 h 97"/>
                <a:gd name="T86" fmla="*/ 31 w 80"/>
                <a:gd name="T87" fmla="*/ 24 h 97"/>
                <a:gd name="T88" fmla="*/ 31 w 80"/>
                <a:gd name="T89" fmla="*/ 24 h 97"/>
                <a:gd name="T90" fmla="*/ 31 w 80"/>
                <a:gd name="T91" fmla="*/ 24 h 97"/>
                <a:gd name="T92" fmla="*/ 30 w 80"/>
                <a:gd name="T93" fmla="*/ 25 h 97"/>
                <a:gd name="T94" fmla="*/ 30 w 80"/>
                <a:gd name="T95" fmla="*/ 25 h 97"/>
                <a:gd name="T96" fmla="*/ 30 w 80"/>
                <a:gd name="T97" fmla="*/ 26 h 97"/>
                <a:gd name="T98" fmla="*/ 30 w 80"/>
                <a:gd name="T99" fmla="*/ 26 h 97"/>
                <a:gd name="T100" fmla="*/ 29 w 80"/>
                <a:gd name="T101" fmla="*/ 27 h 97"/>
                <a:gd name="T102" fmla="*/ 29 w 80"/>
                <a:gd name="T103" fmla="*/ 27 h 97"/>
                <a:gd name="T104" fmla="*/ 37 w 80"/>
                <a:gd name="T10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97">
                  <a:moveTo>
                    <a:pt x="80" y="24"/>
                  </a:moveTo>
                  <a:lnTo>
                    <a:pt x="80" y="24"/>
                  </a:lnTo>
                  <a:lnTo>
                    <a:pt x="47" y="0"/>
                  </a:lnTo>
                  <a:cubicBezTo>
                    <a:pt x="44" y="4"/>
                    <a:pt x="42" y="8"/>
                    <a:pt x="39" y="12"/>
                  </a:cubicBezTo>
                  <a:cubicBezTo>
                    <a:pt x="39" y="12"/>
                    <a:pt x="39" y="12"/>
                    <a:pt x="39" y="12"/>
                  </a:cubicBezTo>
                  <a:cubicBezTo>
                    <a:pt x="39" y="12"/>
                    <a:pt x="39" y="12"/>
                    <a:pt x="39" y="13"/>
                  </a:cubicBezTo>
                  <a:cubicBezTo>
                    <a:pt x="39" y="13"/>
                    <a:pt x="38" y="13"/>
                    <a:pt x="38" y="13"/>
                  </a:cubicBezTo>
                  <a:cubicBezTo>
                    <a:pt x="38" y="13"/>
                    <a:pt x="38" y="13"/>
                    <a:pt x="38" y="13"/>
                  </a:cubicBezTo>
                  <a:cubicBezTo>
                    <a:pt x="38" y="13"/>
                    <a:pt x="38" y="13"/>
                    <a:pt x="38" y="13"/>
                  </a:cubicBezTo>
                  <a:cubicBezTo>
                    <a:pt x="38" y="13"/>
                    <a:pt x="38" y="13"/>
                    <a:pt x="38" y="13"/>
                  </a:cubicBezTo>
                  <a:cubicBezTo>
                    <a:pt x="38" y="13"/>
                    <a:pt x="38" y="13"/>
                    <a:pt x="38" y="13"/>
                  </a:cubicBezTo>
                  <a:cubicBezTo>
                    <a:pt x="38" y="13"/>
                    <a:pt x="38" y="13"/>
                    <a:pt x="38" y="13"/>
                  </a:cubicBezTo>
                  <a:cubicBezTo>
                    <a:pt x="38" y="13"/>
                    <a:pt x="38" y="13"/>
                    <a:pt x="38" y="14"/>
                  </a:cubicBezTo>
                  <a:lnTo>
                    <a:pt x="38" y="14"/>
                  </a:lnTo>
                  <a:cubicBezTo>
                    <a:pt x="38" y="14"/>
                    <a:pt x="38" y="14"/>
                    <a:pt x="38" y="14"/>
                  </a:cubicBezTo>
                  <a:cubicBezTo>
                    <a:pt x="38" y="14"/>
                    <a:pt x="38" y="14"/>
                    <a:pt x="38" y="14"/>
                  </a:cubicBezTo>
                  <a:cubicBezTo>
                    <a:pt x="38" y="14"/>
                    <a:pt x="38" y="14"/>
                    <a:pt x="38" y="14"/>
                  </a:cubicBezTo>
                  <a:lnTo>
                    <a:pt x="38" y="14"/>
                  </a:lnTo>
                  <a:cubicBezTo>
                    <a:pt x="38" y="14"/>
                    <a:pt x="38" y="14"/>
                    <a:pt x="38" y="14"/>
                  </a:cubicBezTo>
                  <a:cubicBezTo>
                    <a:pt x="38" y="14"/>
                    <a:pt x="38" y="14"/>
                    <a:pt x="38" y="14"/>
                  </a:cubicBezTo>
                  <a:cubicBezTo>
                    <a:pt x="38" y="14"/>
                    <a:pt x="37" y="14"/>
                    <a:pt x="37" y="14"/>
                  </a:cubicBezTo>
                  <a:cubicBezTo>
                    <a:pt x="37" y="14"/>
                    <a:pt x="37" y="14"/>
                    <a:pt x="37" y="14"/>
                  </a:cubicBezTo>
                  <a:cubicBezTo>
                    <a:pt x="37" y="14"/>
                    <a:pt x="37" y="14"/>
                    <a:pt x="37" y="14"/>
                  </a:cubicBezTo>
                  <a:cubicBezTo>
                    <a:pt x="37" y="14"/>
                    <a:pt x="37" y="14"/>
                    <a:pt x="37" y="14"/>
                  </a:cubicBezTo>
                  <a:cubicBezTo>
                    <a:pt x="37" y="14"/>
                    <a:pt x="37" y="15"/>
                    <a:pt x="37" y="15"/>
                  </a:cubicBezTo>
                  <a:cubicBezTo>
                    <a:pt x="37" y="15"/>
                    <a:pt x="37" y="15"/>
                    <a:pt x="37" y="15"/>
                  </a:cubicBezTo>
                  <a:cubicBezTo>
                    <a:pt x="37" y="15"/>
                    <a:pt x="37" y="15"/>
                    <a:pt x="37" y="15"/>
                  </a:cubicBezTo>
                  <a:lnTo>
                    <a:pt x="37" y="15"/>
                  </a:lnTo>
                  <a:cubicBezTo>
                    <a:pt x="37" y="15"/>
                    <a:pt x="37" y="15"/>
                    <a:pt x="37" y="15"/>
                  </a:cubicBezTo>
                  <a:cubicBezTo>
                    <a:pt x="37" y="15"/>
                    <a:pt x="37" y="15"/>
                    <a:pt x="37" y="15"/>
                  </a:cubicBezTo>
                  <a:cubicBezTo>
                    <a:pt x="37" y="15"/>
                    <a:pt x="37" y="15"/>
                    <a:pt x="37" y="15"/>
                  </a:cubicBezTo>
                  <a:cubicBezTo>
                    <a:pt x="37" y="15"/>
                    <a:pt x="37" y="15"/>
                    <a:pt x="37" y="15"/>
                  </a:cubicBezTo>
                  <a:cubicBezTo>
                    <a:pt x="37" y="15"/>
                    <a:pt x="37" y="15"/>
                    <a:pt x="37" y="15"/>
                  </a:cubicBezTo>
                  <a:cubicBezTo>
                    <a:pt x="37" y="15"/>
                    <a:pt x="37" y="15"/>
                    <a:pt x="37" y="15"/>
                  </a:cubicBezTo>
                  <a:cubicBezTo>
                    <a:pt x="37"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7"/>
                    <a:pt x="36" y="17"/>
                  </a:cubicBezTo>
                  <a:cubicBezTo>
                    <a:pt x="36" y="17"/>
                    <a:pt x="36" y="17"/>
                    <a:pt x="36" y="17"/>
                  </a:cubicBezTo>
                  <a:cubicBezTo>
                    <a:pt x="36" y="17"/>
                    <a:pt x="36" y="17"/>
                    <a:pt x="36" y="17"/>
                  </a:cubicBezTo>
                  <a:cubicBezTo>
                    <a:pt x="36" y="17"/>
                    <a:pt x="36" y="17"/>
                    <a:pt x="36" y="17"/>
                  </a:cubicBezTo>
                  <a:cubicBezTo>
                    <a:pt x="36" y="17"/>
                    <a:pt x="36" y="17"/>
                    <a:pt x="36" y="17"/>
                  </a:cubicBezTo>
                  <a:cubicBezTo>
                    <a:pt x="35" y="17"/>
                    <a:pt x="35" y="17"/>
                    <a:pt x="35" y="17"/>
                  </a:cubicBezTo>
                  <a:cubicBezTo>
                    <a:pt x="35" y="17"/>
                    <a:pt x="35" y="17"/>
                    <a:pt x="35" y="17"/>
                  </a:cubicBezTo>
                  <a:cubicBezTo>
                    <a:pt x="35" y="17"/>
                    <a:pt x="35" y="17"/>
                    <a:pt x="35" y="17"/>
                  </a:cubicBezTo>
                  <a:cubicBezTo>
                    <a:pt x="35" y="17"/>
                    <a:pt x="35" y="17"/>
                    <a:pt x="35" y="17"/>
                  </a:cubicBezTo>
                  <a:cubicBezTo>
                    <a:pt x="35" y="17"/>
                    <a:pt x="35" y="17"/>
                    <a:pt x="35" y="17"/>
                  </a:cubicBezTo>
                  <a:cubicBezTo>
                    <a:pt x="35" y="17"/>
                    <a:pt x="35" y="17"/>
                    <a:pt x="35" y="17"/>
                  </a:cubicBezTo>
                  <a:cubicBezTo>
                    <a:pt x="35" y="17"/>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9"/>
                    <a:pt x="35" y="19"/>
                  </a:cubicBezTo>
                  <a:cubicBezTo>
                    <a:pt x="35"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3" y="20"/>
                  </a:cubicBezTo>
                  <a:cubicBezTo>
                    <a:pt x="33" y="20"/>
                    <a:pt x="33" y="20"/>
                    <a:pt x="33" y="20"/>
                  </a:cubicBezTo>
                  <a:cubicBezTo>
                    <a:pt x="33" y="20"/>
                    <a:pt x="33" y="20"/>
                    <a:pt x="33" y="20"/>
                  </a:cubicBezTo>
                  <a:cubicBezTo>
                    <a:pt x="33" y="20"/>
                    <a:pt x="33" y="20"/>
                    <a:pt x="33" y="20"/>
                  </a:cubicBezTo>
                  <a:cubicBezTo>
                    <a:pt x="33" y="20"/>
                    <a:pt x="33" y="20"/>
                    <a:pt x="33" y="20"/>
                  </a:cubicBezTo>
                  <a:cubicBezTo>
                    <a:pt x="33" y="20"/>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2"/>
                  </a:cubicBezTo>
                  <a:cubicBezTo>
                    <a:pt x="33" y="22"/>
                    <a:pt x="33" y="22"/>
                    <a:pt x="33" y="22"/>
                  </a:cubicBezTo>
                  <a:cubicBezTo>
                    <a:pt x="33" y="22"/>
                    <a:pt x="33"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lnTo>
                    <a:pt x="32" y="22"/>
                  </a:lnTo>
                  <a:cubicBezTo>
                    <a:pt x="32" y="22"/>
                    <a:pt x="32" y="23"/>
                    <a:pt x="32" y="23"/>
                  </a:cubicBezTo>
                  <a:lnTo>
                    <a:pt x="32" y="23"/>
                  </a:lnTo>
                  <a:cubicBezTo>
                    <a:pt x="32" y="23"/>
                    <a:pt x="32" y="23"/>
                    <a:pt x="32" y="23"/>
                  </a:cubicBezTo>
                  <a:cubicBezTo>
                    <a:pt x="32" y="23"/>
                    <a:pt x="32" y="23"/>
                    <a:pt x="32" y="23"/>
                  </a:cubicBezTo>
                  <a:cubicBezTo>
                    <a:pt x="32" y="23"/>
                    <a:pt x="32" y="23"/>
                    <a:pt x="32" y="23"/>
                  </a:cubicBezTo>
                  <a:lnTo>
                    <a:pt x="32" y="23"/>
                  </a:lnTo>
                  <a:cubicBezTo>
                    <a:pt x="32" y="23"/>
                    <a:pt x="32" y="23"/>
                    <a:pt x="31" y="23"/>
                  </a:cubicBezTo>
                  <a:cubicBezTo>
                    <a:pt x="31" y="23"/>
                    <a:pt x="31" y="23"/>
                    <a:pt x="31" y="23"/>
                  </a:cubicBezTo>
                  <a:cubicBezTo>
                    <a:pt x="31" y="23"/>
                    <a:pt x="31" y="23"/>
                    <a:pt x="31" y="23"/>
                  </a:cubicBezTo>
                  <a:lnTo>
                    <a:pt x="31" y="23"/>
                  </a:lnTo>
                  <a:cubicBezTo>
                    <a:pt x="31" y="23"/>
                    <a:pt x="31" y="23"/>
                    <a:pt x="31" y="24"/>
                  </a:cubicBezTo>
                  <a:cubicBezTo>
                    <a:pt x="31" y="24"/>
                    <a:pt x="31" y="24"/>
                    <a:pt x="31" y="24"/>
                  </a:cubicBezTo>
                  <a:lnTo>
                    <a:pt x="31" y="24"/>
                  </a:lnTo>
                  <a:cubicBezTo>
                    <a:pt x="31" y="24"/>
                    <a:pt x="31" y="24"/>
                    <a:pt x="31" y="24"/>
                  </a:cubicBezTo>
                  <a:lnTo>
                    <a:pt x="31" y="24"/>
                  </a:lnTo>
                  <a:cubicBezTo>
                    <a:pt x="31" y="24"/>
                    <a:pt x="31" y="24"/>
                    <a:pt x="31" y="24"/>
                  </a:cubicBezTo>
                  <a:cubicBezTo>
                    <a:pt x="31" y="24"/>
                    <a:pt x="31" y="24"/>
                    <a:pt x="31" y="24"/>
                  </a:cubicBezTo>
                  <a:cubicBezTo>
                    <a:pt x="31" y="24"/>
                    <a:pt x="31" y="24"/>
                    <a:pt x="31" y="24"/>
                  </a:cubicBezTo>
                  <a:cubicBezTo>
                    <a:pt x="31" y="24"/>
                    <a:pt x="31" y="24"/>
                    <a:pt x="31" y="24"/>
                  </a:cubicBezTo>
                  <a:cubicBezTo>
                    <a:pt x="31" y="24"/>
                    <a:pt x="31" y="24"/>
                    <a:pt x="31" y="24"/>
                  </a:cubicBezTo>
                  <a:cubicBezTo>
                    <a:pt x="31" y="24"/>
                    <a:pt x="31" y="24"/>
                    <a:pt x="31" y="24"/>
                  </a:cubicBezTo>
                  <a:cubicBezTo>
                    <a:pt x="31" y="25"/>
                    <a:pt x="30" y="25"/>
                    <a:pt x="30" y="25"/>
                  </a:cubicBezTo>
                  <a:cubicBezTo>
                    <a:pt x="30" y="25"/>
                    <a:pt x="30" y="25"/>
                    <a:pt x="30" y="25"/>
                  </a:cubicBezTo>
                  <a:cubicBezTo>
                    <a:pt x="30" y="25"/>
                    <a:pt x="30" y="25"/>
                    <a:pt x="30" y="25"/>
                  </a:cubicBezTo>
                  <a:lnTo>
                    <a:pt x="30" y="25"/>
                  </a:lnTo>
                  <a:cubicBezTo>
                    <a:pt x="30" y="25"/>
                    <a:pt x="30" y="25"/>
                    <a:pt x="30" y="26"/>
                  </a:cubicBezTo>
                  <a:cubicBezTo>
                    <a:pt x="30" y="26"/>
                    <a:pt x="30" y="26"/>
                    <a:pt x="30" y="26"/>
                  </a:cubicBezTo>
                  <a:cubicBezTo>
                    <a:pt x="30" y="26"/>
                    <a:pt x="30" y="26"/>
                    <a:pt x="30" y="26"/>
                  </a:cubicBezTo>
                  <a:lnTo>
                    <a:pt x="30" y="26"/>
                  </a:lnTo>
                  <a:cubicBezTo>
                    <a:pt x="30" y="26"/>
                    <a:pt x="30" y="26"/>
                    <a:pt x="30" y="26"/>
                  </a:cubicBezTo>
                  <a:lnTo>
                    <a:pt x="30" y="26"/>
                  </a:lnTo>
                  <a:cubicBezTo>
                    <a:pt x="30" y="26"/>
                    <a:pt x="29" y="26"/>
                    <a:pt x="29" y="26"/>
                  </a:cubicBezTo>
                  <a:lnTo>
                    <a:pt x="29" y="26"/>
                  </a:lnTo>
                  <a:cubicBezTo>
                    <a:pt x="29" y="27"/>
                    <a:pt x="29" y="27"/>
                    <a:pt x="29" y="27"/>
                  </a:cubicBezTo>
                  <a:lnTo>
                    <a:pt x="29" y="27"/>
                  </a:lnTo>
                  <a:cubicBezTo>
                    <a:pt x="29" y="27"/>
                    <a:pt x="29" y="27"/>
                    <a:pt x="29" y="27"/>
                  </a:cubicBezTo>
                  <a:lnTo>
                    <a:pt x="29" y="27"/>
                  </a:lnTo>
                  <a:cubicBezTo>
                    <a:pt x="29" y="27"/>
                    <a:pt x="29" y="27"/>
                    <a:pt x="29" y="28"/>
                  </a:cubicBezTo>
                  <a:cubicBezTo>
                    <a:pt x="18" y="45"/>
                    <a:pt x="9" y="63"/>
                    <a:pt x="0" y="81"/>
                  </a:cubicBezTo>
                  <a:lnTo>
                    <a:pt x="37" y="97"/>
                  </a:lnTo>
                  <a:cubicBezTo>
                    <a:pt x="49" y="72"/>
                    <a:pt x="63" y="47"/>
                    <a:pt x="80" y="24"/>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8">
              <a:extLst>
                <a:ext uri="{FF2B5EF4-FFF2-40B4-BE49-F238E27FC236}">
                  <a16:creationId xmlns:a16="http://schemas.microsoft.com/office/drawing/2014/main" id="{2B1DA945-4B31-7AE6-014B-D0213DB10995}"/>
                </a:ext>
              </a:extLst>
            </p:cNvPr>
            <p:cNvSpPr>
              <a:spLocks/>
            </p:cNvSpPr>
            <p:nvPr/>
          </p:nvSpPr>
          <p:spPr bwMode="auto">
            <a:xfrm>
              <a:off x="566738" y="3476625"/>
              <a:ext cx="41275" cy="69850"/>
            </a:xfrm>
            <a:custGeom>
              <a:avLst/>
              <a:gdLst>
                <a:gd name="T0" fmla="*/ 57 w 57"/>
                <a:gd name="T1" fmla="*/ 13 h 96"/>
                <a:gd name="T2" fmla="*/ 57 w 57"/>
                <a:gd name="T3" fmla="*/ 13 h 96"/>
                <a:gd name="T4" fmla="*/ 19 w 57"/>
                <a:gd name="T5" fmla="*/ 0 h 96"/>
                <a:gd name="T6" fmla="*/ 0 w 57"/>
                <a:gd name="T7" fmla="*/ 91 h 96"/>
                <a:gd name="T8" fmla="*/ 0 w 57"/>
                <a:gd name="T9" fmla="*/ 92 h 96"/>
                <a:gd name="T10" fmla="*/ 0 w 57"/>
                <a:gd name="T11" fmla="*/ 92 h 96"/>
                <a:gd name="T12" fmla="*/ 0 w 57"/>
                <a:gd name="T13" fmla="*/ 92 h 96"/>
                <a:gd name="T14" fmla="*/ 40 w 57"/>
                <a:gd name="T15" fmla="*/ 96 h 96"/>
                <a:gd name="T16" fmla="*/ 57 w 57"/>
                <a:gd name="T17"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96">
                  <a:moveTo>
                    <a:pt x="57" y="13"/>
                  </a:moveTo>
                  <a:lnTo>
                    <a:pt x="57" y="13"/>
                  </a:lnTo>
                  <a:lnTo>
                    <a:pt x="19" y="0"/>
                  </a:lnTo>
                  <a:cubicBezTo>
                    <a:pt x="9" y="30"/>
                    <a:pt x="3" y="60"/>
                    <a:pt x="0" y="91"/>
                  </a:cubicBezTo>
                  <a:cubicBezTo>
                    <a:pt x="0" y="91"/>
                    <a:pt x="0" y="91"/>
                    <a:pt x="0" y="92"/>
                  </a:cubicBezTo>
                  <a:cubicBezTo>
                    <a:pt x="0" y="92"/>
                    <a:pt x="0" y="92"/>
                    <a:pt x="0" y="92"/>
                  </a:cubicBezTo>
                  <a:cubicBezTo>
                    <a:pt x="0" y="92"/>
                    <a:pt x="0" y="92"/>
                    <a:pt x="0" y="92"/>
                  </a:cubicBezTo>
                  <a:lnTo>
                    <a:pt x="40" y="96"/>
                  </a:lnTo>
                  <a:cubicBezTo>
                    <a:pt x="42" y="68"/>
                    <a:pt x="48" y="40"/>
                    <a:pt x="57" y="13"/>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9">
              <a:extLst>
                <a:ext uri="{FF2B5EF4-FFF2-40B4-BE49-F238E27FC236}">
                  <a16:creationId xmlns:a16="http://schemas.microsoft.com/office/drawing/2014/main" id="{BB47FC0A-41C5-A740-6FE6-B07EFBA34E73}"/>
                </a:ext>
              </a:extLst>
            </p:cNvPr>
            <p:cNvSpPr>
              <a:spLocks/>
            </p:cNvSpPr>
            <p:nvPr/>
          </p:nvSpPr>
          <p:spPr bwMode="auto">
            <a:xfrm>
              <a:off x="806450" y="3267075"/>
              <a:ext cx="74613" cy="34925"/>
            </a:xfrm>
            <a:custGeom>
              <a:avLst/>
              <a:gdLst>
                <a:gd name="T0" fmla="*/ 102 w 105"/>
                <a:gd name="T1" fmla="*/ 0 h 49"/>
                <a:gd name="T2" fmla="*/ 101 w 105"/>
                <a:gd name="T3" fmla="*/ 0 h 49"/>
                <a:gd name="T4" fmla="*/ 100 w 105"/>
                <a:gd name="T5" fmla="*/ 0 h 49"/>
                <a:gd name="T6" fmla="*/ 99 w 105"/>
                <a:gd name="T7" fmla="*/ 0 h 49"/>
                <a:gd name="T8" fmla="*/ 99 w 105"/>
                <a:gd name="T9" fmla="*/ 0 h 49"/>
                <a:gd name="T10" fmla="*/ 98 w 105"/>
                <a:gd name="T11" fmla="*/ 0 h 49"/>
                <a:gd name="T12" fmla="*/ 98 w 105"/>
                <a:gd name="T13" fmla="*/ 0 h 49"/>
                <a:gd name="T14" fmla="*/ 97 w 105"/>
                <a:gd name="T15" fmla="*/ 0 h 49"/>
                <a:gd name="T16" fmla="*/ 96 w 105"/>
                <a:gd name="T17" fmla="*/ 0 h 49"/>
                <a:gd name="T18" fmla="*/ 96 w 105"/>
                <a:gd name="T19" fmla="*/ 0 h 49"/>
                <a:gd name="T20" fmla="*/ 95 w 105"/>
                <a:gd name="T21" fmla="*/ 0 h 49"/>
                <a:gd name="T22" fmla="*/ 94 w 105"/>
                <a:gd name="T23" fmla="*/ 0 h 49"/>
                <a:gd name="T24" fmla="*/ 94 w 105"/>
                <a:gd name="T25" fmla="*/ 0 h 49"/>
                <a:gd name="T26" fmla="*/ 93 w 105"/>
                <a:gd name="T27" fmla="*/ 0 h 49"/>
                <a:gd name="T28" fmla="*/ 93 w 105"/>
                <a:gd name="T29" fmla="*/ 0 h 49"/>
                <a:gd name="T30" fmla="*/ 92 w 105"/>
                <a:gd name="T31" fmla="*/ 0 h 49"/>
                <a:gd name="T32" fmla="*/ 91 w 105"/>
                <a:gd name="T33" fmla="*/ 0 h 49"/>
                <a:gd name="T34" fmla="*/ 91 w 105"/>
                <a:gd name="T35" fmla="*/ 0 h 49"/>
                <a:gd name="T36" fmla="*/ 90 w 105"/>
                <a:gd name="T37" fmla="*/ 0 h 49"/>
                <a:gd name="T38" fmla="*/ 90 w 105"/>
                <a:gd name="T39" fmla="*/ 0 h 49"/>
                <a:gd name="T40" fmla="*/ 89 w 105"/>
                <a:gd name="T41" fmla="*/ 0 h 49"/>
                <a:gd name="T42" fmla="*/ 88 w 105"/>
                <a:gd name="T43" fmla="*/ 0 h 49"/>
                <a:gd name="T44" fmla="*/ 88 w 105"/>
                <a:gd name="T45" fmla="*/ 0 h 49"/>
                <a:gd name="T46" fmla="*/ 87 w 105"/>
                <a:gd name="T47" fmla="*/ 0 h 49"/>
                <a:gd name="T48" fmla="*/ 87 w 105"/>
                <a:gd name="T49" fmla="*/ 0 h 49"/>
                <a:gd name="T50" fmla="*/ 86 w 105"/>
                <a:gd name="T51" fmla="*/ 0 h 49"/>
                <a:gd name="T52" fmla="*/ 86 w 105"/>
                <a:gd name="T53" fmla="*/ 0 h 49"/>
                <a:gd name="T54" fmla="*/ 85 w 105"/>
                <a:gd name="T55" fmla="*/ 0 h 49"/>
                <a:gd name="T56" fmla="*/ 84 w 105"/>
                <a:gd name="T57" fmla="*/ 0 h 49"/>
                <a:gd name="T58" fmla="*/ 84 w 105"/>
                <a:gd name="T59" fmla="*/ 0 h 49"/>
                <a:gd name="T60" fmla="*/ 83 w 105"/>
                <a:gd name="T61" fmla="*/ 0 h 49"/>
                <a:gd name="T62" fmla="*/ 83 w 105"/>
                <a:gd name="T63" fmla="*/ 0 h 49"/>
                <a:gd name="T64" fmla="*/ 82 w 105"/>
                <a:gd name="T65" fmla="*/ 0 h 49"/>
                <a:gd name="T66" fmla="*/ 81 w 105"/>
                <a:gd name="T67" fmla="*/ 0 h 49"/>
                <a:gd name="T68" fmla="*/ 81 w 105"/>
                <a:gd name="T69" fmla="*/ 0 h 49"/>
                <a:gd name="T70" fmla="*/ 80 w 105"/>
                <a:gd name="T71" fmla="*/ 0 h 49"/>
                <a:gd name="T72" fmla="*/ 80 w 105"/>
                <a:gd name="T73" fmla="*/ 0 h 49"/>
                <a:gd name="T74" fmla="*/ 79 w 105"/>
                <a:gd name="T75" fmla="*/ 0 h 49"/>
                <a:gd name="T76" fmla="*/ 78 w 105"/>
                <a:gd name="T77" fmla="*/ 0 h 49"/>
                <a:gd name="T78" fmla="*/ 78 w 105"/>
                <a:gd name="T79" fmla="*/ 0 h 49"/>
                <a:gd name="T80" fmla="*/ 77 w 105"/>
                <a:gd name="T81" fmla="*/ 0 h 49"/>
                <a:gd name="T82" fmla="*/ 76 w 105"/>
                <a:gd name="T83" fmla="*/ 0 h 49"/>
                <a:gd name="T84" fmla="*/ 75 w 105"/>
                <a:gd name="T85" fmla="*/ 0 h 49"/>
                <a:gd name="T86" fmla="*/ 75 w 105"/>
                <a:gd name="T87" fmla="*/ 1 h 49"/>
                <a:gd name="T88" fmla="*/ 74 w 105"/>
                <a:gd name="T89" fmla="*/ 1 h 49"/>
                <a:gd name="T90" fmla="*/ 73 w 105"/>
                <a:gd name="T91" fmla="*/ 1 h 49"/>
                <a:gd name="T92" fmla="*/ 73 w 105"/>
                <a:gd name="T93" fmla="*/ 1 h 49"/>
                <a:gd name="T94" fmla="*/ 72 w 105"/>
                <a:gd name="T95" fmla="*/ 1 h 49"/>
                <a:gd name="T96" fmla="*/ 72 w 105"/>
                <a:gd name="T97" fmla="*/ 1 h 49"/>
                <a:gd name="T98" fmla="*/ 71 w 105"/>
                <a:gd name="T99" fmla="*/ 1 h 49"/>
                <a:gd name="T100" fmla="*/ 70 w 105"/>
                <a:gd name="T101" fmla="*/ 1 h 49"/>
                <a:gd name="T102" fmla="*/ 70 w 105"/>
                <a:gd name="T103" fmla="*/ 1 h 49"/>
                <a:gd name="T104" fmla="*/ 68 w 105"/>
                <a:gd name="T105" fmla="*/ 1 h 49"/>
                <a:gd name="T106" fmla="*/ 68 w 105"/>
                <a:gd name="T107" fmla="*/ 1 h 49"/>
                <a:gd name="T108" fmla="*/ 67 w 105"/>
                <a:gd name="T109" fmla="*/ 1 h 49"/>
                <a:gd name="T110" fmla="*/ 66 w 105"/>
                <a:gd name="T111" fmla="*/ 1 h 49"/>
                <a:gd name="T112" fmla="*/ 65 w 105"/>
                <a:gd name="T113" fmla="*/ 1 h 49"/>
                <a:gd name="T114" fmla="*/ 64 w 105"/>
                <a:gd name="T115" fmla="*/ 1 h 49"/>
                <a:gd name="T116" fmla="*/ 63 w 105"/>
                <a:gd name="T117" fmla="*/ 1 h 49"/>
                <a:gd name="T118" fmla="*/ 63 w 105"/>
                <a:gd name="T119" fmla="*/ 1 h 49"/>
                <a:gd name="T120" fmla="*/ 61 w 105"/>
                <a:gd name="T121" fmla="*/ 1 h 49"/>
                <a:gd name="T122" fmla="*/ 92 w 105"/>
                <a:gd name="T123"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5" h="49">
                  <a:moveTo>
                    <a:pt x="92" y="39"/>
                  </a:moveTo>
                  <a:lnTo>
                    <a:pt x="92" y="39"/>
                  </a:lnTo>
                  <a:cubicBezTo>
                    <a:pt x="96" y="39"/>
                    <a:pt x="100" y="39"/>
                    <a:pt x="104" y="40"/>
                  </a:cubicBezTo>
                  <a:lnTo>
                    <a:pt x="105" y="0"/>
                  </a:lnTo>
                  <a:cubicBezTo>
                    <a:pt x="104" y="0"/>
                    <a:pt x="103" y="0"/>
                    <a:pt x="102" y="0"/>
                  </a:cubicBezTo>
                  <a:lnTo>
                    <a:pt x="102" y="0"/>
                  </a:lnTo>
                  <a:cubicBezTo>
                    <a:pt x="101" y="0"/>
                    <a:pt x="101" y="0"/>
                    <a:pt x="101" y="0"/>
                  </a:cubicBezTo>
                  <a:cubicBezTo>
                    <a:pt x="101" y="0"/>
                    <a:pt x="101" y="0"/>
                    <a:pt x="101" y="0"/>
                  </a:cubicBezTo>
                  <a:cubicBezTo>
                    <a:pt x="101" y="0"/>
                    <a:pt x="101" y="0"/>
                    <a:pt x="101" y="0"/>
                  </a:cubicBezTo>
                  <a:lnTo>
                    <a:pt x="101" y="0"/>
                  </a:lnTo>
                  <a:cubicBezTo>
                    <a:pt x="101" y="0"/>
                    <a:pt x="101" y="0"/>
                    <a:pt x="101" y="0"/>
                  </a:cubicBezTo>
                  <a:lnTo>
                    <a:pt x="101" y="0"/>
                  </a:lnTo>
                  <a:cubicBezTo>
                    <a:pt x="101" y="0"/>
                    <a:pt x="101" y="0"/>
                    <a:pt x="101" y="0"/>
                  </a:cubicBezTo>
                  <a:cubicBezTo>
                    <a:pt x="101" y="0"/>
                    <a:pt x="101" y="0"/>
                    <a:pt x="101"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6" y="0"/>
                    <a:pt x="76" y="0"/>
                  </a:cubicBezTo>
                  <a:lnTo>
                    <a:pt x="76" y="0"/>
                  </a:lnTo>
                  <a:cubicBezTo>
                    <a:pt x="76" y="0"/>
                    <a:pt x="76" y="0"/>
                    <a:pt x="76" y="0"/>
                  </a:cubicBezTo>
                  <a:cubicBezTo>
                    <a:pt x="76" y="0"/>
                    <a:pt x="76" y="0"/>
                    <a:pt x="76" y="0"/>
                  </a:cubicBezTo>
                  <a:cubicBezTo>
                    <a:pt x="76" y="0"/>
                    <a:pt x="76" y="0"/>
                    <a:pt x="76" y="0"/>
                  </a:cubicBezTo>
                  <a:cubicBezTo>
                    <a:pt x="76" y="0"/>
                    <a:pt x="76" y="0"/>
                    <a:pt x="75" y="0"/>
                  </a:cubicBezTo>
                  <a:lnTo>
                    <a:pt x="75" y="0"/>
                  </a:lnTo>
                  <a:cubicBezTo>
                    <a:pt x="75" y="0"/>
                    <a:pt x="75" y="0"/>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3" y="1"/>
                  </a:cubicBezTo>
                  <a:cubicBezTo>
                    <a:pt x="73" y="1"/>
                    <a:pt x="73" y="1"/>
                    <a:pt x="73" y="1"/>
                  </a:cubicBezTo>
                  <a:cubicBezTo>
                    <a:pt x="73" y="1"/>
                    <a:pt x="73" y="1"/>
                    <a:pt x="73" y="1"/>
                  </a:cubicBezTo>
                  <a:lnTo>
                    <a:pt x="73" y="1"/>
                  </a:ln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lnTo>
                    <a:pt x="72" y="1"/>
                  </a:lnTo>
                  <a:cubicBezTo>
                    <a:pt x="72" y="1"/>
                    <a:pt x="71" y="1"/>
                    <a:pt x="71" y="1"/>
                  </a:cubicBezTo>
                  <a:cubicBezTo>
                    <a:pt x="71" y="1"/>
                    <a:pt x="71" y="1"/>
                    <a:pt x="71" y="1"/>
                  </a:cubicBezTo>
                  <a:cubicBezTo>
                    <a:pt x="71" y="1"/>
                    <a:pt x="71" y="1"/>
                    <a:pt x="71" y="1"/>
                  </a:cubicBezTo>
                  <a:lnTo>
                    <a:pt x="71" y="1"/>
                  </a:lnTo>
                  <a:cubicBezTo>
                    <a:pt x="71" y="1"/>
                    <a:pt x="71" y="1"/>
                    <a:pt x="71" y="1"/>
                  </a:cubicBezTo>
                  <a:cubicBezTo>
                    <a:pt x="71" y="1"/>
                    <a:pt x="71" y="1"/>
                    <a:pt x="71" y="1"/>
                  </a:cubicBezTo>
                  <a:cubicBezTo>
                    <a:pt x="71" y="1"/>
                    <a:pt x="71" y="1"/>
                    <a:pt x="70" y="1"/>
                  </a:cubicBezTo>
                  <a:cubicBezTo>
                    <a:pt x="70" y="1"/>
                    <a:pt x="70" y="1"/>
                    <a:pt x="70" y="1"/>
                  </a:cubicBezTo>
                  <a:cubicBezTo>
                    <a:pt x="70" y="1"/>
                    <a:pt x="70" y="1"/>
                    <a:pt x="70" y="1"/>
                  </a:cubicBezTo>
                  <a:lnTo>
                    <a:pt x="70" y="1"/>
                  </a:lnTo>
                  <a:cubicBezTo>
                    <a:pt x="70" y="1"/>
                    <a:pt x="70" y="1"/>
                    <a:pt x="70" y="1"/>
                  </a:cubicBezTo>
                  <a:lnTo>
                    <a:pt x="70" y="1"/>
                  </a:lnTo>
                  <a:cubicBezTo>
                    <a:pt x="70" y="1"/>
                    <a:pt x="70" y="1"/>
                    <a:pt x="70" y="1"/>
                  </a:cubicBezTo>
                  <a:cubicBezTo>
                    <a:pt x="70" y="1"/>
                    <a:pt x="70" y="1"/>
                    <a:pt x="70" y="1"/>
                  </a:cubicBezTo>
                  <a:cubicBezTo>
                    <a:pt x="70" y="1"/>
                    <a:pt x="70" y="1"/>
                    <a:pt x="70" y="1"/>
                  </a:cubicBezTo>
                  <a:cubicBezTo>
                    <a:pt x="70" y="1"/>
                    <a:pt x="70" y="1"/>
                    <a:pt x="70" y="1"/>
                  </a:cubicBezTo>
                  <a:cubicBezTo>
                    <a:pt x="70" y="1"/>
                    <a:pt x="70" y="1"/>
                    <a:pt x="70" y="1"/>
                  </a:cubicBezTo>
                  <a:lnTo>
                    <a:pt x="70" y="1"/>
                  </a:lnTo>
                  <a:cubicBezTo>
                    <a:pt x="69" y="1"/>
                    <a:pt x="69" y="1"/>
                    <a:pt x="69" y="1"/>
                  </a:cubicBezTo>
                  <a:cubicBezTo>
                    <a:pt x="69" y="1"/>
                    <a:pt x="69" y="1"/>
                    <a:pt x="69" y="1"/>
                  </a:cubicBezTo>
                  <a:cubicBezTo>
                    <a:pt x="69" y="1"/>
                    <a:pt x="69" y="1"/>
                    <a:pt x="69" y="1"/>
                  </a:cubicBezTo>
                  <a:lnTo>
                    <a:pt x="69" y="1"/>
                  </a:lnTo>
                  <a:cubicBezTo>
                    <a:pt x="69" y="1"/>
                    <a:pt x="69"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7" y="1"/>
                    <a:pt x="67" y="1"/>
                    <a:pt x="67" y="1"/>
                  </a:cubicBezTo>
                  <a:lnTo>
                    <a:pt x="67" y="1"/>
                  </a:lnTo>
                  <a:cubicBezTo>
                    <a:pt x="67" y="1"/>
                    <a:pt x="67" y="1"/>
                    <a:pt x="66" y="1"/>
                  </a:cubicBezTo>
                  <a:lnTo>
                    <a:pt x="66" y="1"/>
                  </a:ln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5" y="1"/>
                  </a:cubicBezTo>
                  <a:cubicBezTo>
                    <a:pt x="65" y="1"/>
                    <a:pt x="65" y="1"/>
                    <a:pt x="65" y="1"/>
                  </a:cubicBezTo>
                  <a:cubicBezTo>
                    <a:pt x="65" y="1"/>
                    <a:pt x="65" y="1"/>
                    <a:pt x="65" y="1"/>
                  </a:cubicBezTo>
                  <a:cubicBezTo>
                    <a:pt x="65" y="1"/>
                    <a:pt x="65" y="1"/>
                    <a:pt x="65" y="1"/>
                  </a:cubicBezTo>
                  <a:lnTo>
                    <a:pt x="65" y="1"/>
                  </a:lnTo>
                  <a:cubicBezTo>
                    <a:pt x="65" y="1"/>
                    <a:pt x="64" y="1"/>
                    <a:pt x="64" y="1"/>
                  </a:cubicBezTo>
                  <a:lnTo>
                    <a:pt x="64" y="1"/>
                  </a:lnTo>
                  <a:cubicBezTo>
                    <a:pt x="64" y="1"/>
                    <a:pt x="64" y="1"/>
                    <a:pt x="64" y="1"/>
                  </a:cubicBezTo>
                  <a:lnTo>
                    <a:pt x="64" y="1"/>
                  </a:lnTo>
                  <a:cubicBezTo>
                    <a:pt x="64" y="1"/>
                    <a:pt x="64" y="1"/>
                    <a:pt x="64" y="1"/>
                  </a:cubicBezTo>
                  <a:cubicBezTo>
                    <a:pt x="64" y="1"/>
                    <a:pt x="64" y="1"/>
                    <a:pt x="64" y="1"/>
                  </a:cubicBezTo>
                  <a:cubicBezTo>
                    <a:pt x="64" y="1"/>
                    <a:pt x="64" y="1"/>
                    <a:pt x="64" y="1"/>
                  </a:cubicBezTo>
                  <a:lnTo>
                    <a:pt x="63" y="1"/>
                  </a:lnTo>
                  <a:cubicBezTo>
                    <a:pt x="63" y="1"/>
                    <a:pt x="63" y="1"/>
                    <a:pt x="63" y="1"/>
                  </a:cubicBezTo>
                  <a:lnTo>
                    <a:pt x="63" y="1"/>
                  </a:lnTo>
                  <a:cubicBezTo>
                    <a:pt x="63" y="1"/>
                    <a:pt x="63" y="1"/>
                    <a:pt x="63" y="1"/>
                  </a:cubicBezTo>
                  <a:cubicBezTo>
                    <a:pt x="63" y="1"/>
                    <a:pt x="63" y="1"/>
                    <a:pt x="63" y="1"/>
                  </a:cubicBezTo>
                  <a:cubicBezTo>
                    <a:pt x="63" y="1"/>
                    <a:pt x="63" y="1"/>
                    <a:pt x="63" y="1"/>
                  </a:cubicBezTo>
                  <a:cubicBezTo>
                    <a:pt x="63" y="1"/>
                    <a:pt x="63" y="1"/>
                    <a:pt x="63" y="1"/>
                  </a:cubicBezTo>
                  <a:cubicBezTo>
                    <a:pt x="63" y="1"/>
                    <a:pt x="63" y="1"/>
                    <a:pt x="63" y="1"/>
                  </a:cubicBezTo>
                  <a:lnTo>
                    <a:pt x="63" y="1"/>
                  </a:lnTo>
                  <a:cubicBezTo>
                    <a:pt x="62" y="1"/>
                    <a:pt x="62" y="1"/>
                    <a:pt x="61" y="1"/>
                  </a:cubicBezTo>
                  <a:lnTo>
                    <a:pt x="61" y="1"/>
                  </a:lnTo>
                  <a:cubicBezTo>
                    <a:pt x="61" y="1"/>
                    <a:pt x="61" y="1"/>
                    <a:pt x="61" y="1"/>
                  </a:cubicBezTo>
                  <a:lnTo>
                    <a:pt x="61" y="1"/>
                  </a:lnTo>
                  <a:cubicBezTo>
                    <a:pt x="61" y="1"/>
                    <a:pt x="61" y="1"/>
                    <a:pt x="61" y="1"/>
                  </a:cubicBezTo>
                  <a:lnTo>
                    <a:pt x="61" y="1"/>
                  </a:lnTo>
                  <a:cubicBezTo>
                    <a:pt x="61" y="1"/>
                    <a:pt x="61" y="1"/>
                    <a:pt x="61" y="1"/>
                  </a:cubicBezTo>
                  <a:cubicBezTo>
                    <a:pt x="60" y="1"/>
                    <a:pt x="58" y="2"/>
                    <a:pt x="57" y="2"/>
                  </a:cubicBezTo>
                  <a:lnTo>
                    <a:pt x="57" y="2"/>
                  </a:lnTo>
                  <a:cubicBezTo>
                    <a:pt x="37" y="3"/>
                    <a:pt x="18" y="6"/>
                    <a:pt x="0" y="9"/>
                  </a:cubicBezTo>
                  <a:lnTo>
                    <a:pt x="8" y="49"/>
                  </a:lnTo>
                  <a:cubicBezTo>
                    <a:pt x="36" y="42"/>
                    <a:pt x="64" y="39"/>
                    <a:pt x="92" y="39"/>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0">
              <a:extLst>
                <a:ext uri="{FF2B5EF4-FFF2-40B4-BE49-F238E27FC236}">
                  <a16:creationId xmlns:a16="http://schemas.microsoft.com/office/drawing/2014/main" id="{55B6A0F1-F617-11F5-4F6A-58AC4AC46816}"/>
                </a:ext>
              </a:extLst>
            </p:cNvPr>
            <p:cNvSpPr>
              <a:spLocks/>
            </p:cNvSpPr>
            <p:nvPr/>
          </p:nvSpPr>
          <p:spPr bwMode="auto">
            <a:xfrm>
              <a:off x="642938" y="3324225"/>
              <a:ext cx="66675" cy="65088"/>
            </a:xfrm>
            <a:custGeom>
              <a:avLst/>
              <a:gdLst>
                <a:gd name="T0" fmla="*/ 69 w 93"/>
                <a:gd name="T1" fmla="*/ 0 h 89"/>
                <a:gd name="T2" fmla="*/ 68 w 93"/>
                <a:gd name="T3" fmla="*/ 1 h 89"/>
                <a:gd name="T4" fmla="*/ 68 w 93"/>
                <a:gd name="T5" fmla="*/ 1 h 89"/>
                <a:gd name="T6" fmla="*/ 68 w 93"/>
                <a:gd name="T7" fmla="*/ 1 h 89"/>
                <a:gd name="T8" fmla="*/ 67 w 93"/>
                <a:gd name="T9" fmla="*/ 2 h 89"/>
                <a:gd name="T10" fmla="*/ 67 w 93"/>
                <a:gd name="T11" fmla="*/ 2 h 89"/>
                <a:gd name="T12" fmla="*/ 67 w 93"/>
                <a:gd name="T13" fmla="*/ 2 h 89"/>
                <a:gd name="T14" fmla="*/ 66 w 93"/>
                <a:gd name="T15" fmla="*/ 2 h 89"/>
                <a:gd name="T16" fmla="*/ 66 w 93"/>
                <a:gd name="T17" fmla="*/ 2 h 89"/>
                <a:gd name="T18" fmla="*/ 66 w 93"/>
                <a:gd name="T19" fmla="*/ 3 h 89"/>
                <a:gd name="T20" fmla="*/ 66 w 93"/>
                <a:gd name="T21" fmla="*/ 3 h 89"/>
                <a:gd name="T22" fmla="*/ 65 w 93"/>
                <a:gd name="T23" fmla="*/ 3 h 89"/>
                <a:gd name="T24" fmla="*/ 65 w 93"/>
                <a:gd name="T25" fmla="*/ 3 h 89"/>
                <a:gd name="T26" fmla="*/ 65 w 93"/>
                <a:gd name="T27" fmla="*/ 3 h 89"/>
                <a:gd name="T28" fmla="*/ 65 w 93"/>
                <a:gd name="T29" fmla="*/ 3 h 89"/>
                <a:gd name="T30" fmla="*/ 64 w 93"/>
                <a:gd name="T31" fmla="*/ 3 h 89"/>
                <a:gd name="T32" fmla="*/ 64 w 93"/>
                <a:gd name="T33" fmla="*/ 4 h 89"/>
                <a:gd name="T34" fmla="*/ 64 w 93"/>
                <a:gd name="T35" fmla="*/ 4 h 89"/>
                <a:gd name="T36" fmla="*/ 64 w 93"/>
                <a:gd name="T37" fmla="*/ 4 h 89"/>
                <a:gd name="T38" fmla="*/ 64 w 93"/>
                <a:gd name="T39" fmla="*/ 4 h 89"/>
                <a:gd name="T40" fmla="*/ 63 w 93"/>
                <a:gd name="T41" fmla="*/ 4 h 89"/>
                <a:gd name="T42" fmla="*/ 63 w 93"/>
                <a:gd name="T43" fmla="*/ 5 h 89"/>
                <a:gd name="T44" fmla="*/ 63 w 93"/>
                <a:gd name="T45" fmla="*/ 5 h 89"/>
                <a:gd name="T46" fmla="*/ 63 w 93"/>
                <a:gd name="T47" fmla="*/ 5 h 89"/>
                <a:gd name="T48" fmla="*/ 62 w 93"/>
                <a:gd name="T49" fmla="*/ 5 h 89"/>
                <a:gd name="T50" fmla="*/ 62 w 93"/>
                <a:gd name="T51" fmla="*/ 5 h 89"/>
                <a:gd name="T52" fmla="*/ 62 w 93"/>
                <a:gd name="T53" fmla="*/ 5 h 89"/>
                <a:gd name="T54" fmla="*/ 62 w 93"/>
                <a:gd name="T55" fmla="*/ 6 h 89"/>
                <a:gd name="T56" fmla="*/ 62 w 93"/>
                <a:gd name="T57" fmla="*/ 6 h 89"/>
                <a:gd name="T58" fmla="*/ 61 w 93"/>
                <a:gd name="T59" fmla="*/ 6 h 89"/>
                <a:gd name="T60" fmla="*/ 61 w 93"/>
                <a:gd name="T61" fmla="*/ 6 h 89"/>
                <a:gd name="T62" fmla="*/ 61 w 93"/>
                <a:gd name="T63" fmla="*/ 6 h 89"/>
                <a:gd name="T64" fmla="*/ 61 w 93"/>
                <a:gd name="T65" fmla="*/ 6 h 89"/>
                <a:gd name="T66" fmla="*/ 60 w 93"/>
                <a:gd name="T67" fmla="*/ 6 h 89"/>
                <a:gd name="T68" fmla="*/ 60 w 93"/>
                <a:gd name="T69" fmla="*/ 7 h 89"/>
                <a:gd name="T70" fmla="*/ 60 w 93"/>
                <a:gd name="T71" fmla="*/ 7 h 89"/>
                <a:gd name="T72" fmla="*/ 60 w 93"/>
                <a:gd name="T73" fmla="*/ 7 h 89"/>
                <a:gd name="T74" fmla="*/ 60 w 93"/>
                <a:gd name="T75" fmla="*/ 7 h 89"/>
                <a:gd name="T76" fmla="*/ 59 w 93"/>
                <a:gd name="T77" fmla="*/ 7 h 89"/>
                <a:gd name="T78" fmla="*/ 59 w 93"/>
                <a:gd name="T79" fmla="*/ 8 h 89"/>
                <a:gd name="T80" fmla="*/ 59 w 93"/>
                <a:gd name="T81" fmla="*/ 8 h 89"/>
                <a:gd name="T82" fmla="*/ 58 w 93"/>
                <a:gd name="T83" fmla="*/ 8 h 89"/>
                <a:gd name="T84" fmla="*/ 58 w 93"/>
                <a:gd name="T85" fmla="*/ 9 h 89"/>
                <a:gd name="T86" fmla="*/ 57 w 93"/>
                <a:gd name="T87" fmla="*/ 9 h 89"/>
                <a:gd name="T88" fmla="*/ 57 w 93"/>
                <a:gd name="T89" fmla="*/ 9 h 89"/>
                <a:gd name="T90" fmla="*/ 57 w 93"/>
                <a:gd name="T91" fmla="*/ 10 h 89"/>
                <a:gd name="T92" fmla="*/ 56 w 93"/>
                <a:gd name="T93" fmla="*/ 10 h 89"/>
                <a:gd name="T94" fmla="*/ 55 w 93"/>
                <a:gd name="T95" fmla="*/ 10 h 89"/>
                <a:gd name="T96" fmla="*/ 54 w 93"/>
                <a:gd name="T97" fmla="*/ 11 h 89"/>
                <a:gd name="T98" fmla="*/ 53 w 93"/>
                <a:gd name="T99" fmla="*/ 12 h 89"/>
                <a:gd name="T100" fmla="*/ 93 w 93"/>
                <a:gd name="T101" fmla="*/ 3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 h="89">
                  <a:moveTo>
                    <a:pt x="93" y="32"/>
                  </a:moveTo>
                  <a:lnTo>
                    <a:pt x="93" y="32"/>
                  </a:lnTo>
                  <a:lnTo>
                    <a:pt x="69" y="0"/>
                  </a:lnTo>
                  <a:cubicBezTo>
                    <a:pt x="69" y="0"/>
                    <a:pt x="69" y="0"/>
                    <a:pt x="69" y="0"/>
                  </a:cubicBezTo>
                  <a:cubicBezTo>
                    <a:pt x="69" y="0"/>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7" y="1"/>
                    <a:pt x="67" y="2"/>
                  </a:cubicBezTo>
                  <a:cubicBezTo>
                    <a:pt x="67" y="2"/>
                    <a:pt x="67" y="2"/>
                    <a:pt x="67" y="2"/>
                  </a:cubicBezTo>
                  <a:cubicBezTo>
                    <a:pt x="67" y="2"/>
                    <a:pt x="67" y="2"/>
                    <a:pt x="67" y="2"/>
                  </a:cubicBezTo>
                  <a:cubicBezTo>
                    <a:pt x="67" y="2"/>
                    <a:pt x="67" y="2"/>
                    <a:pt x="67" y="2"/>
                  </a:cubicBezTo>
                  <a:cubicBezTo>
                    <a:pt x="67" y="2"/>
                    <a:pt x="67" y="2"/>
                    <a:pt x="67" y="2"/>
                  </a:cubicBezTo>
                  <a:cubicBezTo>
                    <a:pt x="67" y="2"/>
                    <a:pt x="67" y="2"/>
                    <a:pt x="67" y="2"/>
                  </a:cubicBezTo>
                  <a:cubicBezTo>
                    <a:pt x="67" y="2"/>
                    <a:pt x="67" y="2"/>
                    <a:pt x="67" y="2"/>
                  </a:cubicBezTo>
                  <a:cubicBezTo>
                    <a:pt x="67" y="2"/>
                    <a:pt x="67" y="2"/>
                    <a:pt x="67" y="2"/>
                  </a:cubicBezTo>
                  <a:cubicBezTo>
                    <a:pt x="67" y="2"/>
                    <a:pt x="67" y="2"/>
                    <a:pt x="67" y="2"/>
                  </a:cubicBezTo>
                  <a:cubicBezTo>
                    <a:pt x="67" y="2"/>
                    <a:pt x="67" y="2"/>
                    <a:pt x="67"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3"/>
                    <a:pt x="66" y="3"/>
                  </a:cubicBezTo>
                  <a:cubicBezTo>
                    <a:pt x="66" y="3"/>
                    <a:pt x="66" y="3"/>
                    <a:pt x="66" y="3"/>
                  </a:cubicBezTo>
                  <a:cubicBezTo>
                    <a:pt x="66" y="3"/>
                    <a:pt x="66" y="3"/>
                    <a:pt x="66" y="3"/>
                  </a:cubicBezTo>
                  <a:cubicBezTo>
                    <a:pt x="66" y="3"/>
                    <a:pt x="66" y="3"/>
                    <a:pt x="66" y="3"/>
                  </a:cubicBezTo>
                  <a:cubicBezTo>
                    <a:pt x="66" y="3"/>
                    <a:pt x="66" y="3"/>
                    <a:pt x="66"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4" y="3"/>
                    <a:pt x="64" y="3"/>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3" y="4"/>
                    <a:pt x="63" y="4"/>
                    <a:pt x="63" y="4"/>
                  </a:cubicBezTo>
                  <a:cubicBezTo>
                    <a:pt x="63" y="4"/>
                    <a:pt x="63" y="4"/>
                    <a:pt x="63" y="4"/>
                  </a:cubicBezTo>
                  <a:cubicBezTo>
                    <a:pt x="63" y="4"/>
                    <a:pt x="63" y="4"/>
                    <a:pt x="63" y="4"/>
                  </a:cubicBezTo>
                  <a:lnTo>
                    <a:pt x="63" y="4"/>
                  </a:lnTo>
                  <a:cubicBezTo>
                    <a:pt x="63" y="4"/>
                    <a:pt x="63" y="4"/>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6"/>
                  </a:cubicBezTo>
                  <a:cubicBezTo>
                    <a:pt x="62" y="6"/>
                    <a:pt x="62" y="6"/>
                    <a:pt x="62" y="6"/>
                  </a:cubicBezTo>
                  <a:cubicBezTo>
                    <a:pt x="62" y="6"/>
                    <a:pt x="62" y="6"/>
                    <a:pt x="62" y="6"/>
                  </a:cubicBezTo>
                  <a:cubicBezTo>
                    <a:pt x="62" y="6"/>
                    <a:pt x="62" y="6"/>
                    <a:pt x="62" y="6"/>
                  </a:cubicBezTo>
                  <a:cubicBezTo>
                    <a:pt x="62" y="6"/>
                    <a:pt x="62" y="6"/>
                    <a:pt x="62" y="6"/>
                  </a:cubicBezTo>
                  <a:cubicBezTo>
                    <a:pt x="62" y="6"/>
                    <a:pt x="61" y="6"/>
                    <a:pt x="61" y="6"/>
                  </a:cubicBezTo>
                  <a:cubicBezTo>
                    <a:pt x="61" y="6"/>
                    <a:pt x="61" y="6"/>
                    <a:pt x="61" y="6"/>
                  </a:cubicBezTo>
                  <a:lnTo>
                    <a:pt x="61" y="6"/>
                  </a:ln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0" y="6"/>
                  </a:cubicBezTo>
                  <a:cubicBezTo>
                    <a:pt x="60" y="6"/>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lnTo>
                    <a:pt x="60" y="7"/>
                  </a:lnTo>
                  <a:cubicBezTo>
                    <a:pt x="60" y="7"/>
                    <a:pt x="60" y="7"/>
                    <a:pt x="60" y="7"/>
                  </a:cubicBezTo>
                  <a:cubicBezTo>
                    <a:pt x="60" y="7"/>
                    <a:pt x="60" y="7"/>
                    <a:pt x="60" y="7"/>
                  </a:cubicBezTo>
                  <a:cubicBezTo>
                    <a:pt x="60" y="7"/>
                    <a:pt x="60" y="7"/>
                    <a:pt x="60" y="7"/>
                  </a:cubicBezTo>
                  <a:cubicBezTo>
                    <a:pt x="60" y="7"/>
                    <a:pt x="60" y="7"/>
                    <a:pt x="60" y="7"/>
                  </a:cubicBezTo>
                  <a:cubicBezTo>
                    <a:pt x="60" y="7"/>
                    <a:pt x="60" y="7"/>
                    <a:pt x="59" y="7"/>
                  </a:cubicBezTo>
                  <a:cubicBezTo>
                    <a:pt x="59" y="7"/>
                    <a:pt x="59" y="7"/>
                    <a:pt x="59" y="7"/>
                  </a:cubicBezTo>
                  <a:cubicBezTo>
                    <a:pt x="59" y="7"/>
                    <a:pt x="59" y="7"/>
                    <a:pt x="59" y="7"/>
                  </a:cubicBezTo>
                  <a:lnTo>
                    <a:pt x="59" y="7"/>
                  </a:lnTo>
                  <a:cubicBezTo>
                    <a:pt x="59" y="8"/>
                    <a:pt x="59" y="8"/>
                    <a:pt x="59" y="8"/>
                  </a:cubicBezTo>
                  <a:cubicBezTo>
                    <a:pt x="59" y="8"/>
                    <a:pt x="59" y="8"/>
                    <a:pt x="59" y="8"/>
                  </a:cubicBezTo>
                  <a:cubicBezTo>
                    <a:pt x="59" y="8"/>
                    <a:pt x="59" y="8"/>
                    <a:pt x="59" y="8"/>
                  </a:cubicBezTo>
                  <a:lnTo>
                    <a:pt x="59" y="8"/>
                  </a:lnTo>
                  <a:cubicBezTo>
                    <a:pt x="59" y="8"/>
                    <a:pt x="58" y="8"/>
                    <a:pt x="58" y="8"/>
                  </a:cubicBezTo>
                  <a:cubicBezTo>
                    <a:pt x="58" y="8"/>
                    <a:pt x="58" y="8"/>
                    <a:pt x="58" y="8"/>
                  </a:cubicBezTo>
                  <a:cubicBezTo>
                    <a:pt x="58" y="8"/>
                    <a:pt x="58" y="8"/>
                    <a:pt x="58" y="8"/>
                  </a:cubicBezTo>
                  <a:lnTo>
                    <a:pt x="58" y="8"/>
                  </a:lnTo>
                  <a:cubicBezTo>
                    <a:pt x="58" y="8"/>
                    <a:pt x="58" y="8"/>
                    <a:pt x="58" y="9"/>
                  </a:cubicBezTo>
                  <a:cubicBezTo>
                    <a:pt x="58" y="9"/>
                    <a:pt x="58" y="9"/>
                    <a:pt x="58" y="9"/>
                  </a:cubicBezTo>
                  <a:cubicBezTo>
                    <a:pt x="58" y="9"/>
                    <a:pt x="58" y="9"/>
                    <a:pt x="58" y="9"/>
                  </a:cubicBezTo>
                  <a:cubicBezTo>
                    <a:pt x="58" y="9"/>
                    <a:pt x="58" y="9"/>
                    <a:pt x="58" y="9"/>
                  </a:cubicBezTo>
                  <a:cubicBezTo>
                    <a:pt x="58" y="9"/>
                    <a:pt x="57" y="9"/>
                    <a:pt x="57" y="9"/>
                  </a:cubicBezTo>
                  <a:cubicBezTo>
                    <a:pt x="57" y="9"/>
                    <a:pt x="57" y="9"/>
                    <a:pt x="57" y="9"/>
                  </a:cubicBezTo>
                  <a:cubicBezTo>
                    <a:pt x="57" y="9"/>
                    <a:pt x="57" y="9"/>
                    <a:pt x="57" y="9"/>
                  </a:cubicBezTo>
                  <a:cubicBezTo>
                    <a:pt x="57" y="9"/>
                    <a:pt x="57" y="9"/>
                    <a:pt x="57" y="9"/>
                  </a:cubicBezTo>
                  <a:lnTo>
                    <a:pt x="57" y="9"/>
                  </a:lnTo>
                  <a:cubicBezTo>
                    <a:pt x="57" y="9"/>
                    <a:pt x="57" y="9"/>
                    <a:pt x="57" y="9"/>
                  </a:cubicBezTo>
                  <a:cubicBezTo>
                    <a:pt x="57" y="9"/>
                    <a:pt x="57" y="9"/>
                    <a:pt x="57" y="10"/>
                  </a:cubicBezTo>
                  <a:cubicBezTo>
                    <a:pt x="57" y="10"/>
                    <a:pt x="57" y="10"/>
                    <a:pt x="57" y="10"/>
                  </a:cubicBezTo>
                  <a:cubicBezTo>
                    <a:pt x="57" y="10"/>
                    <a:pt x="56" y="10"/>
                    <a:pt x="56" y="10"/>
                  </a:cubicBezTo>
                  <a:lnTo>
                    <a:pt x="56" y="10"/>
                  </a:lnTo>
                  <a:cubicBezTo>
                    <a:pt x="56" y="10"/>
                    <a:pt x="56" y="10"/>
                    <a:pt x="56" y="10"/>
                  </a:cubicBezTo>
                  <a:lnTo>
                    <a:pt x="56" y="10"/>
                  </a:lnTo>
                  <a:cubicBezTo>
                    <a:pt x="56" y="10"/>
                    <a:pt x="56" y="10"/>
                    <a:pt x="55" y="10"/>
                  </a:cubicBezTo>
                  <a:lnTo>
                    <a:pt x="55" y="10"/>
                  </a:lnTo>
                  <a:cubicBezTo>
                    <a:pt x="55" y="11"/>
                    <a:pt x="55" y="11"/>
                    <a:pt x="54" y="11"/>
                  </a:cubicBezTo>
                  <a:cubicBezTo>
                    <a:pt x="54" y="11"/>
                    <a:pt x="54" y="11"/>
                    <a:pt x="54" y="11"/>
                  </a:cubicBezTo>
                  <a:cubicBezTo>
                    <a:pt x="54" y="12"/>
                    <a:pt x="54" y="12"/>
                    <a:pt x="53" y="12"/>
                  </a:cubicBezTo>
                  <a:lnTo>
                    <a:pt x="53" y="12"/>
                  </a:lnTo>
                  <a:cubicBezTo>
                    <a:pt x="53" y="12"/>
                    <a:pt x="53" y="12"/>
                    <a:pt x="53" y="12"/>
                  </a:cubicBezTo>
                  <a:cubicBezTo>
                    <a:pt x="34" y="27"/>
                    <a:pt x="16" y="44"/>
                    <a:pt x="0" y="62"/>
                  </a:cubicBezTo>
                  <a:lnTo>
                    <a:pt x="30" y="89"/>
                  </a:lnTo>
                  <a:cubicBezTo>
                    <a:pt x="49" y="68"/>
                    <a:pt x="70" y="49"/>
                    <a:pt x="93" y="3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11">
              <a:extLst>
                <a:ext uri="{FF2B5EF4-FFF2-40B4-BE49-F238E27FC236}">
                  <a16:creationId xmlns:a16="http://schemas.microsoft.com/office/drawing/2014/main" id="{CDD7799F-2947-EB3E-EBAD-7D5EB7A9E73D}"/>
                </a:ext>
              </a:extLst>
            </p:cNvPr>
            <p:cNvSpPr>
              <a:spLocks/>
            </p:cNvSpPr>
            <p:nvPr/>
          </p:nvSpPr>
          <p:spPr bwMode="auto">
            <a:xfrm>
              <a:off x="990600" y="3295650"/>
              <a:ext cx="68263" cy="55563"/>
            </a:xfrm>
            <a:custGeom>
              <a:avLst/>
              <a:gdLst>
                <a:gd name="T0" fmla="*/ 60 w 96"/>
                <a:gd name="T1" fmla="*/ 24 h 77"/>
                <a:gd name="T2" fmla="*/ 58 w 96"/>
                <a:gd name="T3" fmla="*/ 23 h 77"/>
                <a:gd name="T4" fmla="*/ 58 w 96"/>
                <a:gd name="T5" fmla="*/ 22 h 77"/>
                <a:gd name="T6" fmla="*/ 58 w 96"/>
                <a:gd name="T7" fmla="*/ 22 h 77"/>
                <a:gd name="T8" fmla="*/ 57 w 96"/>
                <a:gd name="T9" fmla="*/ 22 h 77"/>
                <a:gd name="T10" fmla="*/ 57 w 96"/>
                <a:gd name="T11" fmla="*/ 22 h 77"/>
                <a:gd name="T12" fmla="*/ 56 w 96"/>
                <a:gd name="T13" fmla="*/ 21 h 77"/>
                <a:gd name="T14" fmla="*/ 56 w 96"/>
                <a:gd name="T15" fmla="*/ 21 h 77"/>
                <a:gd name="T16" fmla="*/ 56 w 96"/>
                <a:gd name="T17" fmla="*/ 21 h 77"/>
                <a:gd name="T18" fmla="*/ 55 w 96"/>
                <a:gd name="T19" fmla="*/ 21 h 77"/>
                <a:gd name="T20" fmla="*/ 55 w 96"/>
                <a:gd name="T21" fmla="*/ 20 h 77"/>
                <a:gd name="T22" fmla="*/ 55 w 96"/>
                <a:gd name="T23" fmla="*/ 20 h 77"/>
                <a:gd name="T24" fmla="*/ 54 w 96"/>
                <a:gd name="T25" fmla="*/ 20 h 77"/>
                <a:gd name="T26" fmla="*/ 54 w 96"/>
                <a:gd name="T27" fmla="*/ 20 h 77"/>
                <a:gd name="T28" fmla="*/ 54 w 96"/>
                <a:gd name="T29" fmla="*/ 20 h 77"/>
                <a:gd name="T30" fmla="*/ 53 w 96"/>
                <a:gd name="T31" fmla="*/ 20 h 77"/>
                <a:gd name="T32" fmla="*/ 53 w 96"/>
                <a:gd name="T33" fmla="*/ 19 h 77"/>
                <a:gd name="T34" fmla="*/ 53 w 96"/>
                <a:gd name="T35" fmla="*/ 19 h 77"/>
                <a:gd name="T36" fmla="*/ 52 w 96"/>
                <a:gd name="T37" fmla="*/ 19 h 77"/>
                <a:gd name="T38" fmla="*/ 52 w 96"/>
                <a:gd name="T39" fmla="*/ 19 h 77"/>
                <a:gd name="T40" fmla="*/ 52 w 96"/>
                <a:gd name="T41" fmla="*/ 19 h 77"/>
                <a:gd name="T42" fmla="*/ 52 w 96"/>
                <a:gd name="T43" fmla="*/ 18 h 77"/>
                <a:gd name="T44" fmla="*/ 51 w 96"/>
                <a:gd name="T45" fmla="*/ 18 h 77"/>
                <a:gd name="T46" fmla="*/ 51 w 96"/>
                <a:gd name="T47" fmla="*/ 18 h 77"/>
                <a:gd name="T48" fmla="*/ 51 w 96"/>
                <a:gd name="T49" fmla="*/ 18 h 77"/>
                <a:gd name="T50" fmla="*/ 50 w 96"/>
                <a:gd name="T51" fmla="*/ 18 h 77"/>
                <a:gd name="T52" fmla="*/ 50 w 96"/>
                <a:gd name="T53" fmla="*/ 18 h 77"/>
                <a:gd name="T54" fmla="*/ 50 w 96"/>
                <a:gd name="T55" fmla="*/ 17 h 77"/>
                <a:gd name="T56" fmla="*/ 50 w 96"/>
                <a:gd name="T57" fmla="*/ 17 h 77"/>
                <a:gd name="T58" fmla="*/ 49 w 96"/>
                <a:gd name="T59" fmla="*/ 17 h 77"/>
                <a:gd name="T60" fmla="*/ 49 w 96"/>
                <a:gd name="T61" fmla="*/ 17 h 77"/>
                <a:gd name="T62" fmla="*/ 49 w 96"/>
                <a:gd name="T63" fmla="*/ 17 h 77"/>
                <a:gd name="T64" fmla="*/ 48 w 96"/>
                <a:gd name="T65" fmla="*/ 17 h 77"/>
                <a:gd name="T66" fmla="*/ 48 w 96"/>
                <a:gd name="T67" fmla="*/ 17 h 77"/>
                <a:gd name="T68" fmla="*/ 48 w 96"/>
                <a:gd name="T69" fmla="*/ 16 h 77"/>
                <a:gd name="T70" fmla="*/ 48 w 96"/>
                <a:gd name="T71" fmla="*/ 16 h 77"/>
                <a:gd name="T72" fmla="*/ 47 w 96"/>
                <a:gd name="T73" fmla="*/ 16 h 77"/>
                <a:gd name="T74" fmla="*/ 47 w 96"/>
                <a:gd name="T75" fmla="*/ 16 h 77"/>
                <a:gd name="T76" fmla="*/ 47 w 96"/>
                <a:gd name="T77" fmla="*/ 16 h 77"/>
                <a:gd name="T78" fmla="*/ 47 w 96"/>
                <a:gd name="T79" fmla="*/ 16 h 77"/>
                <a:gd name="T80" fmla="*/ 46 w 96"/>
                <a:gd name="T81" fmla="*/ 15 h 77"/>
                <a:gd name="T82" fmla="*/ 46 w 96"/>
                <a:gd name="T83" fmla="*/ 15 h 77"/>
                <a:gd name="T84" fmla="*/ 46 w 96"/>
                <a:gd name="T85" fmla="*/ 15 h 77"/>
                <a:gd name="T86" fmla="*/ 45 w 96"/>
                <a:gd name="T87" fmla="*/ 15 h 77"/>
                <a:gd name="T88" fmla="*/ 45 w 96"/>
                <a:gd name="T89" fmla="*/ 15 h 77"/>
                <a:gd name="T90" fmla="*/ 45 w 96"/>
                <a:gd name="T91" fmla="*/ 15 h 77"/>
                <a:gd name="T92" fmla="*/ 44 w 96"/>
                <a:gd name="T93" fmla="*/ 14 h 77"/>
                <a:gd name="T94" fmla="*/ 44 w 96"/>
                <a:gd name="T95" fmla="*/ 14 h 77"/>
                <a:gd name="T96" fmla="*/ 44 w 96"/>
                <a:gd name="T97" fmla="*/ 14 h 77"/>
                <a:gd name="T98" fmla="*/ 43 w 96"/>
                <a:gd name="T99" fmla="*/ 14 h 77"/>
                <a:gd name="T100" fmla="*/ 43 w 96"/>
                <a:gd name="T101" fmla="*/ 14 h 77"/>
                <a:gd name="T102" fmla="*/ 43 w 96"/>
                <a:gd name="T103" fmla="*/ 13 h 77"/>
                <a:gd name="T104" fmla="*/ 43 w 96"/>
                <a:gd name="T105" fmla="*/ 13 h 77"/>
                <a:gd name="T106" fmla="*/ 42 w 96"/>
                <a:gd name="T107" fmla="*/ 13 h 77"/>
                <a:gd name="T108" fmla="*/ 42 w 96"/>
                <a:gd name="T109" fmla="*/ 13 h 77"/>
                <a:gd name="T110" fmla="*/ 40 w 96"/>
                <a:gd name="T111" fmla="*/ 12 h 77"/>
                <a:gd name="T112" fmla="*/ 40 w 96"/>
                <a:gd name="T113" fmla="*/ 12 h 77"/>
                <a:gd name="T114" fmla="*/ 0 w 96"/>
                <a:gd name="T115" fmla="*/ 37 h 77"/>
                <a:gd name="T116" fmla="*/ 60 w 96"/>
                <a:gd name="T117" fmla="*/ 2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77">
                  <a:moveTo>
                    <a:pt x="60" y="24"/>
                  </a:moveTo>
                  <a:lnTo>
                    <a:pt x="60" y="24"/>
                  </a:lnTo>
                  <a:lnTo>
                    <a:pt x="60" y="24"/>
                  </a:lnTo>
                  <a:cubicBezTo>
                    <a:pt x="60" y="24"/>
                    <a:pt x="60" y="23"/>
                    <a:pt x="59" y="23"/>
                  </a:cubicBezTo>
                  <a:lnTo>
                    <a:pt x="59" y="23"/>
                  </a:lnTo>
                  <a:cubicBezTo>
                    <a:pt x="59" y="23"/>
                    <a:pt x="59" y="23"/>
                    <a:pt x="58" y="23"/>
                  </a:cubicBezTo>
                  <a:cubicBezTo>
                    <a:pt x="58" y="22"/>
                    <a:pt x="58" y="22"/>
                    <a:pt x="58" y="22"/>
                  </a:cubicBezTo>
                  <a:cubicBezTo>
                    <a:pt x="58" y="22"/>
                    <a:pt x="58" y="22"/>
                    <a:pt x="58" y="22"/>
                  </a:cubicBezTo>
                  <a:lnTo>
                    <a:pt x="58" y="22"/>
                  </a:lnTo>
                  <a:cubicBezTo>
                    <a:pt x="58" y="22"/>
                    <a:pt x="58" y="22"/>
                    <a:pt x="58" y="22"/>
                  </a:cubicBezTo>
                  <a:cubicBezTo>
                    <a:pt x="58" y="22"/>
                    <a:pt x="58" y="22"/>
                    <a:pt x="58" y="22"/>
                  </a:cubicBezTo>
                  <a:cubicBezTo>
                    <a:pt x="58" y="22"/>
                    <a:pt x="58" y="22"/>
                    <a:pt x="58" y="22"/>
                  </a:cubicBezTo>
                  <a:lnTo>
                    <a:pt x="58" y="22"/>
                  </a:lnTo>
                  <a:cubicBezTo>
                    <a:pt x="58" y="22"/>
                    <a:pt x="57" y="22"/>
                    <a:pt x="57" y="22"/>
                  </a:cubicBezTo>
                  <a:lnTo>
                    <a:pt x="57" y="22"/>
                  </a:lnTo>
                  <a:cubicBezTo>
                    <a:pt x="57" y="22"/>
                    <a:pt x="57" y="22"/>
                    <a:pt x="57" y="22"/>
                  </a:cubicBezTo>
                  <a:lnTo>
                    <a:pt x="57" y="22"/>
                  </a:lnTo>
                  <a:cubicBezTo>
                    <a:pt x="57" y="22"/>
                    <a:pt x="57" y="22"/>
                    <a:pt x="57" y="22"/>
                  </a:cubicBezTo>
                  <a:lnTo>
                    <a:pt x="57" y="22"/>
                  </a:lnTo>
                  <a:cubicBezTo>
                    <a:pt x="57" y="21"/>
                    <a:pt x="56" y="21"/>
                    <a:pt x="56" y="21"/>
                  </a:cubicBezTo>
                  <a:lnTo>
                    <a:pt x="56" y="21"/>
                  </a:lnTo>
                  <a:cubicBezTo>
                    <a:pt x="56" y="21"/>
                    <a:pt x="56" y="21"/>
                    <a:pt x="56" y="21"/>
                  </a:cubicBezTo>
                  <a:cubicBezTo>
                    <a:pt x="56" y="21"/>
                    <a:pt x="56" y="21"/>
                    <a:pt x="56" y="21"/>
                  </a:cubicBezTo>
                  <a:cubicBezTo>
                    <a:pt x="56" y="21"/>
                    <a:pt x="56" y="21"/>
                    <a:pt x="56" y="21"/>
                  </a:cubicBezTo>
                  <a:lnTo>
                    <a:pt x="56" y="21"/>
                  </a:lnTo>
                  <a:cubicBezTo>
                    <a:pt x="56" y="21"/>
                    <a:pt x="56" y="21"/>
                    <a:pt x="56" y="21"/>
                  </a:cubicBezTo>
                  <a:cubicBezTo>
                    <a:pt x="56" y="21"/>
                    <a:pt x="56" y="21"/>
                    <a:pt x="56" y="21"/>
                  </a:cubicBezTo>
                  <a:cubicBezTo>
                    <a:pt x="56" y="21"/>
                    <a:pt x="56" y="21"/>
                    <a:pt x="56" y="21"/>
                  </a:cubicBezTo>
                  <a:lnTo>
                    <a:pt x="56" y="21"/>
                  </a:lnTo>
                  <a:cubicBezTo>
                    <a:pt x="55" y="21"/>
                    <a:pt x="55" y="21"/>
                    <a:pt x="55" y="21"/>
                  </a:cubicBezTo>
                  <a:cubicBezTo>
                    <a:pt x="55" y="20"/>
                    <a:pt x="55" y="20"/>
                    <a:pt x="55" y="20"/>
                  </a:cubicBezTo>
                  <a:cubicBezTo>
                    <a:pt x="55" y="20"/>
                    <a:pt x="55" y="20"/>
                    <a:pt x="55" y="20"/>
                  </a:cubicBezTo>
                  <a:cubicBezTo>
                    <a:pt x="55" y="20"/>
                    <a:pt x="55" y="20"/>
                    <a:pt x="55" y="20"/>
                  </a:cubicBezTo>
                  <a:cubicBezTo>
                    <a:pt x="55" y="20"/>
                    <a:pt x="55" y="20"/>
                    <a:pt x="55" y="20"/>
                  </a:cubicBezTo>
                  <a:cubicBezTo>
                    <a:pt x="55" y="20"/>
                    <a:pt x="55" y="20"/>
                    <a:pt x="55" y="20"/>
                  </a:cubicBezTo>
                  <a:cubicBezTo>
                    <a:pt x="55" y="20"/>
                    <a:pt x="55" y="20"/>
                    <a:pt x="55" y="20"/>
                  </a:cubicBezTo>
                  <a:cubicBezTo>
                    <a:pt x="55"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lnTo>
                    <a:pt x="54" y="20"/>
                  </a:lnTo>
                  <a:cubicBezTo>
                    <a:pt x="54" y="20"/>
                    <a:pt x="54" y="20"/>
                    <a:pt x="54" y="20"/>
                  </a:cubicBezTo>
                  <a:cubicBezTo>
                    <a:pt x="54" y="20"/>
                    <a:pt x="54" y="20"/>
                    <a:pt x="54" y="20"/>
                  </a:cubicBezTo>
                  <a:cubicBezTo>
                    <a:pt x="54" y="20"/>
                    <a:pt x="54" y="20"/>
                    <a:pt x="53" y="20"/>
                  </a:cubicBezTo>
                  <a:cubicBezTo>
                    <a:pt x="53" y="20"/>
                    <a:pt x="53" y="20"/>
                    <a:pt x="53" y="20"/>
                  </a:cubicBezTo>
                  <a:cubicBezTo>
                    <a:pt x="53" y="20"/>
                    <a:pt x="53" y="20"/>
                    <a:pt x="53" y="20"/>
                  </a:cubicBezTo>
                  <a:cubicBezTo>
                    <a:pt x="53" y="19"/>
                    <a:pt x="53" y="19"/>
                    <a:pt x="53" y="19"/>
                  </a:cubicBezTo>
                  <a:cubicBezTo>
                    <a:pt x="53" y="19"/>
                    <a:pt x="53" y="19"/>
                    <a:pt x="53" y="19"/>
                  </a:cubicBezTo>
                  <a:lnTo>
                    <a:pt x="53" y="19"/>
                  </a:lnTo>
                  <a:cubicBezTo>
                    <a:pt x="53" y="19"/>
                    <a:pt x="53" y="19"/>
                    <a:pt x="53" y="19"/>
                  </a:cubicBezTo>
                  <a:lnTo>
                    <a:pt x="53" y="19"/>
                  </a:lnTo>
                  <a:cubicBezTo>
                    <a:pt x="53" y="19"/>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2" y="19"/>
                    <a:pt x="52" y="19"/>
                    <a:pt x="52" y="19"/>
                  </a:cubicBezTo>
                  <a:cubicBezTo>
                    <a:pt x="52" y="19"/>
                    <a:pt x="52" y="19"/>
                    <a:pt x="52" y="19"/>
                  </a:cubicBezTo>
                  <a:cubicBezTo>
                    <a:pt x="52" y="19"/>
                    <a:pt x="52" y="19"/>
                    <a:pt x="52" y="19"/>
                  </a:cubicBezTo>
                  <a:cubicBezTo>
                    <a:pt x="52" y="19"/>
                    <a:pt x="52" y="19"/>
                    <a:pt x="52" y="19"/>
                  </a:cubicBezTo>
                  <a:lnTo>
                    <a:pt x="52" y="19"/>
                  </a:lnTo>
                  <a:cubicBezTo>
                    <a:pt x="52" y="19"/>
                    <a:pt x="52" y="19"/>
                    <a:pt x="52" y="18"/>
                  </a:cubicBezTo>
                  <a:cubicBezTo>
                    <a:pt x="52" y="18"/>
                    <a:pt x="52" y="18"/>
                    <a:pt x="52" y="18"/>
                  </a:cubicBezTo>
                  <a:cubicBezTo>
                    <a:pt x="52"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0" y="18"/>
                  </a:cubicBezTo>
                  <a:cubicBezTo>
                    <a:pt x="50" y="18"/>
                    <a:pt x="50" y="18"/>
                    <a:pt x="50" y="18"/>
                  </a:cubicBezTo>
                  <a:lnTo>
                    <a:pt x="50" y="18"/>
                  </a:lnTo>
                  <a:cubicBezTo>
                    <a:pt x="50" y="18"/>
                    <a:pt x="50" y="18"/>
                    <a:pt x="50" y="18"/>
                  </a:cubicBezTo>
                  <a:cubicBezTo>
                    <a:pt x="50" y="18"/>
                    <a:pt x="50" y="18"/>
                    <a:pt x="50" y="18"/>
                  </a:cubicBezTo>
                  <a:cubicBezTo>
                    <a:pt x="50" y="18"/>
                    <a:pt x="50" y="18"/>
                    <a:pt x="50" y="18"/>
                  </a:cubicBezTo>
                  <a:cubicBezTo>
                    <a:pt x="50" y="18"/>
                    <a:pt x="50" y="18"/>
                    <a:pt x="50" y="18"/>
                  </a:cubicBezTo>
                  <a:cubicBezTo>
                    <a:pt x="50" y="18"/>
                    <a:pt x="50" y="17"/>
                    <a:pt x="50" y="17"/>
                  </a:cubicBezTo>
                  <a:cubicBezTo>
                    <a:pt x="50" y="17"/>
                    <a:pt x="50" y="17"/>
                    <a:pt x="50" y="17"/>
                  </a:cubicBezTo>
                  <a:cubicBezTo>
                    <a:pt x="50" y="17"/>
                    <a:pt x="50" y="17"/>
                    <a:pt x="50" y="17"/>
                  </a:cubicBezTo>
                  <a:cubicBezTo>
                    <a:pt x="50" y="17"/>
                    <a:pt x="50" y="17"/>
                    <a:pt x="50" y="17"/>
                  </a:cubicBezTo>
                  <a:cubicBezTo>
                    <a:pt x="50" y="17"/>
                    <a:pt x="50" y="17"/>
                    <a:pt x="50" y="17"/>
                  </a:cubicBezTo>
                  <a:lnTo>
                    <a:pt x="50" y="17"/>
                  </a:ln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8" y="17"/>
                    <a:pt x="48" y="17"/>
                  </a:cubicBezTo>
                  <a:lnTo>
                    <a:pt x="48" y="17"/>
                  </a:lnTo>
                  <a:cubicBezTo>
                    <a:pt x="48" y="17"/>
                    <a:pt x="48" y="17"/>
                    <a:pt x="48" y="17"/>
                  </a:cubicBezTo>
                  <a:cubicBezTo>
                    <a:pt x="48" y="17"/>
                    <a:pt x="48" y="17"/>
                    <a:pt x="48" y="17"/>
                  </a:cubicBezTo>
                  <a:cubicBezTo>
                    <a:pt x="48" y="17"/>
                    <a:pt x="48" y="16"/>
                    <a:pt x="48" y="16"/>
                  </a:cubicBezTo>
                  <a:cubicBezTo>
                    <a:pt x="48" y="16"/>
                    <a:pt x="48" y="16"/>
                    <a:pt x="48" y="16"/>
                  </a:cubicBezTo>
                  <a:cubicBezTo>
                    <a:pt x="48" y="16"/>
                    <a:pt x="48" y="16"/>
                    <a:pt x="48" y="16"/>
                  </a:cubicBezTo>
                  <a:cubicBezTo>
                    <a:pt x="48" y="16"/>
                    <a:pt x="48" y="16"/>
                    <a:pt x="48" y="16"/>
                  </a:cubicBezTo>
                  <a:cubicBezTo>
                    <a:pt x="48" y="16"/>
                    <a:pt x="48" y="16"/>
                    <a:pt x="48" y="16"/>
                  </a:cubicBezTo>
                  <a:cubicBezTo>
                    <a:pt x="48" y="16"/>
                    <a:pt x="48" y="16"/>
                    <a:pt x="48" y="16"/>
                  </a:cubicBezTo>
                  <a:cubicBezTo>
                    <a:pt x="48" y="16"/>
                    <a:pt x="48" y="16"/>
                    <a:pt x="48" y="16"/>
                  </a:cubicBezTo>
                  <a:cubicBezTo>
                    <a:pt x="48" y="16"/>
                    <a:pt x="48" y="16"/>
                    <a:pt x="48" y="16"/>
                  </a:cubicBezTo>
                  <a:cubicBezTo>
                    <a:pt x="47" y="16"/>
                    <a:pt x="47" y="16"/>
                    <a:pt x="47" y="16"/>
                  </a:cubicBezTo>
                  <a:cubicBezTo>
                    <a:pt x="47" y="16"/>
                    <a:pt x="47" y="16"/>
                    <a:pt x="47" y="16"/>
                  </a:cubicBezTo>
                  <a:cubicBezTo>
                    <a:pt x="47" y="16"/>
                    <a:pt x="47" y="16"/>
                    <a:pt x="47" y="16"/>
                  </a:cubicBezTo>
                  <a:cubicBezTo>
                    <a:pt x="47" y="16"/>
                    <a:pt x="47" y="16"/>
                    <a:pt x="47" y="16"/>
                  </a:cubicBezTo>
                  <a:lnTo>
                    <a:pt x="47" y="16"/>
                  </a:lnTo>
                  <a:cubicBezTo>
                    <a:pt x="47" y="16"/>
                    <a:pt x="47" y="16"/>
                    <a:pt x="47" y="16"/>
                  </a:cubicBezTo>
                  <a:cubicBezTo>
                    <a:pt x="47" y="16"/>
                    <a:pt x="47" y="16"/>
                    <a:pt x="47" y="16"/>
                  </a:cubicBezTo>
                  <a:cubicBezTo>
                    <a:pt x="47" y="16"/>
                    <a:pt x="47" y="16"/>
                    <a:pt x="47" y="16"/>
                  </a:cubicBezTo>
                  <a:cubicBezTo>
                    <a:pt x="47" y="16"/>
                    <a:pt x="47" y="16"/>
                    <a:pt x="47" y="16"/>
                  </a:cubicBezTo>
                  <a:cubicBezTo>
                    <a:pt x="47" y="16"/>
                    <a:pt x="47" y="16"/>
                    <a:pt x="47" y="16"/>
                  </a:cubicBezTo>
                  <a:cubicBezTo>
                    <a:pt x="47" y="16"/>
                    <a:pt x="47" y="16"/>
                    <a:pt x="46" y="16"/>
                  </a:cubicBezTo>
                  <a:cubicBezTo>
                    <a:pt x="46" y="16"/>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4"/>
                    <a:pt x="44" y="14"/>
                    <a:pt x="44" y="14"/>
                  </a:cubicBezTo>
                  <a:lnTo>
                    <a:pt x="44" y="14"/>
                  </a:lnTo>
                  <a:cubicBezTo>
                    <a:pt x="44" y="14"/>
                    <a:pt x="44" y="14"/>
                    <a:pt x="44" y="14"/>
                  </a:cubicBezTo>
                  <a:cubicBezTo>
                    <a:pt x="44" y="14"/>
                    <a:pt x="44" y="14"/>
                    <a:pt x="44" y="14"/>
                  </a:cubicBezTo>
                  <a:cubicBezTo>
                    <a:pt x="44" y="14"/>
                    <a:pt x="44" y="14"/>
                    <a:pt x="44" y="14"/>
                  </a:cubicBezTo>
                  <a:lnTo>
                    <a:pt x="44" y="14"/>
                  </a:lnTo>
                  <a:cubicBezTo>
                    <a:pt x="44" y="14"/>
                    <a:pt x="44" y="14"/>
                    <a:pt x="44" y="14"/>
                  </a:cubicBezTo>
                  <a:cubicBezTo>
                    <a:pt x="44" y="14"/>
                    <a:pt x="44" y="14"/>
                    <a:pt x="44" y="14"/>
                  </a:cubicBezTo>
                  <a:cubicBezTo>
                    <a:pt x="44" y="14"/>
                    <a:pt x="44" y="14"/>
                    <a:pt x="44" y="14"/>
                  </a:cubicBezTo>
                  <a:lnTo>
                    <a:pt x="44" y="14"/>
                  </a:lnTo>
                  <a:cubicBezTo>
                    <a:pt x="43" y="14"/>
                    <a:pt x="43" y="14"/>
                    <a:pt x="43" y="14"/>
                  </a:cubicBezTo>
                  <a:lnTo>
                    <a:pt x="43" y="14"/>
                  </a:lnTo>
                  <a:cubicBezTo>
                    <a:pt x="43" y="14"/>
                    <a:pt x="43" y="14"/>
                    <a:pt x="43" y="14"/>
                  </a:cubicBezTo>
                  <a:cubicBezTo>
                    <a:pt x="43" y="14"/>
                    <a:pt x="43" y="14"/>
                    <a:pt x="43" y="14"/>
                  </a:cubicBezTo>
                  <a:cubicBezTo>
                    <a:pt x="43" y="14"/>
                    <a:pt x="43" y="14"/>
                    <a:pt x="43" y="14"/>
                  </a:cubicBezTo>
                  <a:cubicBezTo>
                    <a:pt x="43" y="13"/>
                    <a:pt x="43" y="13"/>
                    <a:pt x="43" y="13"/>
                  </a:cubicBezTo>
                  <a:cubicBezTo>
                    <a:pt x="43" y="13"/>
                    <a:pt x="43" y="13"/>
                    <a:pt x="43" y="13"/>
                  </a:cubicBezTo>
                  <a:cubicBezTo>
                    <a:pt x="43" y="13"/>
                    <a:pt x="43" y="13"/>
                    <a:pt x="43" y="13"/>
                  </a:cubicBezTo>
                  <a:cubicBezTo>
                    <a:pt x="43" y="13"/>
                    <a:pt x="43" y="13"/>
                    <a:pt x="43" y="13"/>
                  </a:cubicBezTo>
                  <a:lnTo>
                    <a:pt x="43" y="13"/>
                  </a:lnTo>
                  <a:cubicBezTo>
                    <a:pt x="42" y="13"/>
                    <a:pt x="42" y="13"/>
                    <a:pt x="42" y="13"/>
                  </a:cubicBezTo>
                  <a:lnTo>
                    <a:pt x="42" y="13"/>
                  </a:lnTo>
                  <a:cubicBezTo>
                    <a:pt x="42" y="13"/>
                    <a:pt x="42" y="13"/>
                    <a:pt x="42" y="13"/>
                  </a:cubicBezTo>
                  <a:cubicBezTo>
                    <a:pt x="42" y="13"/>
                    <a:pt x="42" y="13"/>
                    <a:pt x="42" y="13"/>
                  </a:cubicBezTo>
                  <a:cubicBezTo>
                    <a:pt x="42" y="13"/>
                    <a:pt x="42" y="13"/>
                    <a:pt x="42" y="13"/>
                  </a:cubicBezTo>
                  <a:lnTo>
                    <a:pt x="42" y="13"/>
                  </a:lnTo>
                  <a:cubicBezTo>
                    <a:pt x="42" y="13"/>
                    <a:pt x="41" y="13"/>
                    <a:pt x="41" y="13"/>
                  </a:cubicBezTo>
                  <a:cubicBezTo>
                    <a:pt x="41" y="13"/>
                    <a:pt x="41" y="13"/>
                    <a:pt x="41" y="13"/>
                  </a:cubicBezTo>
                  <a:cubicBezTo>
                    <a:pt x="41" y="13"/>
                    <a:pt x="41" y="12"/>
                    <a:pt x="40" y="12"/>
                  </a:cubicBezTo>
                  <a:lnTo>
                    <a:pt x="40" y="12"/>
                  </a:lnTo>
                  <a:cubicBezTo>
                    <a:pt x="40" y="12"/>
                    <a:pt x="40" y="12"/>
                    <a:pt x="40" y="12"/>
                  </a:cubicBezTo>
                  <a:cubicBezTo>
                    <a:pt x="40" y="12"/>
                    <a:pt x="40" y="12"/>
                    <a:pt x="40" y="12"/>
                  </a:cubicBezTo>
                  <a:cubicBezTo>
                    <a:pt x="40" y="12"/>
                    <a:pt x="39" y="11"/>
                    <a:pt x="38" y="11"/>
                  </a:cubicBezTo>
                  <a:cubicBezTo>
                    <a:pt x="31" y="7"/>
                    <a:pt x="24" y="4"/>
                    <a:pt x="17" y="0"/>
                  </a:cubicBezTo>
                  <a:lnTo>
                    <a:pt x="0" y="37"/>
                  </a:lnTo>
                  <a:cubicBezTo>
                    <a:pt x="24" y="48"/>
                    <a:pt x="46" y="62"/>
                    <a:pt x="67" y="77"/>
                  </a:cubicBezTo>
                  <a:lnTo>
                    <a:pt x="96" y="49"/>
                  </a:lnTo>
                  <a:cubicBezTo>
                    <a:pt x="85" y="40"/>
                    <a:pt x="73" y="31"/>
                    <a:pt x="60" y="24"/>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12">
              <a:extLst>
                <a:ext uri="{FF2B5EF4-FFF2-40B4-BE49-F238E27FC236}">
                  <a16:creationId xmlns:a16="http://schemas.microsoft.com/office/drawing/2014/main" id="{678E1D45-5EF5-B4CF-7FCC-1E8EEF91013B}"/>
                </a:ext>
              </a:extLst>
            </p:cNvPr>
            <p:cNvSpPr>
              <a:spLocks/>
            </p:cNvSpPr>
            <p:nvPr/>
          </p:nvSpPr>
          <p:spPr bwMode="auto">
            <a:xfrm>
              <a:off x="906463" y="3268663"/>
              <a:ext cx="69850" cy="42863"/>
            </a:xfrm>
            <a:custGeom>
              <a:avLst/>
              <a:gdLst>
                <a:gd name="T0" fmla="*/ 87 w 96"/>
                <a:gd name="T1" fmla="*/ 18 h 59"/>
                <a:gd name="T2" fmla="*/ 85 w 96"/>
                <a:gd name="T3" fmla="*/ 17 h 59"/>
                <a:gd name="T4" fmla="*/ 85 w 96"/>
                <a:gd name="T5" fmla="*/ 17 h 59"/>
                <a:gd name="T6" fmla="*/ 84 w 96"/>
                <a:gd name="T7" fmla="*/ 17 h 59"/>
                <a:gd name="T8" fmla="*/ 83 w 96"/>
                <a:gd name="T9" fmla="*/ 17 h 59"/>
                <a:gd name="T10" fmla="*/ 83 w 96"/>
                <a:gd name="T11" fmla="*/ 17 h 59"/>
                <a:gd name="T12" fmla="*/ 83 w 96"/>
                <a:gd name="T13" fmla="*/ 17 h 59"/>
                <a:gd name="T14" fmla="*/ 82 w 96"/>
                <a:gd name="T15" fmla="*/ 16 h 59"/>
                <a:gd name="T16" fmla="*/ 82 w 96"/>
                <a:gd name="T17" fmla="*/ 16 h 59"/>
                <a:gd name="T18" fmla="*/ 82 w 96"/>
                <a:gd name="T19" fmla="*/ 16 h 59"/>
                <a:gd name="T20" fmla="*/ 81 w 96"/>
                <a:gd name="T21" fmla="*/ 16 h 59"/>
                <a:gd name="T22" fmla="*/ 81 w 96"/>
                <a:gd name="T23" fmla="*/ 16 h 59"/>
                <a:gd name="T24" fmla="*/ 80 w 96"/>
                <a:gd name="T25" fmla="*/ 16 h 59"/>
                <a:gd name="T26" fmla="*/ 80 w 96"/>
                <a:gd name="T27" fmla="*/ 16 h 59"/>
                <a:gd name="T28" fmla="*/ 80 w 96"/>
                <a:gd name="T29" fmla="*/ 16 h 59"/>
                <a:gd name="T30" fmla="*/ 80 w 96"/>
                <a:gd name="T31" fmla="*/ 16 h 59"/>
                <a:gd name="T32" fmla="*/ 79 w 96"/>
                <a:gd name="T33" fmla="*/ 15 h 59"/>
                <a:gd name="T34" fmla="*/ 79 w 96"/>
                <a:gd name="T35" fmla="*/ 15 h 59"/>
                <a:gd name="T36" fmla="*/ 79 w 96"/>
                <a:gd name="T37" fmla="*/ 15 h 59"/>
                <a:gd name="T38" fmla="*/ 78 w 96"/>
                <a:gd name="T39" fmla="*/ 15 h 59"/>
                <a:gd name="T40" fmla="*/ 78 w 96"/>
                <a:gd name="T41" fmla="*/ 15 h 59"/>
                <a:gd name="T42" fmla="*/ 78 w 96"/>
                <a:gd name="T43" fmla="*/ 15 h 59"/>
                <a:gd name="T44" fmla="*/ 78 w 96"/>
                <a:gd name="T45" fmla="*/ 15 h 59"/>
                <a:gd name="T46" fmla="*/ 77 w 96"/>
                <a:gd name="T47" fmla="*/ 15 h 59"/>
                <a:gd name="T48" fmla="*/ 77 w 96"/>
                <a:gd name="T49" fmla="*/ 15 h 59"/>
                <a:gd name="T50" fmla="*/ 77 w 96"/>
                <a:gd name="T51" fmla="*/ 15 h 59"/>
                <a:gd name="T52" fmla="*/ 77 w 96"/>
                <a:gd name="T53" fmla="*/ 15 h 59"/>
                <a:gd name="T54" fmla="*/ 76 w 96"/>
                <a:gd name="T55" fmla="*/ 15 h 59"/>
                <a:gd name="T56" fmla="*/ 76 w 96"/>
                <a:gd name="T57" fmla="*/ 14 h 59"/>
                <a:gd name="T58" fmla="*/ 76 w 96"/>
                <a:gd name="T59" fmla="*/ 14 h 59"/>
                <a:gd name="T60" fmla="*/ 76 w 96"/>
                <a:gd name="T61" fmla="*/ 14 h 59"/>
                <a:gd name="T62" fmla="*/ 75 w 96"/>
                <a:gd name="T63" fmla="*/ 14 h 59"/>
                <a:gd name="T64" fmla="*/ 75 w 96"/>
                <a:gd name="T65" fmla="*/ 14 h 59"/>
                <a:gd name="T66" fmla="*/ 75 w 96"/>
                <a:gd name="T67" fmla="*/ 14 h 59"/>
                <a:gd name="T68" fmla="*/ 75 w 96"/>
                <a:gd name="T69" fmla="*/ 14 h 59"/>
                <a:gd name="T70" fmla="*/ 74 w 96"/>
                <a:gd name="T71" fmla="*/ 14 h 59"/>
                <a:gd name="T72" fmla="*/ 74 w 96"/>
                <a:gd name="T73" fmla="*/ 14 h 59"/>
                <a:gd name="T74" fmla="*/ 74 w 96"/>
                <a:gd name="T75" fmla="*/ 14 h 59"/>
                <a:gd name="T76" fmla="*/ 74 w 96"/>
                <a:gd name="T77" fmla="*/ 14 h 59"/>
                <a:gd name="T78" fmla="*/ 73 w 96"/>
                <a:gd name="T79" fmla="*/ 14 h 59"/>
                <a:gd name="T80" fmla="*/ 73 w 96"/>
                <a:gd name="T81" fmla="*/ 14 h 59"/>
                <a:gd name="T82" fmla="*/ 73 w 96"/>
                <a:gd name="T83" fmla="*/ 13 h 59"/>
                <a:gd name="T84" fmla="*/ 72 w 96"/>
                <a:gd name="T85" fmla="*/ 13 h 59"/>
                <a:gd name="T86" fmla="*/ 72 w 96"/>
                <a:gd name="T87" fmla="*/ 13 h 59"/>
                <a:gd name="T88" fmla="*/ 72 w 96"/>
                <a:gd name="T89" fmla="*/ 13 h 59"/>
                <a:gd name="T90" fmla="*/ 72 w 96"/>
                <a:gd name="T91" fmla="*/ 13 h 59"/>
                <a:gd name="T92" fmla="*/ 71 w 96"/>
                <a:gd name="T93" fmla="*/ 13 h 59"/>
                <a:gd name="T94" fmla="*/ 71 w 96"/>
                <a:gd name="T95" fmla="*/ 13 h 59"/>
                <a:gd name="T96" fmla="*/ 70 w 96"/>
                <a:gd name="T97" fmla="*/ 13 h 59"/>
                <a:gd name="T98" fmla="*/ 70 w 96"/>
                <a:gd name="T99" fmla="*/ 13 h 59"/>
                <a:gd name="T100" fmla="*/ 70 w 96"/>
                <a:gd name="T101" fmla="*/ 13 h 59"/>
                <a:gd name="T102" fmla="*/ 69 w 96"/>
                <a:gd name="T103" fmla="*/ 13 h 59"/>
                <a:gd name="T104" fmla="*/ 69 w 96"/>
                <a:gd name="T105" fmla="*/ 12 h 59"/>
                <a:gd name="T106" fmla="*/ 68 w 96"/>
                <a:gd name="T107" fmla="*/ 12 h 59"/>
                <a:gd name="T108" fmla="*/ 68 w 96"/>
                <a:gd name="T109" fmla="*/ 12 h 59"/>
                <a:gd name="T110" fmla="*/ 68 w 96"/>
                <a:gd name="T111" fmla="*/ 12 h 59"/>
                <a:gd name="T112" fmla="*/ 67 w 96"/>
                <a:gd name="T113" fmla="*/ 12 h 59"/>
                <a:gd name="T114" fmla="*/ 67 w 96"/>
                <a:gd name="T115" fmla="*/ 12 h 59"/>
                <a:gd name="T116" fmla="*/ 65 w 96"/>
                <a:gd name="T117" fmla="*/ 11 h 59"/>
                <a:gd name="T118" fmla="*/ 65 w 96"/>
                <a:gd name="T119" fmla="*/ 11 h 59"/>
                <a:gd name="T120" fmla="*/ 5 w 96"/>
                <a:gd name="T121" fmla="*/ 0 h 59"/>
                <a:gd name="T122" fmla="*/ 96 w 96"/>
                <a:gd name="T123" fmla="*/ 2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 h="59">
                  <a:moveTo>
                    <a:pt x="96" y="21"/>
                  </a:moveTo>
                  <a:lnTo>
                    <a:pt x="96" y="21"/>
                  </a:lnTo>
                  <a:cubicBezTo>
                    <a:pt x="93" y="20"/>
                    <a:pt x="90" y="19"/>
                    <a:pt x="87" y="18"/>
                  </a:cubicBezTo>
                  <a:cubicBezTo>
                    <a:pt x="87" y="18"/>
                    <a:pt x="87" y="18"/>
                    <a:pt x="87" y="18"/>
                  </a:cubicBezTo>
                  <a:cubicBezTo>
                    <a:pt x="87" y="18"/>
                    <a:pt x="87" y="18"/>
                    <a:pt x="87" y="18"/>
                  </a:cubicBezTo>
                  <a:cubicBezTo>
                    <a:pt x="86" y="18"/>
                    <a:pt x="86" y="17"/>
                    <a:pt x="85" y="17"/>
                  </a:cubicBezTo>
                  <a:cubicBezTo>
                    <a:pt x="85" y="17"/>
                    <a:pt x="85" y="17"/>
                    <a:pt x="85" y="17"/>
                  </a:cubicBezTo>
                  <a:cubicBezTo>
                    <a:pt x="85" y="17"/>
                    <a:pt x="85" y="17"/>
                    <a:pt x="85" y="17"/>
                  </a:cubicBezTo>
                  <a:cubicBezTo>
                    <a:pt x="85" y="17"/>
                    <a:pt x="85" y="17"/>
                    <a:pt x="85" y="17"/>
                  </a:cubicBezTo>
                  <a:cubicBezTo>
                    <a:pt x="85" y="17"/>
                    <a:pt x="85" y="17"/>
                    <a:pt x="85" y="17"/>
                  </a:cubicBezTo>
                  <a:cubicBezTo>
                    <a:pt x="85" y="17"/>
                    <a:pt x="84" y="17"/>
                    <a:pt x="84" y="17"/>
                  </a:cubicBezTo>
                  <a:lnTo>
                    <a:pt x="84" y="17"/>
                  </a:lnTo>
                  <a:cubicBezTo>
                    <a:pt x="84" y="17"/>
                    <a:pt x="84" y="17"/>
                    <a:pt x="84" y="17"/>
                  </a:cubicBezTo>
                  <a:cubicBezTo>
                    <a:pt x="84" y="17"/>
                    <a:pt x="84" y="17"/>
                    <a:pt x="84" y="17"/>
                  </a:cubicBezTo>
                  <a:cubicBezTo>
                    <a:pt x="84"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cubicBezTo>
                    <a:pt x="83" y="17"/>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lnTo>
                    <a:pt x="79" y="15"/>
                  </a:lnTo>
                  <a:cubicBezTo>
                    <a:pt x="79" y="15"/>
                    <a:pt x="79" y="15"/>
                    <a:pt x="79" y="15"/>
                  </a:cubicBezTo>
                  <a:cubicBezTo>
                    <a:pt x="79" y="15"/>
                    <a:pt x="79" y="15"/>
                    <a:pt x="79" y="15"/>
                  </a:cubicBezTo>
                  <a:cubicBezTo>
                    <a:pt x="79" y="15"/>
                    <a:pt x="79" y="15"/>
                    <a:pt x="79" y="15"/>
                  </a:cubicBezTo>
                  <a:cubicBezTo>
                    <a:pt x="79" y="15"/>
                    <a:pt x="79" y="15"/>
                    <a:pt x="79" y="15"/>
                  </a:cubicBezTo>
                  <a:cubicBezTo>
                    <a:pt x="79" y="15"/>
                    <a:pt x="79" y="15"/>
                    <a:pt x="79" y="15"/>
                  </a:cubicBezTo>
                  <a:cubicBezTo>
                    <a:pt x="79" y="15"/>
                    <a:pt x="79" y="15"/>
                    <a:pt x="79" y="15"/>
                  </a:cubicBezTo>
                  <a:cubicBezTo>
                    <a:pt x="79" y="15"/>
                    <a:pt x="79" y="15"/>
                    <a:pt x="79" y="15"/>
                  </a:cubicBezTo>
                  <a:cubicBezTo>
                    <a:pt x="79" y="15"/>
                    <a:pt x="79" y="15"/>
                    <a:pt x="79" y="15"/>
                  </a:cubicBezTo>
                  <a:cubicBezTo>
                    <a:pt x="79"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6" y="15"/>
                  </a:cubicBezTo>
                  <a:cubicBezTo>
                    <a:pt x="76" y="15"/>
                    <a:pt x="76" y="15"/>
                    <a:pt x="76" y="15"/>
                  </a:cubicBezTo>
                  <a:cubicBezTo>
                    <a:pt x="76" y="15"/>
                    <a:pt x="76" y="15"/>
                    <a:pt x="76" y="15"/>
                  </a:cubicBezTo>
                  <a:cubicBezTo>
                    <a:pt x="76" y="15"/>
                    <a:pt x="76" y="15"/>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3"/>
                    <a:pt x="73" y="13"/>
                    <a:pt x="73" y="13"/>
                  </a:cubicBezTo>
                  <a:cubicBezTo>
                    <a:pt x="73" y="13"/>
                    <a:pt x="73" y="13"/>
                    <a:pt x="73" y="13"/>
                  </a:cubicBezTo>
                  <a:cubicBezTo>
                    <a:pt x="73" y="13"/>
                    <a:pt x="73" y="13"/>
                    <a:pt x="73" y="13"/>
                  </a:cubicBezTo>
                  <a:cubicBezTo>
                    <a:pt x="73" y="13"/>
                    <a:pt x="73" y="13"/>
                    <a:pt x="73" y="13"/>
                  </a:cubicBezTo>
                  <a:cubicBezTo>
                    <a:pt x="72" y="13"/>
                    <a:pt x="72" y="13"/>
                    <a:pt x="72" y="13"/>
                  </a:cubicBezTo>
                  <a:cubicBezTo>
                    <a:pt x="72" y="13"/>
                    <a:pt x="72" y="13"/>
                    <a:pt x="72" y="13"/>
                  </a:cubicBezTo>
                  <a:cubicBezTo>
                    <a:pt x="72" y="13"/>
                    <a:pt x="72" y="13"/>
                    <a:pt x="72" y="13"/>
                  </a:cubicBezTo>
                  <a:lnTo>
                    <a:pt x="72" y="13"/>
                  </a:ln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0" y="13"/>
                  </a:cubicBezTo>
                  <a:lnTo>
                    <a:pt x="70" y="13"/>
                  </a:lnTo>
                  <a:cubicBezTo>
                    <a:pt x="70" y="13"/>
                    <a:pt x="70" y="13"/>
                    <a:pt x="70" y="13"/>
                  </a:cubicBezTo>
                  <a:cubicBezTo>
                    <a:pt x="70" y="13"/>
                    <a:pt x="70" y="13"/>
                    <a:pt x="70" y="13"/>
                  </a:cubicBezTo>
                  <a:cubicBezTo>
                    <a:pt x="70" y="13"/>
                    <a:pt x="70" y="13"/>
                    <a:pt x="70" y="13"/>
                  </a:cubicBezTo>
                  <a:cubicBezTo>
                    <a:pt x="70" y="13"/>
                    <a:pt x="70" y="13"/>
                    <a:pt x="70" y="13"/>
                  </a:cubicBezTo>
                  <a:cubicBezTo>
                    <a:pt x="70" y="13"/>
                    <a:pt x="70" y="13"/>
                    <a:pt x="70" y="13"/>
                  </a:cubicBezTo>
                  <a:lnTo>
                    <a:pt x="70" y="13"/>
                  </a:lnTo>
                  <a:cubicBezTo>
                    <a:pt x="70" y="13"/>
                    <a:pt x="70" y="13"/>
                    <a:pt x="70" y="13"/>
                  </a:cubicBezTo>
                  <a:cubicBezTo>
                    <a:pt x="70" y="13"/>
                    <a:pt x="70" y="13"/>
                    <a:pt x="70" y="13"/>
                  </a:cubicBezTo>
                  <a:cubicBezTo>
                    <a:pt x="70" y="13"/>
                    <a:pt x="70" y="13"/>
                    <a:pt x="69" y="13"/>
                  </a:cubicBezTo>
                  <a:cubicBezTo>
                    <a:pt x="69" y="13"/>
                    <a:pt x="69" y="13"/>
                    <a:pt x="69" y="13"/>
                  </a:cubicBezTo>
                  <a:cubicBezTo>
                    <a:pt x="69" y="12"/>
                    <a:pt x="69" y="12"/>
                    <a:pt x="69" y="12"/>
                  </a:cubicBezTo>
                  <a:cubicBezTo>
                    <a:pt x="69" y="12"/>
                    <a:pt x="69" y="12"/>
                    <a:pt x="69" y="12"/>
                  </a:cubicBezTo>
                  <a:lnTo>
                    <a:pt x="69" y="12"/>
                  </a:lnTo>
                  <a:cubicBezTo>
                    <a:pt x="69" y="12"/>
                    <a:pt x="69" y="12"/>
                    <a:pt x="68" y="12"/>
                  </a:cubicBezTo>
                  <a:cubicBezTo>
                    <a:pt x="68" y="12"/>
                    <a:pt x="68" y="12"/>
                    <a:pt x="68" y="12"/>
                  </a:cubicBezTo>
                  <a:cubicBezTo>
                    <a:pt x="68" y="12"/>
                    <a:pt x="68" y="12"/>
                    <a:pt x="68" y="12"/>
                  </a:cubicBezTo>
                  <a:cubicBezTo>
                    <a:pt x="68" y="12"/>
                    <a:pt x="68" y="12"/>
                    <a:pt x="68" y="12"/>
                  </a:cubicBezTo>
                  <a:cubicBezTo>
                    <a:pt x="68" y="12"/>
                    <a:pt x="68" y="12"/>
                    <a:pt x="68" y="12"/>
                  </a:cubicBezTo>
                  <a:cubicBezTo>
                    <a:pt x="68" y="12"/>
                    <a:pt x="68" y="12"/>
                    <a:pt x="68" y="12"/>
                  </a:cubicBezTo>
                  <a:cubicBezTo>
                    <a:pt x="68" y="12"/>
                    <a:pt x="68" y="12"/>
                    <a:pt x="68" y="12"/>
                  </a:cubicBezTo>
                  <a:cubicBezTo>
                    <a:pt x="68" y="12"/>
                    <a:pt x="68" y="12"/>
                    <a:pt x="68" y="12"/>
                  </a:cubicBezTo>
                  <a:cubicBezTo>
                    <a:pt x="68" y="12"/>
                    <a:pt x="68" y="12"/>
                    <a:pt x="68" y="12"/>
                  </a:cubicBezTo>
                  <a:cubicBezTo>
                    <a:pt x="67" y="12"/>
                    <a:pt x="67" y="12"/>
                    <a:pt x="67" y="12"/>
                  </a:cubicBezTo>
                  <a:lnTo>
                    <a:pt x="67" y="12"/>
                  </a:lnTo>
                  <a:cubicBezTo>
                    <a:pt x="67" y="12"/>
                    <a:pt x="67" y="12"/>
                    <a:pt x="67" y="12"/>
                  </a:cubicBezTo>
                  <a:cubicBezTo>
                    <a:pt x="67" y="12"/>
                    <a:pt x="67" y="12"/>
                    <a:pt x="67" y="12"/>
                  </a:cubicBezTo>
                  <a:cubicBezTo>
                    <a:pt x="67" y="12"/>
                    <a:pt x="67" y="12"/>
                    <a:pt x="67" y="12"/>
                  </a:cubicBezTo>
                  <a:lnTo>
                    <a:pt x="67" y="12"/>
                  </a:lnTo>
                  <a:cubicBezTo>
                    <a:pt x="66" y="12"/>
                    <a:pt x="66" y="12"/>
                    <a:pt x="66" y="12"/>
                  </a:cubicBezTo>
                  <a:cubicBezTo>
                    <a:pt x="66" y="12"/>
                    <a:pt x="66" y="12"/>
                    <a:pt x="66" y="12"/>
                  </a:cubicBezTo>
                  <a:cubicBezTo>
                    <a:pt x="66" y="11"/>
                    <a:pt x="65" y="11"/>
                    <a:pt x="65" y="11"/>
                  </a:cubicBezTo>
                  <a:cubicBezTo>
                    <a:pt x="65" y="11"/>
                    <a:pt x="65" y="11"/>
                    <a:pt x="65" y="11"/>
                  </a:cubicBezTo>
                  <a:cubicBezTo>
                    <a:pt x="65" y="11"/>
                    <a:pt x="65" y="11"/>
                    <a:pt x="65" y="11"/>
                  </a:cubicBezTo>
                  <a:lnTo>
                    <a:pt x="65" y="11"/>
                  </a:lnTo>
                  <a:cubicBezTo>
                    <a:pt x="64" y="11"/>
                    <a:pt x="64" y="11"/>
                    <a:pt x="63" y="11"/>
                  </a:cubicBezTo>
                  <a:cubicBezTo>
                    <a:pt x="63" y="11"/>
                    <a:pt x="63" y="11"/>
                    <a:pt x="63" y="11"/>
                  </a:cubicBezTo>
                  <a:cubicBezTo>
                    <a:pt x="44" y="6"/>
                    <a:pt x="25" y="3"/>
                    <a:pt x="5" y="0"/>
                  </a:cubicBezTo>
                  <a:lnTo>
                    <a:pt x="0" y="39"/>
                  </a:lnTo>
                  <a:cubicBezTo>
                    <a:pt x="28" y="43"/>
                    <a:pt x="56" y="49"/>
                    <a:pt x="82" y="59"/>
                  </a:cubicBezTo>
                  <a:lnTo>
                    <a:pt x="96" y="21"/>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13">
              <a:extLst>
                <a:ext uri="{FF2B5EF4-FFF2-40B4-BE49-F238E27FC236}">
                  <a16:creationId xmlns:a16="http://schemas.microsoft.com/office/drawing/2014/main" id="{7C1FDE8B-8154-50E1-9484-C512DA7DF856}"/>
                </a:ext>
              </a:extLst>
            </p:cNvPr>
            <p:cNvSpPr>
              <a:spLocks/>
            </p:cNvSpPr>
            <p:nvPr/>
          </p:nvSpPr>
          <p:spPr bwMode="auto">
            <a:xfrm>
              <a:off x="1135063" y="3632200"/>
              <a:ext cx="39688" cy="44450"/>
            </a:xfrm>
            <a:custGeom>
              <a:avLst/>
              <a:gdLst>
                <a:gd name="T0" fmla="*/ 0 w 54"/>
                <a:gd name="T1" fmla="*/ 47 h 60"/>
                <a:gd name="T2" fmla="*/ 0 w 54"/>
                <a:gd name="T3" fmla="*/ 47 h 60"/>
                <a:gd name="T4" fmla="*/ 38 w 54"/>
                <a:gd name="T5" fmla="*/ 60 h 60"/>
                <a:gd name="T6" fmla="*/ 40 w 54"/>
                <a:gd name="T7" fmla="*/ 55 h 60"/>
                <a:gd name="T8" fmla="*/ 40 w 54"/>
                <a:gd name="T9" fmla="*/ 55 h 60"/>
                <a:gd name="T10" fmla="*/ 40 w 54"/>
                <a:gd name="T11" fmla="*/ 55 h 60"/>
                <a:gd name="T12" fmla="*/ 40 w 54"/>
                <a:gd name="T13" fmla="*/ 55 h 60"/>
                <a:gd name="T14" fmla="*/ 40 w 54"/>
                <a:gd name="T15" fmla="*/ 55 h 60"/>
                <a:gd name="T16" fmla="*/ 40 w 54"/>
                <a:gd name="T17" fmla="*/ 55 h 60"/>
                <a:gd name="T18" fmla="*/ 40 w 54"/>
                <a:gd name="T19" fmla="*/ 55 h 60"/>
                <a:gd name="T20" fmla="*/ 40 w 54"/>
                <a:gd name="T21" fmla="*/ 55 h 60"/>
                <a:gd name="T22" fmla="*/ 40 w 54"/>
                <a:gd name="T23" fmla="*/ 54 h 60"/>
                <a:gd name="T24" fmla="*/ 40 w 54"/>
                <a:gd name="T25" fmla="*/ 54 h 60"/>
                <a:gd name="T26" fmla="*/ 40 w 54"/>
                <a:gd name="T27" fmla="*/ 54 h 60"/>
                <a:gd name="T28" fmla="*/ 40 w 54"/>
                <a:gd name="T29" fmla="*/ 54 h 60"/>
                <a:gd name="T30" fmla="*/ 40 w 54"/>
                <a:gd name="T31" fmla="*/ 54 h 60"/>
                <a:gd name="T32" fmla="*/ 40 w 54"/>
                <a:gd name="T33" fmla="*/ 54 h 60"/>
                <a:gd name="T34" fmla="*/ 40 w 54"/>
                <a:gd name="T35" fmla="*/ 54 h 60"/>
                <a:gd name="T36" fmla="*/ 40 w 54"/>
                <a:gd name="T37" fmla="*/ 54 h 60"/>
                <a:gd name="T38" fmla="*/ 40 w 54"/>
                <a:gd name="T39" fmla="*/ 54 h 60"/>
                <a:gd name="T40" fmla="*/ 40 w 54"/>
                <a:gd name="T41" fmla="*/ 54 h 60"/>
                <a:gd name="T42" fmla="*/ 40 w 54"/>
                <a:gd name="T43" fmla="*/ 54 h 60"/>
                <a:gd name="T44" fmla="*/ 40 w 54"/>
                <a:gd name="T45" fmla="*/ 53 h 60"/>
                <a:gd name="T46" fmla="*/ 41 w 54"/>
                <a:gd name="T47" fmla="*/ 53 h 60"/>
                <a:gd name="T48" fmla="*/ 41 w 54"/>
                <a:gd name="T49" fmla="*/ 53 h 60"/>
                <a:gd name="T50" fmla="*/ 41 w 54"/>
                <a:gd name="T51" fmla="*/ 53 h 60"/>
                <a:gd name="T52" fmla="*/ 41 w 54"/>
                <a:gd name="T53" fmla="*/ 53 h 60"/>
                <a:gd name="T54" fmla="*/ 41 w 54"/>
                <a:gd name="T55" fmla="*/ 53 h 60"/>
                <a:gd name="T56" fmla="*/ 41 w 54"/>
                <a:gd name="T57" fmla="*/ 53 h 60"/>
                <a:gd name="T58" fmla="*/ 41 w 54"/>
                <a:gd name="T59" fmla="*/ 53 h 60"/>
                <a:gd name="T60" fmla="*/ 41 w 54"/>
                <a:gd name="T61" fmla="*/ 53 h 60"/>
                <a:gd name="T62" fmla="*/ 41 w 54"/>
                <a:gd name="T63" fmla="*/ 53 h 60"/>
                <a:gd name="T64" fmla="*/ 41 w 54"/>
                <a:gd name="T65" fmla="*/ 53 h 60"/>
                <a:gd name="T66" fmla="*/ 41 w 54"/>
                <a:gd name="T67" fmla="*/ 53 h 60"/>
                <a:gd name="T68" fmla="*/ 41 w 54"/>
                <a:gd name="T69" fmla="*/ 52 h 60"/>
                <a:gd name="T70" fmla="*/ 41 w 54"/>
                <a:gd name="T71" fmla="*/ 52 h 60"/>
                <a:gd name="T72" fmla="*/ 54 w 54"/>
                <a:gd name="T73" fmla="*/ 0 h 60"/>
                <a:gd name="T74" fmla="*/ 13 w 54"/>
                <a:gd name="T75" fmla="*/ 0 h 60"/>
                <a:gd name="T76" fmla="*/ 0 w 54"/>
                <a:gd name="T77" fmla="*/ 4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60">
                  <a:moveTo>
                    <a:pt x="0" y="47"/>
                  </a:moveTo>
                  <a:lnTo>
                    <a:pt x="0" y="47"/>
                  </a:lnTo>
                  <a:lnTo>
                    <a:pt x="38" y="60"/>
                  </a:lnTo>
                  <a:cubicBezTo>
                    <a:pt x="39" y="59"/>
                    <a:pt x="39" y="57"/>
                    <a:pt x="40" y="55"/>
                  </a:cubicBezTo>
                  <a:lnTo>
                    <a:pt x="40" y="55"/>
                  </a:lnTo>
                  <a:cubicBezTo>
                    <a:pt x="40" y="55"/>
                    <a:pt x="40" y="55"/>
                    <a:pt x="40" y="55"/>
                  </a:cubicBezTo>
                  <a:cubicBezTo>
                    <a:pt x="40" y="55"/>
                    <a:pt x="40" y="55"/>
                    <a:pt x="40" y="55"/>
                  </a:cubicBezTo>
                  <a:cubicBezTo>
                    <a:pt x="40" y="55"/>
                    <a:pt x="40" y="55"/>
                    <a:pt x="40" y="55"/>
                  </a:cubicBezTo>
                  <a:cubicBezTo>
                    <a:pt x="40" y="55"/>
                    <a:pt x="40" y="55"/>
                    <a:pt x="40" y="55"/>
                  </a:cubicBezTo>
                  <a:cubicBezTo>
                    <a:pt x="40" y="55"/>
                    <a:pt x="40" y="55"/>
                    <a:pt x="40" y="55"/>
                  </a:cubicBezTo>
                  <a:cubicBezTo>
                    <a:pt x="40" y="55"/>
                    <a:pt x="40" y="55"/>
                    <a:pt x="40" y="55"/>
                  </a:cubicBezTo>
                  <a:cubicBezTo>
                    <a:pt x="40" y="55"/>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3"/>
                  </a:cubicBezTo>
                  <a:cubicBezTo>
                    <a:pt x="40" y="53"/>
                    <a:pt x="40"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2"/>
                  </a:cubicBezTo>
                  <a:cubicBezTo>
                    <a:pt x="41" y="52"/>
                    <a:pt x="41" y="52"/>
                    <a:pt x="41" y="52"/>
                  </a:cubicBezTo>
                  <a:cubicBezTo>
                    <a:pt x="46" y="35"/>
                    <a:pt x="51" y="18"/>
                    <a:pt x="54" y="0"/>
                  </a:cubicBezTo>
                  <a:lnTo>
                    <a:pt x="13" y="0"/>
                  </a:lnTo>
                  <a:cubicBezTo>
                    <a:pt x="10" y="16"/>
                    <a:pt x="6" y="32"/>
                    <a:pt x="0" y="47"/>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14">
              <a:extLst>
                <a:ext uri="{FF2B5EF4-FFF2-40B4-BE49-F238E27FC236}">
                  <a16:creationId xmlns:a16="http://schemas.microsoft.com/office/drawing/2014/main" id="{B1922D16-364C-39BB-374E-A3F82E85926B}"/>
                </a:ext>
              </a:extLst>
            </p:cNvPr>
            <p:cNvSpPr>
              <a:spLocks/>
            </p:cNvSpPr>
            <p:nvPr/>
          </p:nvSpPr>
          <p:spPr bwMode="auto">
            <a:xfrm>
              <a:off x="1031875" y="3763963"/>
              <a:ext cx="66675" cy="63500"/>
            </a:xfrm>
            <a:custGeom>
              <a:avLst/>
              <a:gdLst>
                <a:gd name="T0" fmla="*/ 23 w 93"/>
                <a:gd name="T1" fmla="*/ 89 h 89"/>
                <a:gd name="T2" fmla="*/ 23 w 93"/>
                <a:gd name="T3" fmla="*/ 88 h 89"/>
                <a:gd name="T4" fmla="*/ 23 w 93"/>
                <a:gd name="T5" fmla="*/ 88 h 89"/>
                <a:gd name="T6" fmla="*/ 24 w 93"/>
                <a:gd name="T7" fmla="*/ 88 h 89"/>
                <a:gd name="T8" fmla="*/ 24 w 93"/>
                <a:gd name="T9" fmla="*/ 88 h 89"/>
                <a:gd name="T10" fmla="*/ 24 w 93"/>
                <a:gd name="T11" fmla="*/ 88 h 89"/>
                <a:gd name="T12" fmla="*/ 24 w 93"/>
                <a:gd name="T13" fmla="*/ 87 h 89"/>
                <a:gd name="T14" fmla="*/ 25 w 93"/>
                <a:gd name="T15" fmla="*/ 87 h 89"/>
                <a:gd name="T16" fmla="*/ 25 w 93"/>
                <a:gd name="T17" fmla="*/ 87 h 89"/>
                <a:gd name="T18" fmla="*/ 25 w 93"/>
                <a:gd name="T19" fmla="*/ 87 h 89"/>
                <a:gd name="T20" fmla="*/ 26 w 93"/>
                <a:gd name="T21" fmla="*/ 86 h 89"/>
                <a:gd name="T22" fmla="*/ 26 w 93"/>
                <a:gd name="T23" fmla="*/ 86 h 89"/>
                <a:gd name="T24" fmla="*/ 26 w 93"/>
                <a:gd name="T25" fmla="*/ 86 h 89"/>
                <a:gd name="T26" fmla="*/ 26 w 93"/>
                <a:gd name="T27" fmla="*/ 86 h 89"/>
                <a:gd name="T28" fmla="*/ 27 w 93"/>
                <a:gd name="T29" fmla="*/ 86 h 89"/>
                <a:gd name="T30" fmla="*/ 27 w 93"/>
                <a:gd name="T31" fmla="*/ 85 h 89"/>
                <a:gd name="T32" fmla="*/ 27 w 93"/>
                <a:gd name="T33" fmla="*/ 85 h 89"/>
                <a:gd name="T34" fmla="*/ 28 w 93"/>
                <a:gd name="T35" fmla="*/ 85 h 89"/>
                <a:gd name="T36" fmla="*/ 28 w 93"/>
                <a:gd name="T37" fmla="*/ 85 h 89"/>
                <a:gd name="T38" fmla="*/ 28 w 93"/>
                <a:gd name="T39" fmla="*/ 85 h 89"/>
                <a:gd name="T40" fmla="*/ 29 w 93"/>
                <a:gd name="T41" fmla="*/ 84 h 89"/>
                <a:gd name="T42" fmla="*/ 29 w 93"/>
                <a:gd name="T43" fmla="*/ 84 h 89"/>
                <a:gd name="T44" fmla="*/ 29 w 93"/>
                <a:gd name="T45" fmla="*/ 84 h 89"/>
                <a:gd name="T46" fmla="*/ 29 w 93"/>
                <a:gd name="T47" fmla="*/ 84 h 89"/>
                <a:gd name="T48" fmla="*/ 30 w 93"/>
                <a:gd name="T49" fmla="*/ 83 h 89"/>
                <a:gd name="T50" fmla="*/ 30 w 93"/>
                <a:gd name="T51" fmla="*/ 83 h 89"/>
                <a:gd name="T52" fmla="*/ 30 w 93"/>
                <a:gd name="T53" fmla="*/ 83 h 89"/>
                <a:gd name="T54" fmla="*/ 31 w 93"/>
                <a:gd name="T55" fmla="*/ 83 h 89"/>
                <a:gd name="T56" fmla="*/ 31 w 93"/>
                <a:gd name="T57" fmla="*/ 83 h 89"/>
                <a:gd name="T58" fmla="*/ 31 w 93"/>
                <a:gd name="T59" fmla="*/ 82 h 89"/>
                <a:gd name="T60" fmla="*/ 31 w 93"/>
                <a:gd name="T61" fmla="*/ 82 h 89"/>
                <a:gd name="T62" fmla="*/ 32 w 93"/>
                <a:gd name="T63" fmla="*/ 82 h 89"/>
                <a:gd name="T64" fmla="*/ 32 w 93"/>
                <a:gd name="T65" fmla="*/ 82 h 89"/>
                <a:gd name="T66" fmla="*/ 32 w 93"/>
                <a:gd name="T67" fmla="*/ 82 h 89"/>
                <a:gd name="T68" fmla="*/ 33 w 93"/>
                <a:gd name="T69" fmla="*/ 81 h 89"/>
                <a:gd name="T70" fmla="*/ 33 w 93"/>
                <a:gd name="T71" fmla="*/ 81 h 89"/>
                <a:gd name="T72" fmla="*/ 33 w 93"/>
                <a:gd name="T73" fmla="*/ 81 h 89"/>
                <a:gd name="T74" fmla="*/ 34 w 93"/>
                <a:gd name="T75" fmla="*/ 80 h 89"/>
                <a:gd name="T76" fmla="*/ 34 w 93"/>
                <a:gd name="T77" fmla="*/ 80 h 89"/>
                <a:gd name="T78" fmla="*/ 35 w 93"/>
                <a:gd name="T79" fmla="*/ 80 h 89"/>
                <a:gd name="T80" fmla="*/ 35 w 93"/>
                <a:gd name="T81" fmla="*/ 80 h 89"/>
                <a:gd name="T82" fmla="*/ 35 w 93"/>
                <a:gd name="T83" fmla="*/ 79 h 89"/>
                <a:gd name="T84" fmla="*/ 36 w 93"/>
                <a:gd name="T85" fmla="*/ 79 h 89"/>
                <a:gd name="T86" fmla="*/ 36 w 93"/>
                <a:gd name="T87" fmla="*/ 79 h 89"/>
                <a:gd name="T88" fmla="*/ 37 w 93"/>
                <a:gd name="T89" fmla="*/ 78 h 89"/>
                <a:gd name="T90" fmla="*/ 37 w 93"/>
                <a:gd name="T91" fmla="*/ 78 h 89"/>
                <a:gd name="T92" fmla="*/ 38 w 93"/>
                <a:gd name="T93" fmla="*/ 78 h 89"/>
                <a:gd name="T94" fmla="*/ 38 w 93"/>
                <a:gd name="T95" fmla="*/ 77 h 89"/>
                <a:gd name="T96" fmla="*/ 39 w 93"/>
                <a:gd name="T97" fmla="*/ 77 h 89"/>
                <a:gd name="T98" fmla="*/ 40 w 93"/>
                <a:gd name="T99" fmla="*/ 75 h 89"/>
                <a:gd name="T100" fmla="*/ 41 w 93"/>
                <a:gd name="T101" fmla="*/ 7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 h="89">
                  <a:moveTo>
                    <a:pt x="0" y="56"/>
                  </a:moveTo>
                  <a:lnTo>
                    <a:pt x="0" y="56"/>
                  </a:lnTo>
                  <a:lnTo>
                    <a:pt x="23" y="89"/>
                  </a:lnTo>
                  <a:cubicBezTo>
                    <a:pt x="23" y="89"/>
                    <a:pt x="23" y="89"/>
                    <a:pt x="23" y="89"/>
                  </a:cubicBezTo>
                  <a:cubicBezTo>
                    <a:pt x="23" y="89"/>
                    <a:pt x="23" y="89"/>
                    <a:pt x="23" y="89"/>
                  </a:cubicBezTo>
                  <a:cubicBezTo>
                    <a:pt x="23" y="89"/>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7"/>
                    <a:pt x="24" y="87"/>
                  </a:cubicBezTo>
                  <a:cubicBezTo>
                    <a:pt x="24" y="87"/>
                    <a:pt x="24" y="87"/>
                    <a:pt x="24" y="87"/>
                  </a:cubicBezTo>
                  <a:cubicBezTo>
                    <a:pt x="24" y="87"/>
                    <a:pt x="24" y="87"/>
                    <a:pt x="24" y="87"/>
                  </a:cubicBezTo>
                  <a:cubicBezTo>
                    <a:pt x="24" y="87"/>
                    <a:pt x="24" y="87"/>
                    <a:pt x="24" y="87"/>
                  </a:cubicBezTo>
                  <a:cubicBezTo>
                    <a:pt x="24" y="87"/>
                    <a:pt x="24"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6" y="87"/>
                    <a:pt x="26" y="87"/>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5"/>
                    <a:pt x="27" y="85"/>
                    <a:pt x="27" y="85"/>
                  </a:cubicBezTo>
                  <a:cubicBezTo>
                    <a:pt x="27" y="85"/>
                    <a:pt x="27" y="85"/>
                    <a:pt x="27" y="85"/>
                  </a:cubicBezTo>
                  <a:cubicBezTo>
                    <a:pt x="27" y="85"/>
                    <a:pt x="27" y="85"/>
                    <a:pt x="27" y="85"/>
                  </a:cubicBezTo>
                  <a:cubicBezTo>
                    <a:pt x="27" y="85"/>
                    <a:pt x="27" y="85"/>
                    <a:pt x="27" y="85"/>
                  </a:cubicBezTo>
                  <a:cubicBezTo>
                    <a:pt x="27" y="85"/>
                    <a:pt x="27" y="85"/>
                    <a:pt x="27" y="85"/>
                  </a:cubicBezTo>
                  <a:cubicBezTo>
                    <a:pt x="27" y="85"/>
                    <a:pt x="27" y="85"/>
                    <a:pt x="27" y="85"/>
                  </a:cubicBezTo>
                  <a:cubicBezTo>
                    <a:pt x="27" y="85"/>
                    <a:pt x="27" y="85"/>
                    <a:pt x="27" y="85"/>
                  </a:cubicBezTo>
                  <a:cubicBezTo>
                    <a:pt x="27"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4"/>
                  </a:cubicBezTo>
                  <a:cubicBezTo>
                    <a:pt x="28" y="84"/>
                    <a:pt x="28" y="84"/>
                    <a:pt x="28" y="84"/>
                  </a:cubicBezTo>
                  <a:cubicBezTo>
                    <a:pt x="28" y="84"/>
                    <a:pt x="28" y="84"/>
                    <a:pt x="28"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30" y="84"/>
                    <a:pt x="30" y="84"/>
                  </a:cubicBezTo>
                  <a:cubicBezTo>
                    <a:pt x="30" y="84"/>
                    <a:pt x="30" y="84"/>
                    <a:pt x="30" y="84"/>
                  </a:cubicBezTo>
                  <a:cubicBezTo>
                    <a:pt x="30" y="84"/>
                    <a:pt x="30" y="84"/>
                    <a:pt x="30" y="84"/>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2"/>
                  </a:cubicBezTo>
                  <a:cubicBezTo>
                    <a:pt x="31" y="82"/>
                    <a:pt x="31" y="82"/>
                    <a:pt x="31" y="82"/>
                  </a:cubicBezTo>
                  <a:cubicBezTo>
                    <a:pt x="31" y="82"/>
                    <a:pt x="31" y="82"/>
                    <a:pt x="31" y="82"/>
                  </a:cubicBezTo>
                  <a:cubicBezTo>
                    <a:pt x="31" y="82"/>
                    <a:pt x="31" y="82"/>
                    <a:pt x="31" y="82"/>
                  </a:cubicBezTo>
                  <a:cubicBezTo>
                    <a:pt x="31" y="82"/>
                    <a:pt x="31" y="82"/>
                    <a:pt x="31" y="82"/>
                  </a:cubicBezTo>
                  <a:cubicBezTo>
                    <a:pt x="31" y="82"/>
                    <a:pt x="31" y="82"/>
                    <a:pt x="31" y="82"/>
                  </a:cubicBezTo>
                  <a:cubicBezTo>
                    <a:pt x="31" y="82"/>
                    <a:pt x="31" y="82"/>
                    <a:pt x="31"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1"/>
                    <a:pt x="32" y="81"/>
                  </a:cubicBezTo>
                  <a:cubicBezTo>
                    <a:pt x="32" y="81"/>
                    <a:pt x="33" y="81"/>
                    <a:pt x="33" y="81"/>
                  </a:cubicBezTo>
                  <a:cubicBezTo>
                    <a:pt x="33" y="81"/>
                    <a:pt x="33" y="81"/>
                    <a:pt x="33" y="81"/>
                  </a:cubicBezTo>
                  <a:cubicBezTo>
                    <a:pt x="33" y="81"/>
                    <a:pt x="33" y="81"/>
                    <a:pt x="33" y="81"/>
                  </a:cubicBezTo>
                  <a:cubicBezTo>
                    <a:pt x="33" y="81"/>
                    <a:pt x="33" y="81"/>
                    <a:pt x="33" y="81"/>
                  </a:cubicBezTo>
                  <a:lnTo>
                    <a:pt x="33" y="81"/>
                  </a:ln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4" y="81"/>
                  </a:cubicBezTo>
                  <a:lnTo>
                    <a:pt x="34" y="81"/>
                  </a:lnTo>
                  <a:cubicBezTo>
                    <a:pt x="34" y="81"/>
                    <a:pt x="34" y="80"/>
                    <a:pt x="34" y="80"/>
                  </a:cubicBezTo>
                  <a:lnTo>
                    <a:pt x="34" y="80"/>
                  </a:lnTo>
                  <a:cubicBezTo>
                    <a:pt x="34" y="80"/>
                    <a:pt x="34" y="80"/>
                    <a:pt x="34" y="80"/>
                  </a:cubicBezTo>
                  <a:cubicBezTo>
                    <a:pt x="34" y="80"/>
                    <a:pt x="34" y="80"/>
                    <a:pt x="34" y="80"/>
                  </a:cubicBezTo>
                  <a:cubicBezTo>
                    <a:pt x="34" y="80"/>
                    <a:pt x="34" y="80"/>
                    <a:pt x="34" y="80"/>
                  </a:cubicBezTo>
                  <a:cubicBezTo>
                    <a:pt x="34" y="80"/>
                    <a:pt x="34" y="80"/>
                    <a:pt x="34" y="80"/>
                  </a:cubicBezTo>
                  <a:cubicBezTo>
                    <a:pt x="34" y="80"/>
                    <a:pt x="34" y="80"/>
                    <a:pt x="34" y="80"/>
                  </a:cubicBezTo>
                  <a:cubicBezTo>
                    <a:pt x="34" y="80"/>
                    <a:pt x="34" y="80"/>
                    <a:pt x="34" y="80"/>
                  </a:cubicBezTo>
                  <a:cubicBezTo>
                    <a:pt x="34" y="80"/>
                    <a:pt x="35" y="80"/>
                    <a:pt x="35" y="80"/>
                  </a:cubicBezTo>
                  <a:cubicBezTo>
                    <a:pt x="35" y="80"/>
                    <a:pt x="35" y="80"/>
                    <a:pt x="35" y="80"/>
                  </a:cubicBezTo>
                  <a:cubicBezTo>
                    <a:pt x="35" y="80"/>
                    <a:pt x="35" y="80"/>
                    <a:pt x="35" y="80"/>
                  </a:cubicBezTo>
                  <a:lnTo>
                    <a:pt x="35" y="80"/>
                  </a:lnTo>
                  <a:cubicBezTo>
                    <a:pt x="35" y="80"/>
                    <a:pt x="35" y="80"/>
                    <a:pt x="35" y="80"/>
                  </a:cubicBezTo>
                  <a:cubicBezTo>
                    <a:pt x="35" y="80"/>
                    <a:pt x="35" y="80"/>
                    <a:pt x="35" y="80"/>
                  </a:cubicBezTo>
                  <a:cubicBezTo>
                    <a:pt x="35" y="80"/>
                    <a:pt x="35" y="80"/>
                    <a:pt x="35" y="79"/>
                  </a:cubicBezTo>
                  <a:cubicBezTo>
                    <a:pt x="35" y="79"/>
                    <a:pt x="35" y="79"/>
                    <a:pt x="35" y="79"/>
                  </a:cubicBezTo>
                  <a:cubicBezTo>
                    <a:pt x="35" y="79"/>
                    <a:pt x="35" y="79"/>
                    <a:pt x="35" y="79"/>
                  </a:cubicBezTo>
                  <a:cubicBezTo>
                    <a:pt x="35" y="79"/>
                    <a:pt x="35" y="79"/>
                    <a:pt x="35" y="79"/>
                  </a:cubicBezTo>
                  <a:cubicBezTo>
                    <a:pt x="35" y="79"/>
                    <a:pt x="35" y="79"/>
                    <a:pt x="35" y="79"/>
                  </a:cubicBezTo>
                  <a:cubicBezTo>
                    <a:pt x="35" y="79"/>
                    <a:pt x="35" y="79"/>
                    <a:pt x="35" y="79"/>
                  </a:cubicBezTo>
                  <a:cubicBezTo>
                    <a:pt x="35"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8"/>
                  </a:cubicBezTo>
                  <a:cubicBezTo>
                    <a:pt x="36" y="78"/>
                    <a:pt x="36" y="78"/>
                    <a:pt x="36" y="78"/>
                  </a:cubicBezTo>
                  <a:cubicBezTo>
                    <a:pt x="37" y="78"/>
                    <a:pt x="37" y="78"/>
                    <a:pt x="37" y="78"/>
                  </a:cubicBezTo>
                  <a:cubicBezTo>
                    <a:pt x="37" y="78"/>
                    <a:pt x="37" y="78"/>
                    <a:pt x="37" y="78"/>
                  </a:cubicBezTo>
                  <a:cubicBezTo>
                    <a:pt x="37" y="78"/>
                    <a:pt x="37" y="78"/>
                    <a:pt x="37" y="78"/>
                  </a:cubicBezTo>
                  <a:lnTo>
                    <a:pt x="37" y="78"/>
                  </a:lnTo>
                  <a:cubicBezTo>
                    <a:pt x="37" y="78"/>
                    <a:pt x="37" y="78"/>
                    <a:pt x="37" y="78"/>
                  </a:cubicBezTo>
                  <a:lnTo>
                    <a:pt x="37" y="78"/>
                  </a:lnTo>
                  <a:cubicBezTo>
                    <a:pt x="37" y="78"/>
                    <a:pt x="37" y="78"/>
                    <a:pt x="37" y="78"/>
                  </a:cubicBezTo>
                  <a:cubicBezTo>
                    <a:pt x="37" y="78"/>
                    <a:pt x="37" y="78"/>
                    <a:pt x="37" y="78"/>
                  </a:cubicBezTo>
                  <a:cubicBezTo>
                    <a:pt x="37" y="78"/>
                    <a:pt x="37" y="78"/>
                    <a:pt x="37" y="78"/>
                  </a:cubicBezTo>
                  <a:cubicBezTo>
                    <a:pt x="38" y="78"/>
                    <a:pt x="38" y="78"/>
                    <a:pt x="38" y="78"/>
                  </a:cubicBezTo>
                  <a:cubicBezTo>
                    <a:pt x="38" y="78"/>
                    <a:pt x="38" y="78"/>
                    <a:pt x="38" y="78"/>
                  </a:cubicBezTo>
                  <a:cubicBezTo>
                    <a:pt x="38" y="77"/>
                    <a:pt x="38" y="77"/>
                    <a:pt x="38" y="77"/>
                  </a:cubicBezTo>
                  <a:cubicBezTo>
                    <a:pt x="38" y="77"/>
                    <a:pt x="38" y="77"/>
                    <a:pt x="38" y="77"/>
                  </a:cubicBezTo>
                  <a:cubicBezTo>
                    <a:pt x="38" y="77"/>
                    <a:pt x="38" y="77"/>
                    <a:pt x="38" y="77"/>
                  </a:cubicBezTo>
                  <a:lnTo>
                    <a:pt x="38" y="77"/>
                  </a:lnTo>
                  <a:cubicBezTo>
                    <a:pt x="39" y="77"/>
                    <a:pt x="39" y="77"/>
                    <a:pt x="39" y="77"/>
                  </a:cubicBezTo>
                  <a:cubicBezTo>
                    <a:pt x="39" y="77"/>
                    <a:pt x="39" y="77"/>
                    <a:pt x="39" y="77"/>
                  </a:cubicBezTo>
                  <a:cubicBezTo>
                    <a:pt x="39" y="77"/>
                    <a:pt x="39" y="77"/>
                    <a:pt x="39" y="77"/>
                  </a:cubicBezTo>
                  <a:cubicBezTo>
                    <a:pt x="39" y="77"/>
                    <a:pt x="39" y="76"/>
                    <a:pt x="39" y="76"/>
                  </a:cubicBezTo>
                  <a:cubicBezTo>
                    <a:pt x="39" y="76"/>
                    <a:pt x="40" y="76"/>
                    <a:pt x="40" y="76"/>
                  </a:cubicBezTo>
                  <a:cubicBezTo>
                    <a:pt x="40" y="76"/>
                    <a:pt x="40" y="76"/>
                    <a:pt x="40" y="76"/>
                  </a:cubicBezTo>
                  <a:cubicBezTo>
                    <a:pt x="40" y="76"/>
                    <a:pt x="40" y="76"/>
                    <a:pt x="40" y="75"/>
                  </a:cubicBezTo>
                  <a:lnTo>
                    <a:pt x="40" y="75"/>
                  </a:lnTo>
                  <a:cubicBezTo>
                    <a:pt x="40" y="75"/>
                    <a:pt x="40" y="75"/>
                    <a:pt x="40" y="75"/>
                  </a:cubicBezTo>
                  <a:lnTo>
                    <a:pt x="41" y="75"/>
                  </a:lnTo>
                  <a:cubicBezTo>
                    <a:pt x="41" y="75"/>
                    <a:pt x="41" y="75"/>
                    <a:pt x="41" y="75"/>
                  </a:cubicBezTo>
                  <a:cubicBezTo>
                    <a:pt x="60" y="60"/>
                    <a:pt x="77" y="44"/>
                    <a:pt x="93" y="27"/>
                  </a:cubicBezTo>
                  <a:lnTo>
                    <a:pt x="63" y="0"/>
                  </a:lnTo>
                  <a:cubicBezTo>
                    <a:pt x="44" y="21"/>
                    <a:pt x="23" y="39"/>
                    <a:pt x="0" y="56"/>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15">
              <a:extLst>
                <a:ext uri="{FF2B5EF4-FFF2-40B4-BE49-F238E27FC236}">
                  <a16:creationId xmlns:a16="http://schemas.microsoft.com/office/drawing/2014/main" id="{5B2E1A0C-8B44-6083-7F18-9F2C81D41970}"/>
                </a:ext>
              </a:extLst>
            </p:cNvPr>
            <p:cNvSpPr>
              <a:spLocks/>
            </p:cNvSpPr>
            <p:nvPr/>
          </p:nvSpPr>
          <p:spPr bwMode="auto">
            <a:xfrm>
              <a:off x="579438" y="3659188"/>
              <a:ext cx="50800" cy="69850"/>
            </a:xfrm>
            <a:custGeom>
              <a:avLst/>
              <a:gdLst>
                <a:gd name="T0" fmla="*/ 38 w 72"/>
                <a:gd name="T1" fmla="*/ 0 h 97"/>
                <a:gd name="T2" fmla="*/ 22 w 72"/>
                <a:gd name="T3" fmla="*/ 69 h 97"/>
                <a:gd name="T4" fmla="*/ 22 w 72"/>
                <a:gd name="T5" fmla="*/ 69 h 97"/>
                <a:gd name="T6" fmla="*/ 23 w 72"/>
                <a:gd name="T7" fmla="*/ 69 h 97"/>
                <a:gd name="T8" fmla="*/ 23 w 72"/>
                <a:gd name="T9" fmla="*/ 70 h 97"/>
                <a:gd name="T10" fmla="*/ 23 w 72"/>
                <a:gd name="T11" fmla="*/ 70 h 97"/>
                <a:gd name="T12" fmla="*/ 23 w 72"/>
                <a:gd name="T13" fmla="*/ 70 h 97"/>
                <a:gd name="T14" fmla="*/ 23 w 72"/>
                <a:gd name="T15" fmla="*/ 70 h 97"/>
                <a:gd name="T16" fmla="*/ 23 w 72"/>
                <a:gd name="T17" fmla="*/ 70 h 97"/>
                <a:gd name="T18" fmla="*/ 23 w 72"/>
                <a:gd name="T19" fmla="*/ 70 h 97"/>
                <a:gd name="T20" fmla="*/ 24 w 72"/>
                <a:gd name="T21" fmla="*/ 71 h 97"/>
                <a:gd name="T22" fmla="*/ 24 w 72"/>
                <a:gd name="T23" fmla="*/ 71 h 97"/>
                <a:gd name="T24" fmla="*/ 24 w 72"/>
                <a:gd name="T25" fmla="*/ 71 h 97"/>
                <a:gd name="T26" fmla="*/ 24 w 72"/>
                <a:gd name="T27" fmla="*/ 71 h 97"/>
                <a:gd name="T28" fmla="*/ 24 w 72"/>
                <a:gd name="T29" fmla="*/ 71 h 97"/>
                <a:gd name="T30" fmla="*/ 24 w 72"/>
                <a:gd name="T31" fmla="*/ 72 h 97"/>
                <a:gd name="T32" fmla="*/ 24 w 72"/>
                <a:gd name="T33" fmla="*/ 72 h 97"/>
                <a:gd name="T34" fmla="*/ 24 w 72"/>
                <a:gd name="T35" fmla="*/ 72 h 97"/>
                <a:gd name="T36" fmla="*/ 24 w 72"/>
                <a:gd name="T37" fmla="*/ 72 h 97"/>
                <a:gd name="T38" fmla="*/ 24 w 72"/>
                <a:gd name="T39" fmla="*/ 72 h 97"/>
                <a:gd name="T40" fmla="*/ 24 w 72"/>
                <a:gd name="T41" fmla="*/ 72 h 97"/>
                <a:gd name="T42" fmla="*/ 24 w 72"/>
                <a:gd name="T43" fmla="*/ 73 h 97"/>
                <a:gd name="T44" fmla="*/ 25 w 72"/>
                <a:gd name="T45" fmla="*/ 73 h 97"/>
                <a:gd name="T46" fmla="*/ 25 w 72"/>
                <a:gd name="T47" fmla="*/ 73 h 97"/>
                <a:gd name="T48" fmla="*/ 25 w 72"/>
                <a:gd name="T49" fmla="*/ 74 h 97"/>
                <a:gd name="T50" fmla="*/ 25 w 72"/>
                <a:gd name="T51" fmla="*/ 74 h 97"/>
                <a:gd name="T52" fmla="*/ 25 w 72"/>
                <a:gd name="T53" fmla="*/ 74 h 97"/>
                <a:gd name="T54" fmla="*/ 25 w 72"/>
                <a:gd name="T55" fmla="*/ 74 h 97"/>
                <a:gd name="T56" fmla="*/ 25 w 72"/>
                <a:gd name="T57" fmla="*/ 74 h 97"/>
                <a:gd name="T58" fmla="*/ 26 w 72"/>
                <a:gd name="T59" fmla="*/ 75 h 97"/>
                <a:gd name="T60" fmla="*/ 38 w 72"/>
                <a:gd name="T61" fmla="*/ 97 h 97"/>
                <a:gd name="T62" fmla="*/ 38 w 72"/>
                <a:gd name="T63"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 h="97">
                  <a:moveTo>
                    <a:pt x="38" y="0"/>
                  </a:moveTo>
                  <a:lnTo>
                    <a:pt x="38" y="0"/>
                  </a:lnTo>
                  <a:lnTo>
                    <a:pt x="0" y="12"/>
                  </a:lnTo>
                  <a:cubicBezTo>
                    <a:pt x="6" y="31"/>
                    <a:pt x="14" y="50"/>
                    <a:pt x="22" y="69"/>
                  </a:cubicBezTo>
                  <a:cubicBezTo>
                    <a:pt x="22" y="69"/>
                    <a:pt x="22" y="69"/>
                    <a:pt x="22" y="69"/>
                  </a:cubicBezTo>
                  <a:cubicBezTo>
                    <a:pt x="22" y="69"/>
                    <a:pt x="22" y="69"/>
                    <a:pt x="22" y="69"/>
                  </a:cubicBezTo>
                  <a:cubicBezTo>
                    <a:pt x="22" y="69"/>
                    <a:pt x="23" y="69"/>
                    <a:pt x="23" y="69"/>
                  </a:cubicBezTo>
                  <a:cubicBezTo>
                    <a:pt x="23" y="69"/>
                    <a:pt x="23" y="69"/>
                    <a:pt x="23" y="69"/>
                  </a:cubicBezTo>
                  <a:cubicBezTo>
                    <a:pt x="23" y="69"/>
                    <a:pt x="23" y="69"/>
                    <a:pt x="23" y="69"/>
                  </a:cubicBezTo>
                  <a:cubicBezTo>
                    <a:pt x="23" y="69"/>
                    <a:pt x="23" y="69"/>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3"/>
                    <a:pt x="24" y="73"/>
                    <a:pt x="24" y="73"/>
                  </a:cubicBezTo>
                  <a:cubicBezTo>
                    <a:pt x="24" y="73"/>
                    <a:pt x="24" y="73"/>
                    <a:pt x="24" y="73"/>
                  </a:cubicBezTo>
                  <a:cubicBezTo>
                    <a:pt x="24" y="73"/>
                    <a:pt x="24" y="73"/>
                    <a:pt x="24" y="73"/>
                  </a:cubicBezTo>
                  <a:cubicBezTo>
                    <a:pt x="24" y="73"/>
                    <a:pt x="25" y="73"/>
                    <a:pt x="25" y="73"/>
                  </a:cubicBezTo>
                  <a:cubicBezTo>
                    <a:pt x="25" y="73"/>
                    <a:pt x="25" y="73"/>
                    <a:pt x="25" y="73"/>
                  </a:cubicBezTo>
                  <a:cubicBezTo>
                    <a:pt x="25" y="73"/>
                    <a:pt x="25" y="73"/>
                    <a:pt x="25" y="73"/>
                  </a:cubicBezTo>
                  <a:lnTo>
                    <a:pt x="25" y="73"/>
                  </a:lnTo>
                  <a:cubicBezTo>
                    <a:pt x="25" y="73"/>
                    <a:pt x="25" y="73"/>
                    <a:pt x="25" y="74"/>
                  </a:cubicBezTo>
                  <a:cubicBezTo>
                    <a:pt x="25" y="74"/>
                    <a:pt x="25" y="74"/>
                    <a:pt x="25" y="74"/>
                  </a:cubicBezTo>
                  <a:cubicBezTo>
                    <a:pt x="25" y="74"/>
                    <a:pt x="25" y="74"/>
                    <a:pt x="25" y="74"/>
                  </a:cubicBezTo>
                  <a:cubicBezTo>
                    <a:pt x="25" y="74"/>
                    <a:pt x="25" y="74"/>
                    <a:pt x="25" y="74"/>
                  </a:cubicBezTo>
                  <a:cubicBezTo>
                    <a:pt x="25" y="74"/>
                    <a:pt x="25" y="74"/>
                    <a:pt x="25" y="74"/>
                  </a:cubicBezTo>
                  <a:lnTo>
                    <a:pt x="25" y="74"/>
                  </a:lnTo>
                  <a:cubicBezTo>
                    <a:pt x="25" y="74"/>
                    <a:pt x="25" y="74"/>
                    <a:pt x="25" y="74"/>
                  </a:cubicBezTo>
                  <a:lnTo>
                    <a:pt x="25" y="74"/>
                  </a:lnTo>
                  <a:cubicBezTo>
                    <a:pt x="25" y="74"/>
                    <a:pt x="25" y="74"/>
                    <a:pt x="25" y="74"/>
                  </a:cubicBezTo>
                  <a:cubicBezTo>
                    <a:pt x="25" y="75"/>
                    <a:pt x="25" y="75"/>
                    <a:pt x="26" y="75"/>
                  </a:cubicBezTo>
                  <a:lnTo>
                    <a:pt x="26" y="75"/>
                  </a:lnTo>
                  <a:cubicBezTo>
                    <a:pt x="26" y="75"/>
                    <a:pt x="26" y="75"/>
                    <a:pt x="26" y="75"/>
                  </a:cubicBezTo>
                  <a:cubicBezTo>
                    <a:pt x="29" y="83"/>
                    <a:pt x="33" y="90"/>
                    <a:pt x="38" y="97"/>
                  </a:cubicBezTo>
                  <a:lnTo>
                    <a:pt x="72" y="77"/>
                  </a:lnTo>
                  <a:cubicBezTo>
                    <a:pt x="58" y="53"/>
                    <a:pt x="47" y="27"/>
                    <a:pt x="38" y="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16">
              <a:extLst>
                <a:ext uri="{FF2B5EF4-FFF2-40B4-BE49-F238E27FC236}">
                  <a16:creationId xmlns:a16="http://schemas.microsoft.com/office/drawing/2014/main" id="{E91238EA-DDCA-0E93-414F-E38695A35744}"/>
                </a:ext>
              </a:extLst>
            </p:cNvPr>
            <p:cNvSpPr>
              <a:spLocks/>
            </p:cNvSpPr>
            <p:nvPr/>
          </p:nvSpPr>
          <p:spPr bwMode="auto">
            <a:xfrm>
              <a:off x="954088" y="3817938"/>
              <a:ext cx="69850" cy="52388"/>
            </a:xfrm>
            <a:custGeom>
              <a:avLst/>
              <a:gdLst>
                <a:gd name="T0" fmla="*/ 0 w 98"/>
                <a:gd name="T1" fmla="*/ 33 h 72"/>
                <a:gd name="T2" fmla="*/ 41 w 98"/>
                <a:gd name="T3" fmla="*/ 62 h 72"/>
                <a:gd name="T4" fmla="*/ 42 w 98"/>
                <a:gd name="T5" fmla="*/ 62 h 72"/>
                <a:gd name="T6" fmla="*/ 42 w 98"/>
                <a:gd name="T7" fmla="*/ 62 h 72"/>
                <a:gd name="T8" fmla="*/ 42 w 98"/>
                <a:gd name="T9" fmla="*/ 61 h 72"/>
                <a:gd name="T10" fmla="*/ 42 w 98"/>
                <a:gd name="T11" fmla="*/ 61 h 72"/>
                <a:gd name="T12" fmla="*/ 43 w 98"/>
                <a:gd name="T13" fmla="*/ 61 h 72"/>
                <a:gd name="T14" fmla="*/ 43 w 98"/>
                <a:gd name="T15" fmla="*/ 61 h 72"/>
                <a:gd name="T16" fmla="*/ 44 w 98"/>
                <a:gd name="T17" fmla="*/ 61 h 72"/>
                <a:gd name="T18" fmla="*/ 44 w 98"/>
                <a:gd name="T19" fmla="*/ 61 h 72"/>
                <a:gd name="T20" fmla="*/ 44 w 98"/>
                <a:gd name="T21" fmla="*/ 61 h 72"/>
                <a:gd name="T22" fmla="*/ 44 w 98"/>
                <a:gd name="T23" fmla="*/ 61 h 72"/>
                <a:gd name="T24" fmla="*/ 45 w 98"/>
                <a:gd name="T25" fmla="*/ 61 h 72"/>
                <a:gd name="T26" fmla="*/ 45 w 98"/>
                <a:gd name="T27" fmla="*/ 60 h 72"/>
                <a:gd name="T28" fmla="*/ 45 w 98"/>
                <a:gd name="T29" fmla="*/ 60 h 72"/>
                <a:gd name="T30" fmla="*/ 45 w 98"/>
                <a:gd name="T31" fmla="*/ 60 h 72"/>
                <a:gd name="T32" fmla="*/ 45 w 98"/>
                <a:gd name="T33" fmla="*/ 60 h 72"/>
                <a:gd name="T34" fmla="*/ 45 w 98"/>
                <a:gd name="T35" fmla="*/ 60 h 72"/>
                <a:gd name="T36" fmla="*/ 46 w 98"/>
                <a:gd name="T37" fmla="*/ 60 h 72"/>
                <a:gd name="T38" fmla="*/ 46 w 98"/>
                <a:gd name="T39" fmla="*/ 60 h 72"/>
                <a:gd name="T40" fmla="*/ 46 w 98"/>
                <a:gd name="T41" fmla="*/ 60 h 72"/>
                <a:gd name="T42" fmla="*/ 46 w 98"/>
                <a:gd name="T43" fmla="*/ 60 h 72"/>
                <a:gd name="T44" fmla="*/ 46 w 98"/>
                <a:gd name="T45" fmla="*/ 60 h 72"/>
                <a:gd name="T46" fmla="*/ 46 w 98"/>
                <a:gd name="T47" fmla="*/ 60 h 72"/>
                <a:gd name="T48" fmla="*/ 47 w 98"/>
                <a:gd name="T49" fmla="*/ 60 h 72"/>
                <a:gd name="T50" fmla="*/ 47 w 98"/>
                <a:gd name="T51" fmla="*/ 60 h 72"/>
                <a:gd name="T52" fmla="*/ 47 w 98"/>
                <a:gd name="T53" fmla="*/ 60 h 72"/>
                <a:gd name="T54" fmla="*/ 47 w 98"/>
                <a:gd name="T55" fmla="*/ 59 h 72"/>
                <a:gd name="T56" fmla="*/ 47 w 98"/>
                <a:gd name="T57" fmla="*/ 59 h 72"/>
                <a:gd name="T58" fmla="*/ 47 w 98"/>
                <a:gd name="T59" fmla="*/ 59 h 72"/>
                <a:gd name="T60" fmla="*/ 48 w 98"/>
                <a:gd name="T61" fmla="*/ 59 h 72"/>
                <a:gd name="T62" fmla="*/ 48 w 98"/>
                <a:gd name="T63" fmla="*/ 59 h 72"/>
                <a:gd name="T64" fmla="*/ 48 w 98"/>
                <a:gd name="T65" fmla="*/ 59 h 72"/>
                <a:gd name="T66" fmla="*/ 48 w 98"/>
                <a:gd name="T67" fmla="*/ 59 h 72"/>
                <a:gd name="T68" fmla="*/ 49 w 98"/>
                <a:gd name="T69" fmla="*/ 59 h 72"/>
                <a:gd name="T70" fmla="*/ 49 w 98"/>
                <a:gd name="T71" fmla="*/ 59 h 72"/>
                <a:gd name="T72" fmla="*/ 49 w 98"/>
                <a:gd name="T73" fmla="*/ 59 h 72"/>
                <a:gd name="T74" fmla="*/ 49 w 98"/>
                <a:gd name="T75" fmla="*/ 59 h 72"/>
                <a:gd name="T76" fmla="*/ 49 w 98"/>
                <a:gd name="T77" fmla="*/ 59 h 72"/>
                <a:gd name="T78" fmla="*/ 49 w 98"/>
                <a:gd name="T79" fmla="*/ 59 h 72"/>
                <a:gd name="T80" fmla="*/ 50 w 98"/>
                <a:gd name="T81" fmla="*/ 58 h 72"/>
                <a:gd name="T82" fmla="*/ 50 w 98"/>
                <a:gd name="T83" fmla="*/ 58 h 72"/>
                <a:gd name="T84" fmla="*/ 50 w 98"/>
                <a:gd name="T85" fmla="*/ 58 h 72"/>
                <a:gd name="T86" fmla="*/ 50 w 98"/>
                <a:gd name="T87" fmla="*/ 58 h 72"/>
                <a:gd name="T88" fmla="*/ 50 w 98"/>
                <a:gd name="T89" fmla="*/ 58 h 72"/>
                <a:gd name="T90" fmla="*/ 51 w 98"/>
                <a:gd name="T91" fmla="*/ 58 h 72"/>
                <a:gd name="T92" fmla="*/ 51 w 98"/>
                <a:gd name="T93" fmla="*/ 58 h 72"/>
                <a:gd name="T94" fmla="*/ 52 w 98"/>
                <a:gd name="T95" fmla="*/ 58 h 72"/>
                <a:gd name="T96" fmla="*/ 52 w 98"/>
                <a:gd name="T97" fmla="*/ 58 h 72"/>
                <a:gd name="T98" fmla="*/ 52 w 98"/>
                <a:gd name="T99" fmla="*/ 58 h 72"/>
                <a:gd name="T100" fmla="*/ 53 w 98"/>
                <a:gd name="T101" fmla="*/ 57 h 72"/>
                <a:gd name="T102" fmla="*/ 53 w 98"/>
                <a:gd name="T103" fmla="*/ 57 h 72"/>
                <a:gd name="T104" fmla="*/ 53 w 98"/>
                <a:gd name="T105" fmla="*/ 57 h 72"/>
                <a:gd name="T106" fmla="*/ 98 w 98"/>
                <a:gd name="T107" fmla="*/ 35 h 72"/>
                <a:gd name="T108" fmla="*/ 0 w 98"/>
                <a:gd name="T109" fmla="*/ 3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 h="72">
                  <a:moveTo>
                    <a:pt x="0" y="33"/>
                  </a:moveTo>
                  <a:lnTo>
                    <a:pt x="0" y="33"/>
                  </a:lnTo>
                  <a:lnTo>
                    <a:pt x="12" y="72"/>
                  </a:lnTo>
                  <a:cubicBezTo>
                    <a:pt x="22" y="69"/>
                    <a:pt x="31" y="66"/>
                    <a:pt x="41" y="62"/>
                  </a:cubicBezTo>
                  <a:cubicBezTo>
                    <a:pt x="41" y="62"/>
                    <a:pt x="41" y="62"/>
                    <a:pt x="42" y="62"/>
                  </a:cubicBezTo>
                  <a:cubicBezTo>
                    <a:pt x="42" y="62"/>
                    <a:pt x="42" y="62"/>
                    <a:pt x="42" y="62"/>
                  </a:cubicBezTo>
                  <a:cubicBezTo>
                    <a:pt x="42" y="62"/>
                    <a:pt x="42" y="62"/>
                    <a:pt x="42" y="62"/>
                  </a:cubicBezTo>
                  <a:lnTo>
                    <a:pt x="42" y="62"/>
                  </a:lnTo>
                  <a:cubicBezTo>
                    <a:pt x="42" y="62"/>
                    <a:pt x="42" y="61"/>
                    <a:pt x="42" y="61"/>
                  </a:cubicBezTo>
                  <a:cubicBezTo>
                    <a:pt x="42" y="61"/>
                    <a:pt x="42" y="61"/>
                    <a:pt x="42" y="61"/>
                  </a:cubicBezTo>
                  <a:cubicBezTo>
                    <a:pt x="42" y="61"/>
                    <a:pt x="42" y="61"/>
                    <a:pt x="42" y="61"/>
                  </a:cubicBezTo>
                  <a:lnTo>
                    <a:pt x="42" y="61"/>
                  </a:lnTo>
                  <a:cubicBezTo>
                    <a:pt x="43" y="61"/>
                    <a:pt x="43" y="61"/>
                    <a:pt x="43" y="61"/>
                  </a:cubicBezTo>
                  <a:cubicBezTo>
                    <a:pt x="43" y="61"/>
                    <a:pt x="43" y="61"/>
                    <a:pt x="43" y="61"/>
                  </a:cubicBezTo>
                  <a:cubicBezTo>
                    <a:pt x="43" y="61"/>
                    <a:pt x="43" y="61"/>
                    <a:pt x="43" y="61"/>
                  </a:cubicBezTo>
                  <a:cubicBezTo>
                    <a:pt x="43" y="61"/>
                    <a:pt x="43" y="61"/>
                    <a:pt x="43" y="61"/>
                  </a:cubicBezTo>
                  <a:lnTo>
                    <a:pt x="43" y="61"/>
                  </a:lnTo>
                  <a:cubicBezTo>
                    <a:pt x="43" y="61"/>
                    <a:pt x="43" y="61"/>
                    <a:pt x="44" y="61"/>
                  </a:cubicBezTo>
                  <a:cubicBezTo>
                    <a:pt x="44" y="61"/>
                    <a:pt x="44" y="61"/>
                    <a:pt x="44" y="61"/>
                  </a:cubicBezTo>
                  <a:lnTo>
                    <a:pt x="44" y="61"/>
                  </a:lnTo>
                  <a:cubicBezTo>
                    <a:pt x="44" y="61"/>
                    <a:pt x="44" y="61"/>
                    <a:pt x="44" y="61"/>
                  </a:cubicBezTo>
                  <a:lnTo>
                    <a:pt x="44" y="61"/>
                  </a:lnTo>
                  <a:cubicBezTo>
                    <a:pt x="44" y="61"/>
                    <a:pt x="44" y="61"/>
                    <a:pt x="44" y="61"/>
                  </a:cubicBezTo>
                  <a:cubicBezTo>
                    <a:pt x="44" y="61"/>
                    <a:pt x="44" y="61"/>
                    <a:pt x="44" y="61"/>
                  </a:cubicBezTo>
                  <a:cubicBezTo>
                    <a:pt x="44" y="61"/>
                    <a:pt x="45" y="61"/>
                    <a:pt x="45" y="61"/>
                  </a:cubicBezTo>
                  <a:cubicBezTo>
                    <a:pt x="45" y="61"/>
                    <a:pt x="45" y="61"/>
                    <a:pt x="45" y="61"/>
                  </a:cubicBezTo>
                  <a:cubicBezTo>
                    <a:pt x="45" y="61"/>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7" y="60"/>
                    <a:pt x="47" y="60"/>
                  </a:cubicBezTo>
                  <a:cubicBezTo>
                    <a:pt x="47" y="60"/>
                    <a:pt x="47" y="60"/>
                    <a:pt x="47" y="60"/>
                  </a:cubicBezTo>
                  <a:cubicBezTo>
                    <a:pt x="47" y="60"/>
                    <a:pt x="47" y="60"/>
                    <a:pt x="47" y="60"/>
                  </a:cubicBezTo>
                  <a:cubicBezTo>
                    <a:pt x="47" y="60"/>
                    <a:pt x="47" y="60"/>
                    <a:pt x="47" y="60"/>
                  </a:cubicBezTo>
                  <a:cubicBezTo>
                    <a:pt x="47" y="60"/>
                    <a:pt x="47" y="60"/>
                    <a:pt x="47" y="60"/>
                  </a:cubicBezTo>
                  <a:cubicBezTo>
                    <a:pt x="47" y="60"/>
                    <a:pt x="47" y="60"/>
                    <a:pt x="47" y="60"/>
                  </a:cubicBezTo>
                  <a:cubicBezTo>
                    <a:pt x="47" y="60"/>
                    <a:pt x="47" y="60"/>
                    <a:pt x="47" y="60"/>
                  </a:cubicBezTo>
                  <a:cubicBezTo>
                    <a:pt x="47" y="60"/>
                    <a:pt x="47" y="60"/>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50" y="59"/>
                    <a:pt x="50" y="58"/>
                    <a:pt x="50" y="58"/>
                  </a:cubicBezTo>
                  <a:cubicBezTo>
                    <a:pt x="50" y="58"/>
                    <a:pt x="50" y="58"/>
                    <a:pt x="50" y="58"/>
                  </a:cubicBezTo>
                  <a:cubicBezTo>
                    <a:pt x="50" y="58"/>
                    <a:pt x="50" y="58"/>
                    <a:pt x="50" y="58"/>
                  </a:cubicBezTo>
                  <a:cubicBezTo>
                    <a:pt x="50" y="58"/>
                    <a:pt x="50" y="58"/>
                    <a:pt x="50" y="58"/>
                  </a:cubicBezTo>
                  <a:cubicBezTo>
                    <a:pt x="50" y="58"/>
                    <a:pt x="50" y="58"/>
                    <a:pt x="50" y="58"/>
                  </a:cubicBezTo>
                  <a:cubicBezTo>
                    <a:pt x="50" y="58"/>
                    <a:pt x="50" y="58"/>
                    <a:pt x="50" y="58"/>
                  </a:cubicBezTo>
                  <a:cubicBezTo>
                    <a:pt x="50" y="58"/>
                    <a:pt x="50" y="58"/>
                    <a:pt x="50" y="58"/>
                  </a:cubicBezTo>
                  <a:cubicBezTo>
                    <a:pt x="50" y="58"/>
                    <a:pt x="50" y="58"/>
                    <a:pt x="50" y="58"/>
                  </a:cubicBezTo>
                  <a:cubicBezTo>
                    <a:pt x="50" y="58"/>
                    <a:pt x="50" y="58"/>
                    <a:pt x="50" y="58"/>
                  </a:cubicBezTo>
                  <a:cubicBezTo>
                    <a:pt x="50" y="58"/>
                    <a:pt x="50" y="58"/>
                    <a:pt x="51" y="58"/>
                  </a:cubicBezTo>
                  <a:cubicBezTo>
                    <a:pt x="51" y="58"/>
                    <a:pt x="51" y="58"/>
                    <a:pt x="51" y="58"/>
                  </a:cubicBezTo>
                  <a:cubicBezTo>
                    <a:pt x="51" y="58"/>
                    <a:pt x="51" y="58"/>
                    <a:pt x="51" y="58"/>
                  </a:cubicBezTo>
                  <a:cubicBezTo>
                    <a:pt x="51" y="58"/>
                    <a:pt x="51" y="58"/>
                    <a:pt x="51" y="58"/>
                  </a:cubicBezTo>
                  <a:cubicBezTo>
                    <a:pt x="51" y="58"/>
                    <a:pt x="51" y="58"/>
                    <a:pt x="51" y="58"/>
                  </a:cubicBezTo>
                  <a:cubicBezTo>
                    <a:pt x="51" y="58"/>
                    <a:pt x="52" y="58"/>
                    <a:pt x="52" y="58"/>
                  </a:cubicBezTo>
                  <a:cubicBezTo>
                    <a:pt x="52" y="58"/>
                    <a:pt x="52" y="58"/>
                    <a:pt x="52" y="58"/>
                  </a:cubicBezTo>
                  <a:cubicBezTo>
                    <a:pt x="52" y="58"/>
                    <a:pt x="52" y="58"/>
                    <a:pt x="52" y="58"/>
                  </a:cubicBezTo>
                  <a:cubicBezTo>
                    <a:pt x="52" y="58"/>
                    <a:pt x="52" y="58"/>
                    <a:pt x="52" y="58"/>
                  </a:cubicBezTo>
                  <a:cubicBezTo>
                    <a:pt x="52" y="58"/>
                    <a:pt x="52" y="58"/>
                    <a:pt x="52" y="58"/>
                  </a:cubicBezTo>
                  <a:cubicBezTo>
                    <a:pt x="52" y="58"/>
                    <a:pt x="52" y="58"/>
                    <a:pt x="52" y="58"/>
                  </a:cubicBezTo>
                  <a:cubicBezTo>
                    <a:pt x="52" y="57"/>
                    <a:pt x="53" y="57"/>
                    <a:pt x="53" y="57"/>
                  </a:cubicBezTo>
                  <a:cubicBezTo>
                    <a:pt x="53" y="57"/>
                    <a:pt x="53" y="57"/>
                    <a:pt x="53" y="57"/>
                  </a:cubicBezTo>
                  <a:cubicBezTo>
                    <a:pt x="53" y="57"/>
                    <a:pt x="53" y="57"/>
                    <a:pt x="53" y="57"/>
                  </a:cubicBezTo>
                  <a:cubicBezTo>
                    <a:pt x="53" y="57"/>
                    <a:pt x="53" y="57"/>
                    <a:pt x="53" y="57"/>
                  </a:cubicBezTo>
                  <a:cubicBezTo>
                    <a:pt x="53" y="57"/>
                    <a:pt x="53" y="57"/>
                    <a:pt x="53" y="57"/>
                  </a:cubicBezTo>
                  <a:cubicBezTo>
                    <a:pt x="53" y="57"/>
                    <a:pt x="53" y="57"/>
                    <a:pt x="53" y="57"/>
                  </a:cubicBezTo>
                  <a:cubicBezTo>
                    <a:pt x="69" y="50"/>
                    <a:pt x="83" y="43"/>
                    <a:pt x="98" y="35"/>
                  </a:cubicBezTo>
                  <a:lnTo>
                    <a:pt x="78" y="0"/>
                  </a:lnTo>
                  <a:cubicBezTo>
                    <a:pt x="53" y="14"/>
                    <a:pt x="27" y="25"/>
                    <a:pt x="0" y="33"/>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17">
              <a:extLst>
                <a:ext uri="{FF2B5EF4-FFF2-40B4-BE49-F238E27FC236}">
                  <a16:creationId xmlns:a16="http://schemas.microsoft.com/office/drawing/2014/main" id="{CDA033E2-583B-6214-F32C-6D9CA5A65F23}"/>
                </a:ext>
              </a:extLst>
            </p:cNvPr>
            <p:cNvSpPr>
              <a:spLocks/>
            </p:cNvSpPr>
            <p:nvPr/>
          </p:nvSpPr>
          <p:spPr bwMode="auto">
            <a:xfrm>
              <a:off x="1093788" y="3690938"/>
              <a:ext cx="58738" cy="69850"/>
            </a:xfrm>
            <a:custGeom>
              <a:avLst/>
              <a:gdLst>
                <a:gd name="T0" fmla="*/ 0 w 80"/>
                <a:gd name="T1" fmla="*/ 72 h 96"/>
                <a:gd name="T2" fmla="*/ 0 w 80"/>
                <a:gd name="T3" fmla="*/ 72 h 96"/>
                <a:gd name="T4" fmla="*/ 32 w 80"/>
                <a:gd name="T5" fmla="*/ 96 h 96"/>
                <a:gd name="T6" fmla="*/ 65 w 80"/>
                <a:gd name="T7" fmla="*/ 47 h 96"/>
                <a:gd name="T8" fmla="*/ 65 w 80"/>
                <a:gd name="T9" fmla="*/ 47 h 96"/>
                <a:gd name="T10" fmla="*/ 65 w 80"/>
                <a:gd name="T11" fmla="*/ 47 h 96"/>
                <a:gd name="T12" fmla="*/ 65 w 80"/>
                <a:gd name="T13" fmla="*/ 47 h 96"/>
                <a:gd name="T14" fmla="*/ 65 w 80"/>
                <a:gd name="T15" fmla="*/ 46 h 96"/>
                <a:gd name="T16" fmla="*/ 65 w 80"/>
                <a:gd name="T17" fmla="*/ 46 h 96"/>
                <a:gd name="T18" fmla="*/ 65 w 80"/>
                <a:gd name="T19" fmla="*/ 46 h 96"/>
                <a:gd name="T20" fmla="*/ 65 w 80"/>
                <a:gd name="T21" fmla="*/ 46 h 96"/>
                <a:gd name="T22" fmla="*/ 65 w 80"/>
                <a:gd name="T23" fmla="*/ 46 h 96"/>
                <a:gd name="T24" fmla="*/ 65 w 80"/>
                <a:gd name="T25" fmla="*/ 46 h 96"/>
                <a:gd name="T26" fmla="*/ 65 w 80"/>
                <a:gd name="T27" fmla="*/ 46 h 96"/>
                <a:gd name="T28" fmla="*/ 65 w 80"/>
                <a:gd name="T29" fmla="*/ 46 h 96"/>
                <a:gd name="T30" fmla="*/ 66 w 80"/>
                <a:gd name="T31" fmla="*/ 45 h 96"/>
                <a:gd name="T32" fmla="*/ 66 w 80"/>
                <a:gd name="T33" fmla="*/ 45 h 96"/>
                <a:gd name="T34" fmla="*/ 66 w 80"/>
                <a:gd name="T35" fmla="*/ 45 h 96"/>
                <a:gd name="T36" fmla="*/ 66 w 80"/>
                <a:gd name="T37" fmla="*/ 45 h 96"/>
                <a:gd name="T38" fmla="*/ 66 w 80"/>
                <a:gd name="T39" fmla="*/ 45 h 96"/>
                <a:gd name="T40" fmla="*/ 66 w 80"/>
                <a:gd name="T41" fmla="*/ 45 h 96"/>
                <a:gd name="T42" fmla="*/ 66 w 80"/>
                <a:gd name="T43" fmla="*/ 45 h 96"/>
                <a:gd name="T44" fmla="*/ 66 w 80"/>
                <a:gd name="T45" fmla="*/ 45 h 96"/>
                <a:gd name="T46" fmla="*/ 66 w 80"/>
                <a:gd name="T47" fmla="*/ 45 h 96"/>
                <a:gd name="T48" fmla="*/ 66 w 80"/>
                <a:gd name="T49" fmla="*/ 45 h 96"/>
                <a:gd name="T50" fmla="*/ 66 w 80"/>
                <a:gd name="T51" fmla="*/ 45 h 96"/>
                <a:gd name="T52" fmla="*/ 66 w 80"/>
                <a:gd name="T53" fmla="*/ 45 h 96"/>
                <a:gd name="T54" fmla="*/ 66 w 80"/>
                <a:gd name="T55" fmla="*/ 45 h 96"/>
                <a:gd name="T56" fmla="*/ 66 w 80"/>
                <a:gd name="T57" fmla="*/ 44 h 96"/>
                <a:gd name="T58" fmla="*/ 66 w 80"/>
                <a:gd name="T59" fmla="*/ 44 h 96"/>
                <a:gd name="T60" fmla="*/ 66 w 80"/>
                <a:gd name="T61" fmla="*/ 44 h 96"/>
                <a:gd name="T62" fmla="*/ 66 w 80"/>
                <a:gd name="T63" fmla="*/ 44 h 96"/>
                <a:gd name="T64" fmla="*/ 66 w 80"/>
                <a:gd name="T65" fmla="*/ 44 h 96"/>
                <a:gd name="T66" fmla="*/ 66 w 80"/>
                <a:gd name="T67" fmla="*/ 44 h 96"/>
                <a:gd name="T68" fmla="*/ 66 w 80"/>
                <a:gd name="T69" fmla="*/ 44 h 96"/>
                <a:gd name="T70" fmla="*/ 66 w 80"/>
                <a:gd name="T71" fmla="*/ 44 h 96"/>
                <a:gd name="T72" fmla="*/ 66 w 80"/>
                <a:gd name="T73" fmla="*/ 44 h 96"/>
                <a:gd name="T74" fmla="*/ 66 w 80"/>
                <a:gd name="T75" fmla="*/ 44 h 96"/>
                <a:gd name="T76" fmla="*/ 67 w 80"/>
                <a:gd name="T77" fmla="*/ 44 h 96"/>
                <a:gd name="T78" fmla="*/ 67 w 80"/>
                <a:gd name="T79" fmla="*/ 44 h 96"/>
                <a:gd name="T80" fmla="*/ 67 w 80"/>
                <a:gd name="T81" fmla="*/ 43 h 96"/>
                <a:gd name="T82" fmla="*/ 67 w 80"/>
                <a:gd name="T83" fmla="*/ 43 h 96"/>
                <a:gd name="T84" fmla="*/ 67 w 80"/>
                <a:gd name="T85" fmla="*/ 43 h 96"/>
                <a:gd name="T86" fmla="*/ 67 w 80"/>
                <a:gd name="T87" fmla="*/ 43 h 96"/>
                <a:gd name="T88" fmla="*/ 67 w 80"/>
                <a:gd name="T89" fmla="*/ 43 h 96"/>
                <a:gd name="T90" fmla="*/ 67 w 80"/>
                <a:gd name="T91" fmla="*/ 43 h 96"/>
                <a:gd name="T92" fmla="*/ 67 w 80"/>
                <a:gd name="T93" fmla="*/ 43 h 96"/>
                <a:gd name="T94" fmla="*/ 67 w 80"/>
                <a:gd name="T95" fmla="*/ 43 h 96"/>
                <a:gd name="T96" fmla="*/ 67 w 80"/>
                <a:gd name="T97" fmla="*/ 43 h 96"/>
                <a:gd name="T98" fmla="*/ 67 w 80"/>
                <a:gd name="T99" fmla="*/ 43 h 96"/>
                <a:gd name="T100" fmla="*/ 67 w 80"/>
                <a:gd name="T101" fmla="*/ 42 h 96"/>
                <a:gd name="T102" fmla="*/ 68 w 80"/>
                <a:gd name="T103" fmla="*/ 42 h 96"/>
                <a:gd name="T104" fmla="*/ 68 w 80"/>
                <a:gd name="T105" fmla="*/ 42 h 96"/>
                <a:gd name="T106" fmla="*/ 68 w 80"/>
                <a:gd name="T107" fmla="*/ 42 h 96"/>
                <a:gd name="T108" fmla="*/ 68 w 80"/>
                <a:gd name="T109" fmla="*/ 42 h 96"/>
                <a:gd name="T110" fmla="*/ 68 w 80"/>
                <a:gd name="T111" fmla="*/ 42 h 96"/>
                <a:gd name="T112" fmla="*/ 80 w 80"/>
                <a:gd name="T113" fmla="*/ 16 h 96"/>
                <a:gd name="T114" fmla="*/ 44 w 80"/>
                <a:gd name="T115" fmla="*/ 0 h 96"/>
                <a:gd name="T116" fmla="*/ 0 w 80"/>
                <a:gd name="T11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96">
                  <a:moveTo>
                    <a:pt x="0" y="72"/>
                  </a:moveTo>
                  <a:lnTo>
                    <a:pt x="0" y="72"/>
                  </a:lnTo>
                  <a:lnTo>
                    <a:pt x="32" y="96"/>
                  </a:lnTo>
                  <a:cubicBezTo>
                    <a:pt x="44" y="81"/>
                    <a:pt x="55" y="64"/>
                    <a:pt x="65" y="47"/>
                  </a:cubicBezTo>
                  <a:cubicBezTo>
                    <a:pt x="65" y="47"/>
                    <a:pt x="65" y="47"/>
                    <a:pt x="65" y="47"/>
                  </a:cubicBezTo>
                  <a:cubicBezTo>
                    <a:pt x="65" y="47"/>
                    <a:pt x="65" y="47"/>
                    <a:pt x="65" y="47"/>
                  </a:cubicBezTo>
                  <a:cubicBezTo>
                    <a:pt x="65" y="47"/>
                    <a:pt x="65" y="47"/>
                    <a:pt x="65" y="47"/>
                  </a:cubicBezTo>
                  <a:cubicBezTo>
                    <a:pt x="65" y="47"/>
                    <a:pt x="65" y="47"/>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6" y="46"/>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7" y="44"/>
                    <a:pt x="67" y="44"/>
                  </a:cubicBezTo>
                  <a:cubicBezTo>
                    <a:pt x="67" y="44"/>
                    <a:pt x="67" y="44"/>
                    <a:pt x="67" y="44"/>
                  </a:cubicBezTo>
                  <a:cubicBezTo>
                    <a:pt x="67" y="44"/>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2"/>
                    <a:pt x="67" y="42"/>
                    <a:pt x="67" y="42"/>
                  </a:cubicBezTo>
                  <a:cubicBezTo>
                    <a:pt x="67" y="42"/>
                    <a:pt x="67" y="42"/>
                    <a:pt x="68" y="42"/>
                  </a:cubicBezTo>
                  <a:cubicBezTo>
                    <a:pt x="68" y="42"/>
                    <a:pt x="68" y="42"/>
                    <a:pt x="68" y="42"/>
                  </a:cubicBezTo>
                  <a:cubicBezTo>
                    <a:pt x="68" y="42"/>
                    <a:pt x="68" y="42"/>
                    <a:pt x="68" y="42"/>
                  </a:cubicBezTo>
                  <a:cubicBezTo>
                    <a:pt x="68" y="42"/>
                    <a:pt x="68" y="42"/>
                    <a:pt x="68" y="42"/>
                  </a:cubicBezTo>
                  <a:cubicBezTo>
                    <a:pt x="68" y="42"/>
                    <a:pt x="68" y="42"/>
                    <a:pt x="68" y="42"/>
                  </a:cubicBezTo>
                  <a:cubicBezTo>
                    <a:pt x="72" y="33"/>
                    <a:pt x="76" y="25"/>
                    <a:pt x="80" y="16"/>
                  </a:cubicBezTo>
                  <a:lnTo>
                    <a:pt x="44" y="0"/>
                  </a:lnTo>
                  <a:cubicBezTo>
                    <a:pt x="32" y="25"/>
                    <a:pt x="17" y="50"/>
                    <a:pt x="0" y="7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18">
              <a:extLst>
                <a:ext uri="{FF2B5EF4-FFF2-40B4-BE49-F238E27FC236}">
                  <a16:creationId xmlns:a16="http://schemas.microsoft.com/office/drawing/2014/main" id="{715AD061-CEB8-CACA-F632-D38DD17D67E2}"/>
                </a:ext>
              </a:extLst>
            </p:cNvPr>
            <p:cNvSpPr>
              <a:spLocks/>
            </p:cNvSpPr>
            <p:nvPr/>
          </p:nvSpPr>
          <p:spPr bwMode="auto">
            <a:xfrm>
              <a:off x="688975" y="3798888"/>
              <a:ext cx="69850" cy="57150"/>
            </a:xfrm>
            <a:custGeom>
              <a:avLst/>
              <a:gdLst>
                <a:gd name="T0" fmla="*/ 24 w 97"/>
                <a:gd name="T1" fmla="*/ 49 h 79"/>
                <a:gd name="T2" fmla="*/ 26 w 97"/>
                <a:gd name="T3" fmla="*/ 50 h 79"/>
                <a:gd name="T4" fmla="*/ 27 w 97"/>
                <a:gd name="T5" fmla="*/ 51 h 79"/>
                <a:gd name="T6" fmla="*/ 28 w 97"/>
                <a:gd name="T7" fmla="*/ 51 h 79"/>
                <a:gd name="T8" fmla="*/ 28 w 97"/>
                <a:gd name="T9" fmla="*/ 51 h 79"/>
                <a:gd name="T10" fmla="*/ 28 w 97"/>
                <a:gd name="T11" fmla="*/ 51 h 79"/>
                <a:gd name="T12" fmla="*/ 28 w 97"/>
                <a:gd name="T13" fmla="*/ 51 h 79"/>
                <a:gd name="T14" fmla="*/ 29 w 97"/>
                <a:gd name="T15" fmla="*/ 51 h 79"/>
                <a:gd name="T16" fmla="*/ 29 w 97"/>
                <a:gd name="T17" fmla="*/ 52 h 79"/>
                <a:gd name="T18" fmla="*/ 29 w 97"/>
                <a:gd name="T19" fmla="*/ 52 h 79"/>
                <a:gd name="T20" fmla="*/ 30 w 97"/>
                <a:gd name="T21" fmla="*/ 52 h 79"/>
                <a:gd name="T22" fmla="*/ 30 w 97"/>
                <a:gd name="T23" fmla="*/ 52 h 79"/>
                <a:gd name="T24" fmla="*/ 30 w 97"/>
                <a:gd name="T25" fmla="*/ 52 h 79"/>
                <a:gd name="T26" fmla="*/ 30 w 97"/>
                <a:gd name="T27" fmla="*/ 52 h 79"/>
                <a:gd name="T28" fmla="*/ 30 w 97"/>
                <a:gd name="T29" fmla="*/ 53 h 79"/>
                <a:gd name="T30" fmla="*/ 31 w 97"/>
                <a:gd name="T31" fmla="*/ 53 h 79"/>
                <a:gd name="T32" fmla="*/ 31 w 97"/>
                <a:gd name="T33" fmla="*/ 53 h 79"/>
                <a:gd name="T34" fmla="*/ 31 w 97"/>
                <a:gd name="T35" fmla="*/ 53 h 79"/>
                <a:gd name="T36" fmla="*/ 31 w 97"/>
                <a:gd name="T37" fmla="*/ 53 h 79"/>
                <a:gd name="T38" fmla="*/ 32 w 97"/>
                <a:gd name="T39" fmla="*/ 53 h 79"/>
                <a:gd name="T40" fmla="*/ 32 w 97"/>
                <a:gd name="T41" fmla="*/ 53 h 79"/>
                <a:gd name="T42" fmla="*/ 32 w 97"/>
                <a:gd name="T43" fmla="*/ 54 h 79"/>
                <a:gd name="T44" fmla="*/ 32 w 97"/>
                <a:gd name="T45" fmla="*/ 54 h 79"/>
                <a:gd name="T46" fmla="*/ 33 w 97"/>
                <a:gd name="T47" fmla="*/ 54 h 79"/>
                <a:gd name="T48" fmla="*/ 33 w 97"/>
                <a:gd name="T49" fmla="*/ 54 h 79"/>
                <a:gd name="T50" fmla="*/ 33 w 97"/>
                <a:gd name="T51" fmla="*/ 54 h 79"/>
                <a:gd name="T52" fmla="*/ 33 w 97"/>
                <a:gd name="T53" fmla="*/ 54 h 79"/>
                <a:gd name="T54" fmla="*/ 33 w 97"/>
                <a:gd name="T55" fmla="*/ 54 h 79"/>
                <a:gd name="T56" fmla="*/ 34 w 97"/>
                <a:gd name="T57" fmla="*/ 55 h 79"/>
                <a:gd name="T58" fmla="*/ 34 w 97"/>
                <a:gd name="T59" fmla="*/ 55 h 79"/>
                <a:gd name="T60" fmla="*/ 34 w 97"/>
                <a:gd name="T61" fmla="*/ 55 h 79"/>
                <a:gd name="T62" fmla="*/ 34 w 97"/>
                <a:gd name="T63" fmla="*/ 55 h 79"/>
                <a:gd name="T64" fmla="*/ 35 w 97"/>
                <a:gd name="T65" fmla="*/ 55 h 79"/>
                <a:gd name="T66" fmla="*/ 35 w 97"/>
                <a:gd name="T67" fmla="*/ 55 h 79"/>
                <a:gd name="T68" fmla="*/ 35 w 97"/>
                <a:gd name="T69" fmla="*/ 55 h 79"/>
                <a:gd name="T70" fmla="*/ 36 w 97"/>
                <a:gd name="T71" fmla="*/ 56 h 79"/>
                <a:gd name="T72" fmla="*/ 36 w 97"/>
                <a:gd name="T73" fmla="*/ 56 h 79"/>
                <a:gd name="T74" fmla="*/ 36 w 97"/>
                <a:gd name="T75" fmla="*/ 56 h 79"/>
                <a:gd name="T76" fmla="*/ 36 w 97"/>
                <a:gd name="T77" fmla="*/ 56 h 79"/>
                <a:gd name="T78" fmla="*/ 37 w 97"/>
                <a:gd name="T79" fmla="*/ 56 h 79"/>
                <a:gd name="T80" fmla="*/ 37 w 97"/>
                <a:gd name="T81" fmla="*/ 57 h 79"/>
                <a:gd name="T82" fmla="*/ 37 w 97"/>
                <a:gd name="T83" fmla="*/ 57 h 79"/>
                <a:gd name="T84" fmla="*/ 38 w 97"/>
                <a:gd name="T85" fmla="*/ 57 h 79"/>
                <a:gd name="T86" fmla="*/ 80 w 97"/>
                <a:gd name="T87" fmla="*/ 79 h 79"/>
                <a:gd name="T88" fmla="*/ 0 w 97"/>
                <a:gd name="T89" fmla="*/ 3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7" h="79">
                  <a:moveTo>
                    <a:pt x="0" y="32"/>
                  </a:moveTo>
                  <a:lnTo>
                    <a:pt x="0" y="32"/>
                  </a:lnTo>
                  <a:cubicBezTo>
                    <a:pt x="8" y="38"/>
                    <a:pt x="16" y="43"/>
                    <a:pt x="24" y="49"/>
                  </a:cubicBezTo>
                  <a:lnTo>
                    <a:pt x="24" y="49"/>
                  </a:lnTo>
                  <a:cubicBezTo>
                    <a:pt x="25" y="49"/>
                    <a:pt x="26" y="50"/>
                    <a:pt x="26" y="50"/>
                  </a:cubicBezTo>
                  <a:lnTo>
                    <a:pt x="26" y="50"/>
                  </a:lnTo>
                  <a:cubicBezTo>
                    <a:pt x="27" y="50"/>
                    <a:pt x="27" y="50"/>
                    <a:pt x="27" y="50"/>
                  </a:cubicBezTo>
                  <a:cubicBezTo>
                    <a:pt x="27" y="50"/>
                    <a:pt x="27" y="50"/>
                    <a:pt x="27" y="50"/>
                  </a:cubicBezTo>
                  <a:cubicBezTo>
                    <a:pt x="27" y="50"/>
                    <a:pt x="27" y="51"/>
                    <a:pt x="27" y="51"/>
                  </a:cubicBezTo>
                  <a:lnTo>
                    <a:pt x="27" y="51"/>
                  </a:lnTo>
                  <a:cubicBezTo>
                    <a:pt x="27" y="51"/>
                    <a:pt x="28" y="51"/>
                    <a:pt x="28" y="51"/>
                  </a:cubicBezTo>
                  <a:lnTo>
                    <a:pt x="28" y="51"/>
                  </a:lnTo>
                  <a:cubicBezTo>
                    <a:pt x="28" y="51"/>
                    <a:pt x="28" y="51"/>
                    <a:pt x="28" y="51"/>
                  </a:cubicBezTo>
                  <a:cubicBezTo>
                    <a:pt x="28" y="51"/>
                    <a:pt x="28" y="51"/>
                    <a:pt x="28" y="51"/>
                  </a:cubicBezTo>
                  <a:cubicBezTo>
                    <a:pt x="28" y="51"/>
                    <a:pt x="28" y="51"/>
                    <a:pt x="28" y="51"/>
                  </a:cubicBezTo>
                  <a:lnTo>
                    <a:pt x="28" y="51"/>
                  </a:lnTo>
                  <a:cubicBezTo>
                    <a:pt x="28" y="51"/>
                    <a:pt x="28" y="51"/>
                    <a:pt x="28" y="51"/>
                  </a:cubicBezTo>
                  <a:lnTo>
                    <a:pt x="28" y="51"/>
                  </a:lnTo>
                  <a:cubicBezTo>
                    <a:pt x="28" y="51"/>
                    <a:pt x="28" y="51"/>
                    <a:pt x="28" y="51"/>
                  </a:cubicBezTo>
                  <a:cubicBezTo>
                    <a:pt x="28" y="51"/>
                    <a:pt x="28" y="51"/>
                    <a:pt x="28" y="51"/>
                  </a:cubicBezTo>
                  <a:cubicBezTo>
                    <a:pt x="28" y="51"/>
                    <a:pt x="28" y="51"/>
                    <a:pt x="28" y="51"/>
                  </a:cubicBezTo>
                  <a:lnTo>
                    <a:pt x="28" y="51"/>
                  </a:lnTo>
                  <a:cubicBezTo>
                    <a:pt x="29" y="51"/>
                    <a:pt x="29" y="51"/>
                    <a:pt x="29" y="51"/>
                  </a:cubicBezTo>
                  <a:cubicBezTo>
                    <a:pt x="29" y="51"/>
                    <a:pt x="29" y="51"/>
                    <a:pt x="29" y="51"/>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30" y="52"/>
                  </a:cubicBezTo>
                  <a:lnTo>
                    <a:pt x="30" y="52"/>
                  </a:ln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3"/>
                  </a:cubicBezTo>
                  <a:cubicBezTo>
                    <a:pt x="30" y="53"/>
                    <a:pt x="30" y="53"/>
                    <a:pt x="30" y="53"/>
                  </a:cubicBezTo>
                  <a:cubicBezTo>
                    <a:pt x="30" y="53"/>
                    <a:pt x="30" y="53"/>
                    <a:pt x="30" y="53"/>
                  </a:cubicBezTo>
                  <a:cubicBezTo>
                    <a:pt x="30" y="53"/>
                    <a:pt x="30" y="53"/>
                    <a:pt x="30"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2" y="53"/>
                  </a:cubicBezTo>
                  <a:cubicBezTo>
                    <a:pt x="32" y="53"/>
                    <a:pt x="32" y="53"/>
                    <a:pt x="32" y="53"/>
                  </a:cubicBezTo>
                  <a:cubicBezTo>
                    <a:pt x="32" y="53"/>
                    <a:pt x="32" y="53"/>
                    <a:pt x="32" y="53"/>
                  </a:cubicBezTo>
                  <a:cubicBezTo>
                    <a:pt x="32" y="53"/>
                    <a:pt x="32" y="53"/>
                    <a:pt x="32" y="53"/>
                  </a:cubicBezTo>
                  <a:cubicBezTo>
                    <a:pt x="32" y="53"/>
                    <a:pt x="32" y="53"/>
                    <a:pt x="32" y="53"/>
                  </a:cubicBezTo>
                  <a:cubicBezTo>
                    <a:pt x="32" y="53"/>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4" y="54"/>
                    <a:pt x="34" y="54"/>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6"/>
                    <a:pt x="35" y="56"/>
                  </a:cubicBezTo>
                  <a:cubicBezTo>
                    <a:pt x="35" y="56"/>
                    <a:pt x="35" y="56"/>
                    <a:pt x="35" y="56"/>
                  </a:cubicBezTo>
                  <a:cubicBezTo>
                    <a:pt x="35"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7" y="56"/>
                  </a:cubicBezTo>
                  <a:cubicBezTo>
                    <a:pt x="37" y="56"/>
                    <a:pt x="37" y="56"/>
                    <a:pt x="37" y="56"/>
                  </a:cubicBezTo>
                  <a:cubicBezTo>
                    <a:pt x="37" y="56"/>
                    <a:pt x="37" y="56"/>
                    <a:pt x="37" y="56"/>
                  </a:cubicBezTo>
                  <a:cubicBezTo>
                    <a:pt x="37" y="56"/>
                    <a:pt x="37" y="56"/>
                    <a:pt x="37" y="56"/>
                  </a:cubicBezTo>
                  <a:cubicBezTo>
                    <a:pt x="37" y="57"/>
                    <a:pt x="37" y="57"/>
                    <a:pt x="37" y="57"/>
                  </a:cubicBezTo>
                  <a:cubicBezTo>
                    <a:pt x="37" y="57"/>
                    <a:pt x="37" y="57"/>
                    <a:pt x="37" y="57"/>
                  </a:cubicBezTo>
                  <a:cubicBezTo>
                    <a:pt x="37" y="57"/>
                    <a:pt x="37" y="57"/>
                    <a:pt x="37" y="57"/>
                  </a:cubicBezTo>
                  <a:cubicBezTo>
                    <a:pt x="37" y="57"/>
                    <a:pt x="37" y="57"/>
                    <a:pt x="37" y="57"/>
                  </a:cubicBezTo>
                  <a:cubicBezTo>
                    <a:pt x="37" y="57"/>
                    <a:pt x="37" y="57"/>
                    <a:pt x="37" y="57"/>
                  </a:cubicBezTo>
                  <a:cubicBezTo>
                    <a:pt x="37" y="57"/>
                    <a:pt x="37" y="57"/>
                    <a:pt x="37" y="57"/>
                  </a:cubicBezTo>
                  <a:cubicBezTo>
                    <a:pt x="38" y="57"/>
                    <a:pt x="38" y="57"/>
                    <a:pt x="38" y="57"/>
                  </a:cubicBezTo>
                  <a:cubicBezTo>
                    <a:pt x="38" y="57"/>
                    <a:pt x="38" y="57"/>
                    <a:pt x="38" y="57"/>
                  </a:cubicBezTo>
                  <a:cubicBezTo>
                    <a:pt x="38" y="57"/>
                    <a:pt x="38" y="57"/>
                    <a:pt x="38" y="57"/>
                  </a:cubicBezTo>
                  <a:cubicBezTo>
                    <a:pt x="38" y="57"/>
                    <a:pt x="38" y="57"/>
                    <a:pt x="38" y="57"/>
                  </a:cubicBezTo>
                  <a:cubicBezTo>
                    <a:pt x="52" y="65"/>
                    <a:pt x="66" y="73"/>
                    <a:pt x="80" y="79"/>
                  </a:cubicBezTo>
                  <a:lnTo>
                    <a:pt x="97" y="43"/>
                  </a:lnTo>
                  <a:cubicBezTo>
                    <a:pt x="71" y="31"/>
                    <a:pt x="47" y="17"/>
                    <a:pt x="24" y="0"/>
                  </a:cubicBezTo>
                  <a:lnTo>
                    <a:pt x="0" y="32"/>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19">
              <a:extLst>
                <a:ext uri="{FF2B5EF4-FFF2-40B4-BE49-F238E27FC236}">
                  <a16:creationId xmlns:a16="http://schemas.microsoft.com/office/drawing/2014/main" id="{C68AFC5D-7AE3-F90B-7260-FF62F9E2E5C8}"/>
                </a:ext>
              </a:extLst>
            </p:cNvPr>
            <p:cNvSpPr>
              <a:spLocks/>
            </p:cNvSpPr>
            <p:nvPr/>
          </p:nvSpPr>
          <p:spPr bwMode="auto">
            <a:xfrm>
              <a:off x="868363" y="3848100"/>
              <a:ext cx="65088" cy="34925"/>
            </a:xfrm>
            <a:custGeom>
              <a:avLst/>
              <a:gdLst>
                <a:gd name="T0" fmla="*/ 0 w 92"/>
                <a:gd name="T1" fmla="*/ 48 h 49"/>
                <a:gd name="T2" fmla="*/ 1 w 92"/>
                <a:gd name="T3" fmla="*/ 48 h 49"/>
                <a:gd name="T4" fmla="*/ 5 w 92"/>
                <a:gd name="T5" fmla="*/ 49 h 49"/>
                <a:gd name="T6" fmla="*/ 5 w 92"/>
                <a:gd name="T7" fmla="*/ 49 h 49"/>
                <a:gd name="T8" fmla="*/ 6 w 92"/>
                <a:gd name="T9" fmla="*/ 49 h 49"/>
                <a:gd name="T10" fmla="*/ 6 w 92"/>
                <a:gd name="T11" fmla="*/ 49 h 49"/>
                <a:gd name="T12" fmla="*/ 7 w 92"/>
                <a:gd name="T13" fmla="*/ 49 h 49"/>
                <a:gd name="T14" fmla="*/ 8 w 92"/>
                <a:gd name="T15" fmla="*/ 49 h 49"/>
                <a:gd name="T16" fmla="*/ 8 w 92"/>
                <a:gd name="T17" fmla="*/ 49 h 49"/>
                <a:gd name="T18" fmla="*/ 9 w 92"/>
                <a:gd name="T19" fmla="*/ 49 h 49"/>
                <a:gd name="T20" fmla="*/ 9 w 92"/>
                <a:gd name="T21" fmla="*/ 48 h 49"/>
                <a:gd name="T22" fmla="*/ 9 w 92"/>
                <a:gd name="T23" fmla="*/ 48 h 49"/>
                <a:gd name="T24" fmla="*/ 10 w 92"/>
                <a:gd name="T25" fmla="*/ 48 h 49"/>
                <a:gd name="T26" fmla="*/ 10 w 92"/>
                <a:gd name="T27" fmla="*/ 48 h 49"/>
                <a:gd name="T28" fmla="*/ 10 w 92"/>
                <a:gd name="T29" fmla="*/ 48 h 49"/>
                <a:gd name="T30" fmla="*/ 11 w 92"/>
                <a:gd name="T31" fmla="*/ 48 h 49"/>
                <a:gd name="T32" fmla="*/ 11 w 92"/>
                <a:gd name="T33" fmla="*/ 48 h 49"/>
                <a:gd name="T34" fmla="*/ 12 w 92"/>
                <a:gd name="T35" fmla="*/ 48 h 49"/>
                <a:gd name="T36" fmla="*/ 12 w 92"/>
                <a:gd name="T37" fmla="*/ 48 h 49"/>
                <a:gd name="T38" fmla="*/ 12 w 92"/>
                <a:gd name="T39" fmla="*/ 48 h 49"/>
                <a:gd name="T40" fmla="*/ 13 w 92"/>
                <a:gd name="T41" fmla="*/ 48 h 49"/>
                <a:gd name="T42" fmla="*/ 13 w 92"/>
                <a:gd name="T43" fmla="*/ 48 h 49"/>
                <a:gd name="T44" fmla="*/ 13 w 92"/>
                <a:gd name="T45" fmla="*/ 48 h 49"/>
                <a:gd name="T46" fmla="*/ 14 w 92"/>
                <a:gd name="T47" fmla="*/ 48 h 49"/>
                <a:gd name="T48" fmla="*/ 14 w 92"/>
                <a:gd name="T49" fmla="*/ 48 h 49"/>
                <a:gd name="T50" fmla="*/ 14 w 92"/>
                <a:gd name="T51" fmla="*/ 48 h 49"/>
                <a:gd name="T52" fmla="*/ 15 w 92"/>
                <a:gd name="T53" fmla="*/ 48 h 49"/>
                <a:gd name="T54" fmla="*/ 15 w 92"/>
                <a:gd name="T55" fmla="*/ 48 h 49"/>
                <a:gd name="T56" fmla="*/ 15 w 92"/>
                <a:gd name="T57" fmla="*/ 48 h 49"/>
                <a:gd name="T58" fmla="*/ 16 w 92"/>
                <a:gd name="T59" fmla="*/ 48 h 49"/>
                <a:gd name="T60" fmla="*/ 16 w 92"/>
                <a:gd name="T61" fmla="*/ 48 h 49"/>
                <a:gd name="T62" fmla="*/ 16 w 92"/>
                <a:gd name="T63" fmla="*/ 48 h 49"/>
                <a:gd name="T64" fmla="*/ 17 w 92"/>
                <a:gd name="T65" fmla="*/ 48 h 49"/>
                <a:gd name="T66" fmla="*/ 17 w 92"/>
                <a:gd name="T67" fmla="*/ 48 h 49"/>
                <a:gd name="T68" fmla="*/ 17 w 92"/>
                <a:gd name="T69" fmla="*/ 48 h 49"/>
                <a:gd name="T70" fmla="*/ 18 w 92"/>
                <a:gd name="T71" fmla="*/ 48 h 49"/>
                <a:gd name="T72" fmla="*/ 18 w 92"/>
                <a:gd name="T73" fmla="*/ 48 h 49"/>
                <a:gd name="T74" fmla="*/ 19 w 92"/>
                <a:gd name="T75" fmla="*/ 48 h 49"/>
                <a:gd name="T76" fmla="*/ 19 w 92"/>
                <a:gd name="T77" fmla="*/ 48 h 49"/>
                <a:gd name="T78" fmla="*/ 19 w 92"/>
                <a:gd name="T79" fmla="*/ 48 h 49"/>
                <a:gd name="T80" fmla="*/ 20 w 92"/>
                <a:gd name="T81" fmla="*/ 48 h 49"/>
                <a:gd name="T82" fmla="*/ 20 w 92"/>
                <a:gd name="T83" fmla="*/ 48 h 49"/>
                <a:gd name="T84" fmla="*/ 20 w 92"/>
                <a:gd name="T85" fmla="*/ 48 h 49"/>
                <a:gd name="T86" fmla="*/ 21 w 92"/>
                <a:gd name="T87" fmla="*/ 48 h 49"/>
                <a:gd name="T88" fmla="*/ 21 w 92"/>
                <a:gd name="T89" fmla="*/ 48 h 49"/>
                <a:gd name="T90" fmla="*/ 21 w 92"/>
                <a:gd name="T91" fmla="*/ 48 h 49"/>
                <a:gd name="T92" fmla="*/ 22 w 92"/>
                <a:gd name="T93" fmla="*/ 48 h 49"/>
                <a:gd name="T94" fmla="*/ 22 w 92"/>
                <a:gd name="T95" fmla="*/ 48 h 49"/>
                <a:gd name="T96" fmla="*/ 22 w 92"/>
                <a:gd name="T97" fmla="*/ 48 h 49"/>
                <a:gd name="T98" fmla="*/ 23 w 92"/>
                <a:gd name="T99" fmla="*/ 48 h 49"/>
                <a:gd name="T100" fmla="*/ 23 w 92"/>
                <a:gd name="T101" fmla="*/ 48 h 49"/>
                <a:gd name="T102" fmla="*/ 6 w 92"/>
                <a:gd name="T10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49">
                  <a:moveTo>
                    <a:pt x="6" y="8"/>
                  </a:moveTo>
                  <a:lnTo>
                    <a:pt x="6" y="8"/>
                  </a:lnTo>
                  <a:cubicBezTo>
                    <a:pt x="4" y="8"/>
                    <a:pt x="2" y="8"/>
                    <a:pt x="0" y="8"/>
                  </a:cubicBezTo>
                  <a:lnTo>
                    <a:pt x="0" y="48"/>
                  </a:lnTo>
                  <a:cubicBezTo>
                    <a:pt x="0" y="48"/>
                    <a:pt x="1" y="48"/>
                    <a:pt x="1" y="48"/>
                  </a:cubicBezTo>
                  <a:lnTo>
                    <a:pt x="1" y="48"/>
                  </a:lnTo>
                  <a:cubicBezTo>
                    <a:pt x="1" y="48"/>
                    <a:pt x="1" y="48"/>
                    <a:pt x="1" y="48"/>
                  </a:cubicBezTo>
                  <a:cubicBezTo>
                    <a:pt x="1" y="48"/>
                    <a:pt x="1" y="48"/>
                    <a:pt x="1" y="48"/>
                  </a:cubicBezTo>
                  <a:cubicBezTo>
                    <a:pt x="2" y="48"/>
                    <a:pt x="2" y="48"/>
                    <a:pt x="2" y="48"/>
                  </a:cubicBezTo>
                  <a:cubicBezTo>
                    <a:pt x="3" y="48"/>
                    <a:pt x="3" y="49"/>
                    <a:pt x="4" y="49"/>
                  </a:cubicBezTo>
                  <a:cubicBezTo>
                    <a:pt x="4"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8" y="49"/>
                  </a:cubicBezTo>
                  <a:cubicBezTo>
                    <a:pt x="8" y="49"/>
                    <a:pt x="8" y="49"/>
                    <a:pt x="8" y="49"/>
                  </a:cubicBezTo>
                  <a:cubicBezTo>
                    <a:pt x="8" y="49"/>
                    <a:pt x="8" y="49"/>
                    <a:pt x="8" y="49"/>
                  </a:cubicBezTo>
                  <a:cubicBezTo>
                    <a:pt x="8" y="49"/>
                    <a:pt x="8" y="49"/>
                    <a:pt x="8" y="49"/>
                  </a:cubicBezTo>
                  <a:cubicBezTo>
                    <a:pt x="8" y="49"/>
                    <a:pt x="8" y="49"/>
                    <a:pt x="8" y="49"/>
                  </a:cubicBezTo>
                  <a:cubicBezTo>
                    <a:pt x="8" y="49"/>
                    <a:pt x="8" y="49"/>
                    <a:pt x="8" y="49"/>
                  </a:cubicBezTo>
                  <a:cubicBezTo>
                    <a:pt x="8" y="49"/>
                    <a:pt x="8" y="49"/>
                    <a:pt x="8" y="49"/>
                  </a:cubicBezTo>
                  <a:cubicBezTo>
                    <a:pt x="8" y="49"/>
                    <a:pt x="8" y="49"/>
                    <a:pt x="8" y="49"/>
                  </a:cubicBezTo>
                  <a:cubicBezTo>
                    <a:pt x="8" y="49"/>
                    <a:pt x="8" y="49"/>
                    <a:pt x="8" y="49"/>
                  </a:cubicBezTo>
                  <a:cubicBezTo>
                    <a:pt x="9" y="49"/>
                    <a:pt x="9" y="49"/>
                    <a:pt x="9" y="49"/>
                  </a:cubicBezTo>
                  <a:cubicBezTo>
                    <a:pt x="9" y="49"/>
                    <a:pt x="9" y="49"/>
                    <a:pt x="9" y="49"/>
                  </a:cubicBezTo>
                  <a:cubicBezTo>
                    <a:pt x="9" y="49"/>
                    <a:pt x="9" y="49"/>
                    <a:pt x="9" y="49"/>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20" y="48"/>
                  </a:cubicBezTo>
                  <a:cubicBezTo>
                    <a:pt x="20" y="48"/>
                    <a:pt x="20" y="48"/>
                    <a:pt x="20" y="48"/>
                  </a:cubicBezTo>
                  <a:cubicBezTo>
                    <a:pt x="20" y="48"/>
                    <a:pt x="20" y="48"/>
                    <a:pt x="20" y="48"/>
                  </a:cubicBezTo>
                  <a:lnTo>
                    <a:pt x="20" y="48"/>
                  </a:lnTo>
                  <a:cubicBezTo>
                    <a:pt x="20" y="48"/>
                    <a:pt x="20" y="48"/>
                    <a:pt x="20" y="48"/>
                  </a:cubicBezTo>
                  <a:lnTo>
                    <a:pt x="20" y="48"/>
                  </a:ln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0" y="48"/>
                  </a:cubicBezTo>
                  <a:cubicBezTo>
                    <a:pt x="20" y="48"/>
                    <a:pt x="21" y="48"/>
                    <a:pt x="21" y="48"/>
                  </a:cubicBezTo>
                  <a:cubicBezTo>
                    <a:pt x="21" y="48"/>
                    <a:pt x="21" y="48"/>
                    <a:pt x="21" y="48"/>
                  </a:cubicBezTo>
                  <a:cubicBezTo>
                    <a:pt x="21" y="48"/>
                    <a:pt x="21" y="48"/>
                    <a:pt x="21" y="48"/>
                  </a:cubicBezTo>
                  <a:cubicBezTo>
                    <a:pt x="21" y="48"/>
                    <a:pt x="21" y="48"/>
                    <a:pt x="21" y="48"/>
                  </a:cubicBezTo>
                  <a:cubicBezTo>
                    <a:pt x="21" y="48"/>
                    <a:pt x="21" y="48"/>
                    <a:pt x="21" y="48"/>
                  </a:cubicBezTo>
                  <a:lnTo>
                    <a:pt x="21" y="48"/>
                  </a:lnTo>
                  <a:cubicBezTo>
                    <a:pt x="21" y="48"/>
                    <a:pt x="21" y="48"/>
                    <a:pt x="21" y="48"/>
                  </a:cubicBezTo>
                  <a:lnTo>
                    <a:pt x="21" y="48"/>
                  </a:lnTo>
                  <a:cubicBezTo>
                    <a:pt x="21" y="48"/>
                    <a:pt x="21" y="48"/>
                    <a:pt x="21" y="48"/>
                  </a:cubicBezTo>
                  <a:cubicBezTo>
                    <a:pt x="21" y="48"/>
                    <a:pt x="21" y="48"/>
                    <a:pt x="21" y="48"/>
                  </a:cubicBezTo>
                  <a:cubicBezTo>
                    <a:pt x="21" y="48"/>
                    <a:pt x="21" y="48"/>
                    <a:pt x="21" y="48"/>
                  </a:cubicBezTo>
                  <a:cubicBezTo>
                    <a:pt x="21" y="48"/>
                    <a:pt x="21" y="48"/>
                    <a:pt x="21"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lnTo>
                    <a:pt x="22" y="48"/>
                  </a:lnTo>
                  <a:cubicBezTo>
                    <a:pt x="22" y="48"/>
                    <a:pt x="22" y="48"/>
                    <a:pt x="22" y="48"/>
                  </a:cubicBezTo>
                  <a:cubicBezTo>
                    <a:pt x="22" y="48"/>
                    <a:pt x="22" y="48"/>
                    <a:pt x="22" y="48"/>
                  </a:cubicBezTo>
                  <a:cubicBezTo>
                    <a:pt x="22" y="48"/>
                    <a:pt x="22" y="48"/>
                    <a:pt x="22"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lnTo>
                    <a:pt x="23" y="48"/>
                  </a:lnTo>
                  <a:cubicBezTo>
                    <a:pt x="23" y="48"/>
                    <a:pt x="24" y="48"/>
                    <a:pt x="24" y="48"/>
                  </a:cubicBezTo>
                  <a:cubicBezTo>
                    <a:pt x="47" y="47"/>
                    <a:pt x="70" y="44"/>
                    <a:pt x="92" y="40"/>
                  </a:cubicBezTo>
                  <a:lnTo>
                    <a:pt x="84" y="0"/>
                  </a:lnTo>
                  <a:cubicBezTo>
                    <a:pt x="59" y="6"/>
                    <a:pt x="32" y="8"/>
                    <a:pt x="6" y="8"/>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0">
              <a:extLst>
                <a:ext uri="{FF2B5EF4-FFF2-40B4-BE49-F238E27FC236}">
                  <a16:creationId xmlns:a16="http://schemas.microsoft.com/office/drawing/2014/main" id="{015D061B-8916-3BF8-4EE1-5C5282AF5A77}"/>
                </a:ext>
              </a:extLst>
            </p:cNvPr>
            <p:cNvSpPr>
              <a:spLocks/>
            </p:cNvSpPr>
            <p:nvPr/>
          </p:nvSpPr>
          <p:spPr bwMode="auto">
            <a:xfrm>
              <a:off x="620713" y="3736975"/>
              <a:ext cx="65088" cy="66675"/>
            </a:xfrm>
            <a:custGeom>
              <a:avLst/>
              <a:gdLst>
                <a:gd name="T0" fmla="*/ 5 w 89"/>
                <a:gd name="T1" fmla="*/ 29 h 93"/>
                <a:gd name="T2" fmla="*/ 5 w 89"/>
                <a:gd name="T3" fmla="*/ 30 h 93"/>
                <a:gd name="T4" fmla="*/ 6 w 89"/>
                <a:gd name="T5" fmla="*/ 30 h 93"/>
                <a:gd name="T6" fmla="*/ 6 w 89"/>
                <a:gd name="T7" fmla="*/ 31 h 93"/>
                <a:gd name="T8" fmla="*/ 7 w 89"/>
                <a:gd name="T9" fmla="*/ 32 h 93"/>
                <a:gd name="T10" fmla="*/ 7 w 89"/>
                <a:gd name="T11" fmla="*/ 32 h 93"/>
                <a:gd name="T12" fmla="*/ 8 w 89"/>
                <a:gd name="T13" fmla="*/ 33 h 93"/>
                <a:gd name="T14" fmla="*/ 8 w 89"/>
                <a:gd name="T15" fmla="*/ 33 h 93"/>
                <a:gd name="T16" fmla="*/ 8 w 89"/>
                <a:gd name="T17" fmla="*/ 34 h 93"/>
                <a:gd name="T18" fmla="*/ 9 w 89"/>
                <a:gd name="T19" fmla="*/ 34 h 93"/>
                <a:gd name="T20" fmla="*/ 9 w 89"/>
                <a:gd name="T21" fmla="*/ 35 h 93"/>
                <a:gd name="T22" fmla="*/ 10 w 89"/>
                <a:gd name="T23" fmla="*/ 36 h 93"/>
                <a:gd name="T24" fmla="*/ 10 w 89"/>
                <a:gd name="T25" fmla="*/ 36 h 93"/>
                <a:gd name="T26" fmla="*/ 11 w 89"/>
                <a:gd name="T27" fmla="*/ 37 h 93"/>
                <a:gd name="T28" fmla="*/ 12 w 89"/>
                <a:gd name="T29" fmla="*/ 38 h 93"/>
                <a:gd name="T30" fmla="*/ 12 w 89"/>
                <a:gd name="T31" fmla="*/ 39 h 93"/>
                <a:gd name="T32" fmla="*/ 13 w 89"/>
                <a:gd name="T33" fmla="*/ 39 h 93"/>
                <a:gd name="T34" fmla="*/ 13 w 89"/>
                <a:gd name="T35" fmla="*/ 40 h 93"/>
                <a:gd name="T36" fmla="*/ 14 w 89"/>
                <a:gd name="T37" fmla="*/ 41 h 93"/>
                <a:gd name="T38" fmla="*/ 15 w 89"/>
                <a:gd name="T39" fmla="*/ 42 h 93"/>
                <a:gd name="T40" fmla="*/ 16 w 89"/>
                <a:gd name="T41" fmla="*/ 43 h 93"/>
                <a:gd name="T42" fmla="*/ 16 w 89"/>
                <a:gd name="T43" fmla="*/ 44 h 93"/>
                <a:gd name="T44" fmla="*/ 17 w 89"/>
                <a:gd name="T45" fmla="*/ 45 h 93"/>
                <a:gd name="T46" fmla="*/ 17 w 89"/>
                <a:gd name="T47" fmla="*/ 45 h 93"/>
                <a:gd name="T48" fmla="*/ 18 w 89"/>
                <a:gd name="T49" fmla="*/ 46 h 93"/>
                <a:gd name="T50" fmla="*/ 18 w 89"/>
                <a:gd name="T51" fmla="*/ 47 h 93"/>
                <a:gd name="T52" fmla="*/ 19 w 89"/>
                <a:gd name="T53" fmla="*/ 47 h 93"/>
                <a:gd name="T54" fmla="*/ 19 w 89"/>
                <a:gd name="T55" fmla="*/ 48 h 93"/>
                <a:gd name="T56" fmla="*/ 20 w 89"/>
                <a:gd name="T57" fmla="*/ 48 h 93"/>
                <a:gd name="T58" fmla="*/ 21 w 89"/>
                <a:gd name="T59" fmla="*/ 49 h 93"/>
                <a:gd name="T60" fmla="*/ 21 w 89"/>
                <a:gd name="T61" fmla="*/ 50 h 93"/>
                <a:gd name="T62" fmla="*/ 21 w 89"/>
                <a:gd name="T63" fmla="*/ 50 h 93"/>
                <a:gd name="T64" fmla="*/ 22 w 89"/>
                <a:gd name="T65" fmla="*/ 51 h 93"/>
                <a:gd name="T66" fmla="*/ 22 w 89"/>
                <a:gd name="T67" fmla="*/ 51 h 93"/>
                <a:gd name="T68" fmla="*/ 23 w 89"/>
                <a:gd name="T69" fmla="*/ 52 h 93"/>
                <a:gd name="T70" fmla="*/ 23 w 89"/>
                <a:gd name="T71" fmla="*/ 52 h 93"/>
                <a:gd name="T72" fmla="*/ 23 w 89"/>
                <a:gd name="T73" fmla="*/ 53 h 93"/>
                <a:gd name="T74" fmla="*/ 24 w 89"/>
                <a:gd name="T75" fmla="*/ 53 h 93"/>
                <a:gd name="T76" fmla="*/ 24 w 89"/>
                <a:gd name="T77" fmla="*/ 54 h 93"/>
                <a:gd name="T78" fmla="*/ 25 w 89"/>
                <a:gd name="T79" fmla="*/ 54 h 93"/>
                <a:gd name="T80" fmla="*/ 25 w 89"/>
                <a:gd name="T81" fmla="*/ 54 h 93"/>
                <a:gd name="T82" fmla="*/ 25 w 89"/>
                <a:gd name="T83" fmla="*/ 55 h 93"/>
                <a:gd name="T84" fmla="*/ 26 w 89"/>
                <a:gd name="T85" fmla="*/ 56 h 93"/>
                <a:gd name="T86" fmla="*/ 27 w 89"/>
                <a:gd name="T87" fmla="*/ 56 h 93"/>
                <a:gd name="T88" fmla="*/ 27 w 89"/>
                <a:gd name="T89" fmla="*/ 57 h 93"/>
                <a:gd name="T90" fmla="*/ 27 w 89"/>
                <a:gd name="T91" fmla="*/ 57 h 93"/>
                <a:gd name="T92" fmla="*/ 28 w 89"/>
                <a:gd name="T93" fmla="*/ 58 h 93"/>
                <a:gd name="T94" fmla="*/ 28 w 89"/>
                <a:gd name="T95" fmla="*/ 58 h 93"/>
                <a:gd name="T96" fmla="*/ 29 w 89"/>
                <a:gd name="T97" fmla="*/ 59 h 93"/>
                <a:gd name="T98" fmla="*/ 30 w 89"/>
                <a:gd name="T99" fmla="*/ 60 h 93"/>
                <a:gd name="T100" fmla="*/ 31 w 89"/>
                <a:gd name="T101" fmla="*/ 62 h 93"/>
                <a:gd name="T102" fmla="*/ 59 w 89"/>
                <a:gd name="T103" fmla="*/ 89 h 93"/>
                <a:gd name="T104" fmla="*/ 59 w 89"/>
                <a:gd name="T105" fmla="*/ 90 h 93"/>
                <a:gd name="T106" fmla="*/ 60 w 89"/>
                <a:gd name="T107" fmla="*/ 90 h 93"/>
                <a:gd name="T108" fmla="*/ 60 w 89"/>
                <a:gd name="T109" fmla="*/ 91 h 93"/>
                <a:gd name="T110" fmla="*/ 61 w 89"/>
                <a:gd name="T111" fmla="*/ 91 h 93"/>
                <a:gd name="T112" fmla="*/ 61 w 89"/>
                <a:gd name="T113" fmla="*/ 92 h 93"/>
                <a:gd name="T114" fmla="*/ 62 w 89"/>
                <a:gd name="T115"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 h="93">
                  <a:moveTo>
                    <a:pt x="33" y="0"/>
                  </a:moveTo>
                  <a:lnTo>
                    <a:pt x="33" y="0"/>
                  </a:lnTo>
                  <a:lnTo>
                    <a:pt x="0" y="23"/>
                  </a:lnTo>
                  <a:cubicBezTo>
                    <a:pt x="1" y="25"/>
                    <a:pt x="3" y="26"/>
                    <a:pt x="4" y="28"/>
                  </a:cubicBezTo>
                  <a:lnTo>
                    <a:pt x="4" y="28"/>
                  </a:lnTo>
                  <a:cubicBezTo>
                    <a:pt x="4" y="28"/>
                    <a:pt x="4" y="28"/>
                    <a:pt x="4" y="28"/>
                  </a:cubicBezTo>
                  <a:cubicBezTo>
                    <a:pt x="4" y="28"/>
                    <a:pt x="4" y="29"/>
                    <a:pt x="5" y="29"/>
                  </a:cubicBezTo>
                  <a:cubicBezTo>
                    <a:pt x="5" y="29"/>
                    <a:pt x="5" y="29"/>
                    <a:pt x="5" y="29"/>
                  </a:cubicBezTo>
                  <a:cubicBezTo>
                    <a:pt x="5" y="29"/>
                    <a:pt x="5" y="29"/>
                    <a:pt x="5" y="29"/>
                  </a:cubicBezTo>
                  <a:lnTo>
                    <a:pt x="5" y="29"/>
                  </a:lnTo>
                  <a:cubicBezTo>
                    <a:pt x="5" y="29"/>
                    <a:pt x="5" y="29"/>
                    <a:pt x="5" y="29"/>
                  </a:cubicBezTo>
                  <a:cubicBezTo>
                    <a:pt x="5" y="29"/>
                    <a:pt x="5" y="29"/>
                    <a:pt x="5" y="29"/>
                  </a:cubicBezTo>
                  <a:cubicBezTo>
                    <a:pt x="5" y="29"/>
                    <a:pt x="5" y="30"/>
                    <a:pt x="5" y="30"/>
                  </a:cubicBezTo>
                  <a:cubicBezTo>
                    <a:pt x="5" y="30"/>
                    <a:pt x="5" y="30"/>
                    <a:pt x="5" y="30"/>
                  </a:cubicBezTo>
                  <a:cubicBezTo>
                    <a:pt x="5" y="30"/>
                    <a:pt x="5" y="30"/>
                    <a:pt x="5" y="30"/>
                  </a:cubicBezTo>
                  <a:cubicBezTo>
                    <a:pt x="5" y="30"/>
                    <a:pt x="5" y="30"/>
                    <a:pt x="5" y="30"/>
                  </a:cubicBezTo>
                  <a:cubicBezTo>
                    <a:pt x="5" y="30"/>
                    <a:pt x="5" y="30"/>
                    <a:pt x="5" y="30"/>
                  </a:cubicBezTo>
                  <a:cubicBezTo>
                    <a:pt x="5" y="30"/>
                    <a:pt x="6" y="30"/>
                    <a:pt x="6" y="30"/>
                  </a:cubicBezTo>
                  <a:cubicBezTo>
                    <a:pt x="6" y="30"/>
                    <a:pt x="6" y="30"/>
                    <a:pt x="6" y="30"/>
                  </a:cubicBezTo>
                  <a:cubicBezTo>
                    <a:pt x="6" y="30"/>
                    <a:pt x="6" y="30"/>
                    <a:pt x="6" y="30"/>
                  </a:cubicBezTo>
                  <a:cubicBezTo>
                    <a:pt x="6" y="30"/>
                    <a:pt x="6" y="30"/>
                    <a:pt x="6" y="30"/>
                  </a:cubicBezTo>
                  <a:cubicBezTo>
                    <a:pt x="6" y="30"/>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7" y="31"/>
                  </a:cubicBezTo>
                  <a:cubicBezTo>
                    <a:pt x="7" y="31"/>
                    <a:pt x="7" y="31"/>
                    <a:pt x="7" y="31"/>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3"/>
                  </a:cubicBezTo>
                  <a:cubicBezTo>
                    <a:pt x="7" y="33"/>
                    <a:pt x="7" y="33"/>
                    <a:pt x="7" y="33"/>
                  </a:cubicBezTo>
                  <a:cubicBezTo>
                    <a:pt x="7" y="33"/>
                    <a:pt x="7" y="33"/>
                    <a:pt x="7" y="33"/>
                  </a:cubicBezTo>
                  <a:cubicBezTo>
                    <a:pt x="7" y="33"/>
                    <a:pt x="7"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9" y="34"/>
                    <a:pt x="9" y="34"/>
                    <a:pt x="9" y="34"/>
                  </a:cubicBezTo>
                  <a:cubicBezTo>
                    <a:pt x="9" y="34"/>
                    <a:pt x="9" y="34"/>
                    <a:pt x="9" y="34"/>
                  </a:cubicBezTo>
                  <a:cubicBezTo>
                    <a:pt x="9" y="34"/>
                    <a:pt x="9" y="34"/>
                    <a:pt x="9" y="34"/>
                  </a:cubicBezTo>
                  <a:cubicBezTo>
                    <a:pt x="9" y="34"/>
                    <a:pt x="9" y="34"/>
                    <a:pt x="9" y="34"/>
                  </a:cubicBezTo>
                  <a:cubicBezTo>
                    <a:pt x="9" y="34"/>
                    <a:pt x="9" y="34"/>
                    <a:pt x="9" y="34"/>
                  </a:cubicBezTo>
                  <a:cubicBezTo>
                    <a:pt x="9" y="34"/>
                    <a:pt x="9" y="34"/>
                    <a:pt x="9" y="34"/>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10" y="35"/>
                    <a:pt x="10" y="35"/>
                  </a:cubicBezTo>
                  <a:cubicBezTo>
                    <a:pt x="10" y="35"/>
                    <a:pt x="10" y="35"/>
                    <a:pt x="10" y="35"/>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7"/>
                    <a:pt x="10" y="37"/>
                    <a:pt x="10" y="37"/>
                  </a:cubicBezTo>
                  <a:cubicBezTo>
                    <a:pt x="10" y="37"/>
                    <a:pt x="10" y="37"/>
                    <a:pt x="10"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8"/>
                  </a:cubicBezTo>
                  <a:cubicBezTo>
                    <a:pt x="11" y="38"/>
                    <a:pt x="11" y="38"/>
                    <a:pt x="11" y="38"/>
                  </a:cubicBezTo>
                  <a:cubicBezTo>
                    <a:pt x="11" y="38"/>
                    <a:pt x="11" y="38"/>
                    <a:pt x="12" y="38"/>
                  </a:cubicBezTo>
                  <a:lnTo>
                    <a:pt x="12" y="38"/>
                  </a:ln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9"/>
                    <a:pt x="12" y="39"/>
                    <a:pt x="12" y="39"/>
                  </a:cubicBezTo>
                  <a:cubicBezTo>
                    <a:pt x="12" y="39"/>
                    <a:pt x="12" y="39"/>
                    <a:pt x="12" y="39"/>
                  </a:cubicBezTo>
                  <a:cubicBezTo>
                    <a:pt x="12" y="39"/>
                    <a:pt x="12" y="39"/>
                    <a:pt x="12" y="39"/>
                  </a:cubicBezTo>
                  <a:cubicBezTo>
                    <a:pt x="12" y="39"/>
                    <a:pt x="12" y="39"/>
                    <a:pt x="12" y="39"/>
                  </a:cubicBezTo>
                  <a:lnTo>
                    <a:pt x="12" y="39"/>
                  </a:lnTo>
                  <a:cubicBezTo>
                    <a:pt x="12" y="39"/>
                    <a:pt x="12" y="39"/>
                    <a:pt x="12" y="39"/>
                  </a:cubicBezTo>
                  <a:cubicBezTo>
                    <a:pt x="12" y="39"/>
                    <a:pt x="12" y="39"/>
                    <a:pt x="13" y="39"/>
                  </a:cubicBezTo>
                  <a:cubicBezTo>
                    <a:pt x="13" y="39"/>
                    <a:pt x="13" y="39"/>
                    <a:pt x="13" y="39"/>
                  </a:cubicBezTo>
                  <a:cubicBezTo>
                    <a:pt x="13" y="39"/>
                    <a:pt x="13" y="39"/>
                    <a:pt x="13" y="39"/>
                  </a:cubicBezTo>
                  <a:cubicBezTo>
                    <a:pt x="13" y="39"/>
                    <a:pt x="13" y="39"/>
                    <a:pt x="13" y="39"/>
                  </a:cubicBezTo>
                  <a:cubicBezTo>
                    <a:pt x="13" y="40"/>
                    <a:pt x="13" y="40"/>
                    <a:pt x="13" y="40"/>
                  </a:cubicBezTo>
                  <a:cubicBezTo>
                    <a:pt x="13" y="40"/>
                    <a:pt x="13" y="40"/>
                    <a:pt x="13" y="40"/>
                  </a:cubicBezTo>
                  <a:cubicBezTo>
                    <a:pt x="13" y="40"/>
                    <a:pt x="13" y="40"/>
                    <a:pt x="13" y="40"/>
                  </a:cubicBezTo>
                  <a:cubicBezTo>
                    <a:pt x="13" y="40"/>
                    <a:pt x="13" y="40"/>
                    <a:pt x="13" y="40"/>
                  </a:cubicBezTo>
                  <a:lnTo>
                    <a:pt x="13" y="40"/>
                  </a:lnTo>
                  <a:cubicBezTo>
                    <a:pt x="13" y="40"/>
                    <a:pt x="13" y="40"/>
                    <a:pt x="13" y="40"/>
                  </a:cubicBezTo>
                  <a:cubicBezTo>
                    <a:pt x="13" y="40"/>
                    <a:pt x="13" y="40"/>
                    <a:pt x="13" y="40"/>
                  </a:cubicBezTo>
                  <a:cubicBezTo>
                    <a:pt x="13" y="40"/>
                    <a:pt x="13" y="40"/>
                    <a:pt x="13" y="41"/>
                  </a:cubicBezTo>
                  <a:lnTo>
                    <a:pt x="13" y="41"/>
                  </a:lnTo>
                  <a:cubicBezTo>
                    <a:pt x="14" y="41"/>
                    <a:pt x="14" y="41"/>
                    <a:pt x="14" y="41"/>
                  </a:cubicBezTo>
                  <a:cubicBezTo>
                    <a:pt x="14" y="41"/>
                    <a:pt x="14" y="41"/>
                    <a:pt x="14" y="41"/>
                  </a:cubicBezTo>
                  <a:cubicBezTo>
                    <a:pt x="14" y="41"/>
                    <a:pt x="14" y="41"/>
                    <a:pt x="14" y="41"/>
                  </a:cubicBezTo>
                  <a:cubicBezTo>
                    <a:pt x="14" y="41"/>
                    <a:pt x="14" y="41"/>
                    <a:pt x="14" y="41"/>
                  </a:cubicBezTo>
                  <a:cubicBezTo>
                    <a:pt x="14" y="41"/>
                    <a:pt x="14" y="41"/>
                    <a:pt x="14" y="41"/>
                  </a:cubicBezTo>
                  <a:cubicBezTo>
                    <a:pt x="14" y="41"/>
                    <a:pt x="14" y="41"/>
                    <a:pt x="14" y="42"/>
                  </a:cubicBezTo>
                  <a:cubicBezTo>
                    <a:pt x="14" y="42"/>
                    <a:pt x="14" y="42"/>
                    <a:pt x="14" y="42"/>
                  </a:cubicBezTo>
                  <a:cubicBezTo>
                    <a:pt x="14" y="42"/>
                    <a:pt x="15" y="42"/>
                    <a:pt x="15" y="42"/>
                  </a:cubicBezTo>
                  <a:cubicBezTo>
                    <a:pt x="15" y="42"/>
                    <a:pt x="15" y="42"/>
                    <a:pt x="15" y="42"/>
                  </a:cubicBezTo>
                  <a:cubicBezTo>
                    <a:pt x="15" y="42"/>
                    <a:pt x="15" y="42"/>
                    <a:pt x="15" y="42"/>
                  </a:cubicBezTo>
                  <a:cubicBezTo>
                    <a:pt x="15" y="42"/>
                    <a:pt x="15" y="42"/>
                    <a:pt x="15" y="42"/>
                  </a:cubicBezTo>
                  <a:cubicBezTo>
                    <a:pt x="15" y="42"/>
                    <a:pt x="15" y="42"/>
                    <a:pt x="15" y="43"/>
                  </a:cubicBezTo>
                  <a:cubicBezTo>
                    <a:pt x="15" y="43"/>
                    <a:pt x="15" y="43"/>
                    <a:pt x="15" y="43"/>
                  </a:cubicBezTo>
                  <a:cubicBezTo>
                    <a:pt x="15" y="43"/>
                    <a:pt x="15" y="43"/>
                    <a:pt x="15" y="43"/>
                  </a:cubicBezTo>
                  <a:cubicBezTo>
                    <a:pt x="15" y="43"/>
                    <a:pt x="15" y="43"/>
                    <a:pt x="15" y="43"/>
                  </a:cubicBezTo>
                  <a:cubicBezTo>
                    <a:pt x="15" y="43"/>
                    <a:pt x="16" y="43"/>
                    <a:pt x="16" y="43"/>
                  </a:cubicBezTo>
                  <a:cubicBezTo>
                    <a:pt x="16" y="43"/>
                    <a:pt x="16" y="43"/>
                    <a:pt x="16" y="43"/>
                  </a:cubicBezTo>
                  <a:cubicBezTo>
                    <a:pt x="16" y="43"/>
                    <a:pt x="16" y="43"/>
                    <a:pt x="16" y="43"/>
                  </a:cubicBezTo>
                  <a:cubicBezTo>
                    <a:pt x="16" y="43"/>
                    <a:pt x="16" y="43"/>
                    <a:pt x="16" y="43"/>
                  </a:cubicBezTo>
                  <a:cubicBezTo>
                    <a:pt x="16" y="43"/>
                    <a:pt x="16" y="43"/>
                    <a:pt x="16" y="44"/>
                  </a:cubicBezTo>
                  <a:cubicBezTo>
                    <a:pt x="16" y="44"/>
                    <a:pt x="16" y="44"/>
                    <a:pt x="16" y="44"/>
                  </a:cubicBezTo>
                  <a:cubicBezTo>
                    <a:pt x="16" y="44"/>
                    <a:pt x="16" y="44"/>
                    <a:pt x="16" y="44"/>
                  </a:cubicBezTo>
                  <a:cubicBezTo>
                    <a:pt x="16" y="44"/>
                    <a:pt x="16" y="44"/>
                    <a:pt x="16" y="44"/>
                  </a:cubicBezTo>
                  <a:cubicBezTo>
                    <a:pt x="16" y="44"/>
                    <a:pt x="16" y="44"/>
                    <a:pt x="16" y="44"/>
                  </a:cubicBezTo>
                  <a:lnTo>
                    <a:pt x="16" y="44"/>
                  </a:lnTo>
                  <a:cubicBezTo>
                    <a:pt x="16" y="44"/>
                    <a:pt x="16" y="44"/>
                    <a:pt x="16" y="44"/>
                  </a:cubicBezTo>
                  <a:lnTo>
                    <a:pt x="16" y="44"/>
                  </a:lnTo>
                  <a:cubicBezTo>
                    <a:pt x="17" y="44"/>
                    <a:pt x="17" y="44"/>
                    <a:pt x="17" y="44"/>
                  </a:cubicBezTo>
                  <a:cubicBezTo>
                    <a:pt x="17" y="44"/>
                    <a:pt x="17" y="44"/>
                    <a:pt x="17" y="44"/>
                  </a:cubicBezTo>
                  <a:cubicBezTo>
                    <a:pt x="17" y="44"/>
                    <a:pt x="17" y="44"/>
                    <a:pt x="17" y="45"/>
                  </a:cubicBezTo>
                  <a:cubicBezTo>
                    <a:pt x="17" y="45"/>
                    <a:pt x="17" y="45"/>
                    <a:pt x="17" y="45"/>
                  </a:cubicBezTo>
                  <a:cubicBezTo>
                    <a:pt x="17" y="45"/>
                    <a:pt x="17" y="45"/>
                    <a:pt x="17" y="45"/>
                  </a:cubicBezTo>
                  <a:cubicBezTo>
                    <a:pt x="17" y="45"/>
                    <a:pt x="17" y="45"/>
                    <a:pt x="17" y="45"/>
                  </a:cubicBezTo>
                  <a:cubicBezTo>
                    <a:pt x="17" y="45"/>
                    <a:pt x="17" y="45"/>
                    <a:pt x="17" y="45"/>
                  </a:cubicBezTo>
                  <a:lnTo>
                    <a:pt x="17" y="45"/>
                  </a:ln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6"/>
                    <a:pt x="18" y="46"/>
                    <a:pt x="18" y="46"/>
                  </a:cubicBezTo>
                  <a:cubicBezTo>
                    <a:pt x="18" y="46"/>
                    <a:pt x="18" y="46"/>
                    <a:pt x="18" y="46"/>
                  </a:cubicBezTo>
                  <a:lnTo>
                    <a:pt x="18" y="46"/>
                  </a:lnTo>
                  <a:cubicBezTo>
                    <a:pt x="18" y="46"/>
                    <a:pt x="18" y="46"/>
                    <a:pt x="18" y="46"/>
                  </a:cubicBezTo>
                  <a:cubicBezTo>
                    <a:pt x="18" y="46"/>
                    <a:pt x="18" y="46"/>
                    <a:pt x="18" y="46"/>
                  </a:cubicBezTo>
                  <a:cubicBezTo>
                    <a:pt x="18" y="46"/>
                    <a:pt x="18" y="46"/>
                    <a:pt x="18" y="46"/>
                  </a:cubicBezTo>
                  <a:lnTo>
                    <a:pt x="18" y="46"/>
                  </a:lnTo>
                  <a:cubicBezTo>
                    <a:pt x="18" y="46"/>
                    <a:pt x="18" y="46"/>
                    <a:pt x="18" y="46"/>
                  </a:cubicBezTo>
                  <a:cubicBezTo>
                    <a:pt x="18" y="46"/>
                    <a:pt x="18" y="46"/>
                    <a:pt x="18" y="46"/>
                  </a:cubicBezTo>
                  <a:cubicBezTo>
                    <a:pt x="18" y="46"/>
                    <a:pt x="18" y="46"/>
                    <a:pt x="18" y="46"/>
                  </a:cubicBezTo>
                  <a:cubicBezTo>
                    <a:pt x="18" y="46"/>
                    <a:pt x="18" y="47"/>
                    <a:pt x="18" y="47"/>
                  </a:cubicBezTo>
                  <a:cubicBezTo>
                    <a:pt x="18" y="47"/>
                    <a:pt x="18" y="47"/>
                    <a:pt x="18" y="47"/>
                  </a:cubicBezTo>
                  <a:cubicBezTo>
                    <a:pt x="18" y="47"/>
                    <a:pt x="18" y="47"/>
                    <a:pt x="18" y="47"/>
                  </a:cubicBezTo>
                  <a:cubicBezTo>
                    <a:pt x="18" y="47"/>
                    <a:pt x="18" y="47"/>
                    <a:pt x="19" y="47"/>
                  </a:cubicBezTo>
                  <a:cubicBezTo>
                    <a:pt x="19" y="47"/>
                    <a:pt x="19" y="47"/>
                    <a:pt x="19" y="47"/>
                  </a:cubicBezTo>
                  <a:cubicBezTo>
                    <a:pt x="19" y="47"/>
                    <a:pt x="19" y="47"/>
                    <a:pt x="19" y="47"/>
                  </a:cubicBezTo>
                  <a:cubicBezTo>
                    <a:pt x="19" y="47"/>
                    <a:pt x="19" y="47"/>
                    <a:pt x="19" y="47"/>
                  </a:cubicBezTo>
                  <a:cubicBezTo>
                    <a:pt x="19" y="47"/>
                    <a:pt x="19" y="47"/>
                    <a:pt x="19" y="47"/>
                  </a:cubicBezTo>
                  <a:cubicBezTo>
                    <a:pt x="19" y="47"/>
                    <a:pt x="19" y="47"/>
                    <a:pt x="19" y="47"/>
                  </a:cubicBezTo>
                  <a:cubicBezTo>
                    <a:pt x="19" y="47"/>
                    <a:pt x="19" y="47"/>
                    <a:pt x="19" y="47"/>
                  </a:cubicBezTo>
                  <a:cubicBezTo>
                    <a:pt x="19" y="47"/>
                    <a:pt x="19" y="47"/>
                    <a:pt x="19" y="47"/>
                  </a:cubicBezTo>
                  <a:cubicBezTo>
                    <a:pt x="19" y="47"/>
                    <a:pt x="19" y="47"/>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0" y="48"/>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1" y="49"/>
                  </a:cubicBezTo>
                  <a:cubicBezTo>
                    <a:pt x="21" y="49"/>
                    <a:pt x="21" y="49"/>
                    <a:pt x="21" y="49"/>
                  </a:cubicBezTo>
                  <a:cubicBezTo>
                    <a:pt x="21" y="49"/>
                    <a:pt x="21" y="49"/>
                    <a:pt x="21" y="49"/>
                  </a:cubicBezTo>
                  <a:cubicBezTo>
                    <a:pt x="21" y="49"/>
                    <a:pt x="21" y="49"/>
                    <a:pt x="21" y="49"/>
                  </a:cubicBezTo>
                  <a:cubicBezTo>
                    <a:pt x="21" y="49"/>
                    <a:pt x="21" y="49"/>
                    <a:pt x="21" y="49"/>
                  </a:cubicBezTo>
                  <a:cubicBezTo>
                    <a:pt x="21" y="49"/>
                    <a:pt x="21" y="49"/>
                    <a:pt x="21" y="49"/>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2" y="50"/>
                    <a:pt x="22" y="50"/>
                    <a:pt x="22" y="50"/>
                  </a:cubicBezTo>
                  <a:cubicBezTo>
                    <a:pt x="22" y="50"/>
                    <a:pt x="22" y="50"/>
                    <a:pt x="22" y="50"/>
                  </a:cubicBezTo>
                  <a:cubicBezTo>
                    <a:pt x="22" y="50"/>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3"/>
                    <a:pt x="23" y="53"/>
                  </a:cubicBezTo>
                  <a:cubicBezTo>
                    <a:pt x="23" y="53"/>
                    <a:pt x="23" y="53"/>
                    <a:pt x="23" y="53"/>
                  </a:cubicBezTo>
                  <a:cubicBezTo>
                    <a:pt x="23" y="53"/>
                    <a:pt x="23" y="53"/>
                    <a:pt x="23" y="53"/>
                  </a:cubicBezTo>
                  <a:cubicBezTo>
                    <a:pt x="23"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5" y="54"/>
                    <a:pt x="25" y="54"/>
                    <a:pt x="25" y="54"/>
                  </a:cubicBezTo>
                  <a:cubicBezTo>
                    <a:pt x="25" y="54"/>
                    <a:pt x="25" y="54"/>
                    <a:pt x="25" y="54"/>
                  </a:cubicBezTo>
                  <a:cubicBezTo>
                    <a:pt x="25" y="54"/>
                    <a:pt x="25" y="54"/>
                    <a:pt x="25" y="54"/>
                  </a:cubicBezTo>
                  <a:lnTo>
                    <a:pt x="25" y="54"/>
                  </a:lnTo>
                  <a:cubicBezTo>
                    <a:pt x="25" y="54"/>
                    <a:pt x="25" y="54"/>
                    <a:pt x="25" y="54"/>
                  </a:cubicBezTo>
                  <a:cubicBezTo>
                    <a:pt x="25" y="54"/>
                    <a:pt x="25" y="54"/>
                    <a:pt x="25" y="54"/>
                  </a:cubicBezTo>
                  <a:cubicBezTo>
                    <a:pt x="25" y="54"/>
                    <a:pt x="25" y="54"/>
                    <a:pt x="25" y="54"/>
                  </a:cubicBezTo>
                  <a:cubicBezTo>
                    <a:pt x="25" y="54"/>
                    <a:pt x="25" y="54"/>
                    <a:pt x="25" y="54"/>
                  </a:cubicBezTo>
                  <a:cubicBezTo>
                    <a:pt x="25" y="54"/>
                    <a:pt x="25" y="54"/>
                    <a:pt x="25" y="54"/>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6" y="55"/>
                    <a:pt x="26" y="55"/>
                    <a:pt x="26" y="55"/>
                  </a:cubicBezTo>
                  <a:cubicBezTo>
                    <a:pt x="26" y="55"/>
                    <a:pt x="26" y="55"/>
                    <a:pt x="26" y="55"/>
                  </a:cubicBezTo>
                  <a:cubicBezTo>
                    <a:pt x="26" y="55"/>
                    <a:pt x="26" y="55"/>
                    <a:pt x="26" y="55"/>
                  </a:cubicBezTo>
                  <a:cubicBezTo>
                    <a:pt x="26" y="55"/>
                    <a:pt x="26" y="55"/>
                    <a:pt x="26" y="55"/>
                  </a:cubicBezTo>
                  <a:cubicBezTo>
                    <a:pt x="26" y="55"/>
                    <a:pt x="26" y="55"/>
                    <a:pt x="26" y="55"/>
                  </a:cubicBezTo>
                  <a:cubicBezTo>
                    <a:pt x="26" y="55"/>
                    <a:pt x="26" y="55"/>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7" y="56"/>
                    <a:pt x="27" y="56"/>
                  </a:cubicBezTo>
                  <a:cubicBezTo>
                    <a:pt x="27" y="56"/>
                    <a:pt x="27" y="56"/>
                    <a:pt x="27" y="56"/>
                  </a:cubicBezTo>
                  <a:cubicBezTo>
                    <a:pt x="27" y="56"/>
                    <a:pt x="27" y="56"/>
                    <a:pt x="27" y="56"/>
                  </a:cubicBezTo>
                  <a:cubicBezTo>
                    <a:pt x="27" y="56"/>
                    <a:pt x="27" y="56"/>
                    <a:pt x="27" y="56"/>
                  </a:cubicBezTo>
                  <a:cubicBezTo>
                    <a:pt x="27" y="56"/>
                    <a:pt x="27" y="56"/>
                    <a:pt x="27" y="56"/>
                  </a:cubicBezTo>
                  <a:cubicBezTo>
                    <a:pt x="27" y="56"/>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8" y="57"/>
                    <a:pt x="28" y="57"/>
                    <a:pt x="28" y="57"/>
                  </a:cubicBezTo>
                  <a:cubicBezTo>
                    <a:pt x="28" y="57"/>
                    <a:pt x="28" y="57"/>
                    <a:pt x="28" y="57"/>
                  </a:cubicBezTo>
                  <a:cubicBezTo>
                    <a:pt x="28" y="57"/>
                    <a:pt x="28" y="57"/>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9" y="58"/>
                  </a:cubicBezTo>
                  <a:lnTo>
                    <a:pt x="29" y="59"/>
                  </a:lnTo>
                  <a:cubicBezTo>
                    <a:pt x="29" y="59"/>
                    <a:pt x="29" y="59"/>
                    <a:pt x="29" y="59"/>
                  </a:cubicBezTo>
                  <a:cubicBezTo>
                    <a:pt x="29" y="59"/>
                    <a:pt x="29" y="59"/>
                    <a:pt x="29" y="59"/>
                  </a:cubicBezTo>
                  <a:cubicBezTo>
                    <a:pt x="29" y="59"/>
                    <a:pt x="29" y="59"/>
                    <a:pt x="29" y="59"/>
                  </a:cubicBezTo>
                  <a:lnTo>
                    <a:pt x="29" y="59"/>
                  </a:lnTo>
                  <a:cubicBezTo>
                    <a:pt x="29" y="59"/>
                    <a:pt x="29" y="59"/>
                    <a:pt x="29" y="59"/>
                  </a:cubicBezTo>
                  <a:cubicBezTo>
                    <a:pt x="29" y="59"/>
                    <a:pt x="29" y="59"/>
                    <a:pt x="29" y="59"/>
                  </a:cubicBezTo>
                  <a:cubicBezTo>
                    <a:pt x="29" y="59"/>
                    <a:pt x="29" y="59"/>
                    <a:pt x="29" y="59"/>
                  </a:cubicBezTo>
                  <a:cubicBezTo>
                    <a:pt x="29" y="59"/>
                    <a:pt x="29" y="59"/>
                    <a:pt x="29" y="59"/>
                  </a:cubicBezTo>
                  <a:cubicBezTo>
                    <a:pt x="29" y="59"/>
                    <a:pt x="29" y="59"/>
                    <a:pt x="29" y="59"/>
                  </a:cubicBezTo>
                  <a:cubicBezTo>
                    <a:pt x="29" y="59"/>
                    <a:pt x="29" y="60"/>
                    <a:pt x="29" y="60"/>
                  </a:cubicBezTo>
                  <a:cubicBezTo>
                    <a:pt x="30" y="60"/>
                    <a:pt x="30" y="60"/>
                    <a:pt x="30" y="60"/>
                  </a:cubicBezTo>
                  <a:cubicBezTo>
                    <a:pt x="30" y="60"/>
                    <a:pt x="30" y="60"/>
                    <a:pt x="30" y="60"/>
                  </a:cubicBezTo>
                  <a:lnTo>
                    <a:pt x="30" y="60"/>
                  </a:lnTo>
                  <a:cubicBezTo>
                    <a:pt x="30" y="60"/>
                    <a:pt x="30" y="60"/>
                    <a:pt x="30" y="60"/>
                  </a:cubicBezTo>
                  <a:cubicBezTo>
                    <a:pt x="30" y="60"/>
                    <a:pt x="30" y="60"/>
                    <a:pt x="30" y="60"/>
                  </a:cubicBezTo>
                  <a:cubicBezTo>
                    <a:pt x="30" y="60"/>
                    <a:pt x="30" y="60"/>
                    <a:pt x="30" y="61"/>
                  </a:cubicBezTo>
                  <a:cubicBezTo>
                    <a:pt x="30" y="61"/>
                    <a:pt x="30" y="61"/>
                    <a:pt x="30" y="61"/>
                  </a:cubicBezTo>
                  <a:cubicBezTo>
                    <a:pt x="31" y="61"/>
                    <a:pt x="31" y="61"/>
                    <a:pt x="31" y="61"/>
                  </a:cubicBezTo>
                  <a:cubicBezTo>
                    <a:pt x="31" y="62"/>
                    <a:pt x="31" y="62"/>
                    <a:pt x="31" y="62"/>
                  </a:cubicBezTo>
                  <a:cubicBezTo>
                    <a:pt x="40" y="71"/>
                    <a:pt x="49" y="80"/>
                    <a:pt x="58" y="88"/>
                  </a:cubicBezTo>
                  <a:cubicBezTo>
                    <a:pt x="58" y="89"/>
                    <a:pt x="58" y="89"/>
                    <a:pt x="58" y="89"/>
                  </a:cubicBezTo>
                  <a:cubicBezTo>
                    <a:pt x="58" y="89"/>
                    <a:pt x="58" y="89"/>
                    <a:pt x="58" y="89"/>
                  </a:cubicBezTo>
                  <a:lnTo>
                    <a:pt x="58" y="89"/>
                  </a:lnTo>
                  <a:cubicBezTo>
                    <a:pt x="59" y="89"/>
                    <a:pt x="59" y="89"/>
                    <a:pt x="59" y="89"/>
                  </a:cubicBezTo>
                  <a:lnTo>
                    <a:pt x="59" y="89"/>
                  </a:lnTo>
                  <a:cubicBezTo>
                    <a:pt x="59" y="89"/>
                    <a:pt x="59" y="89"/>
                    <a:pt x="59" y="89"/>
                  </a:cubicBezTo>
                  <a:cubicBezTo>
                    <a:pt x="59" y="89"/>
                    <a:pt x="59" y="89"/>
                    <a:pt x="59" y="89"/>
                  </a:cubicBezTo>
                  <a:cubicBezTo>
                    <a:pt x="59" y="89"/>
                    <a:pt x="59" y="89"/>
                    <a:pt x="59" y="89"/>
                  </a:cubicBezTo>
                  <a:lnTo>
                    <a:pt x="59" y="89"/>
                  </a:lnTo>
                  <a:cubicBezTo>
                    <a:pt x="59" y="90"/>
                    <a:pt x="59" y="90"/>
                    <a:pt x="59" y="90"/>
                  </a:cubicBezTo>
                  <a:lnTo>
                    <a:pt x="59" y="90"/>
                  </a:lnTo>
                  <a:cubicBezTo>
                    <a:pt x="59" y="90"/>
                    <a:pt x="59" y="90"/>
                    <a:pt x="59" y="90"/>
                  </a:cubicBezTo>
                  <a:lnTo>
                    <a:pt x="59" y="90"/>
                  </a:lnTo>
                  <a:cubicBezTo>
                    <a:pt x="59" y="90"/>
                    <a:pt x="60" y="90"/>
                    <a:pt x="60" y="90"/>
                  </a:cubicBezTo>
                  <a:lnTo>
                    <a:pt x="60" y="90"/>
                  </a:lnTo>
                  <a:cubicBezTo>
                    <a:pt x="60" y="90"/>
                    <a:pt x="60" y="90"/>
                    <a:pt x="60" y="90"/>
                  </a:cubicBezTo>
                  <a:cubicBezTo>
                    <a:pt x="60" y="90"/>
                    <a:pt x="60" y="90"/>
                    <a:pt x="60" y="90"/>
                  </a:cubicBezTo>
                  <a:cubicBezTo>
                    <a:pt x="60" y="90"/>
                    <a:pt x="60" y="90"/>
                    <a:pt x="60" y="90"/>
                  </a:cubicBezTo>
                  <a:cubicBezTo>
                    <a:pt x="60" y="90"/>
                    <a:pt x="60" y="90"/>
                    <a:pt x="60" y="90"/>
                  </a:cubicBezTo>
                  <a:cubicBezTo>
                    <a:pt x="60" y="90"/>
                    <a:pt x="60" y="90"/>
                    <a:pt x="60" y="90"/>
                  </a:cubicBezTo>
                  <a:cubicBezTo>
                    <a:pt x="60" y="90"/>
                    <a:pt x="60" y="90"/>
                    <a:pt x="60" y="90"/>
                  </a:cubicBezTo>
                  <a:cubicBezTo>
                    <a:pt x="60" y="90"/>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1"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1"/>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2" y="92"/>
                    <a:pt x="62" y="92"/>
                  </a:cubicBezTo>
                  <a:cubicBezTo>
                    <a:pt x="62" y="92"/>
                    <a:pt x="62" y="92"/>
                    <a:pt x="62" y="92"/>
                  </a:cubicBezTo>
                  <a:cubicBezTo>
                    <a:pt x="62" y="92"/>
                    <a:pt x="62" y="92"/>
                    <a:pt x="62" y="92"/>
                  </a:cubicBezTo>
                  <a:cubicBezTo>
                    <a:pt x="62" y="92"/>
                    <a:pt x="62" y="92"/>
                    <a:pt x="62" y="92"/>
                  </a:cubicBezTo>
                  <a:cubicBezTo>
                    <a:pt x="62" y="92"/>
                    <a:pt x="62" y="92"/>
                    <a:pt x="62" y="92"/>
                  </a:cubicBezTo>
                  <a:cubicBezTo>
                    <a:pt x="62" y="92"/>
                    <a:pt x="62" y="92"/>
                    <a:pt x="62" y="92"/>
                  </a:cubicBezTo>
                  <a:cubicBezTo>
                    <a:pt x="62" y="92"/>
                    <a:pt x="62" y="92"/>
                    <a:pt x="62" y="92"/>
                  </a:cubicBezTo>
                  <a:cubicBezTo>
                    <a:pt x="62" y="92"/>
                    <a:pt x="62" y="92"/>
                    <a:pt x="62" y="93"/>
                  </a:cubicBezTo>
                  <a:lnTo>
                    <a:pt x="89" y="63"/>
                  </a:lnTo>
                  <a:cubicBezTo>
                    <a:pt x="68" y="44"/>
                    <a:pt x="49" y="23"/>
                    <a:pt x="33" y="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1">
              <a:extLst>
                <a:ext uri="{FF2B5EF4-FFF2-40B4-BE49-F238E27FC236}">
                  <a16:creationId xmlns:a16="http://schemas.microsoft.com/office/drawing/2014/main" id="{438155EC-9D3F-B758-9F10-6C4922034631}"/>
                </a:ext>
              </a:extLst>
            </p:cNvPr>
            <p:cNvSpPr>
              <a:spLocks/>
            </p:cNvSpPr>
            <p:nvPr/>
          </p:nvSpPr>
          <p:spPr bwMode="auto">
            <a:xfrm>
              <a:off x="773113" y="3838575"/>
              <a:ext cx="68263" cy="42863"/>
            </a:xfrm>
            <a:custGeom>
              <a:avLst/>
              <a:gdLst>
                <a:gd name="T0" fmla="*/ 0 w 95"/>
                <a:gd name="T1" fmla="*/ 38 h 58"/>
                <a:gd name="T2" fmla="*/ 0 w 95"/>
                <a:gd name="T3" fmla="*/ 38 h 58"/>
                <a:gd name="T4" fmla="*/ 91 w 95"/>
                <a:gd name="T5" fmla="*/ 58 h 58"/>
                <a:gd name="T6" fmla="*/ 95 w 95"/>
                <a:gd name="T7" fmla="*/ 18 h 58"/>
                <a:gd name="T8" fmla="*/ 13 w 95"/>
                <a:gd name="T9" fmla="*/ 0 h 58"/>
                <a:gd name="T10" fmla="*/ 0 w 95"/>
                <a:gd name="T11" fmla="*/ 38 h 58"/>
              </a:gdLst>
              <a:ahLst/>
              <a:cxnLst>
                <a:cxn ang="0">
                  <a:pos x="T0" y="T1"/>
                </a:cxn>
                <a:cxn ang="0">
                  <a:pos x="T2" y="T3"/>
                </a:cxn>
                <a:cxn ang="0">
                  <a:pos x="T4" y="T5"/>
                </a:cxn>
                <a:cxn ang="0">
                  <a:pos x="T6" y="T7"/>
                </a:cxn>
                <a:cxn ang="0">
                  <a:pos x="T8" y="T9"/>
                </a:cxn>
                <a:cxn ang="0">
                  <a:pos x="T10" y="T11"/>
                </a:cxn>
              </a:cxnLst>
              <a:rect l="0" t="0" r="r" b="b"/>
              <a:pathLst>
                <a:path w="95" h="58">
                  <a:moveTo>
                    <a:pt x="0" y="38"/>
                  </a:moveTo>
                  <a:lnTo>
                    <a:pt x="0" y="38"/>
                  </a:lnTo>
                  <a:cubicBezTo>
                    <a:pt x="29" y="48"/>
                    <a:pt x="59" y="55"/>
                    <a:pt x="91" y="58"/>
                  </a:cubicBezTo>
                  <a:lnTo>
                    <a:pt x="95" y="18"/>
                  </a:lnTo>
                  <a:cubicBezTo>
                    <a:pt x="67" y="15"/>
                    <a:pt x="39" y="9"/>
                    <a:pt x="13" y="0"/>
                  </a:cubicBezTo>
                  <a:lnTo>
                    <a:pt x="0" y="3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
              <a:extLst>
                <a:ext uri="{FF2B5EF4-FFF2-40B4-BE49-F238E27FC236}">
                  <a16:creationId xmlns:a16="http://schemas.microsoft.com/office/drawing/2014/main" id="{54FF32E5-07AB-6AC4-D00D-7163B2F6E81E}"/>
                </a:ext>
              </a:extLst>
            </p:cNvPr>
            <p:cNvSpPr>
              <a:spLocks noEditPoints="1"/>
            </p:cNvSpPr>
            <p:nvPr/>
          </p:nvSpPr>
          <p:spPr bwMode="auto">
            <a:xfrm>
              <a:off x="642938" y="3343275"/>
              <a:ext cx="458788" cy="461963"/>
            </a:xfrm>
            <a:custGeom>
              <a:avLst/>
              <a:gdLst>
                <a:gd name="T0" fmla="*/ 457 w 637"/>
                <a:gd name="T1" fmla="*/ 412 h 641"/>
                <a:gd name="T2" fmla="*/ 457 w 637"/>
                <a:gd name="T3" fmla="*/ 412 h 641"/>
                <a:gd name="T4" fmla="*/ 429 w 637"/>
                <a:gd name="T5" fmla="*/ 471 h 641"/>
                <a:gd name="T6" fmla="*/ 356 w 637"/>
                <a:gd name="T7" fmla="*/ 495 h 641"/>
                <a:gd name="T8" fmla="*/ 356 w 637"/>
                <a:gd name="T9" fmla="*/ 538 h 641"/>
                <a:gd name="T10" fmla="*/ 293 w 637"/>
                <a:gd name="T11" fmla="*/ 538 h 641"/>
                <a:gd name="T12" fmla="*/ 293 w 637"/>
                <a:gd name="T13" fmla="*/ 495 h 641"/>
                <a:gd name="T14" fmla="*/ 217 w 637"/>
                <a:gd name="T15" fmla="*/ 466 h 641"/>
                <a:gd name="T16" fmla="*/ 189 w 637"/>
                <a:gd name="T17" fmla="*/ 388 h 641"/>
                <a:gd name="T18" fmla="*/ 251 w 637"/>
                <a:gd name="T19" fmla="*/ 388 h 641"/>
                <a:gd name="T20" fmla="*/ 263 w 637"/>
                <a:gd name="T21" fmla="*/ 425 h 641"/>
                <a:gd name="T22" fmla="*/ 297 w 637"/>
                <a:gd name="T23" fmla="*/ 439 h 641"/>
                <a:gd name="T24" fmla="*/ 348 w 637"/>
                <a:gd name="T25" fmla="*/ 439 h 641"/>
                <a:gd name="T26" fmla="*/ 381 w 637"/>
                <a:gd name="T27" fmla="*/ 430 h 641"/>
                <a:gd name="T28" fmla="*/ 393 w 637"/>
                <a:gd name="T29" fmla="*/ 408 h 641"/>
                <a:gd name="T30" fmla="*/ 393 w 637"/>
                <a:gd name="T31" fmla="*/ 392 h 641"/>
                <a:gd name="T32" fmla="*/ 360 w 637"/>
                <a:gd name="T33" fmla="*/ 364 h 641"/>
                <a:gd name="T34" fmla="*/ 276 w 637"/>
                <a:gd name="T35" fmla="*/ 350 h 641"/>
                <a:gd name="T36" fmla="*/ 213 w 637"/>
                <a:gd name="T37" fmla="*/ 324 h 641"/>
                <a:gd name="T38" fmla="*/ 192 w 637"/>
                <a:gd name="T39" fmla="*/ 274 h 641"/>
                <a:gd name="T40" fmla="*/ 192 w 637"/>
                <a:gd name="T41" fmla="*/ 248 h 641"/>
                <a:gd name="T42" fmla="*/ 205 w 637"/>
                <a:gd name="T43" fmla="*/ 206 h 641"/>
                <a:gd name="T44" fmla="*/ 240 w 637"/>
                <a:gd name="T45" fmla="*/ 178 h 641"/>
                <a:gd name="T46" fmla="*/ 293 w 637"/>
                <a:gd name="T47" fmla="*/ 167 h 641"/>
                <a:gd name="T48" fmla="*/ 293 w 637"/>
                <a:gd name="T49" fmla="*/ 123 h 641"/>
                <a:gd name="T50" fmla="*/ 356 w 637"/>
                <a:gd name="T51" fmla="*/ 123 h 641"/>
                <a:gd name="T52" fmla="*/ 356 w 637"/>
                <a:gd name="T53" fmla="*/ 167 h 641"/>
                <a:gd name="T54" fmla="*/ 425 w 637"/>
                <a:gd name="T55" fmla="*/ 195 h 641"/>
                <a:gd name="T56" fmla="*/ 451 w 637"/>
                <a:gd name="T57" fmla="*/ 265 h 641"/>
                <a:gd name="T58" fmla="*/ 388 w 637"/>
                <a:gd name="T59" fmla="*/ 265 h 641"/>
                <a:gd name="T60" fmla="*/ 378 w 637"/>
                <a:gd name="T61" fmla="*/ 234 h 641"/>
                <a:gd name="T62" fmla="*/ 350 w 637"/>
                <a:gd name="T63" fmla="*/ 223 h 641"/>
                <a:gd name="T64" fmla="*/ 298 w 637"/>
                <a:gd name="T65" fmla="*/ 223 h 641"/>
                <a:gd name="T66" fmla="*/ 267 w 637"/>
                <a:gd name="T67" fmla="*/ 231 h 641"/>
                <a:gd name="T68" fmla="*/ 255 w 637"/>
                <a:gd name="T69" fmla="*/ 253 h 641"/>
                <a:gd name="T70" fmla="*/ 255 w 637"/>
                <a:gd name="T71" fmla="*/ 265 h 641"/>
                <a:gd name="T72" fmla="*/ 287 w 637"/>
                <a:gd name="T73" fmla="*/ 294 h 641"/>
                <a:gd name="T74" fmla="*/ 371 w 637"/>
                <a:gd name="T75" fmla="*/ 308 h 641"/>
                <a:gd name="T76" fmla="*/ 435 w 637"/>
                <a:gd name="T77" fmla="*/ 334 h 641"/>
                <a:gd name="T78" fmla="*/ 457 w 637"/>
                <a:gd name="T79" fmla="*/ 382 h 641"/>
                <a:gd name="T80" fmla="*/ 457 w 637"/>
                <a:gd name="T81" fmla="*/ 412 h 641"/>
                <a:gd name="T82" fmla="*/ 457 w 637"/>
                <a:gd name="T83" fmla="*/ 412 h 641"/>
                <a:gd name="T84" fmla="*/ 519 w 637"/>
                <a:gd name="T85" fmla="*/ 252 h 641"/>
                <a:gd name="T86" fmla="*/ 519 w 637"/>
                <a:gd name="T87" fmla="*/ 252 h 641"/>
                <a:gd name="T88" fmla="*/ 519 w 637"/>
                <a:gd name="T89" fmla="*/ 69 h 641"/>
                <a:gd name="T90" fmla="*/ 321 w 637"/>
                <a:gd name="T91" fmla="*/ 0 h 641"/>
                <a:gd name="T92" fmla="*/ 0 w 637"/>
                <a:gd name="T93" fmla="*/ 321 h 641"/>
                <a:gd name="T94" fmla="*/ 321 w 637"/>
                <a:gd name="T95" fmla="*/ 641 h 641"/>
                <a:gd name="T96" fmla="*/ 637 w 637"/>
                <a:gd name="T97" fmla="*/ 371 h 641"/>
                <a:gd name="T98" fmla="*/ 519 w 637"/>
                <a:gd name="T99" fmla="*/ 252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7" h="641">
                  <a:moveTo>
                    <a:pt x="457" y="412"/>
                  </a:moveTo>
                  <a:lnTo>
                    <a:pt x="457" y="412"/>
                  </a:lnTo>
                  <a:cubicBezTo>
                    <a:pt x="457" y="436"/>
                    <a:pt x="447" y="456"/>
                    <a:pt x="429" y="471"/>
                  </a:cubicBezTo>
                  <a:cubicBezTo>
                    <a:pt x="411" y="485"/>
                    <a:pt x="386" y="494"/>
                    <a:pt x="356" y="495"/>
                  </a:cubicBezTo>
                  <a:lnTo>
                    <a:pt x="356" y="538"/>
                  </a:lnTo>
                  <a:lnTo>
                    <a:pt x="293" y="538"/>
                  </a:lnTo>
                  <a:lnTo>
                    <a:pt x="293" y="495"/>
                  </a:lnTo>
                  <a:cubicBezTo>
                    <a:pt x="261" y="494"/>
                    <a:pt x="235" y="485"/>
                    <a:pt x="217" y="466"/>
                  </a:cubicBezTo>
                  <a:cubicBezTo>
                    <a:pt x="198" y="447"/>
                    <a:pt x="189" y="421"/>
                    <a:pt x="189" y="388"/>
                  </a:cubicBezTo>
                  <a:lnTo>
                    <a:pt x="251" y="388"/>
                  </a:lnTo>
                  <a:cubicBezTo>
                    <a:pt x="251" y="404"/>
                    <a:pt x="255" y="416"/>
                    <a:pt x="263" y="425"/>
                  </a:cubicBezTo>
                  <a:cubicBezTo>
                    <a:pt x="271" y="434"/>
                    <a:pt x="283" y="439"/>
                    <a:pt x="297" y="439"/>
                  </a:cubicBezTo>
                  <a:lnTo>
                    <a:pt x="348" y="439"/>
                  </a:lnTo>
                  <a:cubicBezTo>
                    <a:pt x="361" y="439"/>
                    <a:pt x="372" y="436"/>
                    <a:pt x="381" y="430"/>
                  </a:cubicBezTo>
                  <a:cubicBezTo>
                    <a:pt x="389" y="425"/>
                    <a:pt x="393" y="417"/>
                    <a:pt x="393" y="408"/>
                  </a:cubicBezTo>
                  <a:lnTo>
                    <a:pt x="393" y="392"/>
                  </a:lnTo>
                  <a:cubicBezTo>
                    <a:pt x="393" y="377"/>
                    <a:pt x="382" y="368"/>
                    <a:pt x="360" y="364"/>
                  </a:cubicBezTo>
                  <a:lnTo>
                    <a:pt x="276" y="350"/>
                  </a:lnTo>
                  <a:cubicBezTo>
                    <a:pt x="248" y="345"/>
                    <a:pt x="228" y="337"/>
                    <a:pt x="213" y="324"/>
                  </a:cubicBezTo>
                  <a:cubicBezTo>
                    <a:pt x="199" y="311"/>
                    <a:pt x="192" y="294"/>
                    <a:pt x="192" y="274"/>
                  </a:cubicBezTo>
                  <a:lnTo>
                    <a:pt x="192" y="248"/>
                  </a:lnTo>
                  <a:cubicBezTo>
                    <a:pt x="192" y="233"/>
                    <a:pt x="196" y="219"/>
                    <a:pt x="205" y="206"/>
                  </a:cubicBezTo>
                  <a:cubicBezTo>
                    <a:pt x="213" y="194"/>
                    <a:pt x="225" y="185"/>
                    <a:pt x="240" y="178"/>
                  </a:cubicBezTo>
                  <a:cubicBezTo>
                    <a:pt x="255" y="171"/>
                    <a:pt x="273" y="167"/>
                    <a:pt x="293" y="167"/>
                  </a:cubicBezTo>
                  <a:lnTo>
                    <a:pt x="293" y="123"/>
                  </a:lnTo>
                  <a:lnTo>
                    <a:pt x="356" y="123"/>
                  </a:lnTo>
                  <a:lnTo>
                    <a:pt x="356" y="167"/>
                  </a:lnTo>
                  <a:cubicBezTo>
                    <a:pt x="384" y="168"/>
                    <a:pt x="407" y="178"/>
                    <a:pt x="425" y="195"/>
                  </a:cubicBezTo>
                  <a:cubicBezTo>
                    <a:pt x="442" y="213"/>
                    <a:pt x="451" y="236"/>
                    <a:pt x="451" y="265"/>
                  </a:cubicBezTo>
                  <a:lnTo>
                    <a:pt x="388" y="265"/>
                  </a:lnTo>
                  <a:cubicBezTo>
                    <a:pt x="388" y="252"/>
                    <a:pt x="385" y="242"/>
                    <a:pt x="378" y="234"/>
                  </a:cubicBezTo>
                  <a:cubicBezTo>
                    <a:pt x="371" y="226"/>
                    <a:pt x="361" y="223"/>
                    <a:pt x="350" y="223"/>
                  </a:cubicBezTo>
                  <a:lnTo>
                    <a:pt x="298" y="223"/>
                  </a:lnTo>
                  <a:cubicBezTo>
                    <a:pt x="285" y="223"/>
                    <a:pt x="275" y="225"/>
                    <a:pt x="267" y="231"/>
                  </a:cubicBezTo>
                  <a:cubicBezTo>
                    <a:pt x="259" y="236"/>
                    <a:pt x="255" y="244"/>
                    <a:pt x="255" y="253"/>
                  </a:cubicBezTo>
                  <a:lnTo>
                    <a:pt x="255" y="265"/>
                  </a:lnTo>
                  <a:cubicBezTo>
                    <a:pt x="255" y="280"/>
                    <a:pt x="266" y="290"/>
                    <a:pt x="287" y="294"/>
                  </a:cubicBezTo>
                  <a:lnTo>
                    <a:pt x="371" y="308"/>
                  </a:lnTo>
                  <a:cubicBezTo>
                    <a:pt x="399" y="313"/>
                    <a:pt x="420" y="322"/>
                    <a:pt x="435" y="334"/>
                  </a:cubicBezTo>
                  <a:cubicBezTo>
                    <a:pt x="449" y="347"/>
                    <a:pt x="457" y="362"/>
                    <a:pt x="457" y="382"/>
                  </a:cubicBezTo>
                  <a:lnTo>
                    <a:pt x="457" y="412"/>
                  </a:lnTo>
                  <a:lnTo>
                    <a:pt x="457" y="412"/>
                  </a:lnTo>
                  <a:close/>
                  <a:moveTo>
                    <a:pt x="519" y="252"/>
                  </a:moveTo>
                  <a:lnTo>
                    <a:pt x="519" y="252"/>
                  </a:lnTo>
                  <a:lnTo>
                    <a:pt x="519" y="69"/>
                  </a:lnTo>
                  <a:cubicBezTo>
                    <a:pt x="465" y="26"/>
                    <a:pt x="396" y="0"/>
                    <a:pt x="321" y="0"/>
                  </a:cubicBezTo>
                  <a:cubicBezTo>
                    <a:pt x="144" y="0"/>
                    <a:pt x="0" y="144"/>
                    <a:pt x="0" y="321"/>
                  </a:cubicBezTo>
                  <a:cubicBezTo>
                    <a:pt x="0" y="498"/>
                    <a:pt x="144" y="641"/>
                    <a:pt x="321" y="641"/>
                  </a:cubicBezTo>
                  <a:cubicBezTo>
                    <a:pt x="481" y="641"/>
                    <a:pt x="614" y="524"/>
                    <a:pt x="637" y="371"/>
                  </a:cubicBezTo>
                  <a:lnTo>
                    <a:pt x="519" y="252"/>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
              <a:extLst>
                <a:ext uri="{FF2B5EF4-FFF2-40B4-BE49-F238E27FC236}">
                  <a16:creationId xmlns:a16="http://schemas.microsoft.com/office/drawing/2014/main" id="{7EC6CA2B-1A67-BF98-914D-7A8AD130E4F5}"/>
                </a:ext>
              </a:extLst>
            </p:cNvPr>
            <p:cNvSpPr>
              <a:spLocks noEditPoints="1"/>
            </p:cNvSpPr>
            <p:nvPr/>
          </p:nvSpPr>
          <p:spPr bwMode="auto">
            <a:xfrm>
              <a:off x="1044575" y="3295650"/>
              <a:ext cx="307975" cy="307975"/>
            </a:xfrm>
            <a:custGeom>
              <a:avLst/>
              <a:gdLst>
                <a:gd name="T0" fmla="*/ 225 w 427"/>
                <a:gd name="T1" fmla="*/ 241 h 427"/>
                <a:gd name="T2" fmla="*/ 225 w 427"/>
                <a:gd name="T3" fmla="*/ 241 h 427"/>
                <a:gd name="T4" fmla="*/ 188 w 427"/>
                <a:gd name="T5" fmla="*/ 241 h 427"/>
                <a:gd name="T6" fmla="*/ 180 w 427"/>
                <a:gd name="T7" fmla="*/ 93 h 427"/>
                <a:gd name="T8" fmla="*/ 232 w 427"/>
                <a:gd name="T9" fmla="*/ 93 h 427"/>
                <a:gd name="T10" fmla="*/ 225 w 427"/>
                <a:gd name="T11" fmla="*/ 241 h 427"/>
                <a:gd name="T12" fmla="*/ 225 w 427"/>
                <a:gd name="T13" fmla="*/ 241 h 427"/>
                <a:gd name="T14" fmla="*/ 225 w 427"/>
                <a:gd name="T15" fmla="*/ 312 h 427"/>
                <a:gd name="T16" fmla="*/ 225 w 427"/>
                <a:gd name="T17" fmla="*/ 312 h 427"/>
                <a:gd name="T18" fmla="*/ 206 w 427"/>
                <a:gd name="T19" fmla="*/ 319 h 427"/>
                <a:gd name="T20" fmla="*/ 186 w 427"/>
                <a:gd name="T21" fmla="*/ 312 h 427"/>
                <a:gd name="T22" fmla="*/ 179 w 427"/>
                <a:gd name="T23" fmla="*/ 293 h 427"/>
                <a:gd name="T24" fmla="*/ 186 w 427"/>
                <a:gd name="T25" fmla="*/ 274 h 427"/>
                <a:gd name="T26" fmla="*/ 206 w 427"/>
                <a:gd name="T27" fmla="*/ 267 h 427"/>
                <a:gd name="T28" fmla="*/ 225 w 427"/>
                <a:gd name="T29" fmla="*/ 274 h 427"/>
                <a:gd name="T30" fmla="*/ 232 w 427"/>
                <a:gd name="T31" fmla="*/ 293 h 427"/>
                <a:gd name="T32" fmla="*/ 225 w 427"/>
                <a:gd name="T33" fmla="*/ 312 h 427"/>
                <a:gd name="T34" fmla="*/ 225 w 427"/>
                <a:gd name="T35" fmla="*/ 312 h 427"/>
                <a:gd name="T36" fmla="*/ 302 w 427"/>
                <a:gd name="T37" fmla="*/ 0 h 427"/>
                <a:gd name="T38" fmla="*/ 302 w 427"/>
                <a:gd name="T39" fmla="*/ 0 h 427"/>
                <a:gd name="T40" fmla="*/ 125 w 427"/>
                <a:gd name="T41" fmla="*/ 0 h 427"/>
                <a:gd name="T42" fmla="*/ 0 w 427"/>
                <a:gd name="T43" fmla="*/ 125 h 427"/>
                <a:gd name="T44" fmla="*/ 0 w 427"/>
                <a:gd name="T45" fmla="*/ 302 h 427"/>
                <a:gd name="T46" fmla="*/ 125 w 427"/>
                <a:gd name="T47" fmla="*/ 427 h 427"/>
                <a:gd name="T48" fmla="*/ 302 w 427"/>
                <a:gd name="T49" fmla="*/ 427 h 427"/>
                <a:gd name="T50" fmla="*/ 427 w 427"/>
                <a:gd name="T51" fmla="*/ 302 h 427"/>
                <a:gd name="T52" fmla="*/ 427 w 427"/>
                <a:gd name="T53" fmla="*/ 125 h 427"/>
                <a:gd name="T54" fmla="*/ 302 w 427"/>
                <a:gd name="T5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7" h="427">
                  <a:moveTo>
                    <a:pt x="225" y="241"/>
                  </a:moveTo>
                  <a:lnTo>
                    <a:pt x="225" y="241"/>
                  </a:lnTo>
                  <a:lnTo>
                    <a:pt x="188" y="241"/>
                  </a:lnTo>
                  <a:lnTo>
                    <a:pt x="180" y="93"/>
                  </a:lnTo>
                  <a:lnTo>
                    <a:pt x="232" y="93"/>
                  </a:lnTo>
                  <a:lnTo>
                    <a:pt x="225" y="241"/>
                  </a:lnTo>
                  <a:lnTo>
                    <a:pt x="225" y="241"/>
                  </a:lnTo>
                  <a:close/>
                  <a:moveTo>
                    <a:pt x="225" y="312"/>
                  </a:moveTo>
                  <a:lnTo>
                    <a:pt x="225" y="312"/>
                  </a:lnTo>
                  <a:cubicBezTo>
                    <a:pt x="221" y="316"/>
                    <a:pt x="214" y="319"/>
                    <a:pt x="206" y="319"/>
                  </a:cubicBezTo>
                  <a:cubicBezTo>
                    <a:pt x="197" y="319"/>
                    <a:pt x="191" y="316"/>
                    <a:pt x="186" y="312"/>
                  </a:cubicBezTo>
                  <a:cubicBezTo>
                    <a:pt x="182" y="307"/>
                    <a:pt x="179" y="301"/>
                    <a:pt x="179" y="293"/>
                  </a:cubicBezTo>
                  <a:cubicBezTo>
                    <a:pt x="179" y="284"/>
                    <a:pt x="181" y="278"/>
                    <a:pt x="186" y="274"/>
                  </a:cubicBezTo>
                  <a:cubicBezTo>
                    <a:pt x="191" y="269"/>
                    <a:pt x="197" y="267"/>
                    <a:pt x="206" y="267"/>
                  </a:cubicBezTo>
                  <a:cubicBezTo>
                    <a:pt x="214" y="267"/>
                    <a:pt x="221" y="269"/>
                    <a:pt x="225" y="274"/>
                  </a:cubicBezTo>
                  <a:cubicBezTo>
                    <a:pt x="230" y="278"/>
                    <a:pt x="232" y="285"/>
                    <a:pt x="232" y="293"/>
                  </a:cubicBezTo>
                  <a:cubicBezTo>
                    <a:pt x="232" y="301"/>
                    <a:pt x="230" y="307"/>
                    <a:pt x="225" y="312"/>
                  </a:cubicBezTo>
                  <a:lnTo>
                    <a:pt x="225" y="312"/>
                  </a:lnTo>
                  <a:close/>
                  <a:moveTo>
                    <a:pt x="302" y="0"/>
                  </a:moveTo>
                  <a:lnTo>
                    <a:pt x="302" y="0"/>
                  </a:lnTo>
                  <a:lnTo>
                    <a:pt x="125" y="0"/>
                  </a:lnTo>
                  <a:lnTo>
                    <a:pt x="0" y="125"/>
                  </a:lnTo>
                  <a:lnTo>
                    <a:pt x="0" y="302"/>
                  </a:lnTo>
                  <a:lnTo>
                    <a:pt x="125" y="427"/>
                  </a:lnTo>
                  <a:lnTo>
                    <a:pt x="302" y="427"/>
                  </a:lnTo>
                  <a:lnTo>
                    <a:pt x="427" y="302"/>
                  </a:lnTo>
                  <a:lnTo>
                    <a:pt x="427" y="125"/>
                  </a:lnTo>
                  <a:lnTo>
                    <a:pt x="3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7" name="Group 106">
            <a:extLst>
              <a:ext uri="{FF2B5EF4-FFF2-40B4-BE49-F238E27FC236}">
                <a16:creationId xmlns:a16="http://schemas.microsoft.com/office/drawing/2014/main" id="{529A2431-B51A-C40D-7086-64B8B82986C0}"/>
              </a:ext>
            </a:extLst>
          </p:cNvPr>
          <p:cNvGrpSpPr/>
          <p:nvPr/>
        </p:nvGrpSpPr>
        <p:grpSpPr>
          <a:xfrm>
            <a:off x="1670044" y="3204383"/>
            <a:ext cx="612775" cy="612775"/>
            <a:chOff x="2301876" y="3267075"/>
            <a:chExt cx="612775" cy="612775"/>
          </a:xfrm>
        </p:grpSpPr>
        <p:sp>
          <p:nvSpPr>
            <p:cNvPr id="72" name="Freeform 27">
              <a:extLst>
                <a:ext uri="{FF2B5EF4-FFF2-40B4-BE49-F238E27FC236}">
                  <a16:creationId xmlns:a16="http://schemas.microsoft.com/office/drawing/2014/main" id="{E65F875F-63A8-B376-1ED5-CF9064C8CA3F}"/>
                </a:ext>
              </a:extLst>
            </p:cNvPr>
            <p:cNvSpPr>
              <a:spLocks noEditPoints="1"/>
            </p:cNvSpPr>
            <p:nvPr/>
          </p:nvSpPr>
          <p:spPr bwMode="auto">
            <a:xfrm>
              <a:off x="2379663" y="3343275"/>
              <a:ext cx="460375" cy="460375"/>
            </a:xfrm>
            <a:custGeom>
              <a:avLst/>
              <a:gdLst>
                <a:gd name="T0" fmla="*/ 454 w 637"/>
                <a:gd name="T1" fmla="*/ 409 h 637"/>
                <a:gd name="T2" fmla="*/ 454 w 637"/>
                <a:gd name="T3" fmla="*/ 409 h 637"/>
                <a:gd name="T4" fmla="*/ 426 w 637"/>
                <a:gd name="T5" fmla="*/ 467 h 637"/>
                <a:gd name="T6" fmla="*/ 353 w 637"/>
                <a:gd name="T7" fmla="*/ 491 h 637"/>
                <a:gd name="T8" fmla="*/ 353 w 637"/>
                <a:gd name="T9" fmla="*/ 534 h 637"/>
                <a:gd name="T10" fmla="*/ 291 w 637"/>
                <a:gd name="T11" fmla="*/ 534 h 637"/>
                <a:gd name="T12" fmla="*/ 291 w 637"/>
                <a:gd name="T13" fmla="*/ 491 h 637"/>
                <a:gd name="T14" fmla="*/ 215 w 637"/>
                <a:gd name="T15" fmla="*/ 463 h 637"/>
                <a:gd name="T16" fmla="*/ 188 w 637"/>
                <a:gd name="T17" fmla="*/ 385 h 637"/>
                <a:gd name="T18" fmla="*/ 250 w 637"/>
                <a:gd name="T19" fmla="*/ 385 h 637"/>
                <a:gd name="T20" fmla="*/ 262 w 637"/>
                <a:gd name="T21" fmla="*/ 422 h 637"/>
                <a:gd name="T22" fmla="*/ 295 w 637"/>
                <a:gd name="T23" fmla="*/ 436 h 637"/>
                <a:gd name="T24" fmla="*/ 346 w 637"/>
                <a:gd name="T25" fmla="*/ 436 h 637"/>
                <a:gd name="T26" fmla="*/ 378 w 637"/>
                <a:gd name="T27" fmla="*/ 427 h 637"/>
                <a:gd name="T28" fmla="*/ 391 w 637"/>
                <a:gd name="T29" fmla="*/ 405 h 637"/>
                <a:gd name="T30" fmla="*/ 391 w 637"/>
                <a:gd name="T31" fmla="*/ 389 h 637"/>
                <a:gd name="T32" fmla="*/ 358 w 637"/>
                <a:gd name="T33" fmla="*/ 362 h 637"/>
                <a:gd name="T34" fmla="*/ 274 w 637"/>
                <a:gd name="T35" fmla="*/ 347 h 637"/>
                <a:gd name="T36" fmla="*/ 212 w 637"/>
                <a:gd name="T37" fmla="*/ 321 h 637"/>
                <a:gd name="T38" fmla="*/ 191 w 637"/>
                <a:gd name="T39" fmla="*/ 272 h 637"/>
                <a:gd name="T40" fmla="*/ 191 w 637"/>
                <a:gd name="T41" fmla="*/ 246 h 637"/>
                <a:gd name="T42" fmla="*/ 203 w 637"/>
                <a:gd name="T43" fmla="*/ 205 h 637"/>
                <a:gd name="T44" fmla="*/ 239 w 637"/>
                <a:gd name="T45" fmla="*/ 176 h 637"/>
                <a:gd name="T46" fmla="*/ 291 w 637"/>
                <a:gd name="T47" fmla="*/ 165 h 637"/>
                <a:gd name="T48" fmla="*/ 291 w 637"/>
                <a:gd name="T49" fmla="*/ 122 h 637"/>
                <a:gd name="T50" fmla="*/ 353 w 637"/>
                <a:gd name="T51" fmla="*/ 122 h 637"/>
                <a:gd name="T52" fmla="*/ 353 w 637"/>
                <a:gd name="T53" fmla="*/ 165 h 637"/>
                <a:gd name="T54" fmla="*/ 422 w 637"/>
                <a:gd name="T55" fmla="*/ 194 h 637"/>
                <a:gd name="T56" fmla="*/ 448 w 637"/>
                <a:gd name="T57" fmla="*/ 263 h 637"/>
                <a:gd name="T58" fmla="*/ 386 w 637"/>
                <a:gd name="T59" fmla="*/ 263 h 637"/>
                <a:gd name="T60" fmla="*/ 375 w 637"/>
                <a:gd name="T61" fmla="*/ 232 h 637"/>
                <a:gd name="T62" fmla="*/ 348 w 637"/>
                <a:gd name="T63" fmla="*/ 221 h 637"/>
                <a:gd name="T64" fmla="*/ 296 w 637"/>
                <a:gd name="T65" fmla="*/ 221 h 637"/>
                <a:gd name="T66" fmla="*/ 265 w 637"/>
                <a:gd name="T67" fmla="*/ 229 h 637"/>
                <a:gd name="T68" fmla="*/ 254 w 637"/>
                <a:gd name="T69" fmla="*/ 251 h 637"/>
                <a:gd name="T70" fmla="*/ 254 w 637"/>
                <a:gd name="T71" fmla="*/ 263 h 637"/>
                <a:gd name="T72" fmla="*/ 285 w 637"/>
                <a:gd name="T73" fmla="*/ 291 h 637"/>
                <a:gd name="T74" fmla="*/ 369 w 637"/>
                <a:gd name="T75" fmla="*/ 306 h 637"/>
                <a:gd name="T76" fmla="*/ 432 w 637"/>
                <a:gd name="T77" fmla="*/ 332 h 637"/>
                <a:gd name="T78" fmla="*/ 454 w 637"/>
                <a:gd name="T79" fmla="*/ 379 h 637"/>
                <a:gd name="T80" fmla="*/ 454 w 637"/>
                <a:gd name="T81" fmla="*/ 409 h 637"/>
                <a:gd name="T82" fmla="*/ 454 w 637"/>
                <a:gd name="T83" fmla="*/ 409 h 637"/>
                <a:gd name="T84" fmla="*/ 319 w 637"/>
                <a:gd name="T85" fmla="*/ 0 h 637"/>
                <a:gd name="T86" fmla="*/ 319 w 637"/>
                <a:gd name="T87" fmla="*/ 0 h 637"/>
                <a:gd name="T88" fmla="*/ 0 w 637"/>
                <a:gd name="T89" fmla="*/ 318 h 637"/>
                <a:gd name="T90" fmla="*/ 319 w 637"/>
                <a:gd name="T91" fmla="*/ 637 h 637"/>
                <a:gd name="T92" fmla="*/ 637 w 637"/>
                <a:gd name="T93" fmla="*/ 318 h 637"/>
                <a:gd name="T94" fmla="*/ 319 w 637"/>
                <a:gd name="T95" fmla="*/ 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7" h="637">
                  <a:moveTo>
                    <a:pt x="454" y="409"/>
                  </a:moveTo>
                  <a:lnTo>
                    <a:pt x="454" y="409"/>
                  </a:lnTo>
                  <a:cubicBezTo>
                    <a:pt x="454" y="433"/>
                    <a:pt x="445" y="452"/>
                    <a:pt x="426" y="467"/>
                  </a:cubicBezTo>
                  <a:cubicBezTo>
                    <a:pt x="408" y="482"/>
                    <a:pt x="384" y="490"/>
                    <a:pt x="353" y="491"/>
                  </a:cubicBezTo>
                  <a:lnTo>
                    <a:pt x="353" y="534"/>
                  </a:lnTo>
                  <a:lnTo>
                    <a:pt x="291" y="534"/>
                  </a:lnTo>
                  <a:lnTo>
                    <a:pt x="291" y="491"/>
                  </a:lnTo>
                  <a:cubicBezTo>
                    <a:pt x="259" y="491"/>
                    <a:pt x="233" y="482"/>
                    <a:pt x="215" y="463"/>
                  </a:cubicBezTo>
                  <a:cubicBezTo>
                    <a:pt x="197" y="444"/>
                    <a:pt x="188" y="418"/>
                    <a:pt x="188" y="385"/>
                  </a:cubicBezTo>
                  <a:lnTo>
                    <a:pt x="250" y="385"/>
                  </a:lnTo>
                  <a:cubicBezTo>
                    <a:pt x="250" y="401"/>
                    <a:pt x="254" y="413"/>
                    <a:pt x="262" y="422"/>
                  </a:cubicBezTo>
                  <a:cubicBezTo>
                    <a:pt x="270" y="431"/>
                    <a:pt x="281" y="436"/>
                    <a:pt x="295" y="436"/>
                  </a:cubicBezTo>
                  <a:lnTo>
                    <a:pt x="346" y="436"/>
                  </a:lnTo>
                  <a:cubicBezTo>
                    <a:pt x="359" y="436"/>
                    <a:pt x="370" y="433"/>
                    <a:pt x="378" y="427"/>
                  </a:cubicBezTo>
                  <a:cubicBezTo>
                    <a:pt x="387" y="422"/>
                    <a:pt x="391" y="414"/>
                    <a:pt x="391" y="405"/>
                  </a:cubicBezTo>
                  <a:lnTo>
                    <a:pt x="391" y="389"/>
                  </a:lnTo>
                  <a:cubicBezTo>
                    <a:pt x="391" y="374"/>
                    <a:pt x="380" y="365"/>
                    <a:pt x="358" y="362"/>
                  </a:cubicBezTo>
                  <a:lnTo>
                    <a:pt x="274" y="347"/>
                  </a:lnTo>
                  <a:cubicBezTo>
                    <a:pt x="247" y="343"/>
                    <a:pt x="226" y="334"/>
                    <a:pt x="212" y="321"/>
                  </a:cubicBezTo>
                  <a:cubicBezTo>
                    <a:pt x="198" y="308"/>
                    <a:pt x="191" y="292"/>
                    <a:pt x="191" y="272"/>
                  </a:cubicBezTo>
                  <a:lnTo>
                    <a:pt x="191" y="246"/>
                  </a:lnTo>
                  <a:cubicBezTo>
                    <a:pt x="191" y="231"/>
                    <a:pt x="195" y="217"/>
                    <a:pt x="203" y="205"/>
                  </a:cubicBezTo>
                  <a:cubicBezTo>
                    <a:pt x="212" y="193"/>
                    <a:pt x="223" y="183"/>
                    <a:pt x="239" y="176"/>
                  </a:cubicBezTo>
                  <a:cubicBezTo>
                    <a:pt x="254" y="169"/>
                    <a:pt x="271" y="165"/>
                    <a:pt x="291" y="165"/>
                  </a:cubicBezTo>
                  <a:lnTo>
                    <a:pt x="291" y="122"/>
                  </a:lnTo>
                  <a:lnTo>
                    <a:pt x="353" y="122"/>
                  </a:lnTo>
                  <a:lnTo>
                    <a:pt x="353" y="165"/>
                  </a:lnTo>
                  <a:cubicBezTo>
                    <a:pt x="382" y="167"/>
                    <a:pt x="405" y="176"/>
                    <a:pt x="422" y="194"/>
                  </a:cubicBezTo>
                  <a:cubicBezTo>
                    <a:pt x="439" y="211"/>
                    <a:pt x="448" y="235"/>
                    <a:pt x="448" y="263"/>
                  </a:cubicBezTo>
                  <a:lnTo>
                    <a:pt x="386" y="263"/>
                  </a:lnTo>
                  <a:cubicBezTo>
                    <a:pt x="386" y="250"/>
                    <a:pt x="382" y="240"/>
                    <a:pt x="375" y="232"/>
                  </a:cubicBezTo>
                  <a:cubicBezTo>
                    <a:pt x="368" y="225"/>
                    <a:pt x="359" y="221"/>
                    <a:pt x="348" y="221"/>
                  </a:cubicBezTo>
                  <a:lnTo>
                    <a:pt x="296" y="221"/>
                  </a:lnTo>
                  <a:cubicBezTo>
                    <a:pt x="283" y="221"/>
                    <a:pt x="273" y="223"/>
                    <a:pt x="265" y="229"/>
                  </a:cubicBezTo>
                  <a:cubicBezTo>
                    <a:pt x="258" y="234"/>
                    <a:pt x="254" y="242"/>
                    <a:pt x="254" y="251"/>
                  </a:cubicBezTo>
                  <a:lnTo>
                    <a:pt x="254" y="263"/>
                  </a:lnTo>
                  <a:cubicBezTo>
                    <a:pt x="254" y="278"/>
                    <a:pt x="264" y="288"/>
                    <a:pt x="285" y="291"/>
                  </a:cubicBezTo>
                  <a:lnTo>
                    <a:pt x="369" y="306"/>
                  </a:lnTo>
                  <a:cubicBezTo>
                    <a:pt x="396" y="311"/>
                    <a:pt x="417" y="319"/>
                    <a:pt x="432" y="332"/>
                  </a:cubicBezTo>
                  <a:cubicBezTo>
                    <a:pt x="446" y="344"/>
                    <a:pt x="454" y="360"/>
                    <a:pt x="454" y="379"/>
                  </a:cubicBezTo>
                  <a:lnTo>
                    <a:pt x="454" y="409"/>
                  </a:lnTo>
                  <a:lnTo>
                    <a:pt x="454" y="409"/>
                  </a:lnTo>
                  <a:close/>
                  <a:moveTo>
                    <a:pt x="319" y="0"/>
                  </a:moveTo>
                  <a:lnTo>
                    <a:pt x="319" y="0"/>
                  </a:lnTo>
                  <a:cubicBezTo>
                    <a:pt x="142" y="0"/>
                    <a:pt x="0" y="142"/>
                    <a:pt x="0" y="318"/>
                  </a:cubicBezTo>
                  <a:cubicBezTo>
                    <a:pt x="0" y="495"/>
                    <a:pt x="142" y="637"/>
                    <a:pt x="319" y="637"/>
                  </a:cubicBezTo>
                  <a:cubicBezTo>
                    <a:pt x="495" y="637"/>
                    <a:pt x="637" y="495"/>
                    <a:pt x="637" y="318"/>
                  </a:cubicBezTo>
                  <a:cubicBezTo>
                    <a:pt x="637" y="142"/>
                    <a:pt x="495" y="0"/>
                    <a:pt x="319" y="0"/>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8">
              <a:extLst>
                <a:ext uri="{FF2B5EF4-FFF2-40B4-BE49-F238E27FC236}">
                  <a16:creationId xmlns:a16="http://schemas.microsoft.com/office/drawing/2014/main" id="{6C685BC0-CA58-8412-CAE6-BB3BC52425DC}"/>
                </a:ext>
              </a:extLst>
            </p:cNvPr>
            <p:cNvSpPr>
              <a:spLocks/>
            </p:cNvSpPr>
            <p:nvPr/>
          </p:nvSpPr>
          <p:spPr bwMode="auto">
            <a:xfrm>
              <a:off x="2301876" y="3570288"/>
              <a:ext cx="34925" cy="66675"/>
            </a:xfrm>
            <a:custGeom>
              <a:avLst/>
              <a:gdLst>
                <a:gd name="T0" fmla="*/ 0 w 48"/>
                <a:gd name="T1" fmla="*/ 0 h 92"/>
                <a:gd name="T2" fmla="*/ 0 w 48"/>
                <a:gd name="T3" fmla="*/ 2 h 92"/>
                <a:gd name="T4" fmla="*/ 0 w 48"/>
                <a:gd name="T5" fmla="*/ 2 h 92"/>
                <a:gd name="T6" fmla="*/ 0 w 48"/>
                <a:gd name="T7" fmla="*/ 3 h 92"/>
                <a:gd name="T8" fmla="*/ 0 w 48"/>
                <a:gd name="T9" fmla="*/ 3 h 92"/>
                <a:gd name="T10" fmla="*/ 0 w 48"/>
                <a:gd name="T11" fmla="*/ 4 h 92"/>
                <a:gd name="T12" fmla="*/ 0 w 48"/>
                <a:gd name="T13" fmla="*/ 4 h 92"/>
                <a:gd name="T14" fmla="*/ 0 w 48"/>
                <a:gd name="T15" fmla="*/ 4 h 92"/>
                <a:gd name="T16" fmla="*/ 0 w 48"/>
                <a:gd name="T17" fmla="*/ 5 h 92"/>
                <a:gd name="T18" fmla="*/ 0 w 48"/>
                <a:gd name="T19" fmla="*/ 5 h 92"/>
                <a:gd name="T20" fmla="*/ 0 w 48"/>
                <a:gd name="T21" fmla="*/ 5 h 92"/>
                <a:gd name="T22" fmla="*/ 0 w 48"/>
                <a:gd name="T23" fmla="*/ 6 h 92"/>
                <a:gd name="T24" fmla="*/ 0 w 48"/>
                <a:gd name="T25" fmla="*/ 6 h 92"/>
                <a:gd name="T26" fmla="*/ 0 w 48"/>
                <a:gd name="T27" fmla="*/ 7 h 92"/>
                <a:gd name="T28" fmla="*/ 0 w 48"/>
                <a:gd name="T29" fmla="*/ 7 h 92"/>
                <a:gd name="T30" fmla="*/ 0 w 48"/>
                <a:gd name="T31" fmla="*/ 7 h 92"/>
                <a:gd name="T32" fmla="*/ 0 w 48"/>
                <a:gd name="T33" fmla="*/ 8 h 92"/>
                <a:gd name="T34" fmla="*/ 0 w 48"/>
                <a:gd name="T35" fmla="*/ 8 h 92"/>
                <a:gd name="T36" fmla="*/ 0 w 48"/>
                <a:gd name="T37" fmla="*/ 8 h 92"/>
                <a:gd name="T38" fmla="*/ 0 w 48"/>
                <a:gd name="T39" fmla="*/ 9 h 92"/>
                <a:gd name="T40" fmla="*/ 0 w 48"/>
                <a:gd name="T41" fmla="*/ 9 h 92"/>
                <a:gd name="T42" fmla="*/ 0 w 48"/>
                <a:gd name="T43" fmla="*/ 9 h 92"/>
                <a:gd name="T44" fmla="*/ 0 w 48"/>
                <a:gd name="T45" fmla="*/ 10 h 92"/>
                <a:gd name="T46" fmla="*/ 0 w 48"/>
                <a:gd name="T47" fmla="*/ 10 h 92"/>
                <a:gd name="T48" fmla="*/ 0 w 48"/>
                <a:gd name="T49" fmla="*/ 10 h 92"/>
                <a:gd name="T50" fmla="*/ 0 w 48"/>
                <a:gd name="T51" fmla="*/ 11 h 92"/>
                <a:gd name="T52" fmla="*/ 0 w 48"/>
                <a:gd name="T53" fmla="*/ 11 h 92"/>
                <a:gd name="T54" fmla="*/ 0 w 48"/>
                <a:gd name="T55" fmla="*/ 12 h 92"/>
                <a:gd name="T56" fmla="*/ 0 w 48"/>
                <a:gd name="T57" fmla="*/ 12 h 92"/>
                <a:gd name="T58" fmla="*/ 0 w 48"/>
                <a:gd name="T59" fmla="*/ 12 h 92"/>
                <a:gd name="T60" fmla="*/ 0 w 48"/>
                <a:gd name="T61" fmla="*/ 13 h 92"/>
                <a:gd name="T62" fmla="*/ 0 w 48"/>
                <a:gd name="T63" fmla="*/ 13 h 92"/>
                <a:gd name="T64" fmla="*/ 0 w 48"/>
                <a:gd name="T65" fmla="*/ 14 h 92"/>
                <a:gd name="T66" fmla="*/ 0 w 48"/>
                <a:gd name="T67" fmla="*/ 14 h 92"/>
                <a:gd name="T68" fmla="*/ 0 w 48"/>
                <a:gd name="T69" fmla="*/ 14 h 92"/>
                <a:gd name="T70" fmla="*/ 0 w 48"/>
                <a:gd name="T71" fmla="*/ 15 h 92"/>
                <a:gd name="T72" fmla="*/ 0 w 48"/>
                <a:gd name="T73" fmla="*/ 15 h 92"/>
                <a:gd name="T74" fmla="*/ 0 w 48"/>
                <a:gd name="T75" fmla="*/ 15 h 92"/>
                <a:gd name="T76" fmla="*/ 0 w 48"/>
                <a:gd name="T77" fmla="*/ 16 h 92"/>
                <a:gd name="T78" fmla="*/ 0 w 48"/>
                <a:gd name="T79" fmla="*/ 16 h 92"/>
                <a:gd name="T80" fmla="*/ 0 w 48"/>
                <a:gd name="T81" fmla="*/ 17 h 92"/>
                <a:gd name="T82" fmla="*/ 0 w 48"/>
                <a:gd name="T83" fmla="*/ 17 h 92"/>
                <a:gd name="T84" fmla="*/ 0 w 48"/>
                <a:gd name="T85" fmla="*/ 18 h 92"/>
                <a:gd name="T86" fmla="*/ 0 w 48"/>
                <a:gd name="T87" fmla="*/ 18 h 92"/>
                <a:gd name="T88" fmla="*/ 0 w 48"/>
                <a:gd name="T89" fmla="*/ 18 h 92"/>
                <a:gd name="T90" fmla="*/ 0 w 48"/>
                <a:gd name="T91" fmla="*/ 19 h 92"/>
                <a:gd name="T92" fmla="*/ 0 w 48"/>
                <a:gd name="T93" fmla="*/ 19 h 92"/>
                <a:gd name="T94" fmla="*/ 0 w 48"/>
                <a:gd name="T95" fmla="*/ 19 h 92"/>
                <a:gd name="T96" fmla="*/ 0 w 48"/>
                <a:gd name="T97" fmla="*/ 20 h 92"/>
                <a:gd name="T98" fmla="*/ 0 w 48"/>
                <a:gd name="T99" fmla="*/ 21 h 92"/>
                <a:gd name="T100" fmla="*/ 0 w 48"/>
                <a:gd name="T101" fmla="*/ 22 h 92"/>
                <a:gd name="T102" fmla="*/ 0 w 48"/>
                <a:gd name="T103" fmla="*/ 22 h 92"/>
                <a:gd name="T104" fmla="*/ 0 w 48"/>
                <a:gd name="T105" fmla="*/ 22 h 92"/>
                <a:gd name="T106" fmla="*/ 0 w 48"/>
                <a:gd name="T107" fmla="*/ 23 h 92"/>
                <a:gd name="T108" fmla="*/ 0 w 48"/>
                <a:gd name="T109" fmla="*/ 23 h 92"/>
                <a:gd name="T110" fmla="*/ 0 w 48"/>
                <a:gd name="T111" fmla="*/ 23 h 92"/>
                <a:gd name="T112" fmla="*/ 0 w 48"/>
                <a:gd name="T113" fmla="*/ 24 h 92"/>
                <a:gd name="T114" fmla="*/ 0 w 48"/>
                <a:gd name="T115" fmla="*/ 27 h 92"/>
                <a:gd name="T116" fmla="*/ 0 w 48"/>
                <a:gd name="T117" fmla="*/ 27 h 92"/>
                <a:gd name="T118" fmla="*/ 9 w 48"/>
                <a:gd name="T1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 h="92">
                  <a:moveTo>
                    <a:pt x="40" y="3"/>
                  </a:moveTo>
                  <a:lnTo>
                    <a:pt x="40" y="3"/>
                  </a:lnTo>
                  <a:lnTo>
                    <a:pt x="40" y="1"/>
                  </a:lnTo>
                  <a:lnTo>
                    <a:pt x="0" y="0"/>
                  </a:lnTo>
                  <a:cubicBezTo>
                    <a:pt x="0" y="1"/>
                    <a:pt x="0" y="1"/>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21"/>
                    <a:pt x="0" y="21"/>
                  </a:cubicBezTo>
                  <a:cubicBezTo>
                    <a:pt x="0" y="21"/>
                    <a:pt x="0" y="21"/>
                    <a:pt x="0" y="21"/>
                  </a:cubicBezTo>
                  <a:lnTo>
                    <a:pt x="0" y="21"/>
                  </a:lnTo>
                  <a:cubicBezTo>
                    <a:pt x="0" y="21"/>
                    <a:pt x="0" y="21"/>
                    <a:pt x="0" y="21"/>
                  </a:cubicBezTo>
                  <a:lnTo>
                    <a:pt x="0" y="21"/>
                  </a:lnTo>
                  <a:cubicBezTo>
                    <a:pt x="0" y="21"/>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4"/>
                    <a:pt x="0" y="24"/>
                    <a:pt x="0" y="24"/>
                  </a:cubicBezTo>
                  <a:lnTo>
                    <a:pt x="0" y="24"/>
                  </a:lnTo>
                  <a:cubicBezTo>
                    <a:pt x="0" y="24"/>
                    <a:pt x="0" y="25"/>
                    <a:pt x="0" y="26"/>
                  </a:cubicBezTo>
                  <a:cubicBezTo>
                    <a:pt x="0" y="26"/>
                    <a:pt x="0" y="26"/>
                    <a:pt x="0" y="26"/>
                  </a:cubicBezTo>
                  <a:cubicBezTo>
                    <a:pt x="0" y="26"/>
                    <a:pt x="0" y="26"/>
                    <a:pt x="0" y="26"/>
                  </a:cubicBezTo>
                  <a:lnTo>
                    <a:pt x="0" y="27"/>
                  </a:ln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1" y="27"/>
                    <a:pt x="1" y="27"/>
                  </a:cubicBezTo>
                  <a:cubicBezTo>
                    <a:pt x="1" y="27"/>
                    <a:pt x="1" y="27"/>
                    <a:pt x="1" y="27"/>
                  </a:cubicBezTo>
                  <a:cubicBezTo>
                    <a:pt x="2" y="50"/>
                    <a:pt x="5" y="71"/>
                    <a:pt x="9" y="92"/>
                  </a:cubicBezTo>
                  <a:lnTo>
                    <a:pt x="48" y="84"/>
                  </a:lnTo>
                  <a:cubicBezTo>
                    <a:pt x="43" y="58"/>
                    <a:pt x="40" y="31"/>
                    <a:pt x="40" y="3"/>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9">
              <a:extLst>
                <a:ext uri="{FF2B5EF4-FFF2-40B4-BE49-F238E27FC236}">
                  <a16:creationId xmlns:a16="http://schemas.microsoft.com/office/drawing/2014/main" id="{7229CDBC-9724-A2CD-9793-E045C48FADE4}"/>
                </a:ext>
              </a:extLst>
            </p:cNvPr>
            <p:cNvSpPr>
              <a:spLocks/>
            </p:cNvSpPr>
            <p:nvPr/>
          </p:nvSpPr>
          <p:spPr bwMode="auto">
            <a:xfrm>
              <a:off x="2452688" y="3281363"/>
              <a:ext cx="69850" cy="52388"/>
            </a:xfrm>
            <a:custGeom>
              <a:avLst/>
              <a:gdLst>
                <a:gd name="T0" fmla="*/ 97 w 97"/>
                <a:gd name="T1" fmla="*/ 38 h 72"/>
                <a:gd name="T2" fmla="*/ 97 w 97"/>
                <a:gd name="T3" fmla="*/ 38 h 72"/>
                <a:gd name="T4" fmla="*/ 85 w 97"/>
                <a:gd name="T5" fmla="*/ 0 h 72"/>
                <a:gd name="T6" fmla="*/ 0 w 97"/>
                <a:gd name="T7" fmla="*/ 38 h 72"/>
                <a:gd name="T8" fmla="*/ 20 w 97"/>
                <a:gd name="T9" fmla="*/ 72 h 72"/>
                <a:gd name="T10" fmla="*/ 97 w 97"/>
                <a:gd name="T11" fmla="*/ 38 h 72"/>
              </a:gdLst>
              <a:ahLst/>
              <a:cxnLst>
                <a:cxn ang="0">
                  <a:pos x="T0" y="T1"/>
                </a:cxn>
                <a:cxn ang="0">
                  <a:pos x="T2" y="T3"/>
                </a:cxn>
                <a:cxn ang="0">
                  <a:pos x="T4" y="T5"/>
                </a:cxn>
                <a:cxn ang="0">
                  <a:pos x="T6" y="T7"/>
                </a:cxn>
                <a:cxn ang="0">
                  <a:pos x="T8" y="T9"/>
                </a:cxn>
                <a:cxn ang="0">
                  <a:pos x="T10" y="T11"/>
                </a:cxn>
              </a:cxnLst>
              <a:rect l="0" t="0" r="r" b="b"/>
              <a:pathLst>
                <a:path w="97" h="72">
                  <a:moveTo>
                    <a:pt x="97" y="38"/>
                  </a:moveTo>
                  <a:lnTo>
                    <a:pt x="97" y="38"/>
                  </a:lnTo>
                  <a:lnTo>
                    <a:pt x="85" y="0"/>
                  </a:lnTo>
                  <a:cubicBezTo>
                    <a:pt x="55" y="9"/>
                    <a:pt x="27" y="22"/>
                    <a:pt x="0" y="38"/>
                  </a:cubicBezTo>
                  <a:lnTo>
                    <a:pt x="20" y="72"/>
                  </a:lnTo>
                  <a:cubicBezTo>
                    <a:pt x="45" y="58"/>
                    <a:pt x="70" y="46"/>
                    <a:pt x="97" y="38"/>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30">
              <a:extLst>
                <a:ext uri="{FF2B5EF4-FFF2-40B4-BE49-F238E27FC236}">
                  <a16:creationId xmlns:a16="http://schemas.microsoft.com/office/drawing/2014/main" id="{E189C76C-2988-02EA-5D5C-674B09EA13F3}"/>
                </a:ext>
              </a:extLst>
            </p:cNvPr>
            <p:cNvSpPr>
              <a:spLocks/>
            </p:cNvSpPr>
            <p:nvPr/>
          </p:nvSpPr>
          <p:spPr bwMode="auto">
            <a:xfrm>
              <a:off x="2327276" y="3390900"/>
              <a:ext cx="57150" cy="69850"/>
            </a:xfrm>
            <a:custGeom>
              <a:avLst/>
              <a:gdLst>
                <a:gd name="T0" fmla="*/ 46 w 78"/>
                <a:gd name="T1" fmla="*/ 0 h 97"/>
                <a:gd name="T2" fmla="*/ 37 w 78"/>
                <a:gd name="T3" fmla="*/ 13 h 97"/>
                <a:gd name="T4" fmla="*/ 37 w 78"/>
                <a:gd name="T5" fmla="*/ 13 h 97"/>
                <a:gd name="T6" fmla="*/ 37 w 78"/>
                <a:gd name="T7" fmla="*/ 13 h 97"/>
                <a:gd name="T8" fmla="*/ 37 w 78"/>
                <a:gd name="T9" fmla="*/ 14 h 97"/>
                <a:gd name="T10" fmla="*/ 37 w 78"/>
                <a:gd name="T11" fmla="*/ 14 h 97"/>
                <a:gd name="T12" fmla="*/ 36 w 78"/>
                <a:gd name="T13" fmla="*/ 14 h 97"/>
                <a:gd name="T14" fmla="*/ 36 w 78"/>
                <a:gd name="T15" fmla="*/ 14 h 97"/>
                <a:gd name="T16" fmla="*/ 36 w 78"/>
                <a:gd name="T17" fmla="*/ 15 h 97"/>
                <a:gd name="T18" fmla="*/ 36 w 78"/>
                <a:gd name="T19" fmla="*/ 15 h 97"/>
                <a:gd name="T20" fmla="*/ 36 w 78"/>
                <a:gd name="T21" fmla="*/ 15 h 97"/>
                <a:gd name="T22" fmla="*/ 35 w 78"/>
                <a:gd name="T23" fmla="*/ 16 h 97"/>
                <a:gd name="T24" fmla="*/ 35 w 78"/>
                <a:gd name="T25" fmla="*/ 16 h 97"/>
                <a:gd name="T26" fmla="*/ 35 w 78"/>
                <a:gd name="T27" fmla="*/ 16 h 97"/>
                <a:gd name="T28" fmla="*/ 35 w 78"/>
                <a:gd name="T29" fmla="*/ 16 h 97"/>
                <a:gd name="T30" fmla="*/ 35 w 78"/>
                <a:gd name="T31" fmla="*/ 17 h 97"/>
                <a:gd name="T32" fmla="*/ 34 w 78"/>
                <a:gd name="T33" fmla="*/ 17 h 97"/>
                <a:gd name="T34" fmla="*/ 34 w 78"/>
                <a:gd name="T35" fmla="*/ 17 h 97"/>
                <a:gd name="T36" fmla="*/ 34 w 78"/>
                <a:gd name="T37" fmla="*/ 17 h 97"/>
                <a:gd name="T38" fmla="*/ 34 w 78"/>
                <a:gd name="T39" fmla="*/ 18 h 97"/>
                <a:gd name="T40" fmla="*/ 34 w 78"/>
                <a:gd name="T41" fmla="*/ 18 h 97"/>
                <a:gd name="T42" fmla="*/ 34 w 78"/>
                <a:gd name="T43" fmla="*/ 18 h 97"/>
                <a:gd name="T44" fmla="*/ 34 w 78"/>
                <a:gd name="T45" fmla="*/ 18 h 97"/>
                <a:gd name="T46" fmla="*/ 33 w 78"/>
                <a:gd name="T47" fmla="*/ 19 h 97"/>
                <a:gd name="T48" fmla="*/ 33 w 78"/>
                <a:gd name="T49" fmla="*/ 19 h 97"/>
                <a:gd name="T50" fmla="*/ 33 w 78"/>
                <a:gd name="T51" fmla="*/ 19 h 97"/>
                <a:gd name="T52" fmla="*/ 33 w 78"/>
                <a:gd name="T53" fmla="*/ 19 h 97"/>
                <a:gd name="T54" fmla="*/ 33 w 78"/>
                <a:gd name="T55" fmla="*/ 20 h 97"/>
                <a:gd name="T56" fmla="*/ 33 w 78"/>
                <a:gd name="T57" fmla="*/ 20 h 97"/>
                <a:gd name="T58" fmla="*/ 33 w 78"/>
                <a:gd name="T59" fmla="*/ 20 h 97"/>
                <a:gd name="T60" fmla="*/ 32 w 78"/>
                <a:gd name="T61" fmla="*/ 20 h 97"/>
                <a:gd name="T62" fmla="*/ 32 w 78"/>
                <a:gd name="T63" fmla="*/ 20 h 97"/>
                <a:gd name="T64" fmla="*/ 32 w 78"/>
                <a:gd name="T65" fmla="*/ 21 h 97"/>
                <a:gd name="T66" fmla="*/ 32 w 78"/>
                <a:gd name="T67" fmla="*/ 21 h 97"/>
                <a:gd name="T68" fmla="*/ 32 w 78"/>
                <a:gd name="T69" fmla="*/ 21 h 97"/>
                <a:gd name="T70" fmla="*/ 32 w 78"/>
                <a:gd name="T71" fmla="*/ 21 h 97"/>
                <a:gd name="T72" fmla="*/ 31 w 78"/>
                <a:gd name="T73" fmla="*/ 22 h 97"/>
                <a:gd name="T74" fmla="*/ 31 w 78"/>
                <a:gd name="T75" fmla="*/ 22 h 97"/>
                <a:gd name="T76" fmla="*/ 31 w 78"/>
                <a:gd name="T77" fmla="*/ 22 h 97"/>
                <a:gd name="T78" fmla="*/ 31 w 78"/>
                <a:gd name="T79" fmla="*/ 22 h 97"/>
                <a:gd name="T80" fmla="*/ 31 w 78"/>
                <a:gd name="T81" fmla="*/ 23 h 97"/>
                <a:gd name="T82" fmla="*/ 31 w 78"/>
                <a:gd name="T83" fmla="*/ 23 h 97"/>
                <a:gd name="T84" fmla="*/ 30 w 78"/>
                <a:gd name="T85" fmla="*/ 23 h 97"/>
                <a:gd name="T86" fmla="*/ 30 w 78"/>
                <a:gd name="T87" fmla="*/ 24 h 97"/>
                <a:gd name="T88" fmla="*/ 30 w 78"/>
                <a:gd name="T89" fmla="*/ 24 h 97"/>
                <a:gd name="T90" fmla="*/ 30 w 78"/>
                <a:gd name="T91" fmla="*/ 24 h 97"/>
                <a:gd name="T92" fmla="*/ 30 w 78"/>
                <a:gd name="T93" fmla="*/ 24 h 97"/>
                <a:gd name="T94" fmla="*/ 29 w 78"/>
                <a:gd name="T95" fmla="*/ 25 h 97"/>
                <a:gd name="T96" fmla="*/ 29 w 78"/>
                <a:gd name="T97" fmla="*/ 25 h 97"/>
                <a:gd name="T98" fmla="*/ 29 w 78"/>
                <a:gd name="T99" fmla="*/ 26 h 97"/>
                <a:gd name="T100" fmla="*/ 28 w 78"/>
                <a:gd name="T101" fmla="*/ 26 h 97"/>
                <a:gd name="T102" fmla="*/ 28 w 78"/>
                <a:gd name="T103" fmla="*/ 27 h 97"/>
                <a:gd name="T104" fmla="*/ 0 w 78"/>
                <a:gd name="T105" fmla="*/ 8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8" h="97">
                  <a:moveTo>
                    <a:pt x="78" y="24"/>
                  </a:moveTo>
                  <a:lnTo>
                    <a:pt x="78" y="24"/>
                  </a:lnTo>
                  <a:lnTo>
                    <a:pt x="46" y="0"/>
                  </a:lnTo>
                  <a:cubicBezTo>
                    <a:pt x="43" y="4"/>
                    <a:pt x="41" y="8"/>
                    <a:pt x="38" y="12"/>
                  </a:cubicBezTo>
                  <a:cubicBezTo>
                    <a:pt x="38" y="12"/>
                    <a:pt x="38" y="12"/>
                    <a:pt x="38" y="12"/>
                  </a:cubicBezTo>
                  <a:cubicBezTo>
                    <a:pt x="38" y="12"/>
                    <a:pt x="38" y="12"/>
                    <a:pt x="37" y="13"/>
                  </a:cubicBezTo>
                  <a:cubicBezTo>
                    <a:pt x="37" y="13"/>
                    <a:pt x="37" y="13"/>
                    <a:pt x="37" y="13"/>
                  </a:cubicBezTo>
                  <a:cubicBezTo>
                    <a:pt x="37" y="13"/>
                    <a:pt x="37" y="13"/>
                    <a:pt x="37" y="13"/>
                  </a:cubicBezTo>
                  <a:cubicBezTo>
                    <a:pt x="37" y="13"/>
                    <a:pt x="37" y="13"/>
                    <a:pt x="37" y="13"/>
                  </a:cubicBezTo>
                  <a:cubicBezTo>
                    <a:pt x="37" y="13"/>
                    <a:pt x="37" y="13"/>
                    <a:pt x="37" y="13"/>
                  </a:cubicBezTo>
                  <a:cubicBezTo>
                    <a:pt x="37" y="13"/>
                    <a:pt x="37" y="13"/>
                    <a:pt x="37" y="13"/>
                  </a:cubicBezTo>
                  <a:cubicBezTo>
                    <a:pt x="37" y="13"/>
                    <a:pt x="37" y="13"/>
                    <a:pt x="37" y="13"/>
                  </a:cubicBezTo>
                  <a:lnTo>
                    <a:pt x="37" y="13"/>
                  </a:lnTo>
                  <a:cubicBezTo>
                    <a:pt x="37" y="13"/>
                    <a:pt x="37" y="13"/>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6" y="14"/>
                    <a:pt x="36" y="14"/>
                    <a:pt x="36" y="14"/>
                  </a:cubicBezTo>
                  <a:cubicBezTo>
                    <a:pt x="36" y="14"/>
                    <a:pt x="36" y="14"/>
                    <a:pt x="36" y="14"/>
                  </a:cubicBezTo>
                  <a:cubicBezTo>
                    <a:pt x="36" y="14"/>
                    <a:pt x="36" y="14"/>
                    <a:pt x="36" y="14"/>
                  </a:cubicBezTo>
                  <a:cubicBezTo>
                    <a:pt x="36" y="14"/>
                    <a:pt x="36" y="14"/>
                    <a:pt x="36" y="14"/>
                  </a:cubicBezTo>
                  <a:cubicBezTo>
                    <a:pt x="36" y="14"/>
                    <a:pt x="36" y="14"/>
                    <a:pt x="36" y="14"/>
                  </a:cubicBezTo>
                  <a:cubicBezTo>
                    <a:pt x="36" y="14"/>
                    <a:pt x="36" y="15"/>
                    <a:pt x="36" y="15"/>
                  </a:cubicBezTo>
                  <a:lnTo>
                    <a:pt x="36" y="15"/>
                  </a:ln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5" y="15"/>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7"/>
                    <a:pt x="35" y="17"/>
                    <a:pt x="35" y="17"/>
                  </a:cubicBezTo>
                  <a:cubicBezTo>
                    <a:pt x="35" y="17"/>
                    <a:pt x="35" y="17"/>
                    <a:pt x="35" y="17"/>
                  </a:cubicBezTo>
                  <a:cubicBezTo>
                    <a:pt x="35" y="17"/>
                    <a:pt x="35" y="17"/>
                    <a:pt x="35" y="17"/>
                  </a:cubicBezTo>
                  <a:cubicBezTo>
                    <a:pt x="35" y="17"/>
                    <a:pt x="34" y="17"/>
                    <a:pt x="34" y="17"/>
                  </a:cubicBezTo>
                  <a:cubicBezTo>
                    <a:pt x="34" y="17"/>
                    <a:pt x="34" y="17"/>
                    <a:pt x="34" y="17"/>
                  </a:cubicBezTo>
                  <a:cubicBezTo>
                    <a:pt x="34" y="17"/>
                    <a:pt x="34" y="17"/>
                    <a:pt x="34" y="17"/>
                  </a:cubicBezTo>
                  <a:cubicBezTo>
                    <a:pt x="34" y="17"/>
                    <a:pt x="34" y="17"/>
                    <a:pt x="34" y="17"/>
                  </a:cubicBezTo>
                  <a:cubicBezTo>
                    <a:pt x="34" y="17"/>
                    <a:pt x="34" y="17"/>
                    <a:pt x="34" y="17"/>
                  </a:cubicBezTo>
                  <a:cubicBezTo>
                    <a:pt x="34" y="17"/>
                    <a:pt x="34" y="17"/>
                    <a:pt x="34" y="17"/>
                  </a:cubicBezTo>
                  <a:cubicBezTo>
                    <a:pt x="34" y="17"/>
                    <a:pt x="34" y="17"/>
                    <a:pt x="34" y="17"/>
                  </a:cubicBezTo>
                  <a:cubicBezTo>
                    <a:pt x="34" y="17"/>
                    <a:pt x="34" y="17"/>
                    <a:pt x="34" y="17"/>
                  </a:cubicBezTo>
                  <a:cubicBezTo>
                    <a:pt x="34" y="17"/>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3" y="18"/>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20"/>
                    <a:pt x="33" y="20"/>
                  </a:cubicBezTo>
                  <a:cubicBezTo>
                    <a:pt x="33" y="20"/>
                    <a:pt x="33" y="20"/>
                    <a:pt x="33" y="20"/>
                  </a:cubicBezTo>
                  <a:cubicBezTo>
                    <a:pt x="33" y="20"/>
                    <a:pt x="33" y="20"/>
                    <a:pt x="33" y="20"/>
                  </a:cubicBezTo>
                  <a:cubicBezTo>
                    <a:pt x="33" y="20"/>
                    <a:pt x="33" y="20"/>
                    <a:pt x="33" y="20"/>
                  </a:cubicBezTo>
                  <a:cubicBezTo>
                    <a:pt x="33" y="20"/>
                    <a:pt x="33" y="20"/>
                    <a:pt x="33" y="20"/>
                  </a:cubicBezTo>
                  <a:cubicBezTo>
                    <a:pt x="33" y="20"/>
                    <a:pt x="33" y="20"/>
                    <a:pt x="33" y="20"/>
                  </a:cubicBezTo>
                  <a:cubicBezTo>
                    <a:pt x="33" y="20"/>
                    <a:pt x="33" y="20"/>
                    <a:pt x="33" y="20"/>
                  </a:cubicBezTo>
                  <a:cubicBezTo>
                    <a:pt x="33" y="20"/>
                    <a:pt x="32" y="20"/>
                    <a:pt x="32" y="20"/>
                  </a:cubicBezTo>
                  <a:cubicBezTo>
                    <a:pt x="32" y="20"/>
                    <a:pt x="32" y="20"/>
                    <a:pt x="32" y="20"/>
                  </a:cubicBezTo>
                  <a:cubicBezTo>
                    <a:pt x="32" y="20"/>
                    <a:pt x="32" y="20"/>
                    <a:pt x="32" y="20"/>
                  </a:cubicBezTo>
                  <a:cubicBezTo>
                    <a:pt x="32" y="20"/>
                    <a:pt x="32" y="20"/>
                    <a:pt x="32" y="20"/>
                  </a:cubicBezTo>
                  <a:cubicBezTo>
                    <a:pt x="32" y="20"/>
                    <a:pt x="32" y="20"/>
                    <a:pt x="32" y="20"/>
                  </a:cubicBezTo>
                  <a:cubicBezTo>
                    <a:pt x="32" y="20"/>
                    <a:pt x="32" y="20"/>
                    <a:pt x="32" y="20"/>
                  </a:cubicBezTo>
                  <a:cubicBezTo>
                    <a:pt x="32" y="20"/>
                    <a:pt x="32" y="21"/>
                    <a:pt x="32" y="21"/>
                  </a:cubicBezTo>
                  <a:cubicBezTo>
                    <a:pt x="32" y="21"/>
                    <a:pt x="32" y="21"/>
                    <a:pt x="32" y="21"/>
                  </a:cubicBezTo>
                  <a:cubicBezTo>
                    <a:pt x="32" y="21"/>
                    <a:pt x="32" y="21"/>
                    <a:pt x="32" y="21"/>
                  </a:cubicBezTo>
                  <a:cubicBezTo>
                    <a:pt x="32" y="21"/>
                    <a:pt x="32" y="21"/>
                    <a:pt x="32" y="21"/>
                  </a:cubicBezTo>
                  <a:cubicBezTo>
                    <a:pt x="32" y="21"/>
                    <a:pt x="32" y="21"/>
                    <a:pt x="32" y="21"/>
                  </a:cubicBezTo>
                  <a:lnTo>
                    <a:pt x="32" y="21"/>
                  </a:lnTo>
                  <a:cubicBezTo>
                    <a:pt x="32" y="21"/>
                    <a:pt x="32" y="21"/>
                    <a:pt x="32" y="21"/>
                  </a:cubicBezTo>
                  <a:cubicBezTo>
                    <a:pt x="32" y="21"/>
                    <a:pt x="32" y="21"/>
                    <a:pt x="32" y="21"/>
                  </a:cubicBezTo>
                  <a:cubicBezTo>
                    <a:pt x="32" y="21"/>
                    <a:pt x="32" y="21"/>
                    <a:pt x="32" y="21"/>
                  </a:cubicBezTo>
                  <a:cubicBezTo>
                    <a:pt x="32" y="21"/>
                    <a:pt x="32" y="21"/>
                    <a:pt x="32" y="21"/>
                  </a:cubicBezTo>
                  <a:cubicBezTo>
                    <a:pt x="32" y="21"/>
                    <a:pt x="32" y="21"/>
                    <a:pt x="32" y="21"/>
                  </a:cubicBezTo>
                  <a:cubicBezTo>
                    <a:pt x="32" y="21"/>
                    <a:pt x="32" y="21"/>
                    <a:pt x="32" y="21"/>
                  </a:cubicBezTo>
                  <a:cubicBezTo>
                    <a:pt x="32" y="21"/>
                    <a:pt x="32" y="21"/>
                    <a:pt x="32" y="21"/>
                  </a:cubicBezTo>
                  <a:cubicBezTo>
                    <a:pt x="32" y="21"/>
                    <a:pt x="32" y="21"/>
                    <a:pt x="32" y="21"/>
                  </a:cubicBezTo>
                  <a:cubicBezTo>
                    <a:pt x="32"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lnTo>
                    <a:pt x="31" y="22"/>
                  </a:lnTo>
                  <a:cubicBezTo>
                    <a:pt x="31" y="22"/>
                    <a:pt x="31" y="23"/>
                    <a:pt x="31" y="23"/>
                  </a:cubicBezTo>
                  <a:lnTo>
                    <a:pt x="31" y="23"/>
                  </a:lnTo>
                  <a:cubicBezTo>
                    <a:pt x="31" y="23"/>
                    <a:pt x="31" y="23"/>
                    <a:pt x="31" y="23"/>
                  </a:cubicBezTo>
                  <a:cubicBezTo>
                    <a:pt x="31" y="23"/>
                    <a:pt x="31" y="23"/>
                    <a:pt x="31" y="23"/>
                  </a:cubicBezTo>
                  <a:cubicBezTo>
                    <a:pt x="31" y="23"/>
                    <a:pt x="31" y="23"/>
                    <a:pt x="31" y="23"/>
                  </a:cubicBezTo>
                  <a:lnTo>
                    <a:pt x="31" y="23"/>
                  </a:lnTo>
                  <a:cubicBezTo>
                    <a:pt x="31" y="23"/>
                    <a:pt x="31" y="23"/>
                    <a:pt x="30" y="23"/>
                  </a:cubicBezTo>
                  <a:cubicBezTo>
                    <a:pt x="30" y="23"/>
                    <a:pt x="30" y="23"/>
                    <a:pt x="30" y="23"/>
                  </a:cubicBezTo>
                  <a:cubicBezTo>
                    <a:pt x="30" y="23"/>
                    <a:pt x="30" y="23"/>
                    <a:pt x="30" y="23"/>
                  </a:cubicBezTo>
                  <a:lnTo>
                    <a:pt x="30" y="23"/>
                  </a:lnTo>
                  <a:cubicBezTo>
                    <a:pt x="30" y="23"/>
                    <a:pt x="30" y="23"/>
                    <a:pt x="30" y="23"/>
                  </a:cubicBezTo>
                  <a:cubicBezTo>
                    <a:pt x="30" y="24"/>
                    <a:pt x="30" y="24"/>
                    <a:pt x="30" y="24"/>
                  </a:cubicBezTo>
                  <a:lnTo>
                    <a:pt x="30" y="24"/>
                  </a:lnTo>
                  <a:cubicBezTo>
                    <a:pt x="30" y="24"/>
                    <a:pt x="30" y="24"/>
                    <a:pt x="30" y="24"/>
                  </a:cubicBezTo>
                  <a:lnTo>
                    <a:pt x="30" y="24"/>
                  </a:lnTo>
                  <a:cubicBezTo>
                    <a:pt x="30" y="24"/>
                    <a:pt x="30" y="24"/>
                    <a:pt x="30" y="24"/>
                  </a:cubicBezTo>
                  <a:cubicBezTo>
                    <a:pt x="30" y="24"/>
                    <a:pt x="30" y="24"/>
                    <a:pt x="30" y="24"/>
                  </a:cubicBezTo>
                  <a:cubicBezTo>
                    <a:pt x="30" y="24"/>
                    <a:pt x="30" y="24"/>
                    <a:pt x="30" y="24"/>
                  </a:cubicBezTo>
                  <a:cubicBezTo>
                    <a:pt x="30" y="24"/>
                    <a:pt x="30" y="24"/>
                    <a:pt x="30" y="24"/>
                  </a:cubicBezTo>
                  <a:cubicBezTo>
                    <a:pt x="30" y="24"/>
                    <a:pt x="30" y="24"/>
                    <a:pt x="30" y="24"/>
                  </a:cubicBezTo>
                  <a:cubicBezTo>
                    <a:pt x="30" y="24"/>
                    <a:pt x="30" y="24"/>
                    <a:pt x="30" y="24"/>
                  </a:cubicBezTo>
                  <a:cubicBezTo>
                    <a:pt x="30" y="25"/>
                    <a:pt x="29" y="25"/>
                    <a:pt x="29" y="25"/>
                  </a:cubicBezTo>
                  <a:cubicBezTo>
                    <a:pt x="29" y="25"/>
                    <a:pt x="29" y="25"/>
                    <a:pt x="29" y="25"/>
                  </a:cubicBezTo>
                  <a:cubicBezTo>
                    <a:pt x="29" y="25"/>
                    <a:pt x="29" y="25"/>
                    <a:pt x="29" y="25"/>
                  </a:cubicBezTo>
                  <a:lnTo>
                    <a:pt x="29" y="25"/>
                  </a:lnTo>
                  <a:cubicBezTo>
                    <a:pt x="29" y="25"/>
                    <a:pt x="29" y="25"/>
                    <a:pt x="29" y="25"/>
                  </a:cubicBezTo>
                  <a:cubicBezTo>
                    <a:pt x="29" y="25"/>
                    <a:pt x="29" y="25"/>
                    <a:pt x="29" y="25"/>
                  </a:cubicBezTo>
                  <a:cubicBezTo>
                    <a:pt x="29" y="25"/>
                    <a:pt x="29" y="26"/>
                    <a:pt x="29" y="26"/>
                  </a:cubicBezTo>
                  <a:lnTo>
                    <a:pt x="29" y="26"/>
                  </a:lnTo>
                  <a:cubicBezTo>
                    <a:pt x="29" y="26"/>
                    <a:pt x="29" y="26"/>
                    <a:pt x="29" y="26"/>
                  </a:cubicBezTo>
                  <a:lnTo>
                    <a:pt x="29" y="26"/>
                  </a:lnTo>
                  <a:cubicBezTo>
                    <a:pt x="29" y="26"/>
                    <a:pt x="28" y="26"/>
                    <a:pt x="28" y="26"/>
                  </a:cubicBezTo>
                  <a:cubicBezTo>
                    <a:pt x="28" y="26"/>
                    <a:pt x="28" y="26"/>
                    <a:pt x="28" y="26"/>
                  </a:cubicBezTo>
                  <a:lnTo>
                    <a:pt x="28" y="27"/>
                  </a:lnTo>
                  <a:cubicBezTo>
                    <a:pt x="28" y="27"/>
                    <a:pt x="28" y="27"/>
                    <a:pt x="28" y="27"/>
                  </a:cubicBezTo>
                  <a:lnTo>
                    <a:pt x="28" y="27"/>
                  </a:lnTo>
                  <a:cubicBezTo>
                    <a:pt x="28" y="27"/>
                    <a:pt x="28" y="27"/>
                    <a:pt x="28" y="27"/>
                  </a:cubicBezTo>
                  <a:lnTo>
                    <a:pt x="28" y="27"/>
                  </a:lnTo>
                  <a:cubicBezTo>
                    <a:pt x="17" y="44"/>
                    <a:pt x="8" y="62"/>
                    <a:pt x="0" y="81"/>
                  </a:cubicBezTo>
                  <a:lnTo>
                    <a:pt x="36" y="97"/>
                  </a:lnTo>
                  <a:cubicBezTo>
                    <a:pt x="47" y="71"/>
                    <a:pt x="62" y="47"/>
                    <a:pt x="78" y="24"/>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31">
              <a:extLst>
                <a:ext uri="{FF2B5EF4-FFF2-40B4-BE49-F238E27FC236}">
                  <a16:creationId xmlns:a16="http://schemas.microsoft.com/office/drawing/2014/main" id="{E876BC70-21E6-5052-EF8A-E0E9E997F177}"/>
                </a:ext>
              </a:extLst>
            </p:cNvPr>
            <p:cNvSpPr>
              <a:spLocks/>
            </p:cNvSpPr>
            <p:nvPr/>
          </p:nvSpPr>
          <p:spPr bwMode="auto">
            <a:xfrm>
              <a:off x="2303463" y="3476625"/>
              <a:ext cx="41275" cy="68263"/>
            </a:xfrm>
            <a:custGeom>
              <a:avLst/>
              <a:gdLst>
                <a:gd name="T0" fmla="*/ 57 w 57"/>
                <a:gd name="T1" fmla="*/ 12 h 95"/>
                <a:gd name="T2" fmla="*/ 57 w 57"/>
                <a:gd name="T3" fmla="*/ 12 h 95"/>
                <a:gd name="T4" fmla="*/ 19 w 57"/>
                <a:gd name="T5" fmla="*/ 0 h 95"/>
                <a:gd name="T6" fmla="*/ 0 w 57"/>
                <a:gd name="T7" fmla="*/ 90 h 95"/>
                <a:gd name="T8" fmla="*/ 0 w 57"/>
                <a:gd name="T9" fmla="*/ 90 h 95"/>
                <a:gd name="T10" fmla="*/ 0 w 57"/>
                <a:gd name="T11" fmla="*/ 90 h 95"/>
                <a:gd name="T12" fmla="*/ 0 w 57"/>
                <a:gd name="T13" fmla="*/ 91 h 95"/>
                <a:gd name="T14" fmla="*/ 40 w 57"/>
                <a:gd name="T15" fmla="*/ 95 h 95"/>
                <a:gd name="T16" fmla="*/ 57 w 57"/>
                <a:gd name="T17"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95">
                  <a:moveTo>
                    <a:pt x="57" y="12"/>
                  </a:moveTo>
                  <a:lnTo>
                    <a:pt x="57" y="12"/>
                  </a:lnTo>
                  <a:lnTo>
                    <a:pt x="19" y="0"/>
                  </a:lnTo>
                  <a:cubicBezTo>
                    <a:pt x="10" y="29"/>
                    <a:pt x="3" y="59"/>
                    <a:pt x="0" y="90"/>
                  </a:cubicBezTo>
                  <a:cubicBezTo>
                    <a:pt x="0" y="90"/>
                    <a:pt x="0" y="90"/>
                    <a:pt x="0" y="90"/>
                  </a:cubicBezTo>
                  <a:cubicBezTo>
                    <a:pt x="0" y="90"/>
                    <a:pt x="0" y="90"/>
                    <a:pt x="0" y="90"/>
                  </a:cubicBezTo>
                  <a:cubicBezTo>
                    <a:pt x="0" y="90"/>
                    <a:pt x="0" y="90"/>
                    <a:pt x="0" y="91"/>
                  </a:cubicBezTo>
                  <a:lnTo>
                    <a:pt x="40" y="95"/>
                  </a:lnTo>
                  <a:cubicBezTo>
                    <a:pt x="43" y="67"/>
                    <a:pt x="48" y="39"/>
                    <a:pt x="57" y="12"/>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32">
              <a:extLst>
                <a:ext uri="{FF2B5EF4-FFF2-40B4-BE49-F238E27FC236}">
                  <a16:creationId xmlns:a16="http://schemas.microsoft.com/office/drawing/2014/main" id="{D75F06D6-ACAF-A331-850A-BE26CB59C4FA}"/>
                </a:ext>
              </a:extLst>
            </p:cNvPr>
            <p:cNvSpPr>
              <a:spLocks/>
            </p:cNvSpPr>
            <p:nvPr/>
          </p:nvSpPr>
          <p:spPr bwMode="auto">
            <a:xfrm>
              <a:off x="2541588" y="3267075"/>
              <a:ext cx="76200" cy="34925"/>
            </a:xfrm>
            <a:custGeom>
              <a:avLst/>
              <a:gdLst>
                <a:gd name="T0" fmla="*/ 101 w 105"/>
                <a:gd name="T1" fmla="*/ 0 h 48"/>
                <a:gd name="T2" fmla="*/ 101 w 105"/>
                <a:gd name="T3" fmla="*/ 0 h 48"/>
                <a:gd name="T4" fmla="*/ 100 w 105"/>
                <a:gd name="T5" fmla="*/ 0 h 48"/>
                <a:gd name="T6" fmla="*/ 99 w 105"/>
                <a:gd name="T7" fmla="*/ 0 h 48"/>
                <a:gd name="T8" fmla="*/ 99 w 105"/>
                <a:gd name="T9" fmla="*/ 0 h 48"/>
                <a:gd name="T10" fmla="*/ 98 w 105"/>
                <a:gd name="T11" fmla="*/ 0 h 48"/>
                <a:gd name="T12" fmla="*/ 98 w 105"/>
                <a:gd name="T13" fmla="*/ 0 h 48"/>
                <a:gd name="T14" fmla="*/ 97 w 105"/>
                <a:gd name="T15" fmla="*/ 0 h 48"/>
                <a:gd name="T16" fmla="*/ 96 w 105"/>
                <a:gd name="T17" fmla="*/ 0 h 48"/>
                <a:gd name="T18" fmla="*/ 96 w 105"/>
                <a:gd name="T19" fmla="*/ 0 h 48"/>
                <a:gd name="T20" fmla="*/ 95 w 105"/>
                <a:gd name="T21" fmla="*/ 0 h 48"/>
                <a:gd name="T22" fmla="*/ 94 w 105"/>
                <a:gd name="T23" fmla="*/ 0 h 48"/>
                <a:gd name="T24" fmla="*/ 94 w 105"/>
                <a:gd name="T25" fmla="*/ 0 h 48"/>
                <a:gd name="T26" fmla="*/ 93 w 105"/>
                <a:gd name="T27" fmla="*/ 0 h 48"/>
                <a:gd name="T28" fmla="*/ 93 w 105"/>
                <a:gd name="T29" fmla="*/ 0 h 48"/>
                <a:gd name="T30" fmla="*/ 92 w 105"/>
                <a:gd name="T31" fmla="*/ 0 h 48"/>
                <a:gd name="T32" fmla="*/ 91 w 105"/>
                <a:gd name="T33" fmla="*/ 0 h 48"/>
                <a:gd name="T34" fmla="*/ 91 w 105"/>
                <a:gd name="T35" fmla="*/ 0 h 48"/>
                <a:gd name="T36" fmla="*/ 90 w 105"/>
                <a:gd name="T37" fmla="*/ 0 h 48"/>
                <a:gd name="T38" fmla="*/ 90 w 105"/>
                <a:gd name="T39" fmla="*/ 0 h 48"/>
                <a:gd name="T40" fmla="*/ 89 w 105"/>
                <a:gd name="T41" fmla="*/ 0 h 48"/>
                <a:gd name="T42" fmla="*/ 89 w 105"/>
                <a:gd name="T43" fmla="*/ 0 h 48"/>
                <a:gd name="T44" fmla="*/ 88 w 105"/>
                <a:gd name="T45" fmla="*/ 0 h 48"/>
                <a:gd name="T46" fmla="*/ 87 w 105"/>
                <a:gd name="T47" fmla="*/ 0 h 48"/>
                <a:gd name="T48" fmla="*/ 87 w 105"/>
                <a:gd name="T49" fmla="*/ 0 h 48"/>
                <a:gd name="T50" fmla="*/ 86 w 105"/>
                <a:gd name="T51" fmla="*/ 0 h 48"/>
                <a:gd name="T52" fmla="*/ 86 w 105"/>
                <a:gd name="T53" fmla="*/ 0 h 48"/>
                <a:gd name="T54" fmla="*/ 85 w 105"/>
                <a:gd name="T55" fmla="*/ 0 h 48"/>
                <a:gd name="T56" fmla="*/ 84 w 105"/>
                <a:gd name="T57" fmla="*/ 0 h 48"/>
                <a:gd name="T58" fmla="*/ 84 w 105"/>
                <a:gd name="T59" fmla="*/ 0 h 48"/>
                <a:gd name="T60" fmla="*/ 83 w 105"/>
                <a:gd name="T61" fmla="*/ 0 h 48"/>
                <a:gd name="T62" fmla="*/ 83 w 105"/>
                <a:gd name="T63" fmla="*/ 0 h 48"/>
                <a:gd name="T64" fmla="*/ 82 w 105"/>
                <a:gd name="T65" fmla="*/ 0 h 48"/>
                <a:gd name="T66" fmla="*/ 81 w 105"/>
                <a:gd name="T67" fmla="*/ 0 h 48"/>
                <a:gd name="T68" fmla="*/ 81 w 105"/>
                <a:gd name="T69" fmla="*/ 0 h 48"/>
                <a:gd name="T70" fmla="*/ 80 w 105"/>
                <a:gd name="T71" fmla="*/ 0 h 48"/>
                <a:gd name="T72" fmla="*/ 80 w 105"/>
                <a:gd name="T73" fmla="*/ 0 h 48"/>
                <a:gd name="T74" fmla="*/ 79 w 105"/>
                <a:gd name="T75" fmla="*/ 0 h 48"/>
                <a:gd name="T76" fmla="*/ 78 w 105"/>
                <a:gd name="T77" fmla="*/ 0 h 48"/>
                <a:gd name="T78" fmla="*/ 78 w 105"/>
                <a:gd name="T79" fmla="*/ 0 h 48"/>
                <a:gd name="T80" fmla="*/ 77 w 105"/>
                <a:gd name="T81" fmla="*/ 0 h 48"/>
                <a:gd name="T82" fmla="*/ 76 w 105"/>
                <a:gd name="T83" fmla="*/ 0 h 48"/>
                <a:gd name="T84" fmla="*/ 76 w 105"/>
                <a:gd name="T85" fmla="*/ 0 h 48"/>
                <a:gd name="T86" fmla="*/ 75 w 105"/>
                <a:gd name="T87" fmla="*/ 1 h 48"/>
                <a:gd name="T88" fmla="*/ 74 w 105"/>
                <a:gd name="T89" fmla="*/ 1 h 48"/>
                <a:gd name="T90" fmla="*/ 74 w 105"/>
                <a:gd name="T91" fmla="*/ 1 h 48"/>
                <a:gd name="T92" fmla="*/ 73 w 105"/>
                <a:gd name="T93" fmla="*/ 1 h 48"/>
                <a:gd name="T94" fmla="*/ 72 w 105"/>
                <a:gd name="T95" fmla="*/ 1 h 48"/>
                <a:gd name="T96" fmla="*/ 72 w 105"/>
                <a:gd name="T97" fmla="*/ 1 h 48"/>
                <a:gd name="T98" fmla="*/ 71 w 105"/>
                <a:gd name="T99" fmla="*/ 1 h 48"/>
                <a:gd name="T100" fmla="*/ 70 w 105"/>
                <a:gd name="T101" fmla="*/ 1 h 48"/>
                <a:gd name="T102" fmla="*/ 70 w 105"/>
                <a:gd name="T103" fmla="*/ 1 h 48"/>
                <a:gd name="T104" fmla="*/ 69 w 105"/>
                <a:gd name="T105" fmla="*/ 1 h 48"/>
                <a:gd name="T106" fmla="*/ 68 w 105"/>
                <a:gd name="T107" fmla="*/ 1 h 48"/>
                <a:gd name="T108" fmla="*/ 67 w 105"/>
                <a:gd name="T109" fmla="*/ 1 h 48"/>
                <a:gd name="T110" fmla="*/ 66 w 105"/>
                <a:gd name="T111" fmla="*/ 1 h 48"/>
                <a:gd name="T112" fmla="*/ 65 w 105"/>
                <a:gd name="T113" fmla="*/ 1 h 48"/>
                <a:gd name="T114" fmla="*/ 64 w 105"/>
                <a:gd name="T115" fmla="*/ 1 h 48"/>
                <a:gd name="T116" fmla="*/ 63 w 105"/>
                <a:gd name="T117" fmla="*/ 1 h 48"/>
                <a:gd name="T118" fmla="*/ 62 w 105"/>
                <a:gd name="T119" fmla="*/ 1 h 48"/>
                <a:gd name="T120" fmla="*/ 0 w 105"/>
                <a:gd name="T121" fmla="*/ 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 h="48">
                  <a:moveTo>
                    <a:pt x="92" y="39"/>
                  </a:moveTo>
                  <a:lnTo>
                    <a:pt x="92" y="39"/>
                  </a:lnTo>
                  <a:cubicBezTo>
                    <a:pt x="96" y="39"/>
                    <a:pt x="100" y="39"/>
                    <a:pt x="104" y="39"/>
                  </a:cubicBezTo>
                  <a:lnTo>
                    <a:pt x="105" y="0"/>
                  </a:lnTo>
                  <a:cubicBezTo>
                    <a:pt x="104" y="0"/>
                    <a:pt x="103" y="0"/>
                    <a:pt x="102" y="0"/>
                  </a:cubicBezTo>
                  <a:lnTo>
                    <a:pt x="101" y="0"/>
                  </a:lnTo>
                  <a:cubicBezTo>
                    <a:pt x="101" y="0"/>
                    <a:pt x="101" y="0"/>
                    <a:pt x="101" y="0"/>
                  </a:cubicBezTo>
                  <a:cubicBezTo>
                    <a:pt x="101" y="0"/>
                    <a:pt x="101" y="0"/>
                    <a:pt x="101" y="0"/>
                  </a:cubicBezTo>
                  <a:cubicBezTo>
                    <a:pt x="101" y="0"/>
                    <a:pt x="101" y="0"/>
                    <a:pt x="101" y="0"/>
                  </a:cubicBezTo>
                  <a:lnTo>
                    <a:pt x="101" y="0"/>
                  </a:lnTo>
                  <a:cubicBezTo>
                    <a:pt x="101" y="0"/>
                    <a:pt x="101" y="0"/>
                    <a:pt x="101" y="0"/>
                  </a:cubicBezTo>
                  <a:lnTo>
                    <a:pt x="101" y="0"/>
                  </a:lnTo>
                  <a:cubicBezTo>
                    <a:pt x="101" y="0"/>
                    <a:pt x="101" y="0"/>
                    <a:pt x="101"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6" y="0"/>
                  </a:cubicBezTo>
                  <a:lnTo>
                    <a:pt x="76" y="0"/>
                  </a:lnTo>
                  <a:cubicBezTo>
                    <a:pt x="76" y="0"/>
                    <a:pt x="76" y="0"/>
                    <a:pt x="76" y="0"/>
                  </a:cubicBezTo>
                  <a:cubicBezTo>
                    <a:pt x="76" y="0"/>
                    <a:pt x="76" y="0"/>
                    <a:pt x="76" y="0"/>
                  </a:cubicBezTo>
                  <a:cubicBezTo>
                    <a:pt x="76" y="0"/>
                    <a:pt x="76" y="0"/>
                    <a:pt x="76" y="0"/>
                  </a:cubicBezTo>
                  <a:cubicBezTo>
                    <a:pt x="76" y="0"/>
                    <a:pt x="76" y="0"/>
                    <a:pt x="76" y="0"/>
                  </a:cubicBezTo>
                  <a:lnTo>
                    <a:pt x="76" y="0"/>
                  </a:lnTo>
                  <a:cubicBezTo>
                    <a:pt x="75" y="0"/>
                    <a:pt x="75" y="0"/>
                    <a:pt x="75" y="0"/>
                  </a:cubicBezTo>
                  <a:cubicBezTo>
                    <a:pt x="75" y="0"/>
                    <a:pt x="75" y="0"/>
                    <a:pt x="75" y="0"/>
                  </a:cubicBezTo>
                  <a:cubicBezTo>
                    <a:pt x="75" y="0"/>
                    <a:pt x="75" y="0"/>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3" y="1"/>
                    <a:pt x="73" y="1"/>
                    <a:pt x="73" y="1"/>
                  </a:cubicBezTo>
                  <a:lnTo>
                    <a:pt x="73" y="1"/>
                  </a:ln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lnTo>
                    <a:pt x="72" y="1"/>
                  </a:lnTo>
                  <a:cubicBezTo>
                    <a:pt x="72" y="1"/>
                    <a:pt x="71" y="1"/>
                    <a:pt x="71" y="1"/>
                  </a:cubicBezTo>
                  <a:cubicBezTo>
                    <a:pt x="71" y="1"/>
                    <a:pt x="71" y="1"/>
                    <a:pt x="71" y="1"/>
                  </a:cubicBezTo>
                  <a:cubicBezTo>
                    <a:pt x="71" y="1"/>
                    <a:pt x="71" y="1"/>
                    <a:pt x="71" y="1"/>
                  </a:cubicBezTo>
                  <a:lnTo>
                    <a:pt x="71" y="1"/>
                  </a:lnTo>
                  <a:cubicBezTo>
                    <a:pt x="71" y="1"/>
                    <a:pt x="71" y="1"/>
                    <a:pt x="71" y="1"/>
                  </a:cubicBezTo>
                  <a:cubicBezTo>
                    <a:pt x="71" y="1"/>
                    <a:pt x="71" y="1"/>
                    <a:pt x="71" y="1"/>
                  </a:cubicBezTo>
                  <a:cubicBezTo>
                    <a:pt x="71" y="1"/>
                    <a:pt x="71" y="1"/>
                    <a:pt x="71" y="1"/>
                  </a:cubicBezTo>
                  <a:cubicBezTo>
                    <a:pt x="71" y="1"/>
                    <a:pt x="71" y="1"/>
                    <a:pt x="71" y="1"/>
                  </a:cubicBezTo>
                  <a:cubicBezTo>
                    <a:pt x="71" y="1"/>
                    <a:pt x="70" y="1"/>
                    <a:pt x="70" y="1"/>
                  </a:cubicBezTo>
                  <a:lnTo>
                    <a:pt x="70" y="1"/>
                  </a:lnTo>
                  <a:cubicBezTo>
                    <a:pt x="70" y="1"/>
                    <a:pt x="70" y="1"/>
                    <a:pt x="70" y="1"/>
                  </a:cubicBezTo>
                  <a:lnTo>
                    <a:pt x="70" y="1"/>
                  </a:lnTo>
                  <a:cubicBezTo>
                    <a:pt x="70" y="1"/>
                    <a:pt x="70" y="1"/>
                    <a:pt x="70" y="1"/>
                  </a:cubicBezTo>
                  <a:cubicBezTo>
                    <a:pt x="70" y="1"/>
                    <a:pt x="70" y="1"/>
                    <a:pt x="70" y="1"/>
                  </a:cubicBezTo>
                  <a:cubicBezTo>
                    <a:pt x="70" y="1"/>
                    <a:pt x="70" y="1"/>
                    <a:pt x="70" y="1"/>
                  </a:cubicBezTo>
                  <a:cubicBezTo>
                    <a:pt x="70" y="1"/>
                    <a:pt x="70" y="1"/>
                    <a:pt x="70" y="1"/>
                  </a:cubicBezTo>
                  <a:cubicBezTo>
                    <a:pt x="70" y="1"/>
                    <a:pt x="70" y="1"/>
                    <a:pt x="70" y="1"/>
                  </a:cubicBezTo>
                  <a:lnTo>
                    <a:pt x="70" y="1"/>
                  </a:lnTo>
                  <a:cubicBezTo>
                    <a:pt x="70" y="1"/>
                    <a:pt x="70" y="1"/>
                    <a:pt x="70" y="1"/>
                  </a:cubicBezTo>
                  <a:cubicBezTo>
                    <a:pt x="69" y="1"/>
                    <a:pt x="70" y="1"/>
                    <a:pt x="69" y="1"/>
                  </a:cubicBezTo>
                  <a:cubicBezTo>
                    <a:pt x="69" y="1"/>
                    <a:pt x="69" y="1"/>
                    <a:pt x="69" y="1"/>
                  </a:cubicBezTo>
                  <a:lnTo>
                    <a:pt x="69" y="1"/>
                  </a:lnTo>
                  <a:cubicBezTo>
                    <a:pt x="69" y="1"/>
                    <a:pt x="69" y="1"/>
                    <a:pt x="69" y="1"/>
                  </a:cubicBezTo>
                  <a:cubicBezTo>
                    <a:pt x="69" y="1"/>
                    <a:pt x="69" y="1"/>
                    <a:pt x="69" y="1"/>
                  </a:cubicBezTo>
                  <a:cubicBezTo>
                    <a:pt x="69"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lnTo>
                    <a:pt x="67" y="1"/>
                  </a:lnTo>
                  <a:cubicBezTo>
                    <a:pt x="67" y="1"/>
                    <a:pt x="67" y="1"/>
                    <a:pt x="66" y="1"/>
                  </a:cubicBezTo>
                  <a:lnTo>
                    <a:pt x="66" y="1"/>
                  </a:ln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5" y="1"/>
                  </a:cubicBezTo>
                  <a:cubicBezTo>
                    <a:pt x="65" y="1"/>
                    <a:pt x="65" y="1"/>
                    <a:pt x="65" y="1"/>
                  </a:cubicBezTo>
                  <a:cubicBezTo>
                    <a:pt x="65" y="1"/>
                    <a:pt x="65" y="1"/>
                    <a:pt x="65" y="1"/>
                  </a:cubicBezTo>
                  <a:lnTo>
                    <a:pt x="65" y="1"/>
                  </a:lnTo>
                  <a:cubicBezTo>
                    <a:pt x="65" y="1"/>
                    <a:pt x="65" y="1"/>
                    <a:pt x="64" y="1"/>
                  </a:cubicBezTo>
                  <a:cubicBezTo>
                    <a:pt x="64" y="1"/>
                    <a:pt x="64" y="1"/>
                    <a:pt x="64" y="1"/>
                  </a:cubicBezTo>
                  <a:lnTo>
                    <a:pt x="64" y="1"/>
                  </a:lnTo>
                  <a:cubicBezTo>
                    <a:pt x="64" y="1"/>
                    <a:pt x="64" y="1"/>
                    <a:pt x="64" y="1"/>
                  </a:cubicBezTo>
                  <a:cubicBezTo>
                    <a:pt x="64" y="1"/>
                    <a:pt x="64" y="1"/>
                    <a:pt x="64" y="1"/>
                  </a:cubicBezTo>
                  <a:cubicBezTo>
                    <a:pt x="64" y="1"/>
                    <a:pt x="64" y="1"/>
                    <a:pt x="64" y="1"/>
                  </a:cubicBezTo>
                  <a:lnTo>
                    <a:pt x="64" y="1"/>
                  </a:lnTo>
                  <a:cubicBezTo>
                    <a:pt x="64" y="1"/>
                    <a:pt x="64" y="1"/>
                    <a:pt x="63" y="1"/>
                  </a:cubicBezTo>
                  <a:lnTo>
                    <a:pt x="63" y="1"/>
                  </a:lnTo>
                  <a:cubicBezTo>
                    <a:pt x="63" y="1"/>
                    <a:pt x="63" y="1"/>
                    <a:pt x="63" y="1"/>
                  </a:cubicBezTo>
                  <a:cubicBezTo>
                    <a:pt x="63" y="1"/>
                    <a:pt x="63" y="1"/>
                    <a:pt x="63" y="1"/>
                  </a:cubicBezTo>
                  <a:cubicBezTo>
                    <a:pt x="63" y="1"/>
                    <a:pt x="63" y="1"/>
                    <a:pt x="63" y="1"/>
                  </a:cubicBezTo>
                  <a:cubicBezTo>
                    <a:pt x="63" y="1"/>
                    <a:pt x="63" y="1"/>
                    <a:pt x="63" y="1"/>
                  </a:cubicBezTo>
                  <a:cubicBezTo>
                    <a:pt x="63" y="1"/>
                    <a:pt x="63" y="1"/>
                    <a:pt x="63" y="1"/>
                  </a:cubicBezTo>
                  <a:cubicBezTo>
                    <a:pt x="62" y="1"/>
                    <a:pt x="62" y="1"/>
                    <a:pt x="62" y="1"/>
                  </a:cubicBezTo>
                  <a:lnTo>
                    <a:pt x="62" y="1"/>
                  </a:lnTo>
                  <a:cubicBezTo>
                    <a:pt x="62" y="1"/>
                    <a:pt x="62" y="1"/>
                    <a:pt x="61" y="1"/>
                  </a:cubicBezTo>
                  <a:cubicBezTo>
                    <a:pt x="61" y="1"/>
                    <a:pt x="61" y="1"/>
                    <a:pt x="61" y="1"/>
                  </a:cubicBezTo>
                  <a:lnTo>
                    <a:pt x="61" y="1"/>
                  </a:lnTo>
                  <a:cubicBezTo>
                    <a:pt x="61" y="1"/>
                    <a:pt x="61" y="1"/>
                    <a:pt x="61" y="1"/>
                  </a:cubicBezTo>
                  <a:cubicBezTo>
                    <a:pt x="60" y="1"/>
                    <a:pt x="58" y="1"/>
                    <a:pt x="57" y="2"/>
                  </a:cubicBezTo>
                  <a:cubicBezTo>
                    <a:pt x="38" y="3"/>
                    <a:pt x="19" y="6"/>
                    <a:pt x="0" y="9"/>
                  </a:cubicBezTo>
                  <a:lnTo>
                    <a:pt x="9" y="48"/>
                  </a:lnTo>
                  <a:cubicBezTo>
                    <a:pt x="36" y="42"/>
                    <a:pt x="64" y="39"/>
                    <a:pt x="92" y="39"/>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33">
              <a:extLst>
                <a:ext uri="{FF2B5EF4-FFF2-40B4-BE49-F238E27FC236}">
                  <a16:creationId xmlns:a16="http://schemas.microsoft.com/office/drawing/2014/main" id="{A3E154FA-569B-29C0-50F9-8F4EAAFBDBD8}"/>
                </a:ext>
              </a:extLst>
            </p:cNvPr>
            <p:cNvSpPr>
              <a:spLocks/>
            </p:cNvSpPr>
            <p:nvPr/>
          </p:nvSpPr>
          <p:spPr bwMode="auto">
            <a:xfrm>
              <a:off x="2379663" y="3324225"/>
              <a:ext cx="66675" cy="63500"/>
            </a:xfrm>
            <a:custGeom>
              <a:avLst/>
              <a:gdLst>
                <a:gd name="T0" fmla="*/ 69 w 92"/>
                <a:gd name="T1" fmla="*/ 0 h 89"/>
                <a:gd name="T2" fmla="*/ 68 w 92"/>
                <a:gd name="T3" fmla="*/ 1 h 89"/>
                <a:gd name="T4" fmla="*/ 67 w 92"/>
                <a:gd name="T5" fmla="*/ 1 h 89"/>
                <a:gd name="T6" fmla="*/ 67 w 92"/>
                <a:gd name="T7" fmla="*/ 2 h 89"/>
                <a:gd name="T8" fmla="*/ 66 w 92"/>
                <a:gd name="T9" fmla="*/ 2 h 89"/>
                <a:gd name="T10" fmla="*/ 66 w 92"/>
                <a:gd name="T11" fmla="*/ 2 h 89"/>
                <a:gd name="T12" fmla="*/ 66 w 92"/>
                <a:gd name="T13" fmla="*/ 2 h 89"/>
                <a:gd name="T14" fmla="*/ 66 w 92"/>
                <a:gd name="T15" fmla="*/ 3 h 89"/>
                <a:gd name="T16" fmla="*/ 65 w 92"/>
                <a:gd name="T17" fmla="*/ 3 h 89"/>
                <a:gd name="T18" fmla="*/ 65 w 92"/>
                <a:gd name="T19" fmla="*/ 3 h 89"/>
                <a:gd name="T20" fmla="*/ 65 w 92"/>
                <a:gd name="T21" fmla="*/ 3 h 89"/>
                <a:gd name="T22" fmla="*/ 65 w 92"/>
                <a:gd name="T23" fmla="*/ 3 h 89"/>
                <a:gd name="T24" fmla="*/ 65 w 92"/>
                <a:gd name="T25" fmla="*/ 4 h 89"/>
                <a:gd name="T26" fmla="*/ 64 w 92"/>
                <a:gd name="T27" fmla="*/ 4 h 89"/>
                <a:gd name="T28" fmla="*/ 64 w 92"/>
                <a:gd name="T29" fmla="*/ 4 h 89"/>
                <a:gd name="T30" fmla="*/ 64 w 92"/>
                <a:gd name="T31" fmla="*/ 4 h 89"/>
                <a:gd name="T32" fmla="*/ 64 w 92"/>
                <a:gd name="T33" fmla="*/ 4 h 89"/>
                <a:gd name="T34" fmla="*/ 63 w 92"/>
                <a:gd name="T35" fmla="*/ 4 h 89"/>
                <a:gd name="T36" fmla="*/ 63 w 92"/>
                <a:gd name="T37" fmla="*/ 4 h 89"/>
                <a:gd name="T38" fmla="*/ 63 w 92"/>
                <a:gd name="T39" fmla="*/ 5 h 89"/>
                <a:gd name="T40" fmla="*/ 63 w 92"/>
                <a:gd name="T41" fmla="*/ 5 h 89"/>
                <a:gd name="T42" fmla="*/ 63 w 92"/>
                <a:gd name="T43" fmla="*/ 5 h 89"/>
                <a:gd name="T44" fmla="*/ 62 w 92"/>
                <a:gd name="T45" fmla="*/ 5 h 89"/>
                <a:gd name="T46" fmla="*/ 62 w 92"/>
                <a:gd name="T47" fmla="*/ 5 h 89"/>
                <a:gd name="T48" fmla="*/ 62 w 92"/>
                <a:gd name="T49" fmla="*/ 5 h 89"/>
                <a:gd name="T50" fmla="*/ 62 w 92"/>
                <a:gd name="T51" fmla="*/ 6 h 89"/>
                <a:gd name="T52" fmla="*/ 61 w 92"/>
                <a:gd name="T53" fmla="*/ 6 h 89"/>
                <a:gd name="T54" fmla="*/ 61 w 92"/>
                <a:gd name="T55" fmla="*/ 6 h 89"/>
                <a:gd name="T56" fmla="*/ 61 w 92"/>
                <a:gd name="T57" fmla="*/ 6 h 89"/>
                <a:gd name="T58" fmla="*/ 61 w 92"/>
                <a:gd name="T59" fmla="*/ 6 h 89"/>
                <a:gd name="T60" fmla="*/ 61 w 92"/>
                <a:gd name="T61" fmla="*/ 6 h 89"/>
                <a:gd name="T62" fmla="*/ 60 w 92"/>
                <a:gd name="T63" fmla="*/ 7 h 89"/>
                <a:gd name="T64" fmla="*/ 60 w 92"/>
                <a:gd name="T65" fmla="*/ 7 h 89"/>
                <a:gd name="T66" fmla="*/ 60 w 92"/>
                <a:gd name="T67" fmla="*/ 7 h 89"/>
                <a:gd name="T68" fmla="*/ 60 w 92"/>
                <a:gd name="T69" fmla="*/ 7 h 89"/>
                <a:gd name="T70" fmla="*/ 60 w 92"/>
                <a:gd name="T71" fmla="*/ 7 h 89"/>
                <a:gd name="T72" fmla="*/ 59 w 92"/>
                <a:gd name="T73" fmla="*/ 7 h 89"/>
                <a:gd name="T74" fmla="*/ 59 w 92"/>
                <a:gd name="T75" fmla="*/ 8 h 89"/>
                <a:gd name="T76" fmla="*/ 59 w 92"/>
                <a:gd name="T77" fmla="*/ 8 h 89"/>
                <a:gd name="T78" fmla="*/ 59 w 92"/>
                <a:gd name="T79" fmla="*/ 8 h 89"/>
                <a:gd name="T80" fmla="*/ 58 w 92"/>
                <a:gd name="T81" fmla="*/ 8 h 89"/>
                <a:gd name="T82" fmla="*/ 58 w 92"/>
                <a:gd name="T83" fmla="*/ 9 h 89"/>
                <a:gd name="T84" fmla="*/ 58 w 92"/>
                <a:gd name="T85" fmla="*/ 9 h 89"/>
                <a:gd name="T86" fmla="*/ 57 w 92"/>
                <a:gd name="T87" fmla="*/ 9 h 89"/>
                <a:gd name="T88" fmla="*/ 57 w 92"/>
                <a:gd name="T89" fmla="*/ 9 h 89"/>
                <a:gd name="T90" fmla="*/ 56 w 92"/>
                <a:gd name="T91" fmla="*/ 10 h 89"/>
                <a:gd name="T92" fmla="*/ 56 w 92"/>
                <a:gd name="T93" fmla="*/ 10 h 89"/>
                <a:gd name="T94" fmla="*/ 56 w 92"/>
                <a:gd name="T95" fmla="*/ 10 h 89"/>
                <a:gd name="T96" fmla="*/ 54 w 92"/>
                <a:gd name="T97" fmla="*/ 12 h 89"/>
                <a:gd name="T98" fmla="*/ 53 w 92"/>
                <a:gd name="T99" fmla="*/ 12 h 89"/>
                <a:gd name="T100" fmla="*/ 30 w 92"/>
                <a:gd name="T10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 h="89">
                  <a:moveTo>
                    <a:pt x="92" y="33"/>
                  </a:moveTo>
                  <a:lnTo>
                    <a:pt x="92" y="33"/>
                  </a:lnTo>
                  <a:lnTo>
                    <a:pt x="69" y="0"/>
                  </a:lnTo>
                  <a:cubicBezTo>
                    <a:pt x="69" y="1"/>
                    <a:pt x="69" y="1"/>
                    <a:pt x="68" y="1"/>
                  </a:cubicBezTo>
                  <a:cubicBezTo>
                    <a:pt x="68" y="1"/>
                    <a:pt x="68" y="1"/>
                    <a:pt x="68" y="1"/>
                  </a:cubicBezTo>
                  <a:cubicBezTo>
                    <a:pt x="68" y="1"/>
                    <a:pt x="68" y="1"/>
                    <a:pt x="68" y="1"/>
                  </a:cubicBezTo>
                  <a:lnTo>
                    <a:pt x="68" y="1"/>
                  </a:lnTo>
                  <a:cubicBezTo>
                    <a:pt x="67" y="1"/>
                    <a:pt x="67" y="1"/>
                    <a:pt x="67" y="1"/>
                  </a:cubicBezTo>
                  <a:cubicBezTo>
                    <a:pt x="67" y="1"/>
                    <a:pt x="67" y="1"/>
                    <a:pt x="67" y="1"/>
                  </a:cubicBezTo>
                  <a:cubicBezTo>
                    <a:pt x="67" y="1"/>
                    <a:pt x="67" y="1"/>
                    <a:pt x="67" y="2"/>
                  </a:cubicBezTo>
                  <a:cubicBezTo>
                    <a:pt x="67" y="2"/>
                    <a:pt x="67" y="2"/>
                    <a:pt x="67" y="2"/>
                  </a:cubicBezTo>
                  <a:cubicBezTo>
                    <a:pt x="67" y="2"/>
                    <a:pt x="67" y="2"/>
                    <a:pt x="67" y="2"/>
                  </a:cubicBezTo>
                  <a:cubicBezTo>
                    <a:pt x="67" y="2"/>
                    <a:pt x="67" y="2"/>
                    <a:pt x="67" y="2"/>
                  </a:cubicBezTo>
                  <a:cubicBezTo>
                    <a:pt x="67" y="2"/>
                    <a:pt x="67" y="2"/>
                    <a:pt x="67"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3"/>
                    <a:pt x="66" y="3"/>
                    <a:pt x="66" y="3"/>
                  </a:cubicBezTo>
                  <a:cubicBezTo>
                    <a:pt x="66" y="3"/>
                    <a:pt x="66" y="3"/>
                    <a:pt x="66" y="3"/>
                  </a:cubicBezTo>
                  <a:cubicBezTo>
                    <a:pt x="66" y="3"/>
                    <a:pt x="66"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4"/>
                    <a:pt x="65" y="4"/>
                  </a:cubicBezTo>
                  <a:cubicBezTo>
                    <a:pt x="65" y="4"/>
                    <a:pt x="65"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3" y="4"/>
                  </a:cubicBezTo>
                  <a:cubicBezTo>
                    <a:pt x="63" y="4"/>
                    <a:pt x="63" y="4"/>
                    <a:pt x="63" y="4"/>
                  </a:cubicBezTo>
                  <a:cubicBezTo>
                    <a:pt x="63" y="4"/>
                    <a:pt x="63" y="4"/>
                    <a:pt x="63" y="4"/>
                  </a:cubicBezTo>
                  <a:cubicBezTo>
                    <a:pt x="63" y="4"/>
                    <a:pt x="63" y="4"/>
                    <a:pt x="63" y="4"/>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lnTo>
                    <a:pt x="63" y="5"/>
                  </a:lnTo>
                  <a:cubicBezTo>
                    <a:pt x="63" y="5"/>
                    <a:pt x="63" y="5"/>
                    <a:pt x="63" y="5"/>
                  </a:cubicBezTo>
                  <a:cubicBezTo>
                    <a:pt x="63"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6"/>
                  </a:cubicBezTo>
                  <a:cubicBezTo>
                    <a:pt x="62" y="6"/>
                    <a:pt x="62" y="6"/>
                    <a:pt x="62" y="6"/>
                  </a:cubicBezTo>
                  <a:cubicBezTo>
                    <a:pt x="62" y="6"/>
                    <a:pt x="62" y="6"/>
                    <a:pt x="62" y="6"/>
                  </a:cubicBezTo>
                  <a:cubicBezTo>
                    <a:pt x="62" y="6"/>
                    <a:pt x="62" y="6"/>
                    <a:pt x="62" y="6"/>
                  </a:cubicBezTo>
                  <a:cubicBezTo>
                    <a:pt x="62" y="6"/>
                    <a:pt x="62" y="6"/>
                    <a:pt x="62" y="6"/>
                  </a:cubicBezTo>
                  <a:cubicBezTo>
                    <a:pt x="62" y="6"/>
                    <a:pt x="62"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lnTo>
                    <a:pt x="61" y="6"/>
                  </a:lnTo>
                  <a:cubicBezTo>
                    <a:pt x="61" y="6"/>
                    <a:pt x="61" y="6"/>
                    <a:pt x="61" y="6"/>
                  </a:cubicBezTo>
                  <a:cubicBezTo>
                    <a:pt x="61" y="6"/>
                    <a:pt x="61" y="6"/>
                    <a:pt x="61" y="6"/>
                  </a:cubicBezTo>
                  <a:cubicBezTo>
                    <a:pt x="61" y="7"/>
                    <a:pt x="61"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59" y="7"/>
                  </a:cubicBezTo>
                  <a:cubicBezTo>
                    <a:pt x="59" y="7"/>
                    <a:pt x="59" y="7"/>
                    <a:pt x="59" y="7"/>
                  </a:cubicBezTo>
                  <a:cubicBezTo>
                    <a:pt x="59" y="7"/>
                    <a:pt x="59" y="7"/>
                    <a:pt x="59" y="7"/>
                  </a:cubicBezTo>
                  <a:lnTo>
                    <a:pt x="59" y="7"/>
                  </a:lnTo>
                  <a:cubicBezTo>
                    <a:pt x="59" y="8"/>
                    <a:pt x="59" y="8"/>
                    <a:pt x="59" y="8"/>
                  </a:cubicBezTo>
                  <a:cubicBezTo>
                    <a:pt x="59" y="8"/>
                    <a:pt x="59" y="8"/>
                    <a:pt x="59" y="8"/>
                  </a:cubicBezTo>
                  <a:cubicBezTo>
                    <a:pt x="59" y="8"/>
                    <a:pt x="59" y="8"/>
                    <a:pt x="59" y="8"/>
                  </a:cubicBezTo>
                  <a:cubicBezTo>
                    <a:pt x="59" y="8"/>
                    <a:pt x="59" y="8"/>
                    <a:pt x="59" y="8"/>
                  </a:cubicBezTo>
                  <a:cubicBezTo>
                    <a:pt x="59" y="8"/>
                    <a:pt x="59" y="8"/>
                    <a:pt x="59" y="8"/>
                  </a:cubicBezTo>
                  <a:cubicBezTo>
                    <a:pt x="59" y="8"/>
                    <a:pt x="59" y="8"/>
                    <a:pt x="59" y="8"/>
                  </a:cubicBezTo>
                  <a:cubicBezTo>
                    <a:pt x="59" y="8"/>
                    <a:pt x="59" y="8"/>
                    <a:pt x="59" y="8"/>
                  </a:cubicBezTo>
                  <a:lnTo>
                    <a:pt x="59" y="8"/>
                  </a:lnTo>
                  <a:cubicBezTo>
                    <a:pt x="59" y="8"/>
                    <a:pt x="58" y="8"/>
                    <a:pt x="58" y="8"/>
                  </a:cubicBezTo>
                  <a:lnTo>
                    <a:pt x="58" y="8"/>
                  </a:lnTo>
                  <a:cubicBezTo>
                    <a:pt x="58" y="8"/>
                    <a:pt x="58" y="8"/>
                    <a:pt x="58" y="8"/>
                  </a:cubicBezTo>
                  <a:cubicBezTo>
                    <a:pt x="58" y="8"/>
                    <a:pt x="58" y="8"/>
                    <a:pt x="58" y="8"/>
                  </a:cubicBezTo>
                  <a:lnTo>
                    <a:pt x="58" y="8"/>
                  </a:lnTo>
                  <a:cubicBezTo>
                    <a:pt x="58" y="9"/>
                    <a:pt x="58" y="9"/>
                    <a:pt x="58" y="9"/>
                  </a:cubicBezTo>
                  <a:cubicBezTo>
                    <a:pt x="58" y="9"/>
                    <a:pt x="58" y="9"/>
                    <a:pt x="58" y="9"/>
                  </a:cubicBezTo>
                  <a:cubicBezTo>
                    <a:pt x="58" y="9"/>
                    <a:pt x="58" y="9"/>
                    <a:pt x="58" y="9"/>
                  </a:cubicBezTo>
                  <a:lnTo>
                    <a:pt x="58" y="9"/>
                  </a:lnTo>
                  <a:cubicBezTo>
                    <a:pt x="58"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57" y="9"/>
                    <a:pt x="57" y="10"/>
                    <a:pt x="57" y="10"/>
                  </a:cubicBezTo>
                  <a:cubicBezTo>
                    <a:pt x="56" y="10"/>
                    <a:pt x="56" y="10"/>
                    <a:pt x="56" y="10"/>
                  </a:cubicBezTo>
                  <a:cubicBezTo>
                    <a:pt x="56" y="10"/>
                    <a:pt x="56" y="10"/>
                    <a:pt x="56" y="10"/>
                  </a:cubicBezTo>
                  <a:cubicBezTo>
                    <a:pt x="56" y="10"/>
                    <a:pt x="56" y="10"/>
                    <a:pt x="56" y="10"/>
                  </a:cubicBezTo>
                  <a:cubicBezTo>
                    <a:pt x="56" y="10"/>
                    <a:pt x="56" y="10"/>
                    <a:pt x="56" y="10"/>
                  </a:cubicBezTo>
                  <a:lnTo>
                    <a:pt x="56" y="10"/>
                  </a:lnTo>
                  <a:cubicBezTo>
                    <a:pt x="56" y="10"/>
                    <a:pt x="56" y="10"/>
                    <a:pt x="56" y="10"/>
                  </a:cubicBezTo>
                  <a:lnTo>
                    <a:pt x="56" y="10"/>
                  </a:lnTo>
                  <a:cubicBezTo>
                    <a:pt x="55" y="10"/>
                    <a:pt x="55" y="11"/>
                    <a:pt x="55" y="11"/>
                  </a:cubicBezTo>
                  <a:lnTo>
                    <a:pt x="55" y="11"/>
                  </a:lnTo>
                  <a:cubicBezTo>
                    <a:pt x="54" y="11"/>
                    <a:pt x="54" y="12"/>
                    <a:pt x="54" y="12"/>
                  </a:cubicBezTo>
                  <a:cubicBezTo>
                    <a:pt x="54" y="12"/>
                    <a:pt x="54" y="12"/>
                    <a:pt x="54" y="12"/>
                  </a:cubicBezTo>
                  <a:cubicBezTo>
                    <a:pt x="53" y="12"/>
                    <a:pt x="53" y="12"/>
                    <a:pt x="53" y="12"/>
                  </a:cubicBezTo>
                  <a:lnTo>
                    <a:pt x="53" y="12"/>
                  </a:lnTo>
                  <a:cubicBezTo>
                    <a:pt x="53" y="13"/>
                    <a:pt x="53" y="13"/>
                    <a:pt x="53" y="13"/>
                  </a:cubicBezTo>
                  <a:cubicBezTo>
                    <a:pt x="34" y="28"/>
                    <a:pt x="16" y="45"/>
                    <a:pt x="0" y="63"/>
                  </a:cubicBezTo>
                  <a:lnTo>
                    <a:pt x="30" y="89"/>
                  </a:lnTo>
                  <a:cubicBezTo>
                    <a:pt x="49" y="68"/>
                    <a:pt x="70" y="49"/>
                    <a:pt x="92" y="33"/>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34">
              <a:extLst>
                <a:ext uri="{FF2B5EF4-FFF2-40B4-BE49-F238E27FC236}">
                  <a16:creationId xmlns:a16="http://schemas.microsoft.com/office/drawing/2014/main" id="{9E5D9584-3A9B-E801-19EC-3B1EFDCC365F}"/>
                </a:ext>
              </a:extLst>
            </p:cNvPr>
            <p:cNvSpPr>
              <a:spLocks/>
            </p:cNvSpPr>
            <p:nvPr/>
          </p:nvSpPr>
          <p:spPr bwMode="auto">
            <a:xfrm>
              <a:off x="2851151" y="3424238"/>
              <a:ext cx="50800" cy="69850"/>
            </a:xfrm>
            <a:custGeom>
              <a:avLst/>
              <a:gdLst>
                <a:gd name="T0" fmla="*/ 66 w 71"/>
                <a:gd name="T1" fmla="*/ 69 h 97"/>
                <a:gd name="T2" fmla="*/ 65 w 71"/>
                <a:gd name="T3" fmla="*/ 67 h 97"/>
                <a:gd name="T4" fmla="*/ 64 w 71"/>
                <a:gd name="T5" fmla="*/ 64 h 97"/>
                <a:gd name="T6" fmla="*/ 63 w 71"/>
                <a:gd name="T7" fmla="*/ 62 h 97"/>
                <a:gd name="T8" fmla="*/ 62 w 71"/>
                <a:gd name="T9" fmla="*/ 60 h 97"/>
                <a:gd name="T10" fmla="*/ 62 w 71"/>
                <a:gd name="T11" fmla="*/ 58 h 97"/>
                <a:gd name="T12" fmla="*/ 61 w 71"/>
                <a:gd name="T13" fmla="*/ 57 h 97"/>
                <a:gd name="T14" fmla="*/ 61 w 71"/>
                <a:gd name="T15" fmla="*/ 56 h 97"/>
                <a:gd name="T16" fmla="*/ 60 w 71"/>
                <a:gd name="T17" fmla="*/ 54 h 97"/>
                <a:gd name="T18" fmla="*/ 60 w 71"/>
                <a:gd name="T19" fmla="*/ 53 h 97"/>
                <a:gd name="T20" fmla="*/ 60 w 71"/>
                <a:gd name="T21" fmla="*/ 52 h 97"/>
                <a:gd name="T22" fmla="*/ 59 w 71"/>
                <a:gd name="T23" fmla="*/ 51 h 97"/>
                <a:gd name="T24" fmla="*/ 59 w 71"/>
                <a:gd name="T25" fmla="*/ 50 h 97"/>
                <a:gd name="T26" fmla="*/ 58 w 71"/>
                <a:gd name="T27" fmla="*/ 49 h 97"/>
                <a:gd name="T28" fmla="*/ 58 w 71"/>
                <a:gd name="T29" fmla="*/ 48 h 97"/>
                <a:gd name="T30" fmla="*/ 57 w 71"/>
                <a:gd name="T31" fmla="*/ 47 h 97"/>
                <a:gd name="T32" fmla="*/ 57 w 71"/>
                <a:gd name="T33" fmla="*/ 46 h 97"/>
                <a:gd name="T34" fmla="*/ 56 w 71"/>
                <a:gd name="T35" fmla="*/ 45 h 97"/>
                <a:gd name="T36" fmla="*/ 56 w 71"/>
                <a:gd name="T37" fmla="*/ 43 h 97"/>
                <a:gd name="T38" fmla="*/ 56 w 71"/>
                <a:gd name="T39" fmla="*/ 42 h 97"/>
                <a:gd name="T40" fmla="*/ 55 w 71"/>
                <a:gd name="T41" fmla="*/ 41 h 97"/>
                <a:gd name="T42" fmla="*/ 55 w 71"/>
                <a:gd name="T43" fmla="*/ 40 h 97"/>
                <a:gd name="T44" fmla="*/ 54 w 71"/>
                <a:gd name="T45" fmla="*/ 40 h 97"/>
                <a:gd name="T46" fmla="*/ 54 w 71"/>
                <a:gd name="T47" fmla="*/ 39 h 97"/>
                <a:gd name="T48" fmla="*/ 54 w 71"/>
                <a:gd name="T49" fmla="*/ 38 h 97"/>
                <a:gd name="T50" fmla="*/ 53 w 71"/>
                <a:gd name="T51" fmla="*/ 37 h 97"/>
                <a:gd name="T52" fmla="*/ 53 w 71"/>
                <a:gd name="T53" fmla="*/ 36 h 97"/>
                <a:gd name="T54" fmla="*/ 52 w 71"/>
                <a:gd name="T55" fmla="*/ 35 h 97"/>
                <a:gd name="T56" fmla="*/ 52 w 71"/>
                <a:gd name="T57" fmla="*/ 34 h 97"/>
                <a:gd name="T58" fmla="*/ 52 w 71"/>
                <a:gd name="T59" fmla="*/ 33 h 97"/>
                <a:gd name="T60" fmla="*/ 51 w 71"/>
                <a:gd name="T61" fmla="*/ 32 h 97"/>
                <a:gd name="T62" fmla="*/ 51 w 71"/>
                <a:gd name="T63" fmla="*/ 31 h 97"/>
                <a:gd name="T64" fmla="*/ 50 w 71"/>
                <a:gd name="T65" fmla="*/ 31 h 97"/>
                <a:gd name="T66" fmla="*/ 50 w 71"/>
                <a:gd name="T67" fmla="*/ 30 h 97"/>
                <a:gd name="T68" fmla="*/ 49 w 71"/>
                <a:gd name="T69" fmla="*/ 28 h 97"/>
                <a:gd name="T70" fmla="*/ 49 w 71"/>
                <a:gd name="T71" fmla="*/ 27 h 97"/>
                <a:gd name="T72" fmla="*/ 49 w 71"/>
                <a:gd name="T73" fmla="*/ 27 h 97"/>
                <a:gd name="T74" fmla="*/ 48 w 71"/>
                <a:gd name="T75" fmla="*/ 25 h 97"/>
                <a:gd name="T76" fmla="*/ 48 w 71"/>
                <a:gd name="T77" fmla="*/ 24 h 97"/>
                <a:gd name="T78" fmla="*/ 47 w 71"/>
                <a:gd name="T79" fmla="*/ 23 h 97"/>
                <a:gd name="T80" fmla="*/ 47 w 71"/>
                <a:gd name="T81" fmla="*/ 23 h 97"/>
                <a:gd name="T82" fmla="*/ 46 w 71"/>
                <a:gd name="T83" fmla="*/ 21 h 97"/>
                <a:gd name="T84" fmla="*/ 46 w 71"/>
                <a:gd name="T85" fmla="*/ 20 h 97"/>
                <a:gd name="T86" fmla="*/ 45 w 71"/>
                <a:gd name="T87" fmla="*/ 19 h 97"/>
                <a:gd name="T88" fmla="*/ 44 w 71"/>
                <a:gd name="T89" fmla="*/ 18 h 97"/>
                <a:gd name="T90" fmla="*/ 44 w 71"/>
                <a:gd name="T91" fmla="*/ 17 h 97"/>
                <a:gd name="T92" fmla="*/ 43 w 71"/>
                <a:gd name="T93" fmla="*/ 16 h 97"/>
                <a:gd name="T94" fmla="*/ 43 w 71"/>
                <a:gd name="T95" fmla="*/ 15 h 97"/>
                <a:gd name="T96" fmla="*/ 42 w 71"/>
                <a:gd name="T97" fmla="*/ 13 h 97"/>
                <a:gd name="T98" fmla="*/ 42 w 71"/>
                <a:gd name="T99" fmla="*/ 12 h 97"/>
                <a:gd name="T100" fmla="*/ 41 w 71"/>
                <a:gd name="T101" fmla="*/ 11 h 97"/>
                <a:gd name="T102" fmla="*/ 40 w 71"/>
                <a:gd name="T103" fmla="*/ 10 h 97"/>
                <a:gd name="T104" fmla="*/ 40 w 71"/>
                <a:gd name="T105" fmla="*/ 9 h 97"/>
                <a:gd name="T106" fmla="*/ 39 w 71"/>
                <a:gd name="T107" fmla="*/ 8 h 97"/>
                <a:gd name="T108" fmla="*/ 39 w 71"/>
                <a:gd name="T109" fmla="*/ 7 h 97"/>
                <a:gd name="T110" fmla="*/ 38 w 71"/>
                <a:gd name="T111" fmla="*/ 6 h 97"/>
                <a:gd name="T112" fmla="*/ 38 w 71"/>
                <a:gd name="T113" fmla="*/ 5 h 97"/>
                <a:gd name="T114" fmla="*/ 37 w 71"/>
                <a:gd name="T115" fmla="*/ 4 h 97"/>
                <a:gd name="T116" fmla="*/ 37 w 71"/>
                <a:gd name="T117" fmla="*/ 4 h 97"/>
                <a:gd name="T118" fmla="*/ 36 w 71"/>
                <a:gd name="T119" fmla="*/ 3 h 97"/>
                <a:gd name="T120" fmla="*/ 36 w 71"/>
                <a:gd name="T121" fmla="*/ 2 h 97"/>
                <a:gd name="T122" fmla="*/ 35 w 71"/>
                <a:gd name="T123" fmla="*/ 1 h 97"/>
                <a:gd name="T124" fmla="*/ 35 w 71"/>
                <a:gd name="T12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 h="97">
                  <a:moveTo>
                    <a:pt x="33" y="97"/>
                  </a:moveTo>
                  <a:lnTo>
                    <a:pt x="33" y="97"/>
                  </a:lnTo>
                  <a:lnTo>
                    <a:pt x="71" y="85"/>
                  </a:lnTo>
                  <a:cubicBezTo>
                    <a:pt x="70" y="81"/>
                    <a:pt x="69" y="78"/>
                    <a:pt x="67" y="74"/>
                  </a:cubicBezTo>
                  <a:lnTo>
                    <a:pt x="67" y="74"/>
                  </a:lnTo>
                  <a:cubicBezTo>
                    <a:pt x="67" y="74"/>
                    <a:pt x="67" y="74"/>
                    <a:pt x="67" y="74"/>
                  </a:cubicBezTo>
                  <a:lnTo>
                    <a:pt x="67" y="74"/>
                  </a:lnTo>
                  <a:cubicBezTo>
                    <a:pt x="67" y="72"/>
                    <a:pt x="66" y="71"/>
                    <a:pt x="66" y="70"/>
                  </a:cubicBezTo>
                  <a:lnTo>
                    <a:pt x="66" y="70"/>
                  </a:lnTo>
                  <a:cubicBezTo>
                    <a:pt x="66" y="69"/>
                    <a:pt x="66" y="69"/>
                    <a:pt x="66" y="69"/>
                  </a:cubicBezTo>
                  <a:lnTo>
                    <a:pt x="66" y="69"/>
                  </a:lnTo>
                  <a:cubicBezTo>
                    <a:pt x="66" y="69"/>
                    <a:pt x="66" y="69"/>
                    <a:pt x="66" y="69"/>
                  </a:cubicBezTo>
                  <a:cubicBezTo>
                    <a:pt x="66" y="69"/>
                    <a:pt x="66" y="69"/>
                    <a:pt x="65" y="68"/>
                  </a:cubicBezTo>
                  <a:cubicBezTo>
                    <a:pt x="65" y="68"/>
                    <a:pt x="65" y="68"/>
                    <a:pt x="65" y="68"/>
                  </a:cubicBezTo>
                  <a:cubicBezTo>
                    <a:pt x="65" y="68"/>
                    <a:pt x="65" y="68"/>
                    <a:pt x="65" y="68"/>
                  </a:cubicBezTo>
                  <a:cubicBezTo>
                    <a:pt x="65" y="68"/>
                    <a:pt x="65" y="68"/>
                    <a:pt x="65" y="68"/>
                  </a:cubicBezTo>
                  <a:lnTo>
                    <a:pt x="65" y="68"/>
                  </a:lnTo>
                  <a:cubicBezTo>
                    <a:pt x="65" y="68"/>
                    <a:pt x="65" y="68"/>
                    <a:pt x="65" y="68"/>
                  </a:cubicBezTo>
                  <a:cubicBezTo>
                    <a:pt x="65" y="68"/>
                    <a:pt x="65" y="68"/>
                    <a:pt x="65" y="68"/>
                  </a:cubicBezTo>
                  <a:cubicBezTo>
                    <a:pt x="65" y="67"/>
                    <a:pt x="65" y="67"/>
                    <a:pt x="65" y="67"/>
                  </a:cubicBezTo>
                  <a:cubicBezTo>
                    <a:pt x="65" y="67"/>
                    <a:pt x="65" y="67"/>
                    <a:pt x="65" y="67"/>
                  </a:cubicBezTo>
                  <a:cubicBezTo>
                    <a:pt x="65" y="67"/>
                    <a:pt x="65" y="67"/>
                    <a:pt x="65" y="67"/>
                  </a:cubicBezTo>
                  <a:cubicBezTo>
                    <a:pt x="65" y="67"/>
                    <a:pt x="65" y="67"/>
                    <a:pt x="65" y="66"/>
                  </a:cubicBezTo>
                  <a:cubicBezTo>
                    <a:pt x="65" y="66"/>
                    <a:pt x="65" y="66"/>
                    <a:pt x="65" y="66"/>
                  </a:cubicBezTo>
                  <a:cubicBezTo>
                    <a:pt x="65" y="66"/>
                    <a:pt x="65" y="66"/>
                    <a:pt x="64" y="65"/>
                  </a:cubicBezTo>
                  <a:lnTo>
                    <a:pt x="64" y="65"/>
                  </a:lnTo>
                  <a:cubicBezTo>
                    <a:pt x="64" y="65"/>
                    <a:pt x="64" y="65"/>
                    <a:pt x="64" y="65"/>
                  </a:cubicBezTo>
                  <a:cubicBezTo>
                    <a:pt x="64" y="65"/>
                    <a:pt x="64" y="65"/>
                    <a:pt x="64" y="65"/>
                  </a:cubicBezTo>
                  <a:cubicBezTo>
                    <a:pt x="64" y="65"/>
                    <a:pt x="64" y="65"/>
                    <a:pt x="64" y="65"/>
                  </a:cubicBezTo>
                  <a:cubicBezTo>
                    <a:pt x="64" y="65"/>
                    <a:pt x="64" y="64"/>
                    <a:pt x="64" y="64"/>
                  </a:cubicBezTo>
                  <a:cubicBezTo>
                    <a:pt x="64" y="64"/>
                    <a:pt x="64" y="64"/>
                    <a:pt x="64" y="64"/>
                  </a:cubicBezTo>
                  <a:cubicBezTo>
                    <a:pt x="64" y="64"/>
                    <a:pt x="64" y="64"/>
                    <a:pt x="64" y="64"/>
                  </a:cubicBezTo>
                  <a:lnTo>
                    <a:pt x="64" y="64"/>
                  </a:lnTo>
                  <a:cubicBezTo>
                    <a:pt x="64" y="64"/>
                    <a:pt x="64" y="64"/>
                    <a:pt x="64" y="64"/>
                  </a:cubicBezTo>
                  <a:cubicBezTo>
                    <a:pt x="64" y="64"/>
                    <a:pt x="64" y="64"/>
                    <a:pt x="64" y="64"/>
                  </a:cubicBezTo>
                  <a:cubicBezTo>
                    <a:pt x="64" y="64"/>
                    <a:pt x="64" y="64"/>
                    <a:pt x="64" y="64"/>
                  </a:cubicBezTo>
                  <a:cubicBezTo>
                    <a:pt x="64" y="63"/>
                    <a:pt x="64" y="63"/>
                    <a:pt x="64" y="63"/>
                  </a:cubicBezTo>
                  <a:lnTo>
                    <a:pt x="64" y="63"/>
                  </a:lnTo>
                  <a:cubicBezTo>
                    <a:pt x="64" y="63"/>
                    <a:pt x="63" y="63"/>
                    <a:pt x="63" y="63"/>
                  </a:cubicBezTo>
                  <a:cubicBezTo>
                    <a:pt x="63" y="63"/>
                    <a:pt x="63" y="63"/>
                    <a:pt x="63" y="63"/>
                  </a:cubicBezTo>
                  <a:cubicBezTo>
                    <a:pt x="63" y="63"/>
                    <a:pt x="63" y="63"/>
                    <a:pt x="63" y="63"/>
                  </a:cubicBezTo>
                  <a:cubicBezTo>
                    <a:pt x="63" y="63"/>
                    <a:pt x="63" y="63"/>
                    <a:pt x="63" y="62"/>
                  </a:cubicBezTo>
                  <a:cubicBezTo>
                    <a:pt x="63" y="62"/>
                    <a:pt x="63" y="62"/>
                    <a:pt x="63" y="62"/>
                  </a:cubicBezTo>
                  <a:cubicBezTo>
                    <a:pt x="63" y="62"/>
                    <a:pt x="63" y="62"/>
                    <a:pt x="63" y="62"/>
                  </a:cubicBezTo>
                  <a:cubicBezTo>
                    <a:pt x="63" y="62"/>
                    <a:pt x="63" y="62"/>
                    <a:pt x="63" y="62"/>
                  </a:cubicBezTo>
                  <a:lnTo>
                    <a:pt x="63" y="62"/>
                  </a:lnTo>
                  <a:cubicBezTo>
                    <a:pt x="63" y="62"/>
                    <a:pt x="63" y="62"/>
                    <a:pt x="63" y="61"/>
                  </a:cubicBezTo>
                  <a:lnTo>
                    <a:pt x="63" y="61"/>
                  </a:lnTo>
                  <a:cubicBezTo>
                    <a:pt x="63" y="61"/>
                    <a:pt x="63" y="61"/>
                    <a:pt x="63" y="61"/>
                  </a:cubicBezTo>
                  <a:lnTo>
                    <a:pt x="63" y="61"/>
                  </a:lnTo>
                  <a:cubicBezTo>
                    <a:pt x="63" y="61"/>
                    <a:pt x="63" y="61"/>
                    <a:pt x="63" y="61"/>
                  </a:cubicBezTo>
                  <a:lnTo>
                    <a:pt x="63" y="61"/>
                  </a:lnTo>
                  <a:cubicBezTo>
                    <a:pt x="63" y="61"/>
                    <a:pt x="63" y="61"/>
                    <a:pt x="63" y="61"/>
                  </a:cubicBezTo>
                  <a:lnTo>
                    <a:pt x="63" y="61"/>
                  </a:lnTo>
                  <a:cubicBezTo>
                    <a:pt x="63" y="61"/>
                    <a:pt x="63" y="60"/>
                    <a:pt x="62" y="60"/>
                  </a:cubicBezTo>
                  <a:cubicBezTo>
                    <a:pt x="62" y="60"/>
                    <a:pt x="62" y="60"/>
                    <a:pt x="62" y="60"/>
                  </a:cubicBezTo>
                  <a:cubicBezTo>
                    <a:pt x="62" y="60"/>
                    <a:pt x="62" y="60"/>
                    <a:pt x="62" y="60"/>
                  </a:cubicBezTo>
                  <a:cubicBezTo>
                    <a:pt x="62" y="60"/>
                    <a:pt x="62" y="60"/>
                    <a:pt x="62" y="60"/>
                  </a:cubicBezTo>
                  <a:lnTo>
                    <a:pt x="62" y="60"/>
                  </a:lnTo>
                  <a:cubicBezTo>
                    <a:pt x="62" y="60"/>
                    <a:pt x="62" y="59"/>
                    <a:pt x="62" y="59"/>
                  </a:cubicBezTo>
                  <a:cubicBezTo>
                    <a:pt x="62" y="59"/>
                    <a:pt x="62" y="59"/>
                    <a:pt x="62" y="59"/>
                  </a:cubicBezTo>
                  <a:cubicBezTo>
                    <a:pt x="62" y="59"/>
                    <a:pt x="62" y="59"/>
                    <a:pt x="62" y="59"/>
                  </a:cubicBezTo>
                  <a:lnTo>
                    <a:pt x="62" y="59"/>
                  </a:lnTo>
                  <a:cubicBezTo>
                    <a:pt x="62" y="59"/>
                    <a:pt x="62" y="58"/>
                    <a:pt x="62" y="58"/>
                  </a:cubicBezTo>
                  <a:cubicBezTo>
                    <a:pt x="62" y="58"/>
                    <a:pt x="62" y="58"/>
                    <a:pt x="62" y="58"/>
                  </a:cubicBezTo>
                  <a:cubicBezTo>
                    <a:pt x="62" y="58"/>
                    <a:pt x="62" y="58"/>
                    <a:pt x="62" y="58"/>
                  </a:cubicBezTo>
                  <a:lnTo>
                    <a:pt x="62" y="58"/>
                  </a:lnTo>
                  <a:cubicBezTo>
                    <a:pt x="62" y="58"/>
                    <a:pt x="62" y="58"/>
                    <a:pt x="62" y="58"/>
                  </a:cubicBezTo>
                  <a:cubicBezTo>
                    <a:pt x="62" y="58"/>
                    <a:pt x="62" y="58"/>
                    <a:pt x="62" y="58"/>
                  </a:cubicBezTo>
                  <a:cubicBezTo>
                    <a:pt x="62" y="58"/>
                    <a:pt x="62" y="58"/>
                    <a:pt x="62" y="58"/>
                  </a:cubicBezTo>
                  <a:lnTo>
                    <a:pt x="62" y="58"/>
                  </a:lnTo>
                  <a:cubicBezTo>
                    <a:pt x="62" y="58"/>
                    <a:pt x="62" y="58"/>
                    <a:pt x="62" y="58"/>
                  </a:cubicBezTo>
                  <a:cubicBezTo>
                    <a:pt x="62" y="58"/>
                    <a:pt x="62" y="58"/>
                    <a:pt x="62" y="58"/>
                  </a:cubicBezTo>
                  <a:cubicBezTo>
                    <a:pt x="62" y="58"/>
                    <a:pt x="62" y="57"/>
                    <a:pt x="62" y="57"/>
                  </a:cubicBezTo>
                  <a:cubicBezTo>
                    <a:pt x="62" y="57"/>
                    <a:pt x="62" y="57"/>
                    <a:pt x="62" y="57"/>
                  </a:cubicBezTo>
                  <a:cubicBezTo>
                    <a:pt x="62" y="57"/>
                    <a:pt x="61" y="57"/>
                    <a:pt x="61" y="57"/>
                  </a:cubicBezTo>
                  <a:lnTo>
                    <a:pt x="61" y="57"/>
                  </a:lnTo>
                  <a:cubicBezTo>
                    <a:pt x="61" y="57"/>
                    <a:pt x="61" y="57"/>
                    <a:pt x="61" y="57"/>
                  </a:cubicBezTo>
                  <a:cubicBezTo>
                    <a:pt x="61" y="57"/>
                    <a:pt x="61" y="57"/>
                    <a:pt x="61" y="57"/>
                  </a:cubicBezTo>
                  <a:cubicBezTo>
                    <a:pt x="61" y="57"/>
                    <a:pt x="61" y="57"/>
                    <a:pt x="61" y="57"/>
                  </a:cubicBezTo>
                  <a:lnTo>
                    <a:pt x="61" y="57"/>
                  </a:lnTo>
                  <a:cubicBezTo>
                    <a:pt x="61" y="57"/>
                    <a:pt x="61" y="57"/>
                    <a:pt x="61" y="57"/>
                  </a:cubicBezTo>
                  <a:cubicBezTo>
                    <a:pt x="61" y="57"/>
                    <a:pt x="61" y="57"/>
                    <a:pt x="61" y="57"/>
                  </a:cubicBezTo>
                  <a:cubicBezTo>
                    <a:pt x="61" y="57"/>
                    <a:pt x="61" y="57"/>
                    <a:pt x="61" y="57"/>
                  </a:cubicBezTo>
                  <a:cubicBezTo>
                    <a:pt x="61" y="57"/>
                    <a:pt x="61" y="57"/>
                    <a:pt x="61" y="57"/>
                  </a:cubicBezTo>
                  <a:cubicBezTo>
                    <a:pt x="61" y="56"/>
                    <a:pt x="61" y="56"/>
                    <a:pt x="61" y="56"/>
                  </a:cubicBezTo>
                  <a:lnTo>
                    <a:pt x="61" y="56"/>
                  </a:lnTo>
                  <a:cubicBezTo>
                    <a:pt x="61" y="56"/>
                    <a:pt x="61" y="56"/>
                    <a:pt x="61" y="56"/>
                  </a:cubicBezTo>
                  <a:cubicBezTo>
                    <a:pt x="61" y="56"/>
                    <a:pt x="61" y="56"/>
                    <a:pt x="61" y="56"/>
                  </a:cubicBezTo>
                  <a:cubicBezTo>
                    <a:pt x="61" y="56"/>
                    <a:pt x="61" y="56"/>
                    <a:pt x="61" y="56"/>
                  </a:cubicBezTo>
                  <a:cubicBezTo>
                    <a:pt x="61" y="56"/>
                    <a:pt x="61" y="56"/>
                    <a:pt x="61" y="55"/>
                  </a:cubicBezTo>
                  <a:cubicBezTo>
                    <a:pt x="61" y="55"/>
                    <a:pt x="61" y="55"/>
                    <a:pt x="61" y="55"/>
                  </a:cubicBezTo>
                  <a:cubicBezTo>
                    <a:pt x="61" y="55"/>
                    <a:pt x="61" y="55"/>
                    <a:pt x="61" y="55"/>
                  </a:cubicBezTo>
                  <a:cubicBezTo>
                    <a:pt x="61" y="55"/>
                    <a:pt x="61" y="55"/>
                    <a:pt x="61" y="55"/>
                  </a:cubicBezTo>
                  <a:cubicBezTo>
                    <a:pt x="61" y="55"/>
                    <a:pt x="61" y="55"/>
                    <a:pt x="61" y="55"/>
                  </a:cubicBezTo>
                  <a:cubicBezTo>
                    <a:pt x="61" y="55"/>
                    <a:pt x="61" y="55"/>
                    <a:pt x="61" y="55"/>
                  </a:cubicBezTo>
                  <a:cubicBezTo>
                    <a:pt x="61" y="55"/>
                    <a:pt x="60" y="55"/>
                    <a:pt x="60" y="54"/>
                  </a:cubicBezTo>
                  <a:lnTo>
                    <a:pt x="60" y="54"/>
                  </a:lnTo>
                  <a:cubicBezTo>
                    <a:pt x="60" y="54"/>
                    <a:pt x="60" y="54"/>
                    <a:pt x="60" y="54"/>
                  </a:cubicBezTo>
                  <a:cubicBezTo>
                    <a:pt x="60" y="54"/>
                    <a:pt x="60" y="54"/>
                    <a:pt x="60" y="54"/>
                  </a:cubicBezTo>
                  <a:cubicBezTo>
                    <a:pt x="60" y="54"/>
                    <a:pt x="60" y="54"/>
                    <a:pt x="60" y="54"/>
                  </a:cubicBezTo>
                  <a:cubicBezTo>
                    <a:pt x="60" y="54"/>
                    <a:pt x="60" y="54"/>
                    <a:pt x="60" y="54"/>
                  </a:cubicBezTo>
                  <a:cubicBezTo>
                    <a:pt x="60" y="54"/>
                    <a:pt x="60" y="54"/>
                    <a:pt x="60" y="54"/>
                  </a:cubicBezTo>
                  <a:cubicBezTo>
                    <a:pt x="60" y="54"/>
                    <a:pt x="60" y="54"/>
                    <a:pt x="60" y="54"/>
                  </a:cubicBezTo>
                  <a:cubicBezTo>
                    <a:pt x="60" y="54"/>
                    <a:pt x="60" y="54"/>
                    <a:pt x="60" y="54"/>
                  </a:cubicBezTo>
                  <a:cubicBezTo>
                    <a:pt x="60" y="54"/>
                    <a:pt x="60" y="54"/>
                    <a:pt x="60" y="54"/>
                  </a:cubicBezTo>
                  <a:cubicBezTo>
                    <a:pt x="60" y="54"/>
                    <a:pt x="60" y="54"/>
                    <a:pt x="60" y="54"/>
                  </a:cubicBezTo>
                  <a:lnTo>
                    <a:pt x="60" y="54"/>
                  </a:lnTo>
                  <a:cubicBezTo>
                    <a:pt x="60" y="54"/>
                    <a:pt x="60" y="54"/>
                    <a:pt x="60" y="53"/>
                  </a:cubicBezTo>
                  <a:cubicBezTo>
                    <a:pt x="60" y="53"/>
                    <a:pt x="60" y="53"/>
                    <a:pt x="60" y="53"/>
                  </a:cubicBezTo>
                  <a:lnTo>
                    <a:pt x="60" y="53"/>
                  </a:lnTo>
                  <a:cubicBezTo>
                    <a:pt x="60" y="53"/>
                    <a:pt x="60" y="53"/>
                    <a:pt x="60" y="53"/>
                  </a:cubicBezTo>
                  <a:cubicBezTo>
                    <a:pt x="60" y="53"/>
                    <a:pt x="60" y="53"/>
                    <a:pt x="60" y="53"/>
                  </a:cubicBezTo>
                  <a:cubicBezTo>
                    <a:pt x="60" y="53"/>
                    <a:pt x="60" y="53"/>
                    <a:pt x="60" y="53"/>
                  </a:cubicBezTo>
                  <a:cubicBezTo>
                    <a:pt x="60" y="53"/>
                    <a:pt x="60" y="53"/>
                    <a:pt x="60" y="53"/>
                  </a:cubicBezTo>
                  <a:cubicBezTo>
                    <a:pt x="60" y="53"/>
                    <a:pt x="60" y="53"/>
                    <a:pt x="60" y="53"/>
                  </a:cubicBezTo>
                  <a:cubicBezTo>
                    <a:pt x="60" y="53"/>
                    <a:pt x="60" y="53"/>
                    <a:pt x="60" y="53"/>
                  </a:cubicBezTo>
                  <a:cubicBezTo>
                    <a:pt x="60" y="53"/>
                    <a:pt x="60" y="53"/>
                    <a:pt x="60" y="52"/>
                  </a:cubicBezTo>
                  <a:cubicBezTo>
                    <a:pt x="60" y="52"/>
                    <a:pt x="60" y="52"/>
                    <a:pt x="60" y="52"/>
                  </a:cubicBezTo>
                  <a:cubicBezTo>
                    <a:pt x="60" y="52"/>
                    <a:pt x="60" y="52"/>
                    <a:pt x="60" y="52"/>
                  </a:cubicBezTo>
                  <a:lnTo>
                    <a:pt x="60" y="52"/>
                  </a:lnTo>
                  <a:cubicBezTo>
                    <a:pt x="60" y="52"/>
                    <a:pt x="60" y="52"/>
                    <a:pt x="60" y="52"/>
                  </a:cubicBezTo>
                  <a:cubicBezTo>
                    <a:pt x="60" y="52"/>
                    <a:pt x="60" y="52"/>
                    <a:pt x="60" y="52"/>
                  </a:cubicBezTo>
                  <a:cubicBezTo>
                    <a:pt x="59" y="52"/>
                    <a:pt x="59" y="52"/>
                    <a:pt x="59" y="52"/>
                  </a:cubicBezTo>
                  <a:lnTo>
                    <a:pt x="59" y="52"/>
                  </a:lnTo>
                  <a:cubicBezTo>
                    <a:pt x="59" y="52"/>
                    <a:pt x="59" y="52"/>
                    <a:pt x="59" y="52"/>
                  </a:cubicBezTo>
                  <a:cubicBezTo>
                    <a:pt x="59" y="52"/>
                    <a:pt x="59" y="52"/>
                    <a:pt x="59" y="52"/>
                  </a:cubicBezTo>
                  <a:cubicBezTo>
                    <a:pt x="59" y="52"/>
                    <a:pt x="59" y="51"/>
                    <a:pt x="59" y="51"/>
                  </a:cubicBezTo>
                  <a:cubicBezTo>
                    <a:pt x="59" y="51"/>
                    <a:pt x="59" y="51"/>
                    <a:pt x="59" y="51"/>
                  </a:cubicBezTo>
                  <a:cubicBezTo>
                    <a:pt x="59" y="51"/>
                    <a:pt x="59" y="51"/>
                    <a:pt x="59" y="51"/>
                  </a:cubicBezTo>
                  <a:cubicBezTo>
                    <a:pt x="59" y="51"/>
                    <a:pt x="59" y="51"/>
                    <a:pt x="59" y="51"/>
                  </a:cubicBezTo>
                  <a:cubicBezTo>
                    <a:pt x="59" y="51"/>
                    <a:pt x="59" y="51"/>
                    <a:pt x="59" y="51"/>
                  </a:cubicBezTo>
                  <a:cubicBezTo>
                    <a:pt x="59" y="51"/>
                    <a:pt x="59" y="51"/>
                    <a:pt x="59" y="51"/>
                  </a:cubicBezTo>
                  <a:cubicBezTo>
                    <a:pt x="59" y="51"/>
                    <a:pt x="59" y="51"/>
                    <a:pt x="59" y="51"/>
                  </a:cubicBezTo>
                  <a:cubicBezTo>
                    <a:pt x="59" y="51"/>
                    <a:pt x="59" y="51"/>
                    <a:pt x="59" y="51"/>
                  </a:cubicBezTo>
                  <a:cubicBezTo>
                    <a:pt x="59" y="51"/>
                    <a:pt x="59" y="51"/>
                    <a:pt x="59" y="51"/>
                  </a:cubicBezTo>
                  <a:cubicBezTo>
                    <a:pt x="59" y="51"/>
                    <a:pt x="59" y="51"/>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8" y="50"/>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7"/>
                    <a:pt x="58" y="47"/>
                    <a:pt x="58" y="47"/>
                  </a:cubicBezTo>
                  <a:cubicBezTo>
                    <a:pt x="58" y="47"/>
                    <a:pt x="58" y="47"/>
                    <a:pt x="58" y="47"/>
                  </a:cubicBezTo>
                  <a:cubicBezTo>
                    <a:pt x="58" y="47"/>
                    <a:pt x="58" y="47"/>
                    <a:pt x="58" y="47"/>
                  </a:cubicBezTo>
                  <a:cubicBezTo>
                    <a:pt x="58" y="47"/>
                    <a:pt x="58" y="47"/>
                    <a:pt x="58" y="47"/>
                  </a:cubicBezTo>
                  <a:cubicBezTo>
                    <a:pt x="58" y="47"/>
                    <a:pt x="58" y="47"/>
                    <a:pt x="58" y="47"/>
                  </a:cubicBezTo>
                  <a:cubicBezTo>
                    <a:pt x="58" y="47"/>
                    <a:pt x="57" y="47"/>
                    <a:pt x="57" y="47"/>
                  </a:cubicBezTo>
                  <a:cubicBezTo>
                    <a:pt x="57" y="47"/>
                    <a:pt x="57" y="47"/>
                    <a:pt x="57" y="47"/>
                  </a:cubicBezTo>
                  <a:cubicBezTo>
                    <a:pt x="57" y="47"/>
                    <a:pt x="57" y="47"/>
                    <a:pt x="57" y="47"/>
                  </a:cubicBezTo>
                  <a:cubicBezTo>
                    <a:pt x="57" y="47"/>
                    <a:pt x="57" y="47"/>
                    <a:pt x="57" y="47"/>
                  </a:cubicBezTo>
                  <a:cubicBezTo>
                    <a:pt x="57" y="47"/>
                    <a:pt x="57" y="47"/>
                    <a:pt x="57" y="47"/>
                  </a:cubicBezTo>
                  <a:cubicBezTo>
                    <a:pt x="57" y="47"/>
                    <a:pt x="57" y="46"/>
                    <a:pt x="57" y="46"/>
                  </a:cubicBezTo>
                  <a:lnTo>
                    <a:pt x="57" y="46"/>
                  </a:lnTo>
                  <a:cubicBezTo>
                    <a:pt x="57" y="46"/>
                    <a:pt x="57" y="46"/>
                    <a:pt x="57" y="46"/>
                  </a:cubicBezTo>
                  <a:cubicBezTo>
                    <a:pt x="57" y="46"/>
                    <a:pt x="57" y="46"/>
                    <a:pt x="57" y="46"/>
                  </a:cubicBezTo>
                  <a:cubicBezTo>
                    <a:pt x="57" y="46"/>
                    <a:pt x="57" y="46"/>
                    <a:pt x="57" y="46"/>
                  </a:cubicBezTo>
                  <a:cubicBezTo>
                    <a:pt x="57" y="46"/>
                    <a:pt x="57" y="46"/>
                    <a:pt x="57" y="46"/>
                  </a:cubicBezTo>
                  <a:cubicBezTo>
                    <a:pt x="57" y="46"/>
                    <a:pt x="57" y="46"/>
                    <a:pt x="57" y="46"/>
                  </a:cubicBezTo>
                  <a:cubicBezTo>
                    <a:pt x="57" y="46"/>
                    <a:pt x="57" y="46"/>
                    <a:pt x="57" y="46"/>
                  </a:cubicBezTo>
                  <a:cubicBezTo>
                    <a:pt x="57" y="46"/>
                    <a:pt x="57" y="46"/>
                    <a:pt x="57" y="46"/>
                  </a:cubicBezTo>
                  <a:cubicBezTo>
                    <a:pt x="57" y="46"/>
                    <a:pt x="57" y="46"/>
                    <a:pt x="57" y="46"/>
                  </a:cubicBezTo>
                  <a:cubicBezTo>
                    <a:pt x="57" y="45"/>
                    <a:pt x="57" y="45"/>
                    <a:pt x="57" y="45"/>
                  </a:cubicBezTo>
                  <a:cubicBezTo>
                    <a:pt x="57" y="45"/>
                    <a:pt x="57" y="45"/>
                    <a:pt x="57" y="45"/>
                  </a:cubicBezTo>
                  <a:cubicBezTo>
                    <a:pt x="57" y="45"/>
                    <a:pt x="57" y="45"/>
                    <a:pt x="57" y="45"/>
                  </a:cubicBezTo>
                  <a:lnTo>
                    <a:pt x="57" y="45"/>
                  </a:lnTo>
                  <a:cubicBezTo>
                    <a:pt x="57" y="45"/>
                    <a:pt x="57" y="45"/>
                    <a:pt x="57" y="45"/>
                  </a:cubicBezTo>
                  <a:lnTo>
                    <a:pt x="57" y="45"/>
                  </a:lnTo>
                  <a:cubicBezTo>
                    <a:pt x="57" y="45"/>
                    <a:pt x="57" y="45"/>
                    <a:pt x="57" y="45"/>
                  </a:cubicBezTo>
                  <a:cubicBezTo>
                    <a:pt x="57" y="45"/>
                    <a:pt x="57" y="45"/>
                    <a:pt x="57" y="45"/>
                  </a:cubicBezTo>
                  <a:cubicBezTo>
                    <a:pt x="57" y="45"/>
                    <a:pt x="56" y="45"/>
                    <a:pt x="56" y="45"/>
                  </a:cubicBezTo>
                  <a:cubicBezTo>
                    <a:pt x="56" y="45"/>
                    <a:pt x="56" y="45"/>
                    <a:pt x="56" y="45"/>
                  </a:cubicBezTo>
                  <a:cubicBezTo>
                    <a:pt x="56" y="44"/>
                    <a:pt x="56" y="44"/>
                    <a:pt x="56" y="44"/>
                  </a:cubicBezTo>
                  <a:cubicBezTo>
                    <a:pt x="56" y="44"/>
                    <a:pt x="56" y="44"/>
                    <a:pt x="56" y="44"/>
                  </a:cubicBezTo>
                  <a:cubicBezTo>
                    <a:pt x="56" y="44"/>
                    <a:pt x="56" y="44"/>
                    <a:pt x="56" y="44"/>
                  </a:cubicBezTo>
                  <a:cubicBezTo>
                    <a:pt x="56" y="44"/>
                    <a:pt x="56" y="44"/>
                    <a:pt x="56" y="44"/>
                  </a:cubicBezTo>
                  <a:cubicBezTo>
                    <a:pt x="56" y="44"/>
                    <a:pt x="56" y="44"/>
                    <a:pt x="56" y="44"/>
                  </a:cubicBezTo>
                  <a:cubicBezTo>
                    <a:pt x="56" y="44"/>
                    <a:pt x="56" y="44"/>
                    <a:pt x="56" y="44"/>
                  </a:cubicBezTo>
                  <a:cubicBezTo>
                    <a:pt x="56" y="44"/>
                    <a:pt x="56" y="44"/>
                    <a:pt x="56" y="44"/>
                  </a:cubicBezTo>
                  <a:cubicBezTo>
                    <a:pt x="56" y="44"/>
                    <a:pt x="56" y="44"/>
                    <a:pt x="56" y="44"/>
                  </a:cubicBezTo>
                  <a:lnTo>
                    <a:pt x="56" y="44"/>
                  </a:ln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2"/>
                    <a:pt x="56" y="42"/>
                    <a:pt x="56" y="42"/>
                  </a:cubicBezTo>
                  <a:lnTo>
                    <a:pt x="56" y="42"/>
                  </a:lnTo>
                  <a:cubicBezTo>
                    <a:pt x="56" y="42"/>
                    <a:pt x="56" y="42"/>
                    <a:pt x="55" y="42"/>
                  </a:cubicBezTo>
                  <a:cubicBezTo>
                    <a:pt x="55" y="42"/>
                    <a:pt x="55" y="42"/>
                    <a:pt x="55" y="42"/>
                  </a:cubicBezTo>
                  <a:cubicBezTo>
                    <a:pt x="55" y="42"/>
                    <a:pt x="55" y="42"/>
                    <a:pt x="55" y="42"/>
                  </a:cubicBezTo>
                  <a:cubicBezTo>
                    <a:pt x="55" y="42"/>
                    <a:pt x="55" y="42"/>
                    <a:pt x="55" y="42"/>
                  </a:cubicBezTo>
                  <a:cubicBezTo>
                    <a:pt x="55" y="42"/>
                    <a:pt x="55" y="42"/>
                    <a:pt x="55" y="42"/>
                  </a:cubicBezTo>
                  <a:cubicBezTo>
                    <a:pt x="55" y="42"/>
                    <a:pt x="55" y="42"/>
                    <a:pt x="55" y="42"/>
                  </a:cubicBezTo>
                  <a:cubicBezTo>
                    <a:pt x="55" y="42"/>
                    <a:pt x="55" y="42"/>
                    <a:pt x="55" y="42"/>
                  </a:cubicBezTo>
                  <a:cubicBezTo>
                    <a:pt x="55" y="42"/>
                    <a:pt x="55" y="42"/>
                    <a:pt x="55" y="42"/>
                  </a:cubicBezTo>
                  <a:cubicBezTo>
                    <a:pt x="55" y="42"/>
                    <a:pt x="55" y="42"/>
                    <a:pt x="55" y="42"/>
                  </a:cubicBezTo>
                  <a:cubicBezTo>
                    <a:pt x="55" y="42"/>
                    <a:pt x="55" y="42"/>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0"/>
                    <a:pt x="55" y="40"/>
                  </a:cubicBezTo>
                  <a:cubicBezTo>
                    <a:pt x="55" y="40"/>
                    <a:pt x="55" y="40"/>
                    <a:pt x="55" y="40"/>
                  </a:cubicBezTo>
                  <a:cubicBezTo>
                    <a:pt x="55" y="40"/>
                    <a:pt x="55" y="40"/>
                    <a:pt x="55" y="40"/>
                  </a:cubicBezTo>
                  <a:cubicBezTo>
                    <a:pt x="55" y="40"/>
                    <a:pt x="55" y="40"/>
                    <a:pt x="55" y="40"/>
                  </a:cubicBezTo>
                  <a:cubicBezTo>
                    <a:pt x="55" y="40"/>
                    <a:pt x="55" y="40"/>
                    <a:pt x="55" y="40"/>
                  </a:cubicBezTo>
                  <a:cubicBezTo>
                    <a:pt x="55" y="40"/>
                    <a:pt x="55" y="40"/>
                    <a:pt x="55" y="40"/>
                  </a:cubicBezTo>
                  <a:cubicBezTo>
                    <a:pt x="55" y="40"/>
                    <a:pt x="55" y="40"/>
                    <a:pt x="55" y="40"/>
                  </a:cubicBezTo>
                  <a:cubicBezTo>
                    <a:pt x="55" y="40"/>
                    <a:pt x="55" y="40"/>
                    <a:pt x="55" y="40"/>
                  </a:cubicBezTo>
                  <a:cubicBezTo>
                    <a:pt x="55" y="40"/>
                    <a:pt x="55" y="40"/>
                    <a:pt x="54" y="40"/>
                  </a:cubicBezTo>
                  <a:cubicBezTo>
                    <a:pt x="54" y="40"/>
                    <a:pt x="54" y="40"/>
                    <a:pt x="54" y="40"/>
                  </a:cubicBezTo>
                  <a:lnTo>
                    <a:pt x="54" y="40"/>
                  </a:lnTo>
                  <a:cubicBezTo>
                    <a:pt x="54" y="40"/>
                    <a:pt x="54" y="40"/>
                    <a:pt x="54" y="40"/>
                  </a:cubicBezTo>
                  <a:cubicBezTo>
                    <a:pt x="54" y="40"/>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3" y="38"/>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5"/>
                  </a:cubicBezTo>
                  <a:cubicBezTo>
                    <a:pt x="53" y="35"/>
                    <a:pt x="53" y="35"/>
                    <a:pt x="53" y="35"/>
                  </a:cubicBezTo>
                  <a:cubicBezTo>
                    <a:pt x="53" y="35"/>
                    <a:pt x="53" y="35"/>
                    <a:pt x="53" y="35"/>
                  </a:cubicBezTo>
                  <a:cubicBezTo>
                    <a:pt x="53"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2" y="33"/>
                    <a:pt x="52" y="33"/>
                  </a:cubicBezTo>
                  <a:cubicBezTo>
                    <a:pt x="51" y="33"/>
                    <a:pt x="51" y="33"/>
                    <a:pt x="51" y="33"/>
                  </a:cubicBezTo>
                  <a:cubicBezTo>
                    <a:pt x="51" y="33"/>
                    <a:pt x="51" y="33"/>
                    <a:pt x="51" y="33"/>
                  </a:cubicBezTo>
                  <a:cubicBezTo>
                    <a:pt x="51" y="33"/>
                    <a:pt x="51" y="33"/>
                    <a:pt x="51" y="33"/>
                  </a:cubicBezTo>
                  <a:cubicBezTo>
                    <a:pt x="51" y="33"/>
                    <a:pt x="51" y="33"/>
                    <a:pt x="51" y="33"/>
                  </a:cubicBezTo>
                  <a:cubicBezTo>
                    <a:pt x="51" y="33"/>
                    <a:pt x="51" y="33"/>
                    <a:pt x="51" y="33"/>
                  </a:cubicBezTo>
                  <a:cubicBezTo>
                    <a:pt x="51" y="33"/>
                    <a:pt x="51" y="33"/>
                    <a:pt x="51" y="33"/>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0" y="31"/>
                    <a:pt x="50" y="31"/>
                    <a:pt x="50" y="31"/>
                  </a:cubicBezTo>
                  <a:cubicBezTo>
                    <a:pt x="50" y="31"/>
                    <a:pt x="50" y="31"/>
                    <a:pt x="50" y="31"/>
                  </a:cubicBezTo>
                  <a:cubicBezTo>
                    <a:pt x="50" y="31"/>
                    <a:pt x="50" y="31"/>
                    <a:pt x="50" y="31"/>
                  </a:cubicBezTo>
                  <a:cubicBezTo>
                    <a:pt x="50" y="31"/>
                    <a:pt x="50" y="31"/>
                    <a:pt x="50" y="31"/>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29"/>
                  </a:cubicBezTo>
                  <a:cubicBezTo>
                    <a:pt x="50" y="29"/>
                    <a:pt x="50" y="29"/>
                    <a:pt x="50" y="29"/>
                  </a:cubicBezTo>
                  <a:cubicBezTo>
                    <a:pt x="50" y="29"/>
                    <a:pt x="50" y="29"/>
                    <a:pt x="50" y="29"/>
                  </a:cubicBezTo>
                  <a:cubicBezTo>
                    <a:pt x="50" y="29"/>
                    <a:pt x="50" y="29"/>
                    <a:pt x="50" y="29"/>
                  </a:cubicBezTo>
                  <a:cubicBezTo>
                    <a:pt x="50" y="29"/>
                    <a:pt x="50" y="29"/>
                    <a:pt x="50" y="29"/>
                  </a:cubicBezTo>
                  <a:cubicBezTo>
                    <a:pt x="50" y="29"/>
                    <a:pt x="50" y="29"/>
                    <a:pt x="50" y="29"/>
                  </a:cubicBezTo>
                  <a:cubicBezTo>
                    <a:pt x="50" y="29"/>
                    <a:pt x="50" y="29"/>
                    <a:pt x="50" y="29"/>
                  </a:cubicBezTo>
                  <a:cubicBezTo>
                    <a:pt x="50" y="29"/>
                    <a:pt x="50" y="29"/>
                    <a:pt x="50" y="29"/>
                  </a:cubicBezTo>
                  <a:cubicBezTo>
                    <a:pt x="50" y="29"/>
                    <a:pt x="50" y="29"/>
                    <a:pt x="50" y="29"/>
                  </a:cubicBezTo>
                  <a:cubicBezTo>
                    <a:pt x="49" y="29"/>
                    <a:pt x="49" y="29"/>
                    <a:pt x="49" y="29"/>
                  </a:cubicBezTo>
                  <a:cubicBezTo>
                    <a:pt x="49" y="29"/>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4"/>
                    <a:pt x="48" y="24"/>
                  </a:cubicBezTo>
                  <a:cubicBezTo>
                    <a:pt x="48" y="24"/>
                    <a:pt x="48" y="24"/>
                    <a:pt x="48" y="24"/>
                  </a:cubicBezTo>
                  <a:cubicBezTo>
                    <a:pt x="48"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2"/>
                    <a:pt x="47" y="22"/>
                  </a:cubicBezTo>
                  <a:cubicBezTo>
                    <a:pt x="47" y="22"/>
                    <a:pt x="47" y="22"/>
                    <a:pt x="47" y="22"/>
                  </a:cubicBezTo>
                  <a:cubicBezTo>
                    <a:pt x="47" y="22"/>
                    <a:pt x="47" y="22"/>
                    <a:pt x="47" y="22"/>
                  </a:cubicBezTo>
                  <a:cubicBezTo>
                    <a:pt x="46" y="22"/>
                    <a:pt x="46" y="22"/>
                    <a:pt x="46" y="22"/>
                  </a:cubicBezTo>
                  <a:cubicBezTo>
                    <a:pt x="46" y="22"/>
                    <a:pt x="46" y="22"/>
                    <a:pt x="46" y="22"/>
                  </a:cubicBezTo>
                  <a:cubicBezTo>
                    <a:pt x="46" y="22"/>
                    <a:pt x="46" y="22"/>
                    <a:pt x="46" y="22"/>
                  </a:cubicBezTo>
                  <a:cubicBezTo>
                    <a:pt x="46" y="22"/>
                    <a:pt x="46" y="22"/>
                    <a:pt x="46" y="22"/>
                  </a:cubicBezTo>
                  <a:cubicBezTo>
                    <a:pt x="46" y="22"/>
                    <a:pt x="46" y="22"/>
                    <a:pt x="46" y="22"/>
                  </a:cubicBezTo>
                  <a:cubicBezTo>
                    <a:pt x="46" y="22"/>
                    <a:pt x="46" y="22"/>
                    <a:pt x="46" y="22"/>
                  </a:cubicBezTo>
                  <a:cubicBezTo>
                    <a:pt x="46" y="22"/>
                    <a:pt x="46" y="22"/>
                    <a:pt x="46" y="22"/>
                  </a:cubicBezTo>
                  <a:cubicBezTo>
                    <a:pt x="46" y="22"/>
                    <a:pt x="46" y="22"/>
                    <a:pt x="46" y="21"/>
                  </a:cubicBezTo>
                  <a:cubicBezTo>
                    <a:pt x="46" y="21"/>
                    <a:pt x="46" y="21"/>
                    <a:pt x="46" y="21"/>
                  </a:cubicBezTo>
                  <a:cubicBezTo>
                    <a:pt x="46" y="21"/>
                    <a:pt x="46" y="21"/>
                    <a:pt x="46" y="21"/>
                  </a:cubicBezTo>
                  <a:cubicBezTo>
                    <a:pt x="46" y="21"/>
                    <a:pt x="46" y="21"/>
                    <a:pt x="46" y="21"/>
                  </a:cubicBezTo>
                  <a:cubicBezTo>
                    <a:pt x="46" y="21"/>
                    <a:pt x="46" y="21"/>
                    <a:pt x="46" y="21"/>
                  </a:cubicBezTo>
                  <a:cubicBezTo>
                    <a:pt x="46" y="21"/>
                    <a:pt x="46" y="21"/>
                    <a:pt x="46" y="21"/>
                  </a:cubicBezTo>
                  <a:cubicBezTo>
                    <a:pt x="46" y="21"/>
                    <a:pt x="46" y="21"/>
                    <a:pt x="46" y="21"/>
                  </a:cubicBezTo>
                  <a:cubicBezTo>
                    <a:pt x="46" y="21"/>
                    <a:pt x="46" y="21"/>
                    <a:pt x="46" y="21"/>
                  </a:cubicBezTo>
                  <a:cubicBezTo>
                    <a:pt x="46" y="21"/>
                    <a:pt x="46" y="20"/>
                    <a:pt x="46" y="20"/>
                  </a:cubicBezTo>
                  <a:cubicBezTo>
                    <a:pt x="46" y="20"/>
                    <a:pt x="46" y="20"/>
                    <a:pt x="46" y="20"/>
                  </a:cubicBezTo>
                  <a:cubicBezTo>
                    <a:pt x="46" y="20"/>
                    <a:pt x="46" y="20"/>
                    <a:pt x="46" y="20"/>
                  </a:cubicBezTo>
                  <a:cubicBezTo>
                    <a:pt x="46" y="20"/>
                    <a:pt x="46" y="20"/>
                    <a:pt x="46" y="20"/>
                  </a:cubicBezTo>
                  <a:cubicBezTo>
                    <a:pt x="46" y="20"/>
                    <a:pt x="45" y="20"/>
                    <a:pt x="45" y="20"/>
                  </a:cubicBezTo>
                  <a:cubicBezTo>
                    <a:pt x="45" y="20"/>
                    <a:pt x="45" y="20"/>
                    <a:pt x="45" y="20"/>
                  </a:cubicBezTo>
                  <a:cubicBezTo>
                    <a:pt x="45" y="20"/>
                    <a:pt x="45" y="20"/>
                    <a:pt x="45" y="20"/>
                  </a:cubicBezTo>
                  <a:cubicBezTo>
                    <a:pt x="45" y="20"/>
                    <a:pt x="45" y="20"/>
                    <a:pt x="45" y="20"/>
                  </a:cubicBezTo>
                  <a:cubicBezTo>
                    <a:pt x="45" y="20"/>
                    <a:pt x="45" y="20"/>
                    <a:pt x="45" y="20"/>
                  </a:cubicBezTo>
                  <a:cubicBezTo>
                    <a:pt x="45" y="20"/>
                    <a:pt x="45" y="20"/>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8"/>
                  </a:cubicBezTo>
                  <a:cubicBezTo>
                    <a:pt x="45" y="18"/>
                    <a:pt x="45" y="18"/>
                    <a:pt x="45" y="18"/>
                  </a:cubicBezTo>
                  <a:cubicBezTo>
                    <a:pt x="45" y="18"/>
                    <a:pt x="45" y="18"/>
                    <a:pt x="44" y="18"/>
                  </a:cubicBezTo>
                  <a:cubicBezTo>
                    <a:pt x="44" y="18"/>
                    <a:pt x="44" y="18"/>
                    <a:pt x="44" y="18"/>
                  </a:cubicBezTo>
                  <a:cubicBezTo>
                    <a:pt x="44" y="18"/>
                    <a:pt x="44" y="18"/>
                    <a:pt x="44" y="18"/>
                  </a:cubicBezTo>
                  <a:cubicBezTo>
                    <a:pt x="44" y="18"/>
                    <a:pt x="44" y="18"/>
                    <a:pt x="44" y="18"/>
                  </a:cubicBezTo>
                  <a:cubicBezTo>
                    <a:pt x="44" y="18"/>
                    <a:pt x="44" y="18"/>
                    <a:pt x="44" y="18"/>
                  </a:cubicBezTo>
                  <a:cubicBezTo>
                    <a:pt x="44" y="18"/>
                    <a:pt x="44" y="18"/>
                    <a:pt x="44" y="18"/>
                  </a:cubicBezTo>
                  <a:cubicBezTo>
                    <a:pt x="44" y="18"/>
                    <a:pt x="44" y="18"/>
                    <a:pt x="44" y="18"/>
                  </a:cubicBezTo>
                  <a:cubicBezTo>
                    <a:pt x="44" y="18"/>
                    <a:pt x="44" y="18"/>
                    <a:pt x="44" y="17"/>
                  </a:cubicBezTo>
                  <a:cubicBezTo>
                    <a:pt x="44" y="17"/>
                    <a:pt x="44" y="17"/>
                    <a:pt x="44" y="17"/>
                  </a:cubicBezTo>
                  <a:cubicBezTo>
                    <a:pt x="44" y="17"/>
                    <a:pt x="44" y="17"/>
                    <a:pt x="44" y="17"/>
                  </a:cubicBezTo>
                  <a:cubicBezTo>
                    <a:pt x="44" y="17"/>
                    <a:pt x="44" y="17"/>
                    <a:pt x="44" y="17"/>
                  </a:cubicBezTo>
                  <a:cubicBezTo>
                    <a:pt x="44" y="17"/>
                    <a:pt x="44" y="17"/>
                    <a:pt x="44" y="17"/>
                  </a:cubicBezTo>
                  <a:lnTo>
                    <a:pt x="44" y="17"/>
                  </a:lnTo>
                  <a:cubicBezTo>
                    <a:pt x="44" y="17"/>
                    <a:pt x="44" y="17"/>
                    <a:pt x="44" y="17"/>
                  </a:cubicBezTo>
                  <a:cubicBezTo>
                    <a:pt x="44" y="17"/>
                    <a:pt x="44" y="17"/>
                    <a:pt x="44" y="17"/>
                  </a:cubicBezTo>
                  <a:cubicBezTo>
                    <a:pt x="44" y="17"/>
                    <a:pt x="44" y="17"/>
                    <a:pt x="44" y="17"/>
                  </a:cubicBezTo>
                  <a:cubicBezTo>
                    <a:pt x="44" y="17"/>
                    <a:pt x="44" y="17"/>
                    <a:pt x="44" y="17"/>
                  </a:cubicBezTo>
                  <a:cubicBezTo>
                    <a:pt x="44" y="17"/>
                    <a:pt x="44" y="17"/>
                    <a:pt x="44" y="16"/>
                  </a:cubicBezTo>
                  <a:cubicBezTo>
                    <a:pt x="44" y="16"/>
                    <a:pt x="44" y="16"/>
                    <a:pt x="44" y="16"/>
                  </a:cubicBezTo>
                  <a:cubicBezTo>
                    <a:pt x="44" y="16"/>
                    <a:pt x="44" y="16"/>
                    <a:pt x="44" y="16"/>
                  </a:cubicBezTo>
                  <a:cubicBezTo>
                    <a:pt x="44" y="16"/>
                    <a:pt x="44" y="16"/>
                    <a:pt x="44" y="16"/>
                  </a:cubicBezTo>
                  <a:cubicBezTo>
                    <a:pt x="44" y="16"/>
                    <a:pt x="44" y="16"/>
                    <a:pt x="44" y="16"/>
                  </a:cubicBezTo>
                  <a:cubicBezTo>
                    <a:pt x="44" y="16"/>
                    <a:pt x="43" y="16"/>
                    <a:pt x="43" y="16"/>
                  </a:cubicBezTo>
                  <a:cubicBezTo>
                    <a:pt x="43" y="16"/>
                    <a:pt x="43" y="16"/>
                    <a:pt x="43" y="16"/>
                  </a:cubicBezTo>
                  <a:cubicBezTo>
                    <a:pt x="43" y="16"/>
                    <a:pt x="43" y="16"/>
                    <a:pt x="43" y="16"/>
                  </a:cubicBezTo>
                  <a:cubicBezTo>
                    <a:pt x="43" y="16"/>
                    <a:pt x="43" y="16"/>
                    <a:pt x="43" y="16"/>
                  </a:cubicBezTo>
                  <a:cubicBezTo>
                    <a:pt x="43" y="16"/>
                    <a:pt x="43" y="16"/>
                    <a:pt x="43" y="16"/>
                  </a:cubicBezTo>
                  <a:cubicBezTo>
                    <a:pt x="43" y="16"/>
                    <a:pt x="43" y="16"/>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4"/>
                    <a:pt x="43"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2"/>
                  </a:cubicBezTo>
                  <a:cubicBezTo>
                    <a:pt x="42" y="12"/>
                    <a:pt x="42" y="12"/>
                    <a:pt x="42" y="12"/>
                  </a:cubicBezTo>
                  <a:cubicBezTo>
                    <a:pt x="42" y="12"/>
                    <a:pt x="42" y="12"/>
                    <a:pt x="42" y="12"/>
                  </a:cubicBezTo>
                  <a:cubicBezTo>
                    <a:pt x="42" y="12"/>
                    <a:pt x="42" y="12"/>
                    <a:pt x="42" y="12"/>
                  </a:cubicBezTo>
                  <a:cubicBezTo>
                    <a:pt x="42" y="12"/>
                    <a:pt x="41" y="12"/>
                    <a:pt x="41" y="12"/>
                  </a:cubicBezTo>
                  <a:cubicBezTo>
                    <a:pt x="41" y="12"/>
                    <a:pt x="41" y="12"/>
                    <a:pt x="41" y="12"/>
                  </a:cubicBezTo>
                  <a:cubicBezTo>
                    <a:pt x="41" y="12"/>
                    <a:pt x="41" y="12"/>
                    <a:pt x="41" y="12"/>
                  </a:cubicBezTo>
                  <a:cubicBezTo>
                    <a:pt x="41" y="12"/>
                    <a:pt x="41" y="12"/>
                    <a:pt x="41" y="12"/>
                  </a:cubicBezTo>
                  <a:cubicBezTo>
                    <a:pt x="41" y="12"/>
                    <a:pt x="41" y="12"/>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9"/>
                  </a:cubicBezTo>
                  <a:cubicBezTo>
                    <a:pt x="40" y="9"/>
                    <a:pt x="40" y="9"/>
                    <a:pt x="40" y="9"/>
                  </a:cubicBezTo>
                  <a:cubicBezTo>
                    <a:pt x="40" y="9"/>
                    <a:pt x="40" y="9"/>
                    <a:pt x="40" y="9"/>
                  </a:cubicBezTo>
                  <a:lnTo>
                    <a:pt x="40" y="9"/>
                  </a:lnTo>
                  <a:cubicBezTo>
                    <a:pt x="40" y="9"/>
                    <a:pt x="40" y="9"/>
                    <a:pt x="40" y="9"/>
                  </a:cubicBezTo>
                  <a:cubicBezTo>
                    <a:pt x="40" y="9"/>
                    <a:pt x="40" y="9"/>
                    <a:pt x="40" y="9"/>
                  </a:cubicBezTo>
                  <a:cubicBezTo>
                    <a:pt x="40" y="9"/>
                    <a:pt x="40" y="9"/>
                    <a:pt x="40" y="9"/>
                  </a:cubicBezTo>
                  <a:cubicBezTo>
                    <a:pt x="40" y="9"/>
                    <a:pt x="40" y="9"/>
                    <a:pt x="40" y="9"/>
                  </a:cubicBezTo>
                  <a:cubicBezTo>
                    <a:pt x="40" y="9"/>
                    <a:pt x="40" y="9"/>
                    <a:pt x="40" y="9"/>
                  </a:cubicBezTo>
                  <a:cubicBezTo>
                    <a:pt x="40" y="9"/>
                    <a:pt x="40" y="9"/>
                    <a:pt x="40" y="9"/>
                  </a:cubicBezTo>
                  <a:cubicBezTo>
                    <a:pt x="40" y="9"/>
                    <a:pt x="40" y="9"/>
                    <a:pt x="40" y="9"/>
                  </a:cubicBezTo>
                  <a:cubicBezTo>
                    <a:pt x="40" y="8"/>
                    <a:pt x="40" y="8"/>
                    <a:pt x="40" y="8"/>
                  </a:cubicBezTo>
                  <a:cubicBezTo>
                    <a:pt x="40"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lnTo>
                    <a:pt x="39" y="8"/>
                  </a:lnTo>
                  <a:cubicBezTo>
                    <a:pt x="39" y="8"/>
                    <a:pt x="39" y="8"/>
                    <a:pt x="39" y="8"/>
                  </a:cubicBezTo>
                  <a:cubicBezTo>
                    <a:pt x="39" y="8"/>
                    <a:pt x="39" y="8"/>
                    <a:pt x="39" y="8"/>
                  </a:cubicBezTo>
                  <a:cubicBezTo>
                    <a:pt x="39" y="8"/>
                    <a:pt x="39" y="8"/>
                    <a:pt x="39" y="8"/>
                  </a:cubicBezTo>
                  <a:cubicBezTo>
                    <a:pt x="39" y="8"/>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8" y="7"/>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7" y="5"/>
                    <a:pt x="37" y="5"/>
                    <a:pt x="37" y="5"/>
                  </a:cubicBezTo>
                  <a:cubicBezTo>
                    <a:pt x="37" y="5"/>
                    <a:pt x="37" y="5"/>
                    <a:pt x="37" y="5"/>
                  </a:cubicBezTo>
                  <a:cubicBezTo>
                    <a:pt x="37" y="5"/>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3"/>
                    <a:pt x="37" y="3"/>
                    <a:pt x="37" y="3"/>
                  </a:cubicBezTo>
                  <a:cubicBezTo>
                    <a:pt x="37" y="3"/>
                    <a:pt x="37" y="3"/>
                    <a:pt x="37" y="3"/>
                  </a:cubicBezTo>
                  <a:cubicBezTo>
                    <a:pt x="37" y="3"/>
                    <a:pt x="37" y="3"/>
                    <a:pt x="37" y="3"/>
                  </a:cubicBezTo>
                  <a:cubicBezTo>
                    <a:pt x="37" y="3"/>
                    <a:pt x="37" y="3"/>
                    <a:pt x="37" y="3"/>
                  </a:cubicBezTo>
                  <a:cubicBezTo>
                    <a:pt x="37" y="3"/>
                    <a:pt x="37" y="3"/>
                    <a:pt x="37" y="3"/>
                  </a:cubicBezTo>
                  <a:cubicBezTo>
                    <a:pt x="37" y="3"/>
                    <a:pt x="37" y="3"/>
                    <a:pt x="37" y="3"/>
                  </a:cubicBezTo>
                  <a:cubicBezTo>
                    <a:pt x="37" y="3"/>
                    <a:pt x="37" y="3"/>
                    <a:pt x="37" y="3"/>
                  </a:cubicBezTo>
                  <a:cubicBezTo>
                    <a:pt x="37" y="3"/>
                    <a:pt x="37" y="3"/>
                    <a:pt x="37" y="3"/>
                  </a:cubicBezTo>
                  <a:cubicBezTo>
                    <a:pt x="37" y="3"/>
                    <a:pt x="37" y="3"/>
                    <a:pt x="36" y="3"/>
                  </a:cubicBezTo>
                  <a:cubicBezTo>
                    <a:pt x="36" y="3"/>
                    <a:pt x="36" y="3"/>
                    <a:pt x="36" y="3"/>
                  </a:cubicBezTo>
                  <a:cubicBezTo>
                    <a:pt x="36" y="3"/>
                    <a:pt x="36" y="3"/>
                    <a:pt x="36" y="3"/>
                  </a:cubicBezTo>
                  <a:cubicBezTo>
                    <a:pt x="36" y="3"/>
                    <a:pt x="36" y="3"/>
                    <a:pt x="36" y="3"/>
                  </a:cubicBezTo>
                  <a:cubicBezTo>
                    <a:pt x="36" y="3"/>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1"/>
                    <a:pt x="36" y="1"/>
                    <a:pt x="36" y="1"/>
                  </a:cubicBezTo>
                  <a:cubicBezTo>
                    <a:pt x="36" y="1"/>
                    <a:pt x="36" y="1"/>
                    <a:pt x="36" y="1"/>
                  </a:cubicBezTo>
                  <a:cubicBezTo>
                    <a:pt x="36" y="1"/>
                    <a:pt x="36" y="1"/>
                    <a:pt x="36" y="1"/>
                  </a:cubicBezTo>
                  <a:cubicBezTo>
                    <a:pt x="35" y="1"/>
                    <a:pt x="35" y="1"/>
                    <a:pt x="35" y="1"/>
                  </a:cubicBezTo>
                  <a:cubicBezTo>
                    <a:pt x="35" y="1"/>
                    <a:pt x="35" y="1"/>
                    <a:pt x="35" y="1"/>
                  </a:cubicBezTo>
                  <a:cubicBezTo>
                    <a:pt x="35" y="1"/>
                    <a:pt x="35" y="1"/>
                    <a:pt x="35" y="1"/>
                  </a:cubicBezTo>
                  <a:cubicBezTo>
                    <a:pt x="35" y="1"/>
                    <a:pt x="35" y="1"/>
                    <a:pt x="35" y="1"/>
                  </a:cubicBezTo>
                  <a:cubicBezTo>
                    <a:pt x="35" y="1"/>
                    <a:pt x="35" y="1"/>
                    <a:pt x="35" y="1"/>
                  </a:cubicBezTo>
                  <a:cubicBezTo>
                    <a:pt x="35" y="1"/>
                    <a:pt x="35" y="1"/>
                    <a:pt x="35" y="1"/>
                  </a:cubicBezTo>
                  <a:cubicBezTo>
                    <a:pt x="35" y="1"/>
                    <a:pt x="35" y="1"/>
                    <a:pt x="35" y="1"/>
                  </a:cubicBezTo>
                  <a:cubicBezTo>
                    <a:pt x="35" y="1"/>
                    <a:pt x="35" y="0"/>
                    <a:pt x="35" y="0"/>
                  </a:cubicBezTo>
                  <a:cubicBezTo>
                    <a:pt x="35" y="0"/>
                    <a:pt x="35" y="0"/>
                    <a:pt x="35" y="0"/>
                  </a:cubicBezTo>
                  <a:cubicBezTo>
                    <a:pt x="35" y="0"/>
                    <a:pt x="35" y="0"/>
                    <a:pt x="35" y="0"/>
                  </a:cubicBezTo>
                  <a:cubicBezTo>
                    <a:pt x="35" y="0"/>
                    <a:pt x="35" y="0"/>
                    <a:pt x="35" y="0"/>
                  </a:cubicBezTo>
                  <a:cubicBezTo>
                    <a:pt x="35" y="0"/>
                    <a:pt x="35" y="0"/>
                    <a:pt x="35" y="0"/>
                  </a:cubicBezTo>
                  <a:cubicBezTo>
                    <a:pt x="35" y="0"/>
                    <a:pt x="35" y="0"/>
                    <a:pt x="35" y="0"/>
                  </a:cubicBezTo>
                  <a:cubicBezTo>
                    <a:pt x="35" y="0"/>
                    <a:pt x="35" y="0"/>
                    <a:pt x="35" y="0"/>
                  </a:cubicBezTo>
                  <a:lnTo>
                    <a:pt x="0" y="19"/>
                  </a:lnTo>
                  <a:cubicBezTo>
                    <a:pt x="14" y="44"/>
                    <a:pt x="25" y="70"/>
                    <a:pt x="33" y="97"/>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35">
              <a:extLst>
                <a:ext uri="{FF2B5EF4-FFF2-40B4-BE49-F238E27FC236}">
                  <a16:creationId xmlns:a16="http://schemas.microsoft.com/office/drawing/2014/main" id="{F3F9BE0A-C8C0-6846-5BFD-DCE503B2B14D}"/>
                </a:ext>
              </a:extLst>
            </p:cNvPr>
            <p:cNvSpPr>
              <a:spLocks/>
            </p:cNvSpPr>
            <p:nvPr/>
          </p:nvSpPr>
          <p:spPr bwMode="auto">
            <a:xfrm>
              <a:off x="2797176" y="3348038"/>
              <a:ext cx="63500" cy="68263"/>
            </a:xfrm>
            <a:custGeom>
              <a:avLst/>
              <a:gdLst>
                <a:gd name="T0" fmla="*/ 55 w 88"/>
                <a:gd name="T1" fmla="*/ 93 h 93"/>
                <a:gd name="T2" fmla="*/ 48 w 88"/>
                <a:gd name="T3" fmla="*/ 21 h 93"/>
                <a:gd name="T4" fmla="*/ 48 w 88"/>
                <a:gd name="T5" fmla="*/ 21 h 93"/>
                <a:gd name="T6" fmla="*/ 48 w 88"/>
                <a:gd name="T7" fmla="*/ 21 h 93"/>
                <a:gd name="T8" fmla="*/ 48 w 88"/>
                <a:gd name="T9" fmla="*/ 21 h 93"/>
                <a:gd name="T10" fmla="*/ 48 w 88"/>
                <a:gd name="T11" fmla="*/ 20 h 93"/>
                <a:gd name="T12" fmla="*/ 48 w 88"/>
                <a:gd name="T13" fmla="*/ 20 h 93"/>
                <a:gd name="T14" fmla="*/ 47 w 88"/>
                <a:gd name="T15" fmla="*/ 20 h 93"/>
                <a:gd name="T16" fmla="*/ 47 w 88"/>
                <a:gd name="T17" fmla="*/ 20 h 93"/>
                <a:gd name="T18" fmla="*/ 47 w 88"/>
                <a:gd name="T19" fmla="*/ 20 h 93"/>
                <a:gd name="T20" fmla="*/ 47 w 88"/>
                <a:gd name="T21" fmla="*/ 19 h 93"/>
                <a:gd name="T22" fmla="*/ 47 w 88"/>
                <a:gd name="T23" fmla="*/ 19 h 93"/>
                <a:gd name="T24" fmla="*/ 47 w 88"/>
                <a:gd name="T25" fmla="*/ 19 h 93"/>
                <a:gd name="T26" fmla="*/ 46 w 88"/>
                <a:gd name="T27" fmla="*/ 19 h 93"/>
                <a:gd name="T28" fmla="*/ 46 w 88"/>
                <a:gd name="T29" fmla="*/ 19 h 93"/>
                <a:gd name="T30" fmla="*/ 46 w 88"/>
                <a:gd name="T31" fmla="*/ 19 h 93"/>
                <a:gd name="T32" fmla="*/ 46 w 88"/>
                <a:gd name="T33" fmla="*/ 18 h 93"/>
                <a:gd name="T34" fmla="*/ 46 w 88"/>
                <a:gd name="T35" fmla="*/ 18 h 93"/>
                <a:gd name="T36" fmla="*/ 46 w 88"/>
                <a:gd name="T37" fmla="*/ 18 h 93"/>
                <a:gd name="T38" fmla="*/ 46 w 88"/>
                <a:gd name="T39" fmla="*/ 18 h 93"/>
                <a:gd name="T40" fmla="*/ 46 w 88"/>
                <a:gd name="T41" fmla="*/ 18 h 93"/>
                <a:gd name="T42" fmla="*/ 45 w 88"/>
                <a:gd name="T43" fmla="*/ 18 h 93"/>
                <a:gd name="T44" fmla="*/ 45 w 88"/>
                <a:gd name="T45" fmla="*/ 18 h 93"/>
                <a:gd name="T46" fmla="*/ 45 w 88"/>
                <a:gd name="T47" fmla="*/ 17 h 93"/>
                <a:gd name="T48" fmla="*/ 45 w 88"/>
                <a:gd name="T49" fmla="*/ 17 h 93"/>
                <a:gd name="T50" fmla="*/ 45 w 88"/>
                <a:gd name="T51" fmla="*/ 17 h 93"/>
                <a:gd name="T52" fmla="*/ 45 w 88"/>
                <a:gd name="T53" fmla="*/ 17 h 93"/>
                <a:gd name="T54" fmla="*/ 45 w 88"/>
                <a:gd name="T55" fmla="*/ 17 h 93"/>
                <a:gd name="T56" fmla="*/ 44 w 88"/>
                <a:gd name="T57" fmla="*/ 17 h 93"/>
                <a:gd name="T58" fmla="*/ 44 w 88"/>
                <a:gd name="T59" fmla="*/ 17 h 93"/>
                <a:gd name="T60" fmla="*/ 44 w 88"/>
                <a:gd name="T61" fmla="*/ 16 h 93"/>
                <a:gd name="T62" fmla="*/ 44 w 88"/>
                <a:gd name="T63" fmla="*/ 16 h 93"/>
                <a:gd name="T64" fmla="*/ 44 w 88"/>
                <a:gd name="T65" fmla="*/ 16 h 93"/>
                <a:gd name="T66" fmla="*/ 44 w 88"/>
                <a:gd name="T67" fmla="*/ 16 h 93"/>
                <a:gd name="T68" fmla="*/ 43 w 88"/>
                <a:gd name="T69" fmla="*/ 16 h 93"/>
                <a:gd name="T70" fmla="*/ 43 w 88"/>
                <a:gd name="T71" fmla="*/ 15 h 93"/>
                <a:gd name="T72" fmla="*/ 43 w 88"/>
                <a:gd name="T73" fmla="*/ 15 h 93"/>
                <a:gd name="T74" fmla="*/ 43 w 88"/>
                <a:gd name="T75" fmla="*/ 15 h 93"/>
                <a:gd name="T76" fmla="*/ 27 w 88"/>
                <a:gd name="T77" fmla="*/ 0 h 93"/>
                <a:gd name="T78" fmla="*/ 55 w 88"/>
                <a:gd name="T7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8" h="93">
                  <a:moveTo>
                    <a:pt x="55" y="93"/>
                  </a:moveTo>
                  <a:lnTo>
                    <a:pt x="55" y="93"/>
                  </a:lnTo>
                  <a:lnTo>
                    <a:pt x="88" y="70"/>
                  </a:lnTo>
                  <a:cubicBezTo>
                    <a:pt x="76" y="53"/>
                    <a:pt x="63" y="36"/>
                    <a:pt x="48" y="21"/>
                  </a:cubicBezTo>
                  <a:lnTo>
                    <a:pt x="48" y="21"/>
                  </a:lnTo>
                  <a:cubicBezTo>
                    <a:pt x="48" y="21"/>
                    <a:pt x="48" y="21"/>
                    <a:pt x="48" y="21"/>
                  </a:cubicBezTo>
                  <a:cubicBezTo>
                    <a:pt x="48" y="21"/>
                    <a:pt x="48" y="21"/>
                    <a:pt x="48" y="21"/>
                  </a:cubicBezTo>
                  <a:cubicBezTo>
                    <a:pt x="48" y="21"/>
                    <a:pt x="48" y="21"/>
                    <a:pt x="48" y="21"/>
                  </a:cubicBezTo>
                  <a:cubicBezTo>
                    <a:pt x="48" y="21"/>
                    <a:pt x="48" y="21"/>
                    <a:pt x="48" y="21"/>
                  </a:cubicBezTo>
                  <a:cubicBezTo>
                    <a:pt x="48" y="21"/>
                    <a:pt x="48" y="21"/>
                    <a:pt x="48" y="21"/>
                  </a:cubicBezTo>
                  <a:lnTo>
                    <a:pt x="48" y="21"/>
                  </a:lnTo>
                  <a:cubicBezTo>
                    <a:pt x="48" y="21"/>
                    <a:pt x="48" y="20"/>
                    <a:pt x="48" y="20"/>
                  </a:cubicBezTo>
                  <a:cubicBezTo>
                    <a:pt x="48" y="20"/>
                    <a:pt x="48" y="20"/>
                    <a:pt x="48" y="20"/>
                  </a:cubicBezTo>
                  <a:cubicBezTo>
                    <a:pt x="48" y="20"/>
                    <a:pt x="48" y="20"/>
                    <a:pt x="48" y="20"/>
                  </a:cubicBezTo>
                  <a:cubicBezTo>
                    <a:pt x="47" y="20"/>
                    <a:pt x="47" y="20"/>
                    <a:pt x="47" y="20"/>
                  </a:cubicBezTo>
                  <a:cubicBezTo>
                    <a:pt x="47" y="20"/>
                    <a:pt x="47" y="20"/>
                    <a:pt x="47" y="20"/>
                  </a:cubicBezTo>
                  <a:lnTo>
                    <a:pt x="47" y="20"/>
                  </a:lnTo>
                  <a:cubicBezTo>
                    <a:pt x="47" y="20"/>
                    <a:pt x="47" y="20"/>
                    <a:pt x="47" y="20"/>
                  </a:cubicBezTo>
                  <a:lnTo>
                    <a:pt x="47" y="20"/>
                  </a:lnTo>
                  <a:cubicBezTo>
                    <a:pt x="47" y="20"/>
                    <a:pt x="47" y="20"/>
                    <a:pt x="47" y="20"/>
                  </a:cubicBezTo>
                  <a:cubicBezTo>
                    <a:pt x="47" y="20"/>
                    <a:pt x="47" y="19"/>
                    <a:pt x="47" y="19"/>
                  </a:cubicBezTo>
                  <a:cubicBezTo>
                    <a:pt x="47" y="19"/>
                    <a:pt x="47" y="19"/>
                    <a:pt x="47" y="19"/>
                  </a:cubicBezTo>
                  <a:cubicBezTo>
                    <a:pt x="47" y="19"/>
                    <a:pt x="47" y="19"/>
                    <a:pt x="47" y="19"/>
                  </a:cubicBezTo>
                  <a:cubicBezTo>
                    <a:pt x="47" y="19"/>
                    <a:pt x="47" y="19"/>
                    <a:pt x="47" y="19"/>
                  </a:cubicBezTo>
                  <a:cubicBezTo>
                    <a:pt x="47" y="19"/>
                    <a:pt x="47" y="19"/>
                    <a:pt x="47" y="19"/>
                  </a:cubicBezTo>
                  <a:cubicBezTo>
                    <a:pt x="47" y="19"/>
                    <a:pt x="47" y="19"/>
                    <a:pt x="47" y="19"/>
                  </a:cubicBezTo>
                  <a:cubicBezTo>
                    <a:pt x="47" y="19"/>
                    <a:pt x="46" y="19"/>
                    <a:pt x="46" y="19"/>
                  </a:cubicBezTo>
                  <a:cubicBezTo>
                    <a:pt x="46" y="19"/>
                    <a:pt x="46" y="19"/>
                    <a:pt x="46" y="19"/>
                  </a:cubicBezTo>
                  <a:cubicBezTo>
                    <a:pt x="46" y="19"/>
                    <a:pt x="46" y="19"/>
                    <a:pt x="46" y="19"/>
                  </a:cubicBezTo>
                  <a:cubicBezTo>
                    <a:pt x="46" y="19"/>
                    <a:pt x="46" y="19"/>
                    <a:pt x="46" y="19"/>
                  </a:cubicBezTo>
                  <a:cubicBezTo>
                    <a:pt x="46" y="19"/>
                    <a:pt x="46" y="19"/>
                    <a:pt x="46" y="19"/>
                  </a:cubicBezTo>
                  <a:cubicBezTo>
                    <a:pt x="46" y="19"/>
                    <a:pt x="46" y="19"/>
                    <a:pt x="46" y="19"/>
                  </a:cubicBezTo>
                  <a:cubicBezTo>
                    <a:pt x="46" y="19"/>
                    <a:pt x="46" y="19"/>
                    <a:pt x="46" y="19"/>
                  </a:cubicBezTo>
                  <a:cubicBezTo>
                    <a:pt x="46" y="19"/>
                    <a:pt x="46" y="19"/>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5" y="18"/>
                    <a:pt x="45" y="18"/>
                  </a:cubicBezTo>
                  <a:cubicBezTo>
                    <a:pt x="45" y="18"/>
                    <a:pt x="45" y="18"/>
                    <a:pt x="45" y="18"/>
                  </a:cubicBezTo>
                  <a:cubicBezTo>
                    <a:pt x="45" y="18"/>
                    <a:pt x="45" y="18"/>
                    <a:pt x="45" y="18"/>
                  </a:cubicBezTo>
                  <a:cubicBezTo>
                    <a:pt x="45" y="18"/>
                    <a:pt x="45" y="18"/>
                    <a:pt x="45" y="18"/>
                  </a:cubicBezTo>
                  <a:cubicBezTo>
                    <a:pt x="45" y="18"/>
                    <a:pt x="45" y="18"/>
                    <a:pt x="45" y="18"/>
                  </a:cubicBezTo>
                  <a:cubicBezTo>
                    <a:pt x="45" y="18"/>
                    <a:pt x="45" y="18"/>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4" y="17"/>
                    <a:pt x="44" y="17"/>
                  </a:cubicBezTo>
                  <a:cubicBezTo>
                    <a:pt x="44" y="17"/>
                    <a:pt x="44" y="17"/>
                    <a:pt x="44" y="17"/>
                  </a:cubicBezTo>
                  <a:cubicBezTo>
                    <a:pt x="44" y="17"/>
                    <a:pt x="44" y="17"/>
                    <a:pt x="44" y="17"/>
                  </a:cubicBezTo>
                  <a:lnTo>
                    <a:pt x="44" y="17"/>
                  </a:lnTo>
                  <a:cubicBezTo>
                    <a:pt x="44" y="17"/>
                    <a:pt x="44" y="16"/>
                    <a:pt x="44" y="16"/>
                  </a:cubicBezTo>
                  <a:cubicBezTo>
                    <a:pt x="44" y="16"/>
                    <a:pt x="44" y="16"/>
                    <a:pt x="44" y="16"/>
                  </a:cubicBezTo>
                  <a:cubicBezTo>
                    <a:pt x="44" y="16"/>
                    <a:pt x="44" y="16"/>
                    <a:pt x="44" y="16"/>
                  </a:cubicBezTo>
                  <a:cubicBezTo>
                    <a:pt x="44" y="16"/>
                    <a:pt x="44" y="16"/>
                    <a:pt x="44" y="16"/>
                  </a:cubicBezTo>
                  <a:cubicBezTo>
                    <a:pt x="44" y="16"/>
                    <a:pt x="44" y="16"/>
                    <a:pt x="44" y="16"/>
                  </a:cubicBezTo>
                  <a:cubicBezTo>
                    <a:pt x="44" y="16"/>
                    <a:pt x="44" y="16"/>
                    <a:pt x="44" y="16"/>
                  </a:cubicBezTo>
                  <a:cubicBezTo>
                    <a:pt x="44" y="16"/>
                    <a:pt x="44" y="16"/>
                    <a:pt x="44" y="16"/>
                  </a:cubicBezTo>
                  <a:cubicBezTo>
                    <a:pt x="44" y="16"/>
                    <a:pt x="44" y="16"/>
                    <a:pt x="44" y="16"/>
                  </a:cubicBezTo>
                  <a:cubicBezTo>
                    <a:pt x="44" y="16"/>
                    <a:pt x="43" y="16"/>
                    <a:pt x="43" y="16"/>
                  </a:cubicBezTo>
                  <a:lnTo>
                    <a:pt x="43" y="16"/>
                  </a:lnTo>
                  <a:cubicBezTo>
                    <a:pt x="43" y="15"/>
                    <a:pt x="43" y="15"/>
                    <a:pt x="43" y="15"/>
                  </a:cubicBezTo>
                  <a:cubicBezTo>
                    <a:pt x="43" y="15"/>
                    <a:pt x="43" y="15"/>
                    <a:pt x="43" y="15"/>
                  </a:cubicBezTo>
                  <a:cubicBezTo>
                    <a:pt x="43" y="15"/>
                    <a:pt x="43" y="15"/>
                    <a:pt x="43" y="15"/>
                  </a:cubicBezTo>
                  <a:lnTo>
                    <a:pt x="43" y="15"/>
                  </a:lnTo>
                  <a:cubicBezTo>
                    <a:pt x="43" y="15"/>
                    <a:pt x="43" y="15"/>
                    <a:pt x="43" y="15"/>
                  </a:cubicBezTo>
                  <a:lnTo>
                    <a:pt x="43" y="15"/>
                  </a:lnTo>
                  <a:cubicBezTo>
                    <a:pt x="38" y="10"/>
                    <a:pt x="33" y="5"/>
                    <a:pt x="27" y="0"/>
                  </a:cubicBezTo>
                  <a:lnTo>
                    <a:pt x="0" y="29"/>
                  </a:lnTo>
                  <a:cubicBezTo>
                    <a:pt x="21" y="48"/>
                    <a:pt x="39" y="70"/>
                    <a:pt x="55" y="93"/>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36">
              <a:extLst>
                <a:ext uri="{FF2B5EF4-FFF2-40B4-BE49-F238E27FC236}">
                  <a16:creationId xmlns:a16="http://schemas.microsoft.com/office/drawing/2014/main" id="{D8D05BAF-7E0C-7A11-20D1-47E31B99D022}"/>
                </a:ext>
              </a:extLst>
            </p:cNvPr>
            <p:cNvSpPr>
              <a:spLocks/>
            </p:cNvSpPr>
            <p:nvPr/>
          </p:nvSpPr>
          <p:spPr bwMode="auto">
            <a:xfrm>
              <a:off x="2725738" y="3295650"/>
              <a:ext cx="69850" cy="57150"/>
            </a:xfrm>
            <a:custGeom>
              <a:avLst/>
              <a:gdLst>
                <a:gd name="T0" fmla="*/ 60 w 96"/>
                <a:gd name="T1" fmla="*/ 23 h 80"/>
                <a:gd name="T2" fmla="*/ 59 w 96"/>
                <a:gd name="T3" fmla="*/ 23 h 80"/>
                <a:gd name="T4" fmla="*/ 58 w 96"/>
                <a:gd name="T5" fmla="*/ 22 h 80"/>
                <a:gd name="T6" fmla="*/ 58 w 96"/>
                <a:gd name="T7" fmla="*/ 22 h 80"/>
                <a:gd name="T8" fmla="*/ 57 w 96"/>
                <a:gd name="T9" fmla="*/ 21 h 80"/>
                <a:gd name="T10" fmla="*/ 57 w 96"/>
                <a:gd name="T11" fmla="*/ 21 h 80"/>
                <a:gd name="T12" fmla="*/ 56 w 96"/>
                <a:gd name="T13" fmla="*/ 21 h 80"/>
                <a:gd name="T14" fmla="*/ 56 w 96"/>
                <a:gd name="T15" fmla="*/ 21 h 80"/>
                <a:gd name="T16" fmla="*/ 55 w 96"/>
                <a:gd name="T17" fmla="*/ 21 h 80"/>
                <a:gd name="T18" fmla="*/ 55 w 96"/>
                <a:gd name="T19" fmla="*/ 20 h 80"/>
                <a:gd name="T20" fmla="*/ 55 w 96"/>
                <a:gd name="T21" fmla="*/ 20 h 80"/>
                <a:gd name="T22" fmla="*/ 54 w 96"/>
                <a:gd name="T23" fmla="*/ 20 h 80"/>
                <a:gd name="T24" fmla="*/ 54 w 96"/>
                <a:gd name="T25" fmla="*/ 20 h 80"/>
                <a:gd name="T26" fmla="*/ 54 w 96"/>
                <a:gd name="T27" fmla="*/ 20 h 80"/>
                <a:gd name="T28" fmla="*/ 54 w 96"/>
                <a:gd name="T29" fmla="*/ 19 h 80"/>
                <a:gd name="T30" fmla="*/ 53 w 96"/>
                <a:gd name="T31" fmla="*/ 19 h 80"/>
                <a:gd name="T32" fmla="*/ 53 w 96"/>
                <a:gd name="T33" fmla="*/ 19 h 80"/>
                <a:gd name="T34" fmla="*/ 52 w 96"/>
                <a:gd name="T35" fmla="*/ 19 h 80"/>
                <a:gd name="T36" fmla="*/ 52 w 96"/>
                <a:gd name="T37" fmla="*/ 19 h 80"/>
                <a:gd name="T38" fmla="*/ 52 w 96"/>
                <a:gd name="T39" fmla="*/ 19 h 80"/>
                <a:gd name="T40" fmla="*/ 52 w 96"/>
                <a:gd name="T41" fmla="*/ 18 h 80"/>
                <a:gd name="T42" fmla="*/ 51 w 96"/>
                <a:gd name="T43" fmla="*/ 18 h 80"/>
                <a:gd name="T44" fmla="*/ 51 w 96"/>
                <a:gd name="T45" fmla="*/ 18 h 80"/>
                <a:gd name="T46" fmla="*/ 51 w 96"/>
                <a:gd name="T47" fmla="*/ 18 h 80"/>
                <a:gd name="T48" fmla="*/ 51 w 96"/>
                <a:gd name="T49" fmla="*/ 18 h 80"/>
                <a:gd name="T50" fmla="*/ 50 w 96"/>
                <a:gd name="T51" fmla="*/ 18 h 80"/>
                <a:gd name="T52" fmla="*/ 50 w 96"/>
                <a:gd name="T53" fmla="*/ 17 h 80"/>
                <a:gd name="T54" fmla="*/ 50 w 96"/>
                <a:gd name="T55" fmla="*/ 17 h 80"/>
                <a:gd name="T56" fmla="*/ 50 w 96"/>
                <a:gd name="T57" fmla="*/ 17 h 80"/>
                <a:gd name="T58" fmla="*/ 49 w 96"/>
                <a:gd name="T59" fmla="*/ 17 h 80"/>
                <a:gd name="T60" fmla="*/ 49 w 96"/>
                <a:gd name="T61" fmla="*/ 17 h 80"/>
                <a:gd name="T62" fmla="*/ 49 w 96"/>
                <a:gd name="T63" fmla="*/ 17 h 80"/>
                <a:gd name="T64" fmla="*/ 48 w 96"/>
                <a:gd name="T65" fmla="*/ 16 h 80"/>
                <a:gd name="T66" fmla="*/ 48 w 96"/>
                <a:gd name="T67" fmla="*/ 16 h 80"/>
                <a:gd name="T68" fmla="*/ 48 w 96"/>
                <a:gd name="T69" fmla="*/ 16 h 80"/>
                <a:gd name="T70" fmla="*/ 48 w 96"/>
                <a:gd name="T71" fmla="*/ 16 h 80"/>
                <a:gd name="T72" fmla="*/ 47 w 96"/>
                <a:gd name="T73" fmla="*/ 16 h 80"/>
                <a:gd name="T74" fmla="*/ 47 w 96"/>
                <a:gd name="T75" fmla="*/ 16 h 80"/>
                <a:gd name="T76" fmla="*/ 47 w 96"/>
                <a:gd name="T77" fmla="*/ 16 h 80"/>
                <a:gd name="T78" fmla="*/ 47 w 96"/>
                <a:gd name="T79" fmla="*/ 15 h 80"/>
                <a:gd name="T80" fmla="*/ 46 w 96"/>
                <a:gd name="T81" fmla="*/ 15 h 80"/>
                <a:gd name="T82" fmla="*/ 46 w 96"/>
                <a:gd name="T83" fmla="*/ 15 h 80"/>
                <a:gd name="T84" fmla="*/ 46 w 96"/>
                <a:gd name="T85" fmla="*/ 15 h 80"/>
                <a:gd name="T86" fmla="*/ 45 w 96"/>
                <a:gd name="T87" fmla="*/ 15 h 80"/>
                <a:gd name="T88" fmla="*/ 45 w 96"/>
                <a:gd name="T89" fmla="*/ 15 h 80"/>
                <a:gd name="T90" fmla="*/ 45 w 96"/>
                <a:gd name="T91" fmla="*/ 14 h 80"/>
                <a:gd name="T92" fmla="*/ 45 w 96"/>
                <a:gd name="T93" fmla="*/ 14 h 80"/>
                <a:gd name="T94" fmla="*/ 44 w 96"/>
                <a:gd name="T95" fmla="*/ 14 h 80"/>
                <a:gd name="T96" fmla="*/ 44 w 96"/>
                <a:gd name="T97" fmla="*/ 14 h 80"/>
                <a:gd name="T98" fmla="*/ 44 w 96"/>
                <a:gd name="T99" fmla="*/ 14 h 80"/>
                <a:gd name="T100" fmla="*/ 43 w 96"/>
                <a:gd name="T101" fmla="*/ 13 h 80"/>
                <a:gd name="T102" fmla="*/ 43 w 96"/>
                <a:gd name="T103" fmla="*/ 13 h 80"/>
                <a:gd name="T104" fmla="*/ 43 w 96"/>
                <a:gd name="T105" fmla="*/ 13 h 80"/>
                <a:gd name="T106" fmla="*/ 42 w 96"/>
                <a:gd name="T107" fmla="*/ 13 h 80"/>
                <a:gd name="T108" fmla="*/ 42 w 96"/>
                <a:gd name="T109" fmla="*/ 13 h 80"/>
                <a:gd name="T110" fmla="*/ 41 w 96"/>
                <a:gd name="T111" fmla="*/ 12 h 80"/>
                <a:gd name="T112" fmla="*/ 40 w 96"/>
                <a:gd name="T113" fmla="*/ 12 h 80"/>
                <a:gd name="T114" fmla="*/ 38 w 96"/>
                <a:gd name="T115" fmla="*/ 11 h 80"/>
                <a:gd name="T116" fmla="*/ 72 w 96"/>
                <a:gd name="T1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80">
                  <a:moveTo>
                    <a:pt x="96" y="48"/>
                  </a:moveTo>
                  <a:lnTo>
                    <a:pt x="96" y="48"/>
                  </a:lnTo>
                  <a:cubicBezTo>
                    <a:pt x="84" y="39"/>
                    <a:pt x="73" y="31"/>
                    <a:pt x="60" y="23"/>
                  </a:cubicBezTo>
                  <a:lnTo>
                    <a:pt x="60" y="23"/>
                  </a:lnTo>
                  <a:cubicBezTo>
                    <a:pt x="60" y="23"/>
                    <a:pt x="59" y="23"/>
                    <a:pt x="59" y="23"/>
                  </a:cubicBezTo>
                  <a:lnTo>
                    <a:pt x="59" y="23"/>
                  </a:lnTo>
                  <a:cubicBezTo>
                    <a:pt x="59" y="23"/>
                    <a:pt x="58" y="22"/>
                    <a:pt x="58" y="22"/>
                  </a:cubicBezTo>
                  <a:cubicBezTo>
                    <a:pt x="58" y="22"/>
                    <a:pt x="58" y="22"/>
                    <a:pt x="58" y="22"/>
                  </a:cubicBezTo>
                  <a:cubicBezTo>
                    <a:pt x="58" y="22"/>
                    <a:pt x="58" y="22"/>
                    <a:pt x="58" y="22"/>
                  </a:cubicBezTo>
                  <a:lnTo>
                    <a:pt x="58" y="22"/>
                  </a:lnTo>
                  <a:cubicBezTo>
                    <a:pt x="58" y="22"/>
                    <a:pt x="58" y="22"/>
                    <a:pt x="58" y="22"/>
                  </a:cubicBezTo>
                  <a:cubicBezTo>
                    <a:pt x="58" y="22"/>
                    <a:pt x="58" y="22"/>
                    <a:pt x="58" y="22"/>
                  </a:cubicBezTo>
                  <a:cubicBezTo>
                    <a:pt x="58" y="22"/>
                    <a:pt x="58" y="22"/>
                    <a:pt x="58" y="22"/>
                  </a:cubicBezTo>
                  <a:lnTo>
                    <a:pt x="58" y="22"/>
                  </a:lnTo>
                  <a:cubicBezTo>
                    <a:pt x="57" y="22"/>
                    <a:pt x="57" y="22"/>
                    <a:pt x="57" y="21"/>
                  </a:cubicBezTo>
                  <a:lnTo>
                    <a:pt x="57" y="21"/>
                  </a:lnTo>
                  <a:cubicBezTo>
                    <a:pt x="57" y="21"/>
                    <a:pt x="57" y="21"/>
                    <a:pt x="57" y="21"/>
                  </a:cubicBezTo>
                  <a:lnTo>
                    <a:pt x="57" y="21"/>
                  </a:lnTo>
                  <a:cubicBezTo>
                    <a:pt x="57" y="21"/>
                    <a:pt x="57" y="21"/>
                    <a:pt x="57" y="21"/>
                  </a:cubicBezTo>
                  <a:lnTo>
                    <a:pt x="57" y="21"/>
                  </a:lnTo>
                  <a:cubicBezTo>
                    <a:pt x="56" y="21"/>
                    <a:pt x="56" y="21"/>
                    <a:pt x="56" y="21"/>
                  </a:cubicBezTo>
                  <a:lnTo>
                    <a:pt x="56" y="21"/>
                  </a:lnTo>
                  <a:cubicBezTo>
                    <a:pt x="56" y="21"/>
                    <a:pt x="56" y="21"/>
                    <a:pt x="56" y="21"/>
                  </a:cubicBezTo>
                  <a:cubicBezTo>
                    <a:pt x="56" y="21"/>
                    <a:pt x="56" y="21"/>
                    <a:pt x="56" y="21"/>
                  </a:cubicBezTo>
                  <a:cubicBezTo>
                    <a:pt x="56" y="21"/>
                    <a:pt x="56" y="21"/>
                    <a:pt x="56" y="21"/>
                  </a:cubicBezTo>
                  <a:lnTo>
                    <a:pt x="56" y="21"/>
                  </a:lnTo>
                  <a:cubicBezTo>
                    <a:pt x="56" y="21"/>
                    <a:pt x="56" y="21"/>
                    <a:pt x="55" y="21"/>
                  </a:cubicBezTo>
                  <a:cubicBezTo>
                    <a:pt x="55" y="21"/>
                    <a:pt x="55" y="21"/>
                    <a:pt x="55" y="21"/>
                  </a:cubicBezTo>
                  <a:cubicBezTo>
                    <a:pt x="55" y="21"/>
                    <a:pt x="55" y="20"/>
                    <a:pt x="55" y="20"/>
                  </a:cubicBezTo>
                  <a:lnTo>
                    <a:pt x="55" y="20"/>
                  </a:lnTo>
                  <a:cubicBezTo>
                    <a:pt x="55" y="20"/>
                    <a:pt x="55" y="20"/>
                    <a:pt x="55" y="20"/>
                  </a:cubicBezTo>
                  <a:cubicBezTo>
                    <a:pt x="55" y="20"/>
                    <a:pt x="55" y="20"/>
                    <a:pt x="55" y="20"/>
                  </a:cubicBezTo>
                  <a:cubicBezTo>
                    <a:pt x="55" y="20"/>
                    <a:pt x="55" y="20"/>
                    <a:pt x="55" y="20"/>
                  </a:cubicBezTo>
                  <a:cubicBezTo>
                    <a:pt x="55" y="20"/>
                    <a:pt x="55" y="20"/>
                    <a:pt x="55" y="20"/>
                  </a:cubicBezTo>
                  <a:cubicBezTo>
                    <a:pt x="55" y="20"/>
                    <a:pt x="55"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19"/>
                    <a:pt x="54" y="19"/>
                    <a:pt x="54" y="19"/>
                  </a:cubicBezTo>
                  <a:lnTo>
                    <a:pt x="54" y="19"/>
                  </a:lnTo>
                  <a:cubicBezTo>
                    <a:pt x="54" y="19"/>
                    <a:pt x="53" y="19"/>
                    <a:pt x="53" y="19"/>
                  </a:cubicBezTo>
                  <a:cubicBezTo>
                    <a:pt x="53" y="19"/>
                    <a:pt x="53" y="19"/>
                    <a:pt x="53" y="19"/>
                  </a:cubicBezTo>
                  <a:cubicBezTo>
                    <a:pt x="53" y="19"/>
                    <a:pt x="53" y="19"/>
                    <a:pt x="53" y="19"/>
                  </a:cubicBezTo>
                  <a:cubicBezTo>
                    <a:pt x="53" y="19"/>
                    <a:pt x="53" y="19"/>
                    <a:pt x="53" y="19"/>
                  </a:cubicBezTo>
                  <a:cubicBezTo>
                    <a:pt x="53" y="19"/>
                    <a:pt x="53" y="19"/>
                    <a:pt x="53" y="19"/>
                  </a:cubicBezTo>
                  <a:cubicBezTo>
                    <a:pt x="53" y="19"/>
                    <a:pt x="53" y="19"/>
                    <a:pt x="53" y="19"/>
                  </a:cubicBezTo>
                  <a:cubicBezTo>
                    <a:pt x="53" y="19"/>
                    <a:pt x="53" y="19"/>
                    <a:pt x="53" y="19"/>
                  </a:cubicBezTo>
                  <a:lnTo>
                    <a:pt x="53" y="19"/>
                  </a:lnTo>
                  <a:cubicBezTo>
                    <a:pt x="53" y="19"/>
                    <a:pt x="53" y="19"/>
                    <a:pt x="52" y="19"/>
                  </a:cubicBezTo>
                  <a:lnTo>
                    <a:pt x="52" y="19"/>
                  </a:lnTo>
                  <a:cubicBezTo>
                    <a:pt x="52" y="19"/>
                    <a:pt x="52" y="19"/>
                    <a:pt x="52" y="19"/>
                  </a:cubicBezTo>
                  <a:cubicBezTo>
                    <a:pt x="52" y="19"/>
                    <a:pt x="52" y="19"/>
                    <a:pt x="52" y="19"/>
                  </a:cubicBezTo>
                  <a:cubicBezTo>
                    <a:pt x="52" y="19"/>
                    <a:pt x="52" y="19"/>
                    <a:pt x="52" y="19"/>
                  </a:cubicBezTo>
                  <a:cubicBezTo>
                    <a:pt x="52" y="19"/>
                    <a:pt x="52" y="19"/>
                    <a:pt x="52" y="19"/>
                  </a:cubicBezTo>
                  <a:cubicBezTo>
                    <a:pt x="52" y="19"/>
                    <a:pt x="52" y="19"/>
                    <a:pt x="52" y="19"/>
                  </a:cubicBezTo>
                  <a:cubicBezTo>
                    <a:pt x="52" y="19"/>
                    <a:pt x="52" y="19"/>
                    <a:pt x="52" y="19"/>
                  </a:cubicBezTo>
                  <a:cubicBezTo>
                    <a:pt x="52" y="18"/>
                    <a:pt x="52" y="18"/>
                    <a:pt x="52" y="18"/>
                  </a:cubicBezTo>
                  <a:cubicBezTo>
                    <a:pt x="52" y="18"/>
                    <a:pt x="52" y="18"/>
                    <a:pt x="52" y="18"/>
                  </a:cubicBezTo>
                  <a:cubicBezTo>
                    <a:pt x="52" y="18"/>
                    <a:pt x="52" y="18"/>
                    <a:pt x="52" y="18"/>
                  </a:cubicBezTo>
                  <a:lnTo>
                    <a:pt x="52" y="18"/>
                  </a:lnTo>
                  <a:cubicBezTo>
                    <a:pt x="52"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lnTo>
                    <a:pt x="51" y="18"/>
                  </a:lnTo>
                  <a:cubicBezTo>
                    <a:pt x="51" y="18"/>
                    <a:pt x="50" y="18"/>
                    <a:pt x="50" y="18"/>
                  </a:cubicBezTo>
                  <a:cubicBezTo>
                    <a:pt x="50" y="17"/>
                    <a:pt x="50" y="17"/>
                    <a:pt x="50" y="17"/>
                  </a:cubicBezTo>
                  <a:lnTo>
                    <a:pt x="50" y="17"/>
                  </a:lnTo>
                  <a:cubicBezTo>
                    <a:pt x="50" y="17"/>
                    <a:pt x="50" y="17"/>
                    <a:pt x="50" y="17"/>
                  </a:cubicBezTo>
                  <a:cubicBezTo>
                    <a:pt x="50" y="17"/>
                    <a:pt x="50" y="17"/>
                    <a:pt x="50" y="17"/>
                  </a:cubicBezTo>
                  <a:cubicBezTo>
                    <a:pt x="50" y="17"/>
                    <a:pt x="50" y="17"/>
                    <a:pt x="50" y="17"/>
                  </a:cubicBezTo>
                  <a:cubicBezTo>
                    <a:pt x="50" y="17"/>
                    <a:pt x="50" y="17"/>
                    <a:pt x="50" y="17"/>
                  </a:cubicBezTo>
                  <a:cubicBezTo>
                    <a:pt x="50" y="17"/>
                    <a:pt x="50" y="17"/>
                    <a:pt x="50" y="17"/>
                  </a:cubicBezTo>
                  <a:cubicBezTo>
                    <a:pt x="50" y="17"/>
                    <a:pt x="50" y="17"/>
                    <a:pt x="50" y="17"/>
                  </a:cubicBezTo>
                  <a:cubicBezTo>
                    <a:pt x="50" y="17"/>
                    <a:pt x="50" y="17"/>
                    <a:pt x="50" y="17"/>
                  </a:cubicBezTo>
                  <a:cubicBezTo>
                    <a:pt x="50" y="17"/>
                    <a:pt x="50" y="17"/>
                    <a:pt x="50" y="17"/>
                  </a:cubicBezTo>
                  <a:cubicBezTo>
                    <a:pt x="49" y="17"/>
                    <a:pt x="49" y="17"/>
                    <a:pt x="49" y="17"/>
                  </a:cubicBezTo>
                  <a:lnTo>
                    <a:pt x="49" y="17"/>
                  </a:ln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6"/>
                    <a:pt x="49" y="16"/>
                  </a:cubicBezTo>
                  <a:cubicBezTo>
                    <a:pt x="49" y="16"/>
                    <a:pt x="48" y="16"/>
                    <a:pt x="48" y="16"/>
                  </a:cubicBezTo>
                  <a:cubicBezTo>
                    <a:pt x="48" y="16"/>
                    <a:pt x="48" y="16"/>
                    <a:pt x="48" y="16"/>
                  </a:cubicBezTo>
                  <a:cubicBezTo>
                    <a:pt x="48" y="16"/>
                    <a:pt x="48" y="16"/>
                    <a:pt x="48" y="16"/>
                  </a:cubicBezTo>
                  <a:lnTo>
                    <a:pt x="48" y="16"/>
                  </a:lnTo>
                  <a:cubicBezTo>
                    <a:pt x="48" y="16"/>
                    <a:pt x="48" y="16"/>
                    <a:pt x="48" y="16"/>
                  </a:cubicBezTo>
                  <a:cubicBezTo>
                    <a:pt x="48" y="16"/>
                    <a:pt x="48" y="16"/>
                    <a:pt x="48" y="16"/>
                  </a:cubicBezTo>
                  <a:cubicBezTo>
                    <a:pt x="48" y="16"/>
                    <a:pt x="48" y="16"/>
                    <a:pt x="48" y="16"/>
                  </a:cubicBezTo>
                  <a:lnTo>
                    <a:pt x="48" y="16"/>
                  </a:lnTo>
                  <a:cubicBezTo>
                    <a:pt x="48" y="16"/>
                    <a:pt x="48" y="16"/>
                    <a:pt x="48" y="16"/>
                  </a:cubicBezTo>
                  <a:cubicBezTo>
                    <a:pt x="48" y="16"/>
                    <a:pt x="48" y="16"/>
                    <a:pt x="48" y="16"/>
                  </a:cubicBezTo>
                  <a:cubicBezTo>
                    <a:pt x="48" y="16"/>
                    <a:pt x="48" y="16"/>
                    <a:pt x="48" y="16"/>
                  </a:cubicBezTo>
                  <a:cubicBezTo>
                    <a:pt x="48" y="16"/>
                    <a:pt x="48" y="16"/>
                    <a:pt x="48" y="16"/>
                  </a:cubicBezTo>
                  <a:cubicBezTo>
                    <a:pt x="48" y="16"/>
                    <a:pt x="48" y="16"/>
                    <a:pt x="47" y="16"/>
                  </a:cubicBezTo>
                  <a:cubicBezTo>
                    <a:pt x="47" y="16"/>
                    <a:pt x="47" y="16"/>
                    <a:pt x="47" y="16"/>
                  </a:cubicBezTo>
                  <a:cubicBezTo>
                    <a:pt x="47" y="16"/>
                    <a:pt x="47" y="16"/>
                    <a:pt x="47" y="16"/>
                  </a:cubicBezTo>
                  <a:cubicBezTo>
                    <a:pt x="47" y="16"/>
                    <a:pt x="47" y="16"/>
                    <a:pt x="47" y="16"/>
                  </a:cubicBezTo>
                  <a:cubicBezTo>
                    <a:pt x="47" y="16"/>
                    <a:pt x="47" y="16"/>
                    <a:pt x="47" y="16"/>
                  </a:cubicBezTo>
                  <a:cubicBezTo>
                    <a:pt x="47" y="16"/>
                    <a:pt x="47" y="16"/>
                    <a:pt x="47" y="16"/>
                  </a:cubicBezTo>
                  <a:cubicBezTo>
                    <a:pt x="47" y="16"/>
                    <a:pt x="47" y="16"/>
                    <a:pt x="47" y="16"/>
                  </a:cubicBezTo>
                  <a:lnTo>
                    <a:pt x="47" y="16"/>
                  </a:lnTo>
                  <a:cubicBezTo>
                    <a:pt x="47" y="16"/>
                    <a:pt x="47" y="15"/>
                    <a:pt x="47" y="15"/>
                  </a:cubicBezTo>
                  <a:cubicBezTo>
                    <a:pt x="47" y="15"/>
                    <a:pt x="47" y="15"/>
                    <a:pt x="47" y="15"/>
                  </a:cubicBezTo>
                  <a:cubicBezTo>
                    <a:pt x="47" y="15"/>
                    <a:pt x="47" y="15"/>
                    <a:pt x="47" y="15"/>
                  </a:cubicBezTo>
                  <a:cubicBezTo>
                    <a:pt x="47"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4"/>
                    <a:pt x="45" y="14"/>
                    <a:pt x="45" y="14"/>
                  </a:cubicBezTo>
                  <a:cubicBezTo>
                    <a:pt x="45" y="14"/>
                    <a:pt x="45" y="14"/>
                    <a:pt x="45" y="14"/>
                  </a:cubicBezTo>
                  <a:cubicBezTo>
                    <a:pt x="45" y="14"/>
                    <a:pt x="45" y="14"/>
                    <a:pt x="45" y="14"/>
                  </a:cubicBezTo>
                  <a:cubicBezTo>
                    <a:pt x="45" y="14"/>
                    <a:pt x="45" y="14"/>
                    <a:pt x="45" y="14"/>
                  </a:cubicBezTo>
                  <a:cubicBezTo>
                    <a:pt x="45" y="14"/>
                    <a:pt x="45" y="14"/>
                    <a:pt x="45" y="14"/>
                  </a:cubicBezTo>
                  <a:cubicBezTo>
                    <a:pt x="45" y="14"/>
                    <a:pt x="45" y="14"/>
                    <a:pt x="45" y="14"/>
                  </a:cubicBezTo>
                  <a:cubicBezTo>
                    <a:pt x="44" y="14"/>
                    <a:pt x="44" y="14"/>
                    <a:pt x="44" y="14"/>
                  </a:cubicBezTo>
                  <a:lnTo>
                    <a:pt x="44" y="14"/>
                  </a:lnTo>
                  <a:cubicBezTo>
                    <a:pt x="44" y="14"/>
                    <a:pt x="44" y="14"/>
                    <a:pt x="44" y="14"/>
                  </a:cubicBezTo>
                  <a:cubicBezTo>
                    <a:pt x="44" y="14"/>
                    <a:pt x="44" y="14"/>
                    <a:pt x="44" y="14"/>
                  </a:cubicBezTo>
                  <a:cubicBezTo>
                    <a:pt x="44" y="14"/>
                    <a:pt x="44" y="14"/>
                    <a:pt x="44" y="14"/>
                  </a:cubicBezTo>
                  <a:lnTo>
                    <a:pt x="44" y="14"/>
                  </a:lnTo>
                  <a:cubicBezTo>
                    <a:pt x="44" y="14"/>
                    <a:pt x="44" y="14"/>
                    <a:pt x="44" y="14"/>
                  </a:cubicBezTo>
                  <a:cubicBezTo>
                    <a:pt x="44" y="14"/>
                    <a:pt x="44" y="14"/>
                    <a:pt x="44" y="14"/>
                  </a:cubicBezTo>
                  <a:cubicBezTo>
                    <a:pt x="44" y="14"/>
                    <a:pt x="44" y="14"/>
                    <a:pt x="44" y="14"/>
                  </a:cubicBezTo>
                  <a:lnTo>
                    <a:pt x="44" y="14"/>
                  </a:lnTo>
                  <a:cubicBezTo>
                    <a:pt x="43" y="14"/>
                    <a:pt x="43" y="13"/>
                    <a:pt x="43" y="13"/>
                  </a:cubicBezTo>
                  <a:lnTo>
                    <a:pt x="43" y="13"/>
                  </a:lnTo>
                  <a:cubicBezTo>
                    <a:pt x="43" y="13"/>
                    <a:pt x="43" y="13"/>
                    <a:pt x="43" y="13"/>
                  </a:cubicBezTo>
                  <a:cubicBezTo>
                    <a:pt x="43" y="13"/>
                    <a:pt x="43" y="13"/>
                    <a:pt x="43" y="13"/>
                  </a:cubicBezTo>
                  <a:cubicBezTo>
                    <a:pt x="43" y="13"/>
                    <a:pt x="43" y="13"/>
                    <a:pt x="43" y="13"/>
                  </a:cubicBezTo>
                  <a:cubicBezTo>
                    <a:pt x="43" y="13"/>
                    <a:pt x="43" y="13"/>
                    <a:pt x="43" y="13"/>
                  </a:cubicBezTo>
                  <a:cubicBezTo>
                    <a:pt x="43" y="13"/>
                    <a:pt x="43" y="13"/>
                    <a:pt x="43" y="13"/>
                  </a:cubicBezTo>
                  <a:cubicBezTo>
                    <a:pt x="43" y="13"/>
                    <a:pt x="43" y="13"/>
                    <a:pt x="43" y="13"/>
                  </a:cubicBezTo>
                  <a:cubicBezTo>
                    <a:pt x="43" y="13"/>
                    <a:pt x="42" y="13"/>
                    <a:pt x="42" y="13"/>
                  </a:cubicBezTo>
                  <a:lnTo>
                    <a:pt x="42" y="13"/>
                  </a:lnTo>
                  <a:cubicBezTo>
                    <a:pt x="42" y="13"/>
                    <a:pt x="42" y="13"/>
                    <a:pt x="42" y="13"/>
                  </a:cubicBezTo>
                  <a:cubicBezTo>
                    <a:pt x="42" y="13"/>
                    <a:pt x="42" y="13"/>
                    <a:pt x="42" y="13"/>
                  </a:cubicBezTo>
                  <a:cubicBezTo>
                    <a:pt x="42" y="13"/>
                    <a:pt x="42" y="13"/>
                    <a:pt x="42" y="13"/>
                  </a:cubicBezTo>
                  <a:cubicBezTo>
                    <a:pt x="42" y="13"/>
                    <a:pt x="42" y="13"/>
                    <a:pt x="41" y="13"/>
                  </a:cubicBezTo>
                  <a:lnTo>
                    <a:pt x="41" y="12"/>
                  </a:lnTo>
                  <a:cubicBezTo>
                    <a:pt x="41" y="12"/>
                    <a:pt x="41" y="12"/>
                    <a:pt x="41" y="12"/>
                  </a:cubicBezTo>
                  <a:cubicBezTo>
                    <a:pt x="41" y="12"/>
                    <a:pt x="41" y="12"/>
                    <a:pt x="41" y="12"/>
                  </a:cubicBezTo>
                  <a:cubicBezTo>
                    <a:pt x="41" y="12"/>
                    <a:pt x="41" y="12"/>
                    <a:pt x="40" y="12"/>
                  </a:cubicBezTo>
                  <a:lnTo>
                    <a:pt x="40" y="12"/>
                  </a:lnTo>
                  <a:cubicBezTo>
                    <a:pt x="40" y="12"/>
                    <a:pt x="40" y="12"/>
                    <a:pt x="40" y="12"/>
                  </a:cubicBezTo>
                  <a:cubicBezTo>
                    <a:pt x="40" y="12"/>
                    <a:pt x="40" y="12"/>
                    <a:pt x="40" y="12"/>
                  </a:cubicBezTo>
                  <a:cubicBezTo>
                    <a:pt x="39" y="11"/>
                    <a:pt x="39" y="11"/>
                    <a:pt x="38" y="11"/>
                  </a:cubicBezTo>
                  <a:cubicBezTo>
                    <a:pt x="31" y="7"/>
                    <a:pt x="24" y="3"/>
                    <a:pt x="17" y="0"/>
                  </a:cubicBezTo>
                  <a:lnTo>
                    <a:pt x="0" y="36"/>
                  </a:lnTo>
                  <a:cubicBezTo>
                    <a:pt x="25" y="48"/>
                    <a:pt x="49" y="63"/>
                    <a:pt x="72" y="80"/>
                  </a:cubicBezTo>
                  <a:lnTo>
                    <a:pt x="96" y="48"/>
                  </a:ln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37">
              <a:extLst>
                <a:ext uri="{FF2B5EF4-FFF2-40B4-BE49-F238E27FC236}">
                  <a16:creationId xmlns:a16="http://schemas.microsoft.com/office/drawing/2014/main" id="{378F4A21-6A82-8BB4-AEF1-AD3609ED4F4E}"/>
                </a:ext>
              </a:extLst>
            </p:cNvPr>
            <p:cNvSpPr>
              <a:spLocks/>
            </p:cNvSpPr>
            <p:nvPr/>
          </p:nvSpPr>
          <p:spPr bwMode="auto">
            <a:xfrm>
              <a:off x="2643188" y="3268663"/>
              <a:ext cx="68263" cy="42863"/>
            </a:xfrm>
            <a:custGeom>
              <a:avLst/>
              <a:gdLst>
                <a:gd name="T0" fmla="*/ 86 w 95"/>
                <a:gd name="T1" fmla="*/ 18 h 58"/>
                <a:gd name="T2" fmla="*/ 85 w 95"/>
                <a:gd name="T3" fmla="*/ 17 h 58"/>
                <a:gd name="T4" fmla="*/ 84 w 95"/>
                <a:gd name="T5" fmla="*/ 17 h 58"/>
                <a:gd name="T6" fmla="*/ 83 w 95"/>
                <a:gd name="T7" fmla="*/ 17 h 58"/>
                <a:gd name="T8" fmla="*/ 83 w 95"/>
                <a:gd name="T9" fmla="*/ 17 h 58"/>
                <a:gd name="T10" fmla="*/ 83 w 95"/>
                <a:gd name="T11" fmla="*/ 17 h 58"/>
                <a:gd name="T12" fmla="*/ 82 w 95"/>
                <a:gd name="T13" fmla="*/ 17 h 58"/>
                <a:gd name="T14" fmla="*/ 81 w 95"/>
                <a:gd name="T15" fmla="*/ 16 h 58"/>
                <a:gd name="T16" fmla="*/ 81 w 95"/>
                <a:gd name="T17" fmla="*/ 16 h 58"/>
                <a:gd name="T18" fmla="*/ 81 w 95"/>
                <a:gd name="T19" fmla="*/ 16 h 58"/>
                <a:gd name="T20" fmla="*/ 81 w 95"/>
                <a:gd name="T21" fmla="*/ 16 h 58"/>
                <a:gd name="T22" fmla="*/ 81 w 95"/>
                <a:gd name="T23" fmla="*/ 16 h 58"/>
                <a:gd name="T24" fmla="*/ 80 w 95"/>
                <a:gd name="T25" fmla="*/ 16 h 58"/>
                <a:gd name="T26" fmla="*/ 80 w 95"/>
                <a:gd name="T27" fmla="*/ 16 h 58"/>
                <a:gd name="T28" fmla="*/ 79 w 95"/>
                <a:gd name="T29" fmla="*/ 16 h 58"/>
                <a:gd name="T30" fmla="*/ 79 w 95"/>
                <a:gd name="T31" fmla="*/ 15 h 58"/>
                <a:gd name="T32" fmla="*/ 79 w 95"/>
                <a:gd name="T33" fmla="*/ 15 h 58"/>
                <a:gd name="T34" fmla="*/ 78 w 95"/>
                <a:gd name="T35" fmla="*/ 15 h 58"/>
                <a:gd name="T36" fmla="*/ 78 w 95"/>
                <a:gd name="T37" fmla="*/ 15 h 58"/>
                <a:gd name="T38" fmla="*/ 78 w 95"/>
                <a:gd name="T39" fmla="*/ 15 h 58"/>
                <a:gd name="T40" fmla="*/ 78 w 95"/>
                <a:gd name="T41" fmla="*/ 15 h 58"/>
                <a:gd name="T42" fmla="*/ 77 w 95"/>
                <a:gd name="T43" fmla="*/ 15 h 58"/>
                <a:gd name="T44" fmla="*/ 77 w 95"/>
                <a:gd name="T45" fmla="*/ 15 h 58"/>
                <a:gd name="T46" fmla="*/ 77 w 95"/>
                <a:gd name="T47" fmla="*/ 15 h 58"/>
                <a:gd name="T48" fmla="*/ 77 w 95"/>
                <a:gd name="T49" fmla="*/ 15 h 58"/>
                <a:gd name="T50" fmla="*/ 76 w 95"/>
                <a:gd name="T51" fmla="*/ 15 h 58"/>
                <a:gd name="T52" fmla="*/ 76 w 95"/>
                <a:gd name="T53" fmla="*/ 15 h 58"/>
                <a:gd name="T54" fmla="*/ 76 w 95"/>
                <a:gd name="T55" fmla="*/ 14 h 58"/>
                <a:gd name="T56" fmla="*/ 76 w 95"/>
                <a:gd name="T57" fmla="*/ 14 h 58"/>
                <a:gd name="T58" fmla="*/ 75 w 95"/>
                <a:gd name="T59" fmla="*/ 14 h 58"/>
                <a:gd name="T60" fmla="*/ 75 w 95"/>
                <a:gd name="T61" fmla="*/ 14 h 58"/>
                <a:gd name="T62" fmla="*/ 75 w 95"/>
                <a:gd name="T63" fmla="*/ 14 h 58"/>
                <a:gd name="T64" fmla="*/ 75 w 95"/>
                <a:gd name="T65" fmla="*/ 14 h 58"/>
                <a:gd name="T66" fmla="*/ 74 w 95"/>
                <a:gd name="T67" fmla="*/ 14 h 58"/>
                <a:gd name="T68" fmla="*/ 74 w 95"/>
                <a:gd name="T69" fmla="*/ 14 h 58"/>
                <a:gd name="T70" fmla="*/ 74 w 95"/>
                <a:gd name="T71" fmla="*/ 14 h 58"/>
                <a:gd name="T72" fmla="*/ 74 w 95"/>
                <a:gd name="T73" fmla="*/ 14 h 58"/>
                <a:gd name="T74" fmla="*/ 73 w 95"/>
                <a:gd name="T75" fmla="*/ 14 h 58"/>
                <a:gd name="T76" fmla="*/ 73 w 95"/>
                <a:gd name="T77" fmla="*/ 14 h 58"/>
                <a:gd name="T78" fmla="*/ 73 w 95"/>
                <a:gd name="T79" fmla="*/ 14 h 58"/>
                <a:gd name="T80" fmla="*/ 73 w 95"/>
                <a:gd name="T81" fmla="*/ 13 h 58"/>
                <a:gd name="T82" fmla="*/ 72 w 95"/>
                <a:gd name="T83" fmla="*/ 13 h 58"/>
                <a:gd name="T84" fmla="*/ 72 w 95"/>
                <a:gd name="T85" fmla="*/ 13 h 58"/>
                <a:gd name="T86" fmla="*/ 72 w 95"/>
                <a:gd name="T87" fmla="*/ 13 h 58"/>
                <a:gd name="T88" fmla="*/ 71 w 95"/>
                <a:gd name="T89" fmla="*/ 13 h 58"/>
                <a:gd name="T90" fmla="*/ 71 w 95"/>
                <a:gd name="T91" fmla="*/ 13 h 58"/>
                <a:gd name="T92" fmla="*/ 71 w 95"/>
                <a:gd name="T93" fmla="*/ 13 h 58"/>
                <a:gd name="T94" fmla="*/ 71 w 95"/>
                <a:gd name="T95" fmla="*/ 13 h 58"/>
                <a:gd name="T96" fmla="*/ 70 w 95"/>
                <a:gd name="T97" fmla="*/ 13 h 58"/>
                <a:gd name="T98" fmla="*/ 70 w 95"/>
                <a:gd name="T99" fmla="*/ 13 h 58"/>
                <a:gd name="T100" fmla="*/ 69 w 95"/>
                <a:gd name="T101" fmla="*/ 13 h 58"/>
                <a:gd name="T102" fmla="*/ 69 w 95"/>
                <a:gd name="T103" fmla="*/ 12 h 58"/>
                <a:gd name="T104" fmla="*/ 69 w 95"/>
                <a:gd name="T105" fmla="*/ 12 h 58"/>
                <a:gd name="T106" fmla="*/ 68 w 95"/>
                <a:gd name="T107" fmla="*/ 12 h 58"/>
                <a:gd name="T108" fmla="*/ 68 w 95"/>
                <a:gd name="T109" fmla="*/ 12 h 58"/>
                <a:gd name="T110" fmla="*/ 67 w 95"/>
                <a:gd name="T111" fmla="*/ 12 h 58"/>
                <a:gd name="T112" fmla="*/ 66 w 95"/>
                <a:gd name="T113" fmla="*/ 12 h 58"/>
                <a:gd name="T114" fmla="*/ 66 w 95"/>
                <a:gd name="T115" fmla="*/ 12 h 58"/>
                <a:gd name="T116" fmla="*/ 66 w 95"/>
                <a:gd name="T117" fmla="*/ 11 h 58"/>
                <a:gd name="T118" fmla="*/ 64 w 95"/>
                <a:gd name="T119" fmla="*/ 11 h 58"/>
                <a:gd name="T120" fmla="*/ 62 w 95"/>
                <a:gd name="T121" fmla="*/ 11 h 58"/>
                <a:gd name="T122" fmla="*/ 0 w 95"/>
                <a:gd name="T123" fmla="*/ 3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 h="58">
                  <a:moveTo>
                    <a:pt x="95" y="21"/>
                  </a:moveTo>
                  <a:lnTo>
                    <a:pt x="95" y="21"/>
                  </a:lnTo>
                  <a:cubicBezTo>
                    <a:pt x="92" y="20"/>
                    <a:pt x="89" y="19"/>
                    <a:pt x="86" y="18"/>
                  </a:cubicBezTo>
                  <a:cubicBezTo>
                    <a:pt x="86" y="18"/>
                    <a:pt x="86" y="18"/>
                    <a:pt x="86" y="18"/>
                  </a:cubicBezTo>
                  <a:lnTo>
                    <a:pt x="86" y="18"/>
                  </a:lnTo>
                  <a:cubicBezTo>
                    <a:pt x="85" y="17"/>
                    <a:pt x="85" y="17"/>
                    <a:pt x="85" y="17"/>
                  </a:cubicBezTo>
                  <a:cubicBezTo>
                    <a:pt x="85" y="17"/>
                    <a:pt x="85" y="17"/>
                    <a:pt x="85" y="17"/>
                  </a:cubicBezTo>
                  <a:cubicBezTo>
                    <a:pt x="84" y="17"/>
                    <a:pt x="84" y="17"/>
                    <a:pt x="84" y="17"/>
                  </a:cubicBezTo>
                  <a:cubicBezTo>
                    <a:pt x="84" y="17"/>
                    <a:pt x="84" y="17"/>
                    <a:pt x="84" y="17"/>
                  </a:cubicBezTo>
                  <a:cubicBezTo>
                    <a:pt x="84" y="17"/>
                    <a:pt x="84" y="17"/>
                    <a:pt x="84" y="17"/>
                  </a:cubicBezTo>
                  <a:cubicBezTo>
                    <a:pt x="84" y="17"/>
                    <a:pt x="84" y="17"/>
                    <a:pt x="84" y="17"/>
                  </a:cubicBezTo>
                  <a:cubicBezTo>
                    <a:pt x="84"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lnTo>
                    <a:pt x="83" y="17"/>
                  </a:lnTo>
                  <a:cubicBezTo>
                    <a:pt x="82" y="17"/>
                    <a:pt x="82" y="17"/>
                    <a:pt x="82" y="17"/>
                  </a:cubicBezTo>
                  <a:cubicBezTo>
                    <a:pt x="82" y="17"/>
                    <a:pt x="82" y="17"/>
                    <a:pt x="82" y="17"/>
                  </a:cubicBezTo>
                  <a:cubicBezTo>
                    <a:pt x="82" y="17"/>
                    <a:pt x="82" y="16"/>
                    <a:pt x="82" y="16"/>
                  </a:cubicBezTo>
                  <a:lnTo>
                    <a:pt x="82" y="16"/>
                  </a:lnTo>
                  <a:cubicBezTo>
                    <a:pt x="82" y="16"/>
                    <a:pt x="82"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79" y="16"/>
                    <a:pt x="79" y="16"/>
                  </a:cubicBezTo>
                  <a:cubicBezTo>
                    <a:pt x="79" y="16"/>
                    <a:pt x="79" y="16"/>
                    <a:pt x="79" y="16"/>
                  </a:cubicBezTo>
                  <a:cubicBezTo>
                    <a:pt x="79" y="16"/>
                    <a:pt x="79" y="16"/>
                    <a:pt x="79" y="16"/>
                  </a:cubicBezTo>
                  <a:cubicBezTo>
                    <a:pt x="79" y="16"/>
                    <a:pt x="79" y="16"/>
                    <a:pt x="79" y="16"/>
                  </a:cubicBezTo>
                  <a:cubicBezTo>
                    <a:pt x="79" y="16"/>
                    <a:pt x="79" y="16"/>
                    <a:pt x="79" y="15"/>
                  </a:cubicBezTo>
                  <a:cubicBezTo>
                    <a:pt x="79" y="15"/>
                    <a:pt x="79" y="15"/>
                    <a:pt x="79" y="15"/>
                  </a:cubicBezTo>
                  <a:cubicBezTo>
                    <a:pt x="79" y="15"/>
                    <a:pt x="79" y="15"/>
                    <a:pt x="79" y="15"/>
                  </a:cubicBezTo>
                  <a:cubicBezTo>
                    <a:pt x="79" y="15"/>
                    <a:pt x="79" y="15"/>
                    <a:pt x="79" y="15"/>
                  </a:cubicBezTo>
                  <a:cubicBezTo>
                    <a:pt x="79" y="15"/>
                    <a:pt x="79" y="15"/>
                    <a:pt x="79" y="15"/>
                  </a:cubicBezTo>
                  <a:lnTo>
                    <a:pt x="79" y="15"/>
                  </a:lnTo>
                  <a:cubicBezTo>
                    <a:pt x="79" y="15"/>
                    <a:pt x="79"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lnTo>
                    <a:pt x="77" y="15"/>
                  </a:lnTo>
                  <a:cubicBezTo>
                    <a:pt x="77" y="15"/>
                    <a:pt x="77" y="15"/>
                    <a:pt x="77" y="15"/>
                  </a:cubicBezTo>
                  <a:cubicBezTo>
                    <a:pt x="77" y="15"/>
                    <a:pt x="76" y="15"/>
                    <a:pt x="76" y="15"/>
                  </a:cubicBezTo>
                  <a:cubicBezTo>
                    <a:pt x="76" y="15"/>
                    <a:pt x="76" y="15"/>
                    <a:pt x="76" y="15"/>
                  </a:cubicBezTo>
                  <a:cubicBezTo>
                    <a:pt x="76" y="15"/>
                    <a:pt x="76" y="15"/>
                    <a:pt x="76" y="15"/>
                  </a:cubicBezTo>
                  <a:cubicBezTo>
                    <a:pt x="76" y="15"/>
                    <a:pt x="76" y="15"/>
                    <a:pt x="76" y="15"/>
                  </a:cubicBezTo>
                  <a:cubicBezTo>
                    <a:pt x="76" y="15"/>
                    <a:pt x="76" y="15"/>
                    <a:pt x="76" y="15"/>
                  </a:cubicBezTo>
                  <a:cubicBezTo>
                    <a:pt x="76" y="15"/>
                    <a:pt x="76" y="15"/>
                    <a:pt x="76" y="15"/>
                  </a:cubicBezTo>
                  <a:cubicBezTo>
                    <a:pt x="76" y="15"/>
                    <a:pt x="76" y="15"/>
                    <a:pt x="76" y="15"/>
                  </a:cubicBezTo>
                  <a:cubicBezTo>
                    <a:pt x="76" y="15"/>
                    <a:pt x="76" y="14"/>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6"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3"/>
                    <a:pt x="73" y="13"/>
                    <a:pt x="73"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1" y="13"/>
                    <a:pt x="71" y="13"/>
                  </a:cubicBezTo>
                  <a:lnTo>
                    <a:pt x="71" y="13"/>
                  </a:ln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0" y="13"/>
                    <a:pt x="70" y="13"/>
                  </a:cubicBezTo>
                  <a:cubicBezTo>
                    <a:pt x="70" y="13"/>
                    <a:pt x="70" y="13"/>
                    <a:pt x="70" y="13"/>
                  </a:cubicBezTo>
                  <a:cubicBezTo>
                    <a:pt x="70" y="13"/>
                    <a:pt x="70" y="13"/>
                    <a:pt x="70" y="13"/>
                  </a:cubicBezTo>
                  <a:lnTo>
                    <a:pt x="70" y="13"/>
                  </a:lnTo>
                  <a:cubicBezTo>
                    <a:pt x="70" y="13"/>
                    <a:pt x="70" y="13"/>
                    <a:pt x="70" y="13"/>
                  </a:cubicBezTo>
                  <a:cubicBezTo>
                    <a:pt x="70" y="13"/>
                    <a:pt x="70" y="13"/>
                    <a:pt x="70" y="13"/>
                  </a:cubicBezTo>
                  <a:cubicBezTo>
                    <a:pt x="69" y="13"/>
                    <a:pt x="69" y="13"/>
                    <a:pt x="69" y="13"/>
                  </a:cubicBezTo>
                  <a:cubicBezTo>
                    <a:pt x="69" y="13"/>
                    <a:pt x="69" y="13"/>
                    <a:pt x="69" y="13"/>
                  </a:cubicBezTo>
                  <a:cubicBezTo>
                    <a:pt x="69" y="13"/>
                    <a:pt x="69" y="13"/>
                    <a:pt x="69" y="13"/>
                  </a:cubicBezTo>
                  <a:lnTo>
                    <a:pt x="69" y="13"/>
                  </a:lnTo>
                  <a:cubicBezTo>
                    <a:pt x="69" y="12"/>
                    <a:pt x="69" y="12"/>
                    <a:pt x="69" y="12"/>
                  </a:cubicBezTo>
                  <a:cubicBezTo>
                    <a:pt x="69" y="12"/>
                    <a:pt x="69" y="12"/>
                    <a:pt x="69" y="12"/>
                  </a:cubicBezTo>
                  <a:cubicBezTo>
                    <a:pt x="69" y="12"/>
                    <a:pt x="69" y="12"/>
                    <a:pt x="69" y="12"/>
                  </a:cubicBezTo>
                  <a:cubicBezTo>
                    <a:pt x="69" y="12"/>
                    <a:pt x="69" y="12"/>
                    <a:pt x="69" y="12"/>
                  </a:cubicBezTo>
                  <a:cubicBezTo>
                    <a:pt x="69" y="12"/>
                    <a:pt x="69" y="12"/>
                    <a:pt x="69" y="12"/>
                  </a:cubicBezTo>
                  <a:cubicBezTo>
                    <a:pt x="68" y="12"/>
                    <a:pt x="68" y="12"/>
                    <a:pt x="68" y="12"/>
                  </a:cubicBezTo>
                  <a:lnTo>
                    <a:pt x="68" y="12"/>
                  </a:lnTo>
                  <a:cubicBezTo>
                    <a:pt x="68" y="12"/>
                    <a:pt x="68" y="12"/>
                    <a:pt x="68" y="12"/>
                  </a:cubicBezTo>
                  <a:cubicBezTo>
                    <a:pt x="68" y="12"/>
                    <a:pt x="68" y="12"/>
                    <a:pt x="68" y="12"/>
                  </a:cubicBezTo>
                  <a:cubicBezTo>
                    <a:pt x="68" y="12"/>
                    <a:pt x="68" y="12"/>
                    <a:pt x="68" y="12"/>
                  </a:cubicBezTo>
                  <a:cubicBezTo>
                    <a:pt x="68" y="12"/>
                    <a:pt x="68" y="12"/>
                    <a:pt x="68" y="12"/>
                  </a:cubicBezTo>
                  <a:cubicBezTo>
                    <a:pt x="68" y="12"/>
                    <a:pt x="68" y="12"/>
                    <a:pt x="67" y="12"/>
                  </a:cubicBezTo>
                  <a:cubicBezTo>
                    <a:pt x="67" y="12"/>
                    <a:pt x="67" y="12"/>
                    <a:pt x="67" y="12"/>
                  </a:cubicBezTo>
                  <a:cubicBezTo>
                    <a:pt x="67" y="12"/>
                    <a:pt x="67" y="12"/>
                    <a:pt x="67" y="12"/>
                  </a:cubicBezTo>
                  <a:cubicBezTo>
                    <a:pt x="67" y="12"/>
                    <a:pt x="67" y="12"/>
                    <a:pt x="67" y="12"/>
                  </a:cubicBezTo>
                  <a:cubicBezTo>
                    <a:pt x="67" y="12"/>
                    <a:pt x="67" y="12"/>
                    <a:pt x="67" y="12"/>
                  </a:cubicBezTo>
                  <a:cubicBezTo>
                    <a:pt x="67" y="12"/>
                    <a:pt x="67" y="12"/>
                    <a:pt x="66" y="12"/>
                  </a:cubicBezTo>
                  <a:lnTo>
                    <a:pt x="66" y="12"/>
                  </a:lnTo>
                  <a:cubicBezTo>
                    <a:pt x="66" y="12"/>
                    <a:pt x="66" y="12"/>
                    <a:pt x="66" y="12"/>
                  </a:cubicBezTo>
                  <a:cubicBezTo>
                    <a:pt x="66" y="12"/>
                    <a:pt x="66" y="12"/>
                    <a:pt x="66" y="12"/>
                  </a:cubicBezTo>
                  <a:cubicBezTo>
                    <a:pt x="66" y="12"/>
                    <a:pt x="66" y="12"/>
                    <a:pt x="66" y="12"/>
                  </a:cubicBezTo>
                  <a:lnTo>
                    <a:pt x="66" y="12"/>
                  </a:lnTo>
                  <a:cubicBezTo>
                    <a:pt x="66" y="12"/>
                    <a:pt x="66" y="12"/>
                    <a:pt x="66" y="11"/>
                  </a:cubicBezTo>
                  <a:cubicBezTo>
                    <a:pt x="66" y="11"/>
                    <a:pt x="66" y="11"/>
                    <a:pt x="66" y="11"/>
                  </a:cubicBezTo>
                  <a:cubicBezTo>
                    <a:pt x="65" y="11"/>
                    <a:pt x="65" y="11"/>
                    <a:pt x="64" y="11"/>
                  </a:cubicBezTo>
                  <a:cubicBezTo>
                    <a:pt x="64" y="11"/>
                    <a:pt x="64" y="11"/>
                    <a:pt x="64" y="11"/>
                  </a:cubicBezTo>
                  <a:cubicBezTo>
                    <a:pt x="64" y="11"/>
                    <a:pt x="64" y="11"/>
                    <a:pt x="64" y="11"/>
                  </a:cubicBezTo>
                  <a:lnTo>
                    <a:pt x="64" y="11"/>
                  </a:lnTo>
                  <a:cubicBezTo>
                    <a:pt x="64" y="11"/>
                    <a:pt x="63" y="11"/>
                    <a:pt x="62" y="11"/>
                  </a:cubicBezTo>
                  <a:cubicBezTo>
                    <a:pt x="62" y="11"/>
                    <a:pt x="62" y="11"/>
                    <a:pt x="62" y="11"/>
                  </a:cubicBezTo>
                  <a:cubicBezTo>
                    <a:pt x="44" y="6"/>
                    <a:pt x="24" y="3"/>
                    <a:pt x="5" y="0"/>
                  </a:cubicBezTo>
                  <a:lnTo>
                    <a:pt x="0" y="39"/>
                  </a:lnTo>
                  <a:cubicBezTo>
                    <a:pt x="28" y="43"/>
                    <a:pt x="55" y="49"/>
                    <a:pt x="82" y="58"/>
                  </a:cubicBezTo>
                  <a:lnTo>
                    <a:pt x="95" y="21"/>
                  </a:ln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38">
              <a:extLst>
                <a:ext uri="{FF2B5EF4-FFF2-40B4-BE49-F238E27FC236}">
                  <a16:creationId xmlns:a16="http://schemas.microsoft.com/office/drawing/2014/main" id="{B841F9B8-6E8D-CEF0-E3F8-F9B48B2D18C9}"/>
                </a:ext>
              </a:extLst>
            </p:cNvPr>
            <p:cNvSpPr>
              <a:spLocks/>
            </p:cNvSpPr>
            <p:nvPr/>
          </p:nvSpPr>
          <p:spPr bwMode="auto">
            <a:xfrm>
              <a:off x="2870201" y="3605213"/>
              <a:ext cx="42863" cy="68263"/>
            </a:xfrm>
            <a:custGeom>
              <a:avLst/>
              <a:gdLst>
                <a:gd name="T0" fmla="*/ 0 w 59"/>
                <a:gd name="T1" fmla="*/ 82 h 95"/>
                <a:gd name="T2" fmla="*/ 40 w 59"/>
                <a:gd name="T3" fmla="*/ 90 h 95"/>
                <a:gd name="T4" fmla="*/ 40 w 59"/>
                <a:gd name="T5" fmla="*/ 90 h 95"/>
                <a:gd name="T6" fmla="*/ 40 w 59"/>
                <a:gd name="T7" fmla="*/ 90 h 95"/>
                <a:gd name="T8" fmla="*/ 40 w 59"/>
                <a:gd name="T9" fmla="*/ 90 h 95"/>
                <a:gd name="T10" fmla="*/ 40 w 59"/>
                <a:gd name="T11" fmla="*/ 89 h 95"/>
                <a:gd name="T12" fmla="*/ 40 w 59"/>
                <a:gd name="T13" fmla="*/ 89 h 95"/>
                <a:gd name="T14" fmla="*/ 40 w 59"/>
                <a:gd name="T15" fmla="*/ 89 h 95"/>
                <a:gd name="T16" fmla="*/ 40 w 59"/>
                <a:gd name="T17" fmla="*/ 89 h 95"/>
                <a:gd name="T18" fmla="*/ 40 w 59"/>
                <a:gd name="T19" fmla="*/ 89 h 95"/>
                <a:gd name="T20" fmla="*/ 40 w 59"/>
                <a:gd name="T21" fmla="*/ 88 h 95"/>
                <a:gd name="T22" fmla="*/ 40 w 59"/>
                <a:gd name="T23" fmla="*/ 88 h 95"/>
                <a:gd name="T24" fmla="*/ 40 w 59"/>
                <a:gd name="T25" fmla="*/ 88 h 95"/>
                <a:gd name="T26" fmla="*/ 40 w 59"/>
                <a:gd name="T27" fmla="*/ 88 h 95"/>
                <a:gd name="T28" fmla="*/ 40 w 59"/>
                <a:gd name="T29" fmla="*/ 88 h 95"/>
                <a:gd name="T30" fmla="*/ 40 w 59"/>
                <a:gd name="T31" fmla="*/ 88 h 95"/>
                <a:gd name="T32" fmla="*/ 41 w 59"/>
                <a:gd name="T33" fmla="*/ 88 h 95"/>
                <a:gd name="T34" fmla="*/ 41 w 59"/>
                <a:gd name="T35" fmla="*/ 87 h 95"/>
                <a:gd name="T36" fmla="*/ 57 w 59"/>
                <a:gd name="T37" fmla="*/ 18 h 95"/>
                <a:gd name="T38" fmla="*/ 57 w 59"/>
                <a:gd name="T39" fmla="*/ 18 h 95"/>
                <a:gd name="T40" fmla="*/ 57 w 59"/>
                <a:gd name="T41" fmla="*/ 18 h 95"/>
                <a:gd name="T42" fmla="*/ 57 w 59"/>
                <a:gd name="T43" fmla="*/ 18 h 95"/>
                <a:gd name="T44" fmla="*/ 57 w 59"/>
                <a:gd name="T45" fmla="*/ 17 h 95"/>
                <a:gd name="T46" fmla="*/ 57 w 59"/>
                <a:gd name="T47" fmla="*/ 17 h 95"/>
                <a:gd name="T48" fmla="*/ 57 w 59"/>
                <a:gd name="T49" fmla="*/ 17 h 95"/>
                <a:gd name="T50" fmla="*/ 57 w 59"/>
                <a:gd name="T51" fmla="*/ 17 h 95"/>
                <a:gd name="T52" fmla="*/ 57 w 59"/>
                <a:gd name="T53" fmla="*/ 16 h 95"/>
                <a:gd name="T54" fmla="*/ 57 w 59"/>
                <a:gd name="T55" fmla="*/ 16 h 95"/>
                <a:gd name="T56" fmla="*/ 57 w 59"/>
                <a:gd name="T57" fmla="*/ 16 h 95"/>
                <a:gd name="T58" fmla="*/ 57 w 59"/>
                <a:gd name="T59" fmla="*/ 16 h 95"/>
                <a:gd name="T60" fmla="*/ 57 w 59"/>
                <a:gd name="T61" fmla="*/ 16 h 95"/>
                <a:gd name="T62" fmla="*/ 57 w 59"/>
                <a:gd name="T63" fmla="*/ 15 h 95"/>
                <a:gd name="T64" fmla="*/ 57 w 59"/>
                <a:gd name="T65" fmla="*/ 15 h 95"/>
                <a:gd name="T66" fmla="*/ 57 w 59"/>
                <a:gd name="T67" fmla="*/ 15 h 95"/>
                <a:gd name="T68" fmla="*/ 57 w 59"/>
                <a:gd name="T69" fmla="*/ 15 h 95"/>
                <a:gd name="T70" fmla="*/ 57 w 59"/>
                <a:gd name="T71" fmla="*/ 14 h 95"/>
                <a:gd name="T72" fmla="*/ 57 w 59"/>
                <a:gd name="T73" fmla="*/ 14 h 95"/>
                <a:gd name="T74" fmla="*/ 57 w 59"/>
                <a:gd name="T75" fmla="*/ 14 h 95"/>
                <a:gd name="T76" fmla="*/ 59 w 59"/>
                <a:gd name="T77" fmla="*/ 5 h 95"/>
                <a:gd name="T78" fmla="*/ 0 w 59"/>
                <a:gd name="T79" fmla="*/ 8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 h="95">
                  <a:moveTo>
                    <a:pt x="0" y="82"/>
                  </a:moveTo>
                  <a:lnTo>
                    <a:pt x="0" y="82"/>
                  </a:lnTo>
                  <a:lnTo>
                    <a:pt x="38" y="95"/>
                  </a:lnTo>
                  <a:cubicBezTo>
                    <a:pt x="39" y="94"/>
                    <a:pt x="39" y="92"/>
                    <a:pt x="40" y="90"/>
                  </a:cubicBezTo>
                  <a:lnTo>
                    <a:pt x="40" y="90"/>
                  </a:lnTo>
                  <a:cubicBezTo>
                    <a:pt x="40" y="90"/>
                    <a:pt x="40" y="90"/>
                    <a:pt x="40" y="90"/>
                  </a:cubicBezTo>
                  <a:cubicBezTo>
                    <a:pt x="40" y="90"/>
                    <a:pt x="40" y="90"/>
                    <a:pt x="40" y="90"/>
                  </a:cubicBezTo>
                  <a:cubicBezTo>
                    <a:pt x="40" y="90"/>
                    <a:pt x="40" y="90"/>
                    <a:pt x="40" y="90"/>
                  </a:cubicBezTo>
                  <a:cubicBezTo>
                    <a:pt x="40" y="90"/>
                    <a:pt x="40" y="90"/>
                    <a:pt x="40" y="90"/>
                  </a:cubicBezTo>
                  <a:cubicBezTo>
                    <a:pt x="40" y="90"/>
                    <a:pt x="40" y="90"/>
                    <a:pt x="40" y="90"/>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1" y="88"/>
                  </a:cubicBezTo>
                  <a:cubicBezTo>
                    <a:pt x="41" y="88"/>
                    <a:pt x="41" y="88"/>
                    <a:pt x="41" y="88"/>
                  </a:cubicBezTo>
                  <a:cubicBezTo>
                    <a:pt x="41" y="87"/>
                    <a:pt x="41" y="87"/>
                    <a:pt x="41" y="87"/>
                  </a:cubicBezTo>
                  <a:cubicBezTo>
                    <a:pt x="41" y="87"/>
                    <a:pt x="41" y="87"/>
                    <a:pt x="41" y="87"/>
                  </a:cubicBezTo>
                  <a:cubicBezTo>
                    <a:pt x="48" y="65"/>
                    <a:pt x="53" y="42"/>
                    <a:pt x="57" y="18"/>
                  </a:cubicBezTo>
                  <a:cubicBezTo>
                    <a:pt x="57" y="18"/>
                    <a:pt x="57" y="18"/>
                    <a:pt x="57" y="18"/>
                  </a:cubicBezTo>
                  <a:cubicBezTo>
                    <a:pt x="57" y="18"/>
                    <a:pt x="57" y="18"/>
                    <a:pt x="57" y="18"/>
                  </a:cubicBezTo>
                  <a:cubicBezTo>
                    <a:pt x="57" y="18"/>
                    <a:pt x="57" y="18"/>
                    <a:pt x="57" y="18"/>
                  </a:cubicBezTo>
                  <a:cubicBezTo>
                    <a:pt x="57" y="18"/>
                    <a:pt x="57" y="18"/>
                    <a:pt x="57" y="18"/>
                  </a:cubicBezTo>
                  <a:cubicBezTo>
                    <a:pt x="57" y="18"/>
                    <a:pt x="57" y="18"/>
                    <a:pt x="57" y="18"/>
                  </a:cubicBezTo>
                  <a:cubicBezTo>
                    <a:pt x="57" y="18"/>
                    <a:pt x="57" y="18"/>
                    <a:pt x="57" y="18"/>
                  </a:cubicBezTo>
                  <a:cubicBezTo>
                    <a:pt x="57" y="18"/>
                    <a:pt x="57" y="18"/>
                    <a:pt x="57" y="18"/>
                  </a:cubicBezTo>
                  <a:lnTo>
                    <a:pt x="57" y="18"/>
                  </a:lnTo>
                  <a:cubicBezTo>
                    <a:pt x="57" y="18"/>
                    <a:pt x="57" y="18"/>
                    <a:pt x="57" y="17"/>
                  </a:cubicBezTo>
                  <a:cubicBezTo>
                    <a:pt x="57" y="17"/>
                    <a:pt x="57" y="17"/>
                    <a:pt x="57" y="17"/>
                  </a:cubicBezTo>
                  <a:cubicBezTo>
                    <a:pt x="57" y="17"/>
                    <a:pt x="57" y="17"/>
                    <a:pt x="57" y="17"/>
                  </a:cubicBezTo>
                  <a:cubicBezTo>
                    <a:pt x="57" y="17"/>
                    <a:pt x="57" y="17"/>
                    <a:pt x="57" y="17"/>
                  </a:cubicBezTo>
                  <a:cubicBezTo>
                    <a:pt x="57" y="17"/>
                    <a:pt x="57" y="17"/>
                    <a:pt x="57" y="17"/>
                  </a:cubicBezTo>
                  <a:cubicBezTo>
                    <a:pt x="57" y="17"/>
                    <a:pt x="57" y="17"/>
                    <a:pt x="57" y="17"/>
                  </a:cubicBezTo>
                  <a:cubicBezTo>
                    <a:pt x="57" y="17"/>
                    <a:pt x="57" y="17"/>
                    <a:pt x="57" y="17"/>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5"/>
                  </a:cubicBezTo>
                  <a:cubicBezTo>
                    <a:pt x="57" y="15"/>
                    <a:pt x="57" y="15"/>
                    <a:pt x="57" y="15"/>
                  </a:cubicBezTo>
                  <a:cubicBezTo>
                    <a:pt x="57" y="15"/>
                    <a:pt x="57" y="15"/>
                    <a:pt x="57" y="15"/>
                  </a:cubicBezTo>
                  <a:lnTo>
                    <a:pt x="57" y="15"/>
                  </a:lnTo>
                  <a:cubicBezTo>
                    <a:pt x="57" y="15"/>
                    <a:pt x="57" y="15"/>
                    <a:pt x="57" y="15"/>
                  </a:cubicBezTo>
                  <a:lnTo>
                    <a:pt x="57" y="15"/>
                  </a:lnTo>
                  <a:cubicBezTo>
                    <a:pt x="57" y="15"/>
                    <a:pt x="57" y="15"/>
                    <a:pt x="57" y="15"/>
                  </a:cubicBezTo>
                  <a:cubicBezTo>
                    <a:pt x="57" y="15"/>
                    <a:pt x="57" y="15"/>
                    <a:pt x="57" y="15"/>
                  </a:cubicBezTo>
                  <a:cubicBezTo>
                    <a:pt x="57" y="15"/>
                    <a:pt x="57" y="14"/>
                    <a:pt x="57" y="14"/>
                  </a:cubicBezTo>
                  <a:lnTo>
                    <a:pt x="57" y="14"/>
                  </a:lnTo>
                  <a:cubicBezTo>
                    <a:pt x="57" y="14"/>
                    <a:pt x="57" y="14"/>
                    <a:pt x="57" y="14"/>
                  </a:cubicBezTo>
                  <a:cubicBezTo>
                    <a:pt x="57" y="14"/>
                    <a:pt x="57" y="14"/>
                    <a:pt x="57" y="14"/>
                  </a:cubicBezTo>
                  <a:cubicBezTo>
                    <a:pt x="57" y="14"/>
                    <a:pt x="57" y="14"/>
                    <a:pt x="57" y="14"/>
                  </a:cubicBezTo>
                  <a:lnTo>
                    <a:pt x="57" y="14"/>
                  </a:lnTo>
                  <a:cubicBezTo>
                    <a:pt x="58" y="11"/>
                    <a:pt x="58" y="8"/>
                    <a:pt x="59" y="5"/>
                  </a:cubicBezTo>
                  <a:lnTo>
                    <a:pt x="19" y="0"/>
                  </a:lnTo>
                  <a:cubicBezTo>
                    <a:pt x="16" y="28"/>
                    <a:pt x="9" y="56"/>
                    <a:pt x="0" y="82"/>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39">
              <a:extLst>
                <a:ext uri="{FF2B5EF4-FFF2-40B4-BE49-F238E27FC236}">
                  <a16:creationId xmlns:a16="http://schemas.microsoft.com/office/drawing/2014/main" id="{5185BA47-E423-7B13-B0B1-20A953E3D131}"/>
                </a:ext>
              </a:extLst>
            </p:cNvPr>
            <p:cNvSpPr>
              <a:spLocks/>
            </p:cNvSpPr>
            <p:nvPr/>
          </p:nvSpPr>
          <p:spPr bwMode="auto">
            <a:xfrm>
              <a:off x="2767013" y="3760788"/>
              <a:ext cx="66675" cy="63500"/>
            </a:xfrm>
            <a:custGeom>
              <a:avLst/>
              <a:gdLst>
                <a:gd name="T0" fmla="*/ 23 w 93"/>
                <a:gd name="T1" fmla="*/ 88 h 88"/>
                <a:gd name="T2" fmla="*/ 24 w 93"/>
                <a:gd name="T3" fmla="*/ 88 h 88"/>
                <a:gd name="T4" fmla="*/ 24 w 93"/>
                <a:gd name="T5" fmla="*/ 88 h 88"/>
                <a:gd name="T6" fmla="*/ 24 w 93"/>
                <a:gd name="T7" fmla="*/ 88 h 88"/>
                <a:gd name="T8" fmla="*/ 24 w 93"/>
                <a:gd name="T9" fmla="*/ 87 h 88"/>
                <a:gd name="T10" fmla="*/ 25 w 93"/>
                <a:gd name="T11" fmla="*/ 87 h 88"/>
                <a:gd name="T12" fmla="*/ 25 w 93"/>
                <a:gd name="T13" fmla="*/ 87 h 88"/>
                <a:gd name="T14" fmla="*/ 25 w 93"/>
                <a:gd name="T15" fmla="*/ 87 h 88"/>
                <a:gd name="T16" fmla="*/ 26 w 93"/>
                <a:gd name="T17" fmla="*/ 87 h 88"/>
                <a:gd name="T18" fmla="*/ 26 w 93"/>
                <a:gd name="T19" fmla="*/ 86 h 88"/>
                <a:gd name="T20" fmla="*/ 26 w 93"/>
                <a:gd name="T21" fmla="*/ 86 h 88"/>
                <a:gd name="T22" fmla="*/ 27 w 93"/>
                <a:gd name="T23" fmla="*/ 86 h 88"/>
                <a:gd name="T24" fmla="*/ 27 w 93"/>
                <a:gd name="T25" fmla="*/ 86 h 88"/>
                <a:gd name="T26" fmla="*/ 27 w 93"/>
                <a:gd name="T27" fmla="*/ 86 h 88"/>
                <a:gd name="T28" fmla="*/ 27 w 93"/>
                <a:gd name="T29" fmla="*/ 85 h 88"/>
                <a:gd name="T30" fmla="*/ 28 w 93"/>
                <a:gd name="T31" fmla="*/ 85 h 88"/>
                <a:gd name="T32" fmla="*/ 28 w 93"/>
                <a:gd name="T33" fmla="*/ 85 h 88"/>
                <a:gd name="T34" fmla="*/ 28 w 93"/>
                <a:gd name="T35" fmla="*/ 85 h 88"/>
                <a:gd name="T36" fmla="*/ 29 w 93"/>
                <a:gd name="T37" fmla="*/ 84 h 88"/>
                <a:gd name="T38" fmla="*/ 29 w 93"/>
                <a:gd name="T39" fmla="*/ 84 h 88"/>
                <a:gd name="T40" fmla="*/ 29 w 93"/>
                <a:gd name="T41" fmla="*/ 84 h 88"/>
                <a:gd name="T42" fmla="*/ 29 w 93"/>
                <a:gd name="T43" fmla="*/ 84 h 88"/>
                <a:gd name="T44" fmla="*/ 30 w 93"/>
                <a:gd name="T45" fmla="*/ 84 h 88"/>
                <a:gd name="T46" fmla="*/ 30 w 93"/>
                <a:gd name="T47" fmla="*/ 83 h 88"/>
                <a:gd name="T48" fmla="*/ 30 w 93"/>
                <a:gd name="T49" fmla="*/ 83 h 88"/>
                <a:gd name="T50" fmla="*/ 31 w 93"/>
                <a:gd name="T51" fmla="*/ 83 h 88"/>
                <a:gd name="T52" fmla="*/ 31 w 93"/>
                <a:gd name="T53" fmla="*/ 83 h 88"/>
                <a:gd name="T54" fmla="*/ 31 w 93"/>
                <a:gd name="T55" fmla="*/ 83 h 88"/>
                <a:gd name="T56" fmla="*/ 32 w 93"/>
                <a:gd name="T57" fmla="*/ 82 h 88"/>
                <a:gd name="T58" fmla="*/ 32 w 93"/>
                <a:gd name="T59" fmla="*/ 82 h 88"/>
                <a:gd name="T60" fmla="*/ 32 w 93"/>
                <a:gd name="T61" fmla="*/ 82 h 88"/>
                <a:gd name="T62" fmla="*/ 32 w 93"/>
                <a:gd name="T63" fmla="*/ 82 h 88"/>
                <a:gd name="T64" fmla="*/ 33 w 93"/>
                <a:gd name="T65" fmla="*/ 81 h 88"/>
                <a:gd name="T66" fmla="*/ 33 w 93"/>
                <a:gd name="T67" fmla="*/ 81 h 88"/>
                <a:gd name="T68" fmla="*/ 33 w 93"/>
                <a:gd name="T69" fmla="*/ 81 h 88"/>
                <a:gd name="T70" fmla="*/ 34 w 93"/>
                <a:gd name="T71" fmla="*/ 81 h 88"/>
                <a:gd name="T72" fmla="*/ 34 w 93"/>
                <a:gd name="T73" fmla="*/ 81 h 88"/>
                <a:gd name="T74" fmla="*/ 35 w 93"/>
                <a:gd name="T75" fmla="*/ 80 h 88"/>
                <a:gd name="T76" fmla="*/ 35 w 93"/>
                <a:gd name="T77" fmla="*/ 80 h 88"/>
                <a:gd name="T78" fmla="*/ 35 w 93"/>
                <a:gd name="T79" fmla="*/ 80 h 88"/>
                <a:gd name="T80" fmla="*/ 36 w 93"/>
                <a:gd name="T81" fmla="*/ 79 h 88"/>
                <a:gd name="T82" fmla="*/ 36 w 93"/>
                <a:gd name="T83" fmla="*/ 79 h 88"/>
                <a:gd name="T84" fmla="*/ 36 w 93"/>
                <a:gd name="T85" fmla="*/ 79 h 88"/>
                <a:gd name="T86" fmla="*/ 37 w 93"/>
                <a:gd name="T87" fmla="*/ 78 h 88"/>
                <a:gd name="T88" fmla="*/ 37 w 93"/>
                <a:gd name="T89" fmla="*/ 78 h 88"/>
                <a:gd name="T90" fmla="*/ 38 w 93"/>
                <a:gd name="T91" fmla="*/ 78 h 88"/>
                <a:gd name="T92" fmla="*/ 38 w 93"/>
                <a:gd name="T93" fmla="*/ 77 h 88"/>
                <a:gd name="T94" fmla="*/ 39 w 93"/>
                <a:gd name="T95" fmla="*/ 77 h 88"/>
                <a:gd name="T96" fmla="*/ 39 w 93"/>
                <a:gd name="T97" fmla="*/ 76 h 88"/>
                <a:gd name="T98" fmla="*/ 40 w 93"/>
                <a:gd name="T99" fmla="*/ 76 h 88"/>
                <a:gd name="T100" fmla="*/ 42 w 93"/>
                <a:gd name="T101" fmla="*/ 7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 h="88">
                  <a:moveTo>
                    <a:pt x="0" y="56"/>
                  </a:moveTo>
                  <a:lnTo>
                    <a:pt x="0" y="56"/>
                  </a:lnTo>
                  <a:lnTo>
                    <a:pt x="23" y="88"/>
                  </a:lnTo>
                  <a:cubicBezTo>
                    <a:pt x="23" y="88"/>
                    <a:pt x="23" y="88"/>
                    <a:pt x="23" y="88"/>
                  </a:cubicBezTo>
                  <a:cubicBezTo>
                    <a:pt x="23" y="88"/>
                    <a:pt x="23" y="88"/>
                    <a:pt x="23" y="88"/>
                  </a:cubicBezTo>
                  <a:cubicBezTo>
                    <a:pt x="23" y="88"/>
                    <a:pt x="23" y="88"/>
                    <a:pt x="23" y="88"/>
                  </a:cubicBezTo>
                  <a:cubicBezTo>
                    <a:pt x="23" y="88"/>
                    <a:pt x="23" y="88"/>
                    <a:pt x="23"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7"/>
                  </a:cubicBezTo>
                  <a:cubicBezTo>
                    <a:pt x="24" y="87"/>
                    <a:pt x="24" y="87"/>
                    <a:pt x="24" y="87"/>
                  </a:cubicBezTo>
                  <a:cubicBezTo>
                    <a:pt x="24"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6" y="87"/>
                    <a:pt x="26" y="87"/>
                    <a:pt x="26" y="87"/>
                  </a:cubicBezTo>
                  <a:cubicBezTo>
                    <a:pt x="26" y="87"/>
                    <a:pt x="26" y="87"/>
                    <a:pt x="26" y="87"/>
                  </a:cubicBezTo>
                  <a:cubicBezTo>
                    <a:pt x="26" y="87"/>
                    <a:pt x="26" y="87"/>
                    <a:pt x="26" y="87"/>
                  </a:cubicBezTo>
                  <a:cubicBezTo>
                    <a:pt x="26" y="87"/>
                    <a:pt x="26" y="87"/>
                    <a:pt x="26" y="87"/>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5"/>
                  </a:cubicBezTo>
                  <a:cubicBezTo>
                    <a:pt x="27" y="85"/>
                    <a:pt x="27" y="85"/>
                    <a:pt x="27" y="85"/>
                  </a:cubicBezTo>
                  <a:cubicBezTo>
                    <a:pt x="27" y="85"/>
                    <a:pt x="27" y="85"/>
                    <a:pt x="27" y="85"/>
                  </a:cubicBezTo>
                  <a:cubicBezTo>
                    <a:pt x="27" y="85"/>
                    <a:pt x="27" y="85"/>
                    <a:pt x="27" y="85"/>
                  </a:cubicBezTo>
                  <a:cubicBezTo>
                    <a:pt x="27" y="85"/>
                    <a:pt x="27"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9" y="85"/>
                    <a:pt x="29" y="85"/>
                  </a:cubicBezTo>
                  <a:cubicBezTo>
                    <a:pt x="29" y="85"/>
                    <a:pt x="29" y="85"/>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30" y="84"/>
                    <a:pt x="30" y="84"/>
                    <a:pt x="30" y="84"/>
                  </a:cubicBezTo>
                  <a:cubicBezTo>
                    <a:pt x="30" y="84"/>
                    <a:pt x="30" y="84"/>
                    <a:pt x="30" y="84"/>
                  </a:cubicBezTo>
                  <a:cubicBezTo>
                    <a:pt x="30" y="84"/>
                    <a:pt x="30" y="84"/>
                    <a:pt x="30" y="84"/>
                  </a:cubicBezTo>
                  <a:cubicBezTo>
                    <a:pt x="30" y="84"/>
                    <a:pt x="30" y="84"/>
                    <a:pt x="30" y="84"/>
                  </a:cubicBezTo>
                  <a:cubicBezTo>
                    <a:pt x="30" y="84"/>
                    <a:pt x="30" y="84"/>
                    <a:pt x="30" y="84"/>
                  </a:cubicBezTo>
                  <a:cubicBezTo>
                    <a:pt x="30" y="84"/>
                    <a:pt x="30" y="84"/>
                    <a:pt x="30" y="84"/>
                  </a:cubicBezTo>
                  <a:cubicBezTo>
                    <a:pt x="30" y="84"/>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2"/>
                  </a:cubicBezTo>
                  <a:cubicBezTo>
                    <a:pt x="31" y="82"/>
                    <a:pt x="31" y="82"/>
                    <a:pt x="31" y="82"/>
                  </a:cubicBezTo>
                  <a:cubicBezTo>
                    <a:pt x="31" y="82"/>
                    <a:pt x="31" y="82"/>
                    <a:pt x="31"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3" y="82"/>
                  </a:cubicBezTo>
                  <a:cubicBezTo>
                    <a:pt x="33" y="82"/>
                    <a:pt x="33" y="82"/>
                    <a:pt x="33" y="82"/>
                  </a:cubicBezTo>
                  <a:cubicBezTo>
                    <a:pt x="33" y="82"/>
                    <a:pt x="33" y="82"/>
                    <a:pt x="33" y="82"/>
                  </a:cubicBezTo>
                  <a:cubicBezTo>
                    <a:pt x="33" y="82"/>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4" y="81"/>
                  </a:cubicBezTo>
                  <a:lnTo>
                    <a:pt x="34" y="81"/>
                  </a:lnTo>
                  <a:cubicBezTo>
                    <a:pt x="34" y="81"/>
                    <a:pt x="34" y="81"/>
                    <a:pt x="34" y="81"/>
                  </a:cubicBezTo>
                  <a:cubicBezTo>
                    <a:pt x="34" y="81"/>
                    <a:pt x="34" y="81"/>
                    <a:pt x="34" y="81"/>
                  </a:cubicBezTo>
                  <a:cubicBezTo>
                    <a:pt x="34" y="81"/>
                    <a:pt x="34" y="81"/>
                    <a:pt x="34" y="81"/>
                  </a:cubicBezTo>
                  <a:cubicBezTo>
                    <a:pt x="34" y="81"/>
                    <a:pt x="34" y="81"/>
                    <a:pt x="34" y="81"/>
                  </a:cubicBezTo>
                  <a:cubicBezTo>
                    <a:pt x="34" y="81"/>
                    <a:pt x="34" y="81"/>
                    <a:pt x="34" y="81"/>
                  </a:cubicBezTo>
                  <a:cubicBezTo>
                    <a:pt x="34" y="81"/>
                    <a:pt x="34" y="81"/>
                    <a:pt x="34" y="81"/>
                  </a:cubicBezTo>
                  <a:cubicBezTo>
                    <a:pt x="34" y="80"/>
                    <a:pt x="34" y="80"/>
                    <a:pt x="34" y="80"/>
                  </a:cubicBezTo>
                  <a:lnTo>
                    <a:pt x="34" y="80"/>
                  </a:lnTo>
                  <a:cubicBezTo>
                    <a:pt x="34" y="80"/>
                    <a:pt x="34" y="80"/>
                    <a:pt x="35" y="80"/>
                  </a:cubicBezTo>
                  <a:lnTo>
                    <a:pt x="35" y="80"/>
                  </a:ln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lnTo>
                    <a:pt x="35" y="80"/>
                  </a:lnTo>
                  <a:cubicBezTo>
                    <a:pt x="35" y="79"/>
                    <a:pt x="35"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7" y="79"/>
                    <a:pt x="37" y="78"/>
                  </a:cubicBezTo>
                  <a:cubicBezTo>
                    <a:pt x="37" y="78"/>
                    <a:pt x="37" y="78"/>
                    <a:pt x="37" y="78"/>
                  </a:cubicBezTo>
                  <a:cubicBezTo>
                    <a:pt x="37" y="78"/>
                    <a:pt x="37" y="78"/>
                    <a:pt x="37" y="78"/>
                  </a:cubicBezTo>
                  <a:cubicBezTo>
                    <a:pt x="37" y="78"/>
                    <a:pt x="37" y="78"/>
                    <a:pt x="37" y="78"/>
                  </a:cubicBezTo>
                  <a:cubicBezTo>
                    <a:pt x="37" y="78"/>
                    <a:pt x="37" y="78"/>
                    <a:pt x="37" y="78"/>
                  </a:cubicBezTo>
                  <a:cubicBezTo>
                    <a:pt x="37" y="78"/>
                    <a:pt x="37" y="78"/>
                    <a:pt x="37" y="78"/>
                  </a:cubicBezTo>
                  <a:cubicBezTo>
                    <a:pt x="37" y="78"/>
                    <a:pt x="37" y="78"/>
                    <a:pt x="37" y="78"/>
                  </a:cubicBezTo>
                  <a:cubicBezTo>
                    <a:pt x="37" y="78"/>
                    <a:pt x="37" y="78"/>
                    <a:pt x="37" y="78"/>
                  </a:cubicBezTo>
                  <a:cubicBezTo>
                    <a:pt x="37" y="78"/>
                    <a:pt x="37" y="78"/>
                    <a:pt x="37" y="78"/>
                  </a:cubicBezTo>
                  <a:lnTo>
                    <a:pt x="37" y="78"/>
                  </a:lnTo>
                  <a:cubicBezTo>
                    <a:pt x="37" y="78"/>
                    <a:pt x="38" y="78"/>
                    <a:pt x="38" y="78"/>
                  </a:cubicBezTo>
                  <a:cubicBezTo>
                    <a:pt x="38" y="78"/>
                    <a:pt x="38" y="78"/>
                    <a:pt x="38" y="78"/>
                  </a:cubicBezTo>
                  <a:cubicBezTo>
                    <a:pt x="38" y="78"/>
                    <a:pt x="38" y="78"/>
                    <a:pt x="38" y="78"/>
                  </a:cubicBezTo>
                  <a:cubicBezTo>
                    <a:pt x="38" y="78"/>
                    <a:pt x="38" y="77"/>
                    <a:pt x="38" y="77"/>
                  </a:cubicBezTo>
                  <a:lnTo>
                    <a:pt x="38" y="77"/>
                  </a:lnTo>
                  <a:cubicBezTo>
                    <a:pt x="38" y="77"/>
                    <a:pt x="38" y="77"/>
                    <a:pt x="38" y="77"/>
                  </a:cubicBezTo>
                  <a:cubicBezTo>
                    <a:pt x="38" y="77"/>
                    <a:pt x="38" y="77"/>
                    <a:pt x="38" y="77"/>
                  </a:cubicBezTo>
                  <a:cubicBezTo>
                    <a:pt x="38" y="77"/>
                    <a:pt x="39" y="77"/>
                    <a:pt x="39" y="77"/>
                  </a:cubicBezTo>
                  <a:cubicBezTo>
                    <a:pt x="39" y="77"/>
                    <a:pt x="39" y="77"/>
                    <a:pt x="39" y="77"/>
                  </a:cubicBezTo>
                  <a:cubicBezTo>
                    <a:pt x="39" y="77"/>
                    <a:pt x="39" y="77"/>
                    <a:pt x="39" y="77"/>
                  </a:cubicBezTo>
                  <a:lnTo>
                    <a:pt x="39" y="77"/>
                  </a:lnTo>
                  <a:cubicBezTo>
                    <a:pt x="39" y="77"/>
                    <a:pt x="39" y="77"/>
                    <a:pt x="39" y="77"/>
                  </a:cubicBezTo>
                  <a:cubicBezTo>
                    <a:pt x="39" y="77"/>
                    <a:pt x="39" y="77"/>
                    <a:pt x="39" y="77"/>
                  </a:cubicBezTo>
                  <a:cubicBezTo>
                    <a:pt x="39" y="77"/>
                    <a:pt x="39" y="77"/>
                    <a:pt x="39" y="76"/>
                  </a:cubicBezTo>
                  <a:lnTo>
                    <a:pt x="39" y="76"/>
                  </a:lnTo>
                  <a:cubicBezTo>
                    <a:pt x="40" y="76"/>
                    <a:pt x="40" y="76"/>
                    <a:pt x="40" y="76"/>
                  </a:cubicBezTo>
                  <a:cubicBezTo>
                    <a:pt x="40" y="76"/>
                    <a:pt x="40" y="76"/>
                    <a:pt x="40" y="76"/>
                  </a:cubicBezTo>
                  <a:cubicBezTo>
                    <a:pt x="40" y="76"/>
                    <a:pt x="40" y="76"/>
                    <a:pt x="40" y="76"/>
                  </a:cubicBezTo>
                  <a:cubicBezTo>
                    <a:pt x="40" y="76"/>
                    <a:pt x="41" y="75"/>
                    <a:pt x="41" y="75"/>
                  </a:cubicBezTo>
                  <a:cubicBezTo>
                    <a:pt x="41" y="75"/>
                    <a:pt x="41" y="75"/>
                    <a:pt x="41" y="75"/>
                  </a:cubicBezTo>
                  <a:lnTo>
                    <a:pt x="41" y="75"/>
                  </a:lnTo>
                  <a:cubicBezTo>
                    <a:pt x="41" y="75"/>
                    <a:pt x="42" y="75"/>
                    <a:pt x="42" y="74"/>
                  </a:cubicBezTo>
                  <a:cubicBezTo>
                    <a:pt x="60" y="60"/>
                    <a:pt x="77" y="44"/>
                    <a:pt x="93" y="27"/>
                  </a:cubicBezTo>
                  <a:lnTo>
                    <a:pt x="63" y="0"/>
                  </a:lnTo>
                  <a:cubicBezTo>
                    <a:pt x="44" y="21"/>
                    <a:pt x="23" y="39"/>
                    <a:pt x="0" y="56"/>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40">
              <a:extLst>
                <a:ext uri="{FF2B5EF4-FFF2-40B4-BE49-F238E27FC236}">
                  <a16:creationId xmlns:a16="http://schemas.microsoft.com/office/drawing/2014/main" id="{EAD5FA87-CAF0-B775-8356-E2AB8EE84556}"/>
                </a:ext>
              </a:extLst>
            </p:cNvPr>
            <p:cNvSpPr>
              <a:spLocks/>
            </p:cNvSpPr>
            <p:nvPr/>
          </p:nvSpPr>
          <p:spPr bwMode="auto">
            <a:xfrm>
              <a:off x="2316163" y="3656013"/>
              <a:ext cx="50800" cy="69850"/>
            </a:xfrm>
            <a:custGeom>
              <a:avLst/>
              <a:gdLst>
                <a:gd name="T0" fmla="*/ 38 w 72"/>
                <a:gd name="T1" fmla="*/ 0 h 97"/>
                <a:gd name="T2" fmla="*/ 38 w 72"/>
                <a:gd name="T3" fmla="*/ 0 h 97"/>
                <a:gd name="T4" fmla="*/ 0 w 72"/>
                <a:gd name="T5" fmla="*/ 12 h 97"/>
                <a:gd name="T6" fmla="*/ 23 w 72"/>
                <a:gd name="T7" fmla="*/ 68 h 97"/>
                <a:gd name="T8" fmla="*/ 23 w 72"/>
                <a:gd name="T9" fmla="*/ 68 h 97"/>
                <a:gd name="T10" fmla="*/ 23 w 72"/>
                <a:gd name="T11" fmla="*/ 68 h 97"/>
                <a:gd name="T12" fmla="*/ 23 w 72"/>
                <a:gd name="T13" fmla="*/ 68 h 97"/>
                <a:gd name="T14" fmla="*/ 23 w 72"/>
                <a:gd name="T15" fmla="*/ 68 h 97"/>
                <a:gd name="T16" fmla="*/ 23 w 72"/>
                <a:gd name="T17" fmla="*/ 68 h 97"/>
                <a:gd name="T18" fmla="*/ 23 w 72"/>
                <a:gd name="T19" fmla="*/ 69 h 97"/>
                <a:gd name="T20" fmla="*/ 23 w 72"/>
                <a:gd name="T21" fmla="*/ 69 h 97"/>
                <a:gd name="T22" fmla="*/ 23 w 72"/>
                <a:gd name="T23" fmla="*/ 69 h 97"/>
                <a:gd name="T24" fmla="*/ 23 w 72"/>
                <a:gd name="T25" fmla="*/ 69 h 97"/>
                <a:gd name="T26" fmla="*/ 23 w 72"/>
                <a:gd name="T27" fmla="*/ 69 h 97"/>
                <a:gd name="T28" fmla="*/ 23 w 72"/>
                <a:gd name="T29" fmla="*/ 70 h 97"/>
                <a:gd name="T30" fmla="*/ 23 w 72"/>
                <a:gd name="T31" fmla="*/ 70 h 97"/>
                <a:gd name="T32" fmla="*/ 23 w 72"/>
                <a:gd name="T33" fmla="*/ 70 h 97"/>
                <a:gd name="T34" fmla="*/ 23 w 72"/>
                <a:gd name="T35" fmla="*/ 70 h 97"/>
                <a:gd name="T36" fmla="*/ 23 w 72"/>
                <a:gd name="T37" fmla="*/ 70 h 97"/>
                <a:gd name="T38" fmla="*/ 23 w 72"/>
                <a:gd name="T39" fmla="*/ 70 h 97"/>
                <a:gd name="T40" fmla="*/ 24 w 72"/>
                <a:gd name="T41" fmla="*/ 70 h 97"/>
                <a:gd name="T42" fmla="*/ 24 w 72"/>
                <a:gd name="T43" fmla="*/ 70 h 97"/>
                <a:gd name="T44" fmla="*/ 24 w 72"/>
                <a:gd name="T45" fmla="*/ 71 h 97"/>
                <a:gd name="T46" fmla="*/ 24 w 72"/>
                <a:gd name="T47" fmla="*/ 71 h 97"/>
                <a:gd name="T48" fmla="*/ 24 w 72"/>
                <a:gd name="T49" fmla="*/ 71 h 97"/>
                <a:gd name="T50" fmla="*/ 24 w 72"/>
                <a:gd name="T51" fmla="*/ 71 h 97"/>
                <a:gd name="T52" fmla="*/ 24 w 72"/>
                <a:gd name="T53" fmla="*/ 71 h 97"/>
                <a:gd name="T54" fmla="*/ 24 w 72"/>
                <a:gd name="T55" fmla="*/ 71 h 97"/>
                <a:gd name="T56" fmla="*/ 24 w 72"/>
                <a:gd name="T57" fmla="*/ 71 h 97"/>
                <a:gd name="T58" fmla="*/ 24 w 72"/>
                <a:gd name="T59" fmla="*/ 71 h 97"/>
                <a:gd name="T60" fmla="*/ 24 w 72"/>
                <a:gd name="T61" fmla="*/ 71 h 97"/>
                <a:gd name="T62" fmla="*/ 24 w 72"/>
                <a:gd name="T63" fmla="*/ 71 h 97"/>
                <a:gd name="T64" fmla="*/ 24 w 72"/>
                <a:gd name="T65" fmla="*/ 71 h 97"/>
                <a:gd name="T66" fmla="*/ 24 w 72"/>
                <a:gd name="T67" fmla="*/ 71 h 97"/>
                <a:gd name="T68" fmla="*/ 24 w 72"/>
                <a:gd name="T69" fmla="*/ 71 h 97"/>
                <a:gd name="T70" fmla="*/ 24 w 72"/>
                <a:gd name="T71" fmla="*/ 72 h 97"/>
                <a:gd name="T72" fmla="*/ 24 w 72"/>
                <a:gd name="T73" fmla="*/ 72 h 97"/>
                <a:gd name="T74" fmla="*/ 24 w 72"/>
                <a:gd name="T75" fmla="*/ 72 h 97"/>
                <a:gd name="T76" fmla="*/ 24 w 72"/>
                <a:gd name="T77" fmla="*/ 72 h 97"/>
                <a:gd name="T78" fmla="*/ 24 w 72"/>
                <a:gd name="T79" fmla="*/ 72 h 97"/>
                <a:gd name="T80" fmla="*/ 24 w 72"/>
                <a:gd name="T81" fmla="*/ 72 h 97"/>
                <a:gd name="T82" fmla="*/ 24 w 72"/>
                <a:gd name="T83" fmla="*/ 72 h 97"/>
                <a:gd name="T84" fmla="*/ 25 w 72"/>
                <a:gd name="T85" fmla="*/ 72 h 97"/>
                <a:gd name="T86" fmla="*/ 25 w 72"/>
                <a:gd name="T87" fmla="*/ 72 h 97"/>
                <a:gd name="T88" fmla="*/ 25 w 72"/>
                <a:gd name="T89" fmla="*/ 72 h 97"/>
                <a:gd name="T90" fmla="*/ 25 w 72"/>
                <a:gd name="T91" fmla="*/ 72 h 97"/>
                <a:gd name="T92" fmla="*/ 25 w 72"/>
                <a:gd name="T93" fmla="*/ 72 h 97"/>
                <a:gd name="T94" fmla="*/ 25 w 72"/>
                <a:gd name="T95" fmla="*/ 73 h 97"/>
                <a:gd name="T96" fmla="*/ 25 w 72"/>
                <a:gd name="T97" fmla="*/ 73 h 97"/>
                <a:gd name="T98" fmla="*/ 25 w 72"/>
                <a:gd name="T99" fmla="*/ 73 h 97"/>
                <a:gd name="T100" fmla="*/ 25 w 72"/>
                <a:gd name="T101" fmla="*/ 73 h 97"/>
                <a:gd name="T102" fmla="*/ 25 w 72"/>
                <a:gd name="T103" fmla="*/ 73 h 97"/>
                <a:gd name="T104" fmla="*/ 25 w 72"/>
                <a:gd name="T105" fmla="*/ 73 h 97"/>
                <a:gd name="T106" fmla="*/ 25 w 72"/>
                <a:gd name="T107" fmla="*/ 74 h 97"/>
                <a:gd name="T108" fmla="*/ 25 w 72"/>
                <a:gd name="T109" fmla="*/ 74 h 97"/>
                <a:gd name="T110" fmla="*/ 25 w 72"/>
                <a:gd name="T111" fmla="*/ 74 h 97"/>
                <a:gd name="T112" fmla="*/ 25 w 72"/>
                <a:gd name="T113" fmla="*/ 74 h 97"/>
                <a:gd name="T114" fmla="*/ 25 w 72"/>
                <a:gd name="T115" fmla="*/ 74 h 97"/>
                <a:gd name="T116" fmla="*/ 26 w 72"/>
                <a:gd name="T117" fmla="*/ 75 h 97"/>
                <a:gd name="T118" fmla="*/ 26 w 72"/>
                <a:gd name="T119" fmla="*/ 75 h 97"/>
                <a:gd name="T120" fmla="*/ 38 w 72"/>
                <a:gd name="T121" fmla="*/ 97 h 97"/>
                <a:gd name="T122" fmla="*/ 72 w 72"/>
                <a:gd name="T123" fmla="*/ 77 h 97"/>
                <a:gd name="T124" fmla="*/ 38 w 72"/>
                <a:gd name="T12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 h="97">
                  <a:moveTo>
                    <a:pt x="38" y="0"/>
                  </a:moveTo>
                  <a:lnTo>
                    <a:pt x="38" y="0"/>
                  </a:lnTo>
                  <a:lnTo>
                    <a:pt x="0" y="12"/>
                  </a:lnTo>
                  <a:cubicBezTo>
                    <a:pt x="6" y="31"/>
                    <a:pt x="14" y="50"/>
                    <a:pt x="23" y="68"/>
                  </a:cubicBezTo>
                  <a:cubicBezTo>
                    <a:pt x="23" y="68"/>
                    <a:pt x="23" y="68"/>
                    <a:pt x="23" y="68"/>
                  </a:cubicBezTo>
                  <a:cubicBezTo>
                    <a:pt x="23" y="68"/>
                    <a:pt x="23" y="68"/>
                    <a:pt x="23" y="68"/>
                  </a:cubicBezTo>
                  <a:cubicBezTo>
                    <a:pt x="23" y="68"/>
                    <a:pt x="23" y="68"/>
                    <a:pt x="23" y="68"/>
                  </a:cubicBezTo>
                  <a:cubicBezTo>
                    <a:pt x="23" y="68"/>
                    <a:pt x="23" y="68"/>
                    <a:pt x="23" y="68"/>
                  </a:cubicBezTo>
                  <a:cubicBezTo>
                    <a:pt x="23" y="68"/>
                    <a:pt x="23" y="68"/>
                    <a:pt x="23" y="68"/>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4" y="70"/>
                    <a:pt x="24" y="70"/>
                  </a:cubicBezTo>
                  <a:cubicBezTo>
                    <a:pt x="24" y="70"/>
                    <a:pt x="24" y="70"/>
                    <a:pt x="24" y="70"/>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5" y="72"/>
                  </a:cubicBezTo>
                  <a:cubicBezTo>
                    <a:pt x="25" y="72"/>
                    <a:pt x="25" y="72"/>
                    <a:pt x="25" y="72"/>
                  </a:cubicBezTo>
                  <a:cubicBezTo>
                    <a:pt x="25" y="72"/>
                    <a:pt x="25" y="72"/>
                    <a:pt x="25" y="72"/>
                  </a:cubicBezTo>
                  <a:cubicBezTo>
                    <a:pt x="25" y="72"/>
                    <a:pt x="25" y="72"/>
                    <a:pt x="25" y="72"/>
                  </a:cubicBezTo>
                  <a:cubicBezTo>
                    <a:pt x="25" y="72"/>
                    <a:pt x="25" y="72"/>
                    <a:pt x="25" y="72"/>
                  </a:cubicBezTo>
                  <a:cubicBezTo>
                    <a:pt x="25" y="72"/>
                    <a:pt x="25" y="73"/>
                    <a:pt x="25" y="73"/>
                  </a:cubicBezTo>
                  <a:lnTo>
                    <a:pt x="25" y="73"/>
                  </a:lnTo>
                  <a:cubicBezTo>
                    <a:pt x="25" y="73"/>
                    <a:pt x="25" y="73"/>
                    <a:pt x="25" y="73"/>
                  </a:cubicBezTo>
                  <a:cubicBezTo>
                    <a:pt x="25" y="73"/>
                    <a:pt x="25" y="73"/>
                    <a:pt x="25" y="73"/>
                  </a:cubicBezTo>
                  <a:cubicBezTo>
                    <a:pt x="25" y="73"/>
                    <a:pt x="25" y="73"/>
                    <a:pt x="25" y="73"/>
                  </a:cubicBezTo>
                  <a:cubicBezTo>
                    <a:pt x="25" y="73"/>
                    <a:pt x="25" y="73"/>
                    <a:pt x="25" y="73"/>
                  </a:cubicBezTo>
                  <a:cubicBezTo>
                    <a:pt x="25" y="73"/>
                    <a:pt x="25" y="74"/>
                    <a:pt x="25" y="74"/>
                  </a:cubicBezTo>
                  <a:lnTo>
                    <a:pt x="25" y="74"/>
                  </a:lnTo>
                  <a:cubicBezTo>
                    <a:pt x="25" y="74"/>
                    <a:pt x="25" y="74"/>
                    <a:pt x="25" y="74"/>
                  </a:cubicBezTo>
                  <a:lnTo>
                    <a:pt x="25" y="74"/>
                  </a:lnTo>
                  <a:cubicBezTo>
                    <a:pt x="25" y="74"/>
                    <a:pt x="25" y="74"/>
                    <a:pt x="25" y="74"/>
                  </a:cubicBezTo>
                  <a:cubicBezTo>
                    <a:pt x="25" y="74"/>
                    <a:pt x="26" y="74"/>
                    <a:pt x="26" y="75"/>
                  </a:cubicBezTo>
                  <a:cubicBezTo>
                    <a:pt x="26" y="75"/>
                    <a:pt x="26" y="75"/>
                    <a:pt x="26" y="75"/>
                  </a:cubicBezTo>
                  <a:cubicBezTo>
                    <a:pt x="30" y="82"/>
                    <a:pt x="34" y="90"/>
                    <a:pt x="38" y="97"/>
                  </a:cubicBezTo>
                  <a:lnTo>
                    <a:pt x="72" y="77"/>
                  </a:lnTo>
                  <a:cubicBezTo>
                    <a:pt x="58" y="52"/>
                    <a:pt x="47" y="27"/>
                    <a:pt x="38" y="0"/>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41">
              <a:extLst>
                <a:ext uri="{FF2B5EF4-FFF2-40B4-BE49-F238E27FC236}">
                  <a16:creationId xmlns:a16="http://schemas.microsoft.com/office/drawing/2014/main" id="{52BBC948-6AD1-7F00-E7C2-B34DEAE50D60}"/>
                </a:ext>
              </a:extLst>
            </p:cNvPr>
            <p:cNvSpPr>
              <a:spLocks/>
            </p:cNvSpPr>
            <p:nvPr/>
          </p:nvSpPr>
          <p:spPr bwMode="auto">
            <a:xfrm>
              <a:off x="2881313" y="3513138"/>
              <a:ext cx="33338" cy="66675"/>
            </a:xfrm>
            <a:custGeom>
              <a:avLst/>
              <a:gdLst>
                <a:gd name="T0" fmla="*/ 47 w 47"/>
                <a:gd name="T1" fmla="*/ 82 h 92"/>
                <a:gd name="T2" fmla="*/ 47 w 47"/>
                <a:gd name="T3" fmla="*/ 81 h 92"/>
                <a:gd name="T4" fmla="*/ 47 w 47"/>
                <a:gd name="T5" fmla="*/ 81 h 92"/>
                <a:gd name="T6" fmla="*/ 47 w 47"/>
                <a:gd name="T7" fmla="*/ 81 h 92"/>
                <a:gd name="T8" fmla="*/ 47 w 47"/>
                <a:gd name="T9" fmla="*/ 80 h 92"/>
                <a:gd name="T10" fmla="*/ 47 w 47"/>
                <a:gd name="T11" fmla="*/ 80 h 92"/>
                <a:gd name="T12" fmla="*/ 47 w 47"/>
                <a:gd name="T13" fmla="*/ 80 h 92"/>
                <a:gd name="T14" fmla="*/ 47 w 47"/>
                <a:gd name="T15" fmla="*/ 79 h 92"/>
                <a:gd name="T16" fmla="*/ 47 w 47"/>
                <a:gd name="T17" fmla="*/ 79 h 92"/>
                <a:gd name="T18" fmla="*/ 47 w 47"/>
                <a:gd name="T19" fmla="*/ 79 h 92"/>
                <a:gd name="T20" fmla="*/ 47 w 47"/>
                <a:gd name="T21" fmla="*/ 78 h 92"/>
                <a:gd name="T22" fmla="*/ 47 w 47"/>
                <a:gd name="T23" fmla="*/ 78 h 92"/>
                <a:gd name="T24" fmla="*/ 47 w 47"/>
                <a:gd name="T25" fmla="*/ 78 h 92"/>
                <a:gd name="T26" fmla="*/ 47 w 47"/>
                <a:gd name="T27" fmla="*/ 77 h 92"/>
                <a:gd name="T28" fmla="*/ 47 w 47"/>
                <a:gd name="T29" fmla="*/ 77 h 92"/>
                <a:gd name="T30" fmla="*/ 47 w 47"/>
                <a:gd name="T31" fmla="*/ 77 h 92"/>
                <a:gd name="T32" fmla="*/ 47 w 47"/>
                <a:gd name="T33" fmla="*/ 76 h 92"/>
                <a:gd name="T34" fmla="*/ 47 w 47"/>
                <a:gd name="T35" fmla="*/ 76 h 92"/>
                <a:gd name="T36" fmla="*/ 47 w 47"/>
                <a:gd name="T37" fmla="*/ 76 h 92"/>
                <a:gd name="T38" fmla="*/ 47 w 47"/>
                <a:gd name="T39" fmla="*/ 75 h 92"/>
                <a:gd name="T40" fmla="*/ 47 w 47"/>
                <a:gd name="T41" fmla="*/ 75 h 92"/>
                <a:gd name="T42" fmla="*/ 47 w 47"/>
                <a:gd name="T43" fmla="*/ 75 h 92"/>
                <a:gd name="T44" fmla="*/ 47 w 47"/>
                <a:gd name="T45" fmla="*/ 74 h 92"/>
                <a:gd name="T46" fmla="*/ 47 w 47"/>
                <a:gd name="T47" fmla="*/ 74 h 92"/>
                <a:gd name="T48" fmla="*/ 47 w 47"/>
                <a:gd name="T49" fmla="*/ 74 h 92"/>
                <a:gd name="T50" fmla="*/ 47 w 47"/>
                <a:gd name="T51" fmla="*/ 73 h 92"/>
                <a:gd name="T52" fmla="*/ 47 w 47"/>
                <a:gd name="T53" fmla="*/ 72 h 92"/>
                <a:gd name="T54" fmla="*/ 47 w 47"/>
                <a:gd name="T55" fmla="*/ 72 h 92"/>
                <a:gd name="T56" fmla="*/ 47 w 47"/>
                <a:gd name="T57" fmla="*/ 72 h 92"/>
                <a:gd name="T58" fmla="*/ 47 w 47"/>
                <a:gd name="T59" fmla="*/ 71 h 92"/>
                <a:gd name="T60" fmla="*/ 47 w 47"/>
                <a:gd name="T61" fmla="*/ 71 h 92"/>
                <a:gd name="T62" fmla="*/ 47 w 47"/>
                <a:gd name="T63" fmla="*/ 71 h 92"/>
                <a:gd name="T64" fmla="*/ 47 w 47"/>
                <a:gd name="T65" fmla="*/ 70 h 92"/>
                <a:gd name="T66" fmla="*/ 47 w 47"/>
                <a:gd name="T67" fmla="*/ 70 h 92"/>
                <a:gd name="T68" fmla="*/ 47 w 47"/>
                <a:gd name="T69" fmla="*/ 70 h 92"/>
                <a:gd name="T70" fmla="*/ 47 w 47"/>
                <a:gd name="T71" fmla="*/ 69 h 92"/>
                <a:gd name="T72" fmla="*/ 47 w 47"/>
                <a:gd name="T73" fmla="*/ 67 h 92"/>
                <a:gd name="T74" fmla="*/ 47 w 47"/>
                <a:gd name="T75" fmla="*/ 67 h 92"/>
                <a:gd name="T76" fmla="*/ 47 w 47"/>
                <a:gd name="T77" fmla="*/ 67 h 92"/>
                <a:gd name="T78" fmla="*/ 47 w 47"/>
                <a:gd name="T79" fmla="*/ 66 h 92"/>
                <a:gd name="T80" fmla="*/ 47 w 47"/>
                <a:gd name="T81" fmla="*/ 66 h 92"/>
                <a:gd name="T82" fmla="*/ 47 w 47"/>
                <a:gd name="T83" fmla="*/ 66 h 92"/>
                <a:gd name="T84" fmla="*/ 47 w 47"/>
                <a:gd name="T85" fmla="*/ 65 h 92"/>
                <a:gd name="T86" fmla="*/ 47 w 47"/>
                <a:gd name="T87" fmla="*/ 65 h 92"/>
                <a:gd name="T88" fmla="*/ 47 w 47"/>
                <a:gd name="T89" fmla="*/ 62 h 92"/>
                <a:gd name="T90" fmla="*/ 47 w 47"/>
                <a:gd name="T91" fmla="*/ 62 h 92"/>
                <a:gd name="T92" fmla="*/ 39 w 47"/>
                <a:gd name="T93" fmla="*/ 0 h 92"/>
                <a:gd name="T94" fmla="*/ 47 w 47"/>
                <a:gd name="T95" fmla="*/ 92 h 92"/>
                <a:gd name="T96" fmla="*/ 47 w 47"/>
                <a:gd name="T97" fmla="*/ 84 h 92"/>
                <a:gd name="T98" fmla="*/ 47 w 47"/>
                <a:gd name="T99" fmla="*/ 83 h 92"/>
                <a:gd name="T100" fmla="*/ 47 w 47"/>
                <a:gd name="T101" fmla="*/ 83 h 92"/>
                <a:gd name="T102" fmla="*/ 47 w 47"/>
                <a:gd name="T103" fmla="*/ 83 h 92"/>
                <a:gd name="T104" fmla="*/ 47 w 47"/>
                <a:gd name="T105" fmla="*/ 8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 h="92">
                  <a:moveTo>
                    <a:pt x="47" y="82"/>
                  </a:moveTo>
                  <a:lnTo>
                    <a:pt x="47" y="82"/>
                  </a:lnTo>
                  <a:cubicBezTo>
                    <a:pt x="47" y="82"/>
                    <a:pt x="47" y="82"/>
                    <a:pt x="47" y="82"/>
                  </a:cubicBezTo>
                  <a:cubicBezTo>
                    <a:pt x="47" y="82"/>
                    <a:pt x="47" y="82"/>
                    <a:pt x="47" y="82"/>
                  </a:cubicBezTo>
                  <a:cubicBezTo>
                    <a:pt x="47" y="82"/>
                    <a:pt x="47" y="82"/>
                    <a:pt x="47" y="82"/>
                  </a:cubicBezTo>
                  <a:cubicBezTo>
                    <a:pt x="47" y="82"/>
                    <a:pt x="47" y="82"/>
                    <a:pt x="47" y="82"/>
                  </a:cubicBezTo>
                  <a:cubicBezTo>
                    <a:pt x="47" y="82"/>
                    <a:pt x="47" y="82"/>
                    <a:pt x="47" y="82"/>
                  </a:cubicBezTo>
                  <a:cubicBezTo>
                    <a:pt x="47" y="82"/>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4"/>
                  </a:cubicBezTo>
                  <a:cubicBezTo>
                    <a:pt x="47" y="74"/>
                    <a:pt x="47" y="74"/>
                    <a:pt x="47" y="74"/>
                  </a:cubicBezTo>
                  <a:cubicBezTo>
                    <a:pt x="47" y="74"/>
                    <a:pt x="47" y="74"/>
                    <a:pt x="47" y="74"/>
                  </a:cubicBezTo>
                  <a:cubicBezTo>
                    <a:pt x="47" y="74"/>
                    <a:pt x="47" y="74"/>
                    <a:pt x="47" y="74"/>
                  </a:cubicBezTo>
                  <a:cubicBezTo>
                    <a:pt x="47" y="74"/>
                    <a:pt x="47" y="74"/>
                    <a:pt x="47" y="74"/>
                  </a:cubicBezTo>
                  <a:cubicBezTo>
                    <a:pt x="47" y="74"/>
                    <a:pt x="47" y="74"/>
                    <a:pt x="47" y="74"/>
                  </a:cubicBezTo>
                  <a:cubicBezTo>
                    <a:pt x="47" y="74"/>
                    <a:pt x="47" y="74"/>
                    <a:pt x="47" y="74"/>
                  </a:cubicBezTo>
                  <a:cubicBezTo>
                    <a:pt x="47" y="74"/>
                    <a:pt x="47" y="74"/>
                    <a:pt x="47" y="74"/>
                  </a:cubicBezTo>
                  <a:cubicBezTo>
                    <a:pt x="47" y="74"/>
                    <a:pt x="47" y="74"/>
                    <a:pt x="47" y="74"/>
                  </a:cubicBezTo>
                  <a:cubicBezTo>
                    <a:pt x="47" y="74"/>
                    <a:pt x="47" y="74"/>
                    <a:pt x="47" y="74"/>
                  </a:cubicBezTo>
                  <a:lnTo>
                    <a:pt x="47" y="74"/>
                  </a:lnTo>
                  <a:cubicBezTo>
                    <a:pt x="47" y="74"/>
                    <a:pt x="47" y="74"/>
                    <a:pt x="47" y="74"/>
                  </a:cubicBezTo>
                  <a:cubicBezTo>
                    <a:pt x="47" y="74"/>
                    <a:pt x="47" y="74"/>
                    <a:pt x="47" y="74"/>
                  </a:cubicBezTo>
                  <a:cubicBezTo>
                    <a:pt x="47" y="73"/>
                    <a:pt x="47" y="73"/>
                    <a:pt x="47" y="73"/>
                  </a:cubicBezTo>
                  <a:cubicBezTo>
                    <a:pt x="47" y="73"/>
                    <a:pt x="47" y="73"/>
                    <a:pt x="47" y="73"/>
                  </a:cubicBezTo>
                  <a:cubicBezTo>
                    <a:pt x="47" y="73"/>
                    <a:pt x="47" y="73"/>
                    <a:pt x="47" y="73"/>
                  </a:cubicBezTo>
                  <a:cubicBezTo>
                    <a:pt x="47" y="73"/>
                    <a:pt x="47" y="72"/>
                    <a:pt x="47" y="72"/>
                  </a:cubicBezTo>
                  <a:cubicBezTo>
                    <a:pt x="47" y="72"/>
                    <a:pt x="47" y="72"/>
                    <a:pt x="47" y="72"/>
                  </a:cubicBezTo>
                  <a:cubicBezTo>
                    <a:pt x="47" y="72"/>
                    <a:pt x="47" y="72"/>
                    <a:pt x="47" y="72"/>
                  </a:cubicBezTo>
                  <a:lnTo>
                    <a:pt x="47" y="72"/>
                  </a:lnTo>
                  <a:cubicBezTo>
                    <a:pt x="47" y="72"/>
                    <a:pt x="47" y="72"/>
                    <a:pt x="47" y="72"/>
                  </a:cubicBezTo>
                  <a:lnTo>
                    <a:pt x="47" y="72"/>
                  </a:ln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69"/>
                    <a:pt x="47" y="69"/>
                  </a:cubicBezTo>
                  <a:cubicBezTo>
                    <a:pt x="47" y="69"/>
                    <a:pt x="47" y="69"/>
                    <a:pt x="47" y="69"/>
                  </a:cubicBezTo>
                  <a:cubicBezTo>
                    <a:pt x="47" y="69"/>
                    <a:pt x="47" y="69"/>
                    <a:pt x="47" y="69"/>
                  </a:cubicBezTo>
                  <a:cubicBezTo>
                    <a:pt x="47" y="69"/>
                    <a:pt x="47" y="69"/>
                    <a:pt x="47" y="69"/>
                  </a:cubicBezTo>
                  <a:cubicBezTo>
                    <a:pt x="47" y="69"/>
                    <a:pt x="47" y="69"/>
                    <a:pt x="47" y="69"/>
                  </a:cubicBezTo>
                  <a:lnTo>
                    <a:pt x="47" y="69"/>
                  </a:lnTo>
                  <a:cubicBezTo>
                    <a:pt x="47" y="69"/>
                    <a:pt x="47" y="68"/>
                    <a:pt x="47" y="67"/>
                  </a:cubicBezTo>
                  <a:lnTo>
                    <a:pt x="47" y="67"/>
                  </a:lnTo>
                  <a:cubicBezTo>
                    <a:pt x="47" y="67"/>
                    <a:pt x="47" y="67"/>
                    <a:pt x="47" y="67"/>
                  </a:cubicBezTo>
                  <a:lnTo>
                    <a:pt x="47" y="67"/>
                  </a:lnTo>
                  <a:cubicBezTo>
                    <a:pt x="47" y="67"/>
                    <a:pt x="47" y="67"/>
                    <a:pt x="47" y="67"/>
                  </a:cubicBezTo>
                  <a:cubicBezTo>
                    <a:pt x="47" y="67"/>
                    <a:pt x="47" y="67"/>
                    <a:pt x="47" y="67"/>
                  </a:cubicBezTo>
                  <a:cubicBezTo>
                    <a:pt x="47" y="67"/>
                    <a:pt x="47" y="67"/>
                    <a:pt x="47" y="67"/>
                  </a:cubicBezTo>
                  <a:cubicBezTo>
                    <a:pt x="47" y="67"/>
                    <a:pt x="47" y="67"/>
                    <a:pt x="47" y="67"/>
                  </a:cubicBezTo>
                  <a:cubicBezTo>
                    <a:pt x="47" y="67"/>
                    <a:pt x="47" y="67"/>
                    <a:pt x="47" y="67"/>
                  </a:cubicBezTo>
                  <a:cubicBezTo>
                    <a:pt x="47" y="67"/>
                    <a:pt x="47" y="67"/>
                    <a:pt x="47" y="67"/>
                  </a:cubicBezTo>
                  <a:cubicBezTo>
                    <a:pt x="47" y="67"/>
                    <a:pt x="47" y="67"/>
                    <a:pt x="47" y="67"/>
                  </a:cubicBezTo>
                  <a:cubicBezTo>
                    <a:pt x="47" y="67"/>
                    <a:pt x="47" y="66"/>
                    <a:pt x="47" y="66"/>
                  </a:cubicBezTo>
                  <a:cubicBezTo>
                    <a:pt x="47" y="66"/>
                    <a:pt x="47" y="66"/>
                    <a:pt x="47" y="66"/>
                  </a:cubicBezTo>
                  <a:cubicBezTo>
                    <a:pt x="47" y="66"/>
                    <a:pt x="47" y="66"/>
                    <a:pt x="47" y="66"/>
                  </a:cubicBezTo>
                  <a:cubicBezTo>
                    <a:pt x="47" y="66"/>
                    <a:pt x="47" y="66"/>
                    <a:pt x="47" y="66"/>
                  </a:cubicBezTo>
                  <a:lnTo>
                    <a:pt x="47" y="66"/>
                  </a:lnTo>
                  <a:cubicBezTo>
                    <a:pt x="47" y="66"/>
                    <a:pt x="47" y="66"/>
                    <a:pt x="47" y="66"/>
                  </a:cubicBezTo>
                  <a:lnTo>
                    <a:pt x="47" y="66"/>
                  </a:lnTo>
                  <a:cubicBezTo>
                    <a:pt x="47" y="66"/>
                    <a:pt x="47" y="66"/>
                    <a:pt x="47" y="66"/>
                  </a:cubicBezTo>
                  <a:lnTo>
                    <a:pt x="47" y="66"/>
                  </a:lnTo>
                  <a:cubicBezTo>
                    <a:pt x="47" y="66"/>
                    <a:pt x="47" y="66"/>
                    <a:pt x="47" y="66"/>
                  </a:cubicBezTo>
                  <a:cubicBezTo>
                    <a:pt x="47" y="66"/>
                    <a:pt x="47" y="66"/>
                    <a:pt x="47" y="66"/>
                  </a:cubicBezTo>
                  <a:cubicBezTo>
                    <a:pt x="47" y="66"/>
                    <a:pt x="47" y="66"/>
                    <a:pt x="47" y="66"/>
                  </a:cubicBezTo>
                  <a:cubicBezTo>
                    <a:pt x="47" y="65"/>
                    <a:pt x="47" y="65"/>
                    <a:pt x="47" y="65"/>
                  </a:cubicBezTo>
                  <a:cubicBezTo>
                    <a:pt x="47" y="65"/>
                    <a:pt x="47" y="65"/>
                    <a:pt x="47" y="65"/>
                  </a:cubicBezTo>
                  <a:cubicBezTo>
                    <a:pt x="47" y="65"/>
                    <a:pt x="47" y="65"/>
                    <a:pt x="47" y="65"/>
                  </a:cubicBezTo>
                  <a:cubicBezTo>
                    <a:pt x="47" y="65"/>
                    <a:pt x="47" y="65"/>
                    <a:pt x="47" y="65"/>
                  </a:cubicBezTo>
                  <a:cubicBezTo>
                    <a:pt x="47" y="65"/>
                    <a:pt x="47" y="65"/>
                    <a:pt x="47" y="65"/>
                  </a:cubicBezTo>
                  <a:cubicBezTo>
                    <a:pt x="47" y="65"/>
                    <a:pt x="47" y="65"/>
                    <a:pt x="47" y="65"/>
                  </a:cubicBezTo>
                  <a:cubicBezTo>
                    <a:pt x="47" y="65"/>
                    <a:pt x="47" y="65"/>
                    <a:pt x="47" y="65"/>
                  </a:cubicBezTo>
                  <a:cubicBezTo>
                    <a:pt x="47" y="65"/>
                    <a:pt x="47" y="65"/>
                    <a:pt x="47" y="65"/>
                  </a:cubicBezTo>
                  <a:cubicBezTo>
                    <a:pt x="47" y="65"/>
                    <a:pt x="47" y="65"/>
                    <a:pt x="47" y="65"/>
                  </a:cubicBezTo>
                  <a:cubicBezTo>
                    <a:pt x="47" y="64"/>
                    <a:pt x="47" y="63"/>
                    <a:pt x="47" y="62"/>
                  </a:cubicBezTo>
                  <a:cubicBezTo>
                    <a:pt x="47" y="62"/>
                    <a:pt x="47" y="62"/>
                    <a:pt x="47" y="62"/>
                  </a:cubicBezTo>
                  <a:lnTo>
                    <a:pt x="47" y="62"/>
                  </a:lnTo>
                  <a:cubicBezTo>
                    <a:pt x="47" y="62"/>
                    <a:pt x="47" y="62"/>
                    <a:pt x="47" y="62"/>
                  </a:cubicBezTo>
                  <a:lnTo>
                    <a:pt x="47" y="62"/>
                  </a:lnTo>
                  <a:cubicBezTo>
                    <a:pt x="47" y="62"/>
                    <a:pt x="47" y="61"/>
                    <a:pt x="47" y="61"/>
                  </a:cubicBezTo>
                  <a:lnTo>
                    <a:pt x="47" y="61"/>
                  </a:lnTo>
                  <a:cubicBezTo>
                    <a:pt x="47" y="61"/>
                    <a:pt x="47" y="61"/>
                    <a:pt x="47" y="61"/>
                  </a:cubicBezTo>
                  <a:cubicBezTo>
                    <a:pt x="46" y="40"/>
                    <a:pt x="43" y="20"/>
                    <a:pt x="39" y="0"/>
                  </a:cubicBezTo>
                  <a:lnTo>
                    <a:pt x="0" y="8"/>
                  </a:lnTo>
                  <a:cubicBezTo>
                    <a:pt x="5" y="32"/>
                    <a:pt x="7" y="57"/>
                    <a:pt x="7" y="82"/>
                  </a:cubicBezTo>
                  <a:cubicBezTo>
                    <a:pt x="7" y="85"/>
                    <a:pt x="7" y="88"/>
                    <a:pt x="7" y="91"/>
                  </a:cubicBezTo>
                  <a:lnTo>
                    <a:pt x="47" y="92"/>
                  </a:lnTo>
                  <a:cubicBezTo>
                    <a:pt x="47" y="90"/>
                    <a:pt x="47" y="87"/>
                    <a:pt x="47" y="84"/>
                  </a:cubicBezTo>
                  <a:cubicBezTo>
                    <a:pt x="47" y="84"/>
                    <a:pt x="47" y="84"/>
                    <a:pt x="47" y="84"/>
                  </a:cubicBezTo>
                  <a:cubicBezTo>
                    <a:pt x="47" y="84"/>
                    <a:pt x="47" y="84"/>
                    <a:pt x="47" y="84"/>
                  </a:cubicBezTo>
                  <a:cubicBezTo>
                    <a:pt x="47" y="84"/>
                    <a:pt x="47" y="84"/>
                    <a:pt x="47" y="84"/>
                  </a:cubicBezTo>
                  <a:cubicBezTo>
                    <a:pt x="47" y="84"/>
                    <a:pt x="47" y="84"/>
                    <a:pt x="47" y="84"/>
                  </a:cubicBezTo>
                  <a:cubicBezTo>
                    <a:pt x="47" y="84"/>
                    <a:pt x="47" y="84"/>
                    <a:pt x="47" y="84"/>
                  </a:cubicBezTo>
                  <a:cubicBezTo>
                    <a:pt x="47" y="84"/>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2"/>
                  </a:cubicBezTo>
                  <a:cubicBezTo>
                    <a:pt x="47" y="82"/>
                    <a:pt x="47" y="82"/>
                    <a:pt x="47" y="82"/>
                  </a:cubicBezTo>
                  <a:cubicBezTo>
                    <a:pt x="47" y="82"/>
                    <a:pt x="47" y="82"/>
                    <a:pt x="47" y="82"/>
                  </a:cubicBezTo>
                  <a:cubicBezTo>
                    <a:pt x="47" y="82"/>
                    <a:pt x="47" y="82"/>
                    <a:pt x="47" y="82"/>
                  </a:cubicBezTo>
                  <a:cubicBezTo>
                    <a:pt x="47" y="82"/>
                    <a:pt x="47" y="82"/>
                    <a:pt x="47" y="82"/>
                  </a:cubicBezTo>
                  <a:cubicBezTo>
                    <a:pt x="47" y="82"/>
                    <a:pt x="47" y="82"/>
                    <a:pt x="47" y="82"/>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42">
              <a:extLst>
                <a:ext uri="{FF2B5EF4-FFF2-40B4-BE49-F238E27FC236}">
                  <a16:creationId xmlns:a16="http://schemas.microsoft.com/office/drawing/2014/main" id="{2EDDD09A-386B-45DE-331B-BE0E31E87191}"/>
                </a:ext>
              </a:extLst>
            </p:cNvPr>
            <p:cNvSpPr>
              <a:spLocks/>
            </p:cNvSpPr>
            <p:nvPr/>
          </p:nvSpPr>
          <p:spPr bwMode="auto">
            <a:xfrm>
              <a:off x="2689226" y="3814763"/>
              <a:ext cx="71438" cy="50800"/>
            </a:xfrm>
            <a:custGeom>
              <a:avLst/>
              <a:gdLst>
                <a:gd name="T0" fmla="*/ 0 w 97"/>
                <a:gd name="T1" fmla="*/ 33 h 71"/>
                <a:gd name="T2" fmla="*/ 40 w 97"/>
                <a:gd name="T3" fmla="*/ 62 h 71"/>
                <a:gd name="T4" fmla="*/ 41 w 97"/>
                <a:gd name="T5" fmla="*/ 61 h 71"/>
                <a:gd name="T6" fmla="*/ 41 w 97"/>
                <a:gd name="T7" fmla="*/ 61 h 71"/>
                <a:gd name="T8" fmla="*/ 41 w 97"/>
                <a:gd name="T9" fmla="*/ 61 h 71"/>
                <a:gd name="T10" fmla="*/ 41 w 97"/>
                <a:gd name="T11" fmla="*/ 61 h 71"/>
                <a:gd name="T12" fmla="*/ 42 w 97"/>
                <a:gd name="T13" fmla="*/ 61 h 71"/>
                <a:gd name="T14" fmla="*/ 42 w 97"/>
                <a:gd name="T15" fmla="*/ 60 h 71"/>
                <a:gd name="T16" fmla="*/ 43 w 97"/>
                <a:gd name="T17" fmla="*/ 60 h 71"/>
                <a:gd name="T18" fmla="*/ 43 w 97"/>
                <a:gd name="T19" fmla="*/ 60 h 71"/>
                <a:gd name="T20" fmla="*/ 43 w 97"/>
                <a:gd name="T21" fmla="*/ 60 h 71"/>
                <a:gd name="T22" fmla="*/ 44 w 97"/>
                <a:gd name="T23" fmla="*/ 60 h 71"/>
                <a:gd name="T24" fmla="*/ 44 w 97"/>
                <a:gd name="T25" fmla="*/ 60 h 71"/>
                <a:gd name="T26" fmla="*/ 44 w 97"/>
                <a:gd name="T27" fmla="*/ 60 h 71"/>
                <a:gd name="T28" fmla="*/ 44 w 97"/>
                <a:gd name="T29" fmla="*/ 60 h 71"/>
                <a:gd name="T30" fmla="*/ 44 w 97"/>
                <a:gd name="T31" fmla="*/ 60 h 71"/>
                <a:gd name="T32" fmla="*/ 44 w 97"/>
                <a:gd name="T33" fmla="*/ 60 h 71"/>
                <a:gd name="T34" fmla="*/ 44 w 97"/>
                <a:gd name="T35" fmla="*/ 60 h 71"/>
                <a:gd name="T36" fmla="*/ 45 w 97"/>
                <a:gd name="T37" fmla="*/ 60 h 71"/>
                <a:gd name="T38" fmla="*/ 45 w 97"/>
                <a:gd name="T39" fmla="*/ 60 h 71"/>
                <a:gd name="T40" fmla="*/ 45 w 97"/>
                <a:gd name="T41" fmla="*/ 59 h 71"/>
                <a:gd name="T42" fmla="*/ 45 w 97"/>
                <a:gd name="T43" fmla="*/ 59 h 71"/>
                <a:gd name="T44" fmla="*/ 45 w 97"/>
                <a:gd name="T45" fmla="*/ 59 h 71"/>
                <a:gd name="T46" fmla="*/ 45 w 97"/>
                <a:gd name="T47" fmla="*/ 59 h 71"/>
                <a:gd name="T48" fmla="*/ 46 w 97"/>
                <a:gd name="T49" fmla="*/ 59 h 71"/>
                <a:gd name="T50" fmla="*/ 46 w 97"/>
                <a:gd name="T51" fmla="*/ 59 h 71"/>
                <a:gd name="T52" fmla="*/ 46 w 97"/>
                <a:gd name="T53" fmla="*/ 59 h 71"/>
                <a:gd name="T54" fmla="*/ 46 w 97"/>
                <a:gd name="T55" fmla="*/ 59 h 71"/>
                <a:gd name="T56" fmla="*/ 46 w 97"/>
                <a:gd name="T57" fmla="*/ 59 h 71"/>
                <a:gd name="T58" fmla="*/ 47 w 97"/>
                <a:gd name="T59" fmla="*/ 59 h 71"/>
                <a:gd name="T60" fmla="*/ 47 w 97"/>
                <a:gd name="T61" fmla="*/ 59 h 71"/>
                <a:gd name="T62" fmla="*/ 47 w 97"/>
                <a:gd name="T63" fmla="*/ 59 h 71"/>
                <a:gd name="T64" fmla="*/ 47 w 97"/>
                <a:gd name="T65" fmla="*/ 59 h 71"/>
                <a:gd name="T66" fmla="*/ 47 w 97"/>
                <a:gd name="T67" fmla="*/ 59 h 71"/>
                <a:gd name="T68" fmla="*/ 48 w 97"/>
                <a:gd name="T69" fmla="*/ 58 h 71"/>
                <a:gd name="T70" fmla="*/ 48 w 97"/>
                <a:gd name="T71" fmla="*/ 58 h 71"/>
                <a:gd name="T72" fmla="*/ 48 w 97"/>
                <a:gd name="T73" fmla="*/ 58 h 71"/>
                <a:gd name="T74" fmla="*/ 48 w 97"/>
                <a:gd name="T75" fmla="*/ 58 h 71"/>
                <a:gd name="T76" fmla="*/ 48 w 97"/>
                <a:gd name="T77" fmla="*/ 58 h 71"/>
                <a:gd name="T78" fmla="*/ 48 w 97"/>
                <a:gd name="T79" fmla="*/ 58 h 71"/>
                <a:gd name="T80" fmla="*/ 48 w 97"/>
                <a:gd name="T81" fmla="*/ 58 h 71"/>
                <a:gd name="T82" fmla="*/ 49 w 97"/>
                <a:gd name="T83" fmla="*/ 58 h 71"/>
                <a:gd name="T84" fmla="*/ 49 w 97"/>
                <a:gd name="T85" fmla="*/ 58 h 71"/>
                <a:gd name="T86" fmla="*/ 49 w 97"/>
                <a:gd name="T87" fmla="*/ 58 h 71"/>
                <a:gd name="T88" fmla="*/ 49 w 97"/>
                <a:gd name="T89" fmla="*/ 58 h 71"/>
                <a:gd name="T90" fmla="*/ 50 w 97"/>
                <a:gd name="T91" fmla="*/ 58 h 71"/>
                <a:gd name="T92" fmla="*/ 50 w 97"/>
                <a:gd name="T93" fmla="*/ 58 h 71"/>
                <a:gd name="T94" fmla="*/ 51 w 97"/>
                <a:gd name="T95" fmla="*/ 57 h 71"/>
                <a:gd name="T96" fmla="*/ 51 w 97"/>
                <a:gd name="T97" fmla="*/ 57 h 71"/>
                <a:gd name="T98" fmla="*/ 51 w 97"/>
                <a:gd name="T99" fmla="*/ 57 h 71"/>
                <a:gd name="T100" fmla="*/ 51 w 97"/>
                <a:gd name="T101" fmla="*/ 57 h 71"/>
                <a:gd name="T102" fmla="*/ 52 w 97"/>
                <a:gd name="T103" fmla="*/ 57 h 71"/>
                <a:gd name="T104" fmla="*/ 52 w 97"/>
                <a:gd name="T105" fmla="*/ 57 h 71"/>
                <a:gd name="T106" fmla="*/ 52 w 97"/>
                <a:gd name="T107" fmla="*/ 56 h 71"/>
                <a:gd name="T108" fmla="*/ 77 w 97"/>
                <a:gd name="T10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71">
                  <a:moveTo>
                    <a:pt x="0" y="33"/>
                  </a:moveTo>
                  <a:lnTo>
                    <a:pt x="0" y="33"/>
                  </a:lnTo>
                  <a:lnTo>
                    <a:pt x="12" y="71"/>
                  </a:lnTo>
                  <a:cubicBezTo>
                    <a:pt x="21" y="68"/>
                    <a:pt x="31" y="65"/>
                    <a:pt x="40" y="62"/>
                  </a:cubicBezTo>
                  <a:cubicBezTo>
                    <a:pt x="40" y="61"/>
                    <a:pt x="41" y="61"/>
                    <a:pt x="41" y="61"/>
                  </a:cubicBezTo>
                  <a:cubicBezTo>
                    <a:pt x="41" y="61"/>
                    <a:pt x="41" y="61"/>
                    <a:pt x="41" y="61"/>
                  </a:cubicBezTo>
                  <a:cubicBezTo>
                    <a:pt x="41" y="61"/>
                    <a:pt x="41" y="61"/>
                    <a:pt x="41" y="61"/>
                  </a:cubicBezTo>
                  <a:lnTo>
                    <a:pt x="41" y="61"/>
                  </a:lnTo>
                  <a:cubicBezTo>
                    <a:pt x="41" y="61"/>
                    <a:pt x="41" y="61"/>
                    <a:pt x="41" y="61"/>
                  </a:cubicBezTo>
                  <a:cubicBezTo>
                    <a:pt x="41" y="61"/>
                    <a:pt x="41" y="61"/>
                    <a:pt x="41" y="61"/>
                  </a:cubicBezTo>
                  <a:cubicBezTo>
                    <a:pt x="41" y="61"/>
                    <a:pt x="41" y="61"/>
                    <a:pt x="41" y="61"/>
                  </a:cubicBezTo>
                  <a:lnTo>
                    <a:pt x="41" y="61"/>
                  </a:lnTo>
                  <a:cubicBezTo>
                    <a:pt x="42" y="61"/>
                    <a:pt x="42" y="61"/>
                    <a:pt x="42" y="61"/>
                  </a:cubicBezTo>
                  <a:cubicBezTo>
                    <a:pt x="42" y="61"/>
                    <a:pt x="42" y="61"/>
                    <a:pt x="42" y="61"/>
                  </a:cubicBezTo>
                  <a:cubicBezTo>
                    <a:pt x="42" y="61"/>
                    <a:pt x="42" y="61"/>
                    <a:pt x="42" y="61"/>
                  </a:cubicBezTo>
                  <a:cubicBezTo>
                    <a:pt x="42" y="60"/>
                    <a:pt x="42" y="60"/>
                    <a:pt x="42" y="60"/>
                  </a:cubicBezTo>
                  <a:lnTo>
                    <a:pt x="43" y="60"/>
                  </a:lnTo>
                  <a:cubicBezTo>
                    <a:pt x="43" y="60"/>
                    <a:pt x="43" y="60"/>
                    <a:pt x="43" y="60"/>
                  </a:cubicBezTo>
                  <a:lnTo>
                    <a:pt x="43" y="60"/>
                  </a:lnTo>
                  <a:cubicBezTo>
                    <a:pt x="43" y="60"/>
                    <a:pt x="43" y="60"/>
                    <a:pt x="43" y="60"/>
                  </a:cubicBezTo>
                  <a:lnTo>
                    <a:pt x="43" y="60"/>
                  </a:lnTo>
                  <a:cubicBezTo>
                    <a:pt x="43" y="60"/>
                    <a:pt x="43" y="60"/>
                    <a:pt x="43" y="60"/>
                  </a:cubicBezTo>
                  <a:lnTo>
                    <a:pt x="43" y="60"/>
                  </a:lnTo>
                  <a:cubicBezTo>
                    <a:pt x="43" y="60"/>
                    <a:pt x="43"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59"/>
                  </a:cubicBezTo>
                  <a:cubicBezTo>
                    <a:pt x="45" y="59"/>
                    <a:pt x="45" y="59"/>
                    <a:pt x="45" y="59"/>
                  </a:cubicBezTo>
                  <a:cubicBezTo>
                    <a:pt x="45" y="59"/>
                    <a:pt x="45" y="59"/>
                    <a:pt x="45" y="59"/>
                  </a:cubicBezTo>
                  <a:cubicBezTo>
                    <a:pt x="45" y="59"/>
                    <a:pt x="45" y="59"/>
                    <a:pt x="45" y="59"/>
                  </a:cubicBezTo>
                  <a:cubicBezTo>
                    <a:pt x="45" y="59"/>
                    <a:pt x="45" y="59"/>
                    <a:pt x="45" y="59"/>
                  </a:cubicBezTo>
                  <a:cubicBezTo>
                    <a:pt x="45" y="59"/>
                    <a:pt x="45" y="59"/>
                    <a:pt x="45" y="59"/>
                  </a:cubicBezTo>
                  <a:cubicBezTo>
                    <a:pt x="45" y="59"/>
                    <a:pt x="45" y="59"/>
                    <a:pt x="45" y="59"/>
                  </a:cubicBezTo>
                  <a:cubicBezTo>
                    <a:pt x="45" y="59"/>
                    <a:pt x="45" y="59"/>
                    <a:pt x="45"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7" y="59"/>
                    <a:pt x="47" y="59"/>
                    <a:pt x="47"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50" y="58"/>
                  </a:cubicBezTo>
                  <a:cubicBezTo>
                    <a:pt x="50" y="58"/>
                    <a:pt x="50" y="58"/>
                    <a:pt x="50" y="58"/>
                  </a:cubicBezTo>
                  <a:cubicBezTo>
                    <a:pt x="50" y="58"/>
                    <a:pt x="50" y="58"/>
                    <a:pt x="50" y="58"/>
                  </a:cubicBezTo>
                  <a:cubicBezTo>
                    <a:pt x="50" y="57"/>
                    <a:pt x="50" y="57"/>
                    <a:pt x="50" y="57"/>
                  </a:cubicBezTo>
                  <a:cubicBezTo>
                    <a:pt x="50" y="57"/>
                    <a:pt x="50" y="57"/>
                    <a:pt x="51" y="57"/>
                  </a:cubicBezTo>
                  <a:cubicBezTo>
                    <a:pt x="51" y="57"/>
                    <a:pt x="51" y="57"/>
                    <a:pt x="51" y="57"/>
                  </a:cubicBezTo>
                  <a:cubicBezTo>
                    <a:pt x="51" y="57"/>
                    <a:pt x="51" y="57"/>
                    <a:pt x="51" y="57"/>
                  </a:cubicBezTo>
                  <a:cubicBezTo>
                    <a:pt x="51" y="57"/>
                    <a:pt x="51" y="57"/>
                    <a:pt x="51" y="57"/>
                  </a:cubicBezTo>
                  <a:cubicBezTo>
                    <a:pt x="51" y="57"/>
                    <a:pt x="51" y="57"/>
                    <a:pt x="51" y="57"/>
                  </a:cubicBezTo>
                  <a:cubicBezTo>
                    <a:pt x="51" y="57"/>
                    <a:pt x="51" y="57"/>
                    <a:pt x="51" y="57"/>
                  </a:cubicBezTo>
                  <a:cubicBezTo>
                    <a:pt x="51" y="57"/>
                    <a:pt x="51" y="57"/>
                    <a:pt x="51" y="57"/>
                  </a:cubicBezTo>
                  <a:cubicBezTo>
                    <a:pt x="51" y="57"/>
                    <a:pt x="51" y="57"/>
                    <a:pt x="51" y="57"/>
                  </a:cubicBezTo>
                  <a:cubicBezTo>
                    <a:pt x="51" y="57"/>
                    <a:pt x="52" y="57"/>
                    <a:pt x="52" y="57"/>
                  </a:cubicBezTo>
                  <a:cubicBezTo>
                    <a:pt x="52" y="57"/>
                    <a:pt x="52" y="57"/>
                    <a:pt x="52" y="57"/>
                  </a:cubicBezTo>
                  <a:cubicBezTo>
                    <a:pt x="52" y="57"/>
                    <a:pt x="52" y="57"/>
                    <a:pt x="52" y="57"/>
                  </a:cubicBezTo>
                  <a:cubicBezTo>
                    <a:pt x="52" y="56"/>
                    <a:pt x="52" y="56"/>
                    <a:pt x="52" y="56"/>
                  </a:cubicBezTo>
                  <a:cubicBezTo>
                    <a:pt x="52" y="56"/>
                    <a:pt x="52" y="56"/>
                    <a:pt x="52" y="56"/>
                  </a:cubicBezTo>
                  <a:cubicBezTo>
                    <a:pt x="68" y="50"/>
                    <a:pt x="82" y="43"/>
                    <a:pt x="97" y="35"/>
                  </a:cubicBezTo>
                  <a:lnTo>
                    <a:pt x="77" y="0"/>
                  </a:lnTo>
                  <a:cubicBezTo>
                    <a:pt x="52" y="14"/>
                    <a:pt x="27" y="25"/>
                    <a:pt x="0" y="33"/>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43">
              <a:extLst>
                <a:ext uri="{FF2B5EF4-FFF2-40B4-BE49-F238E27FC236}">
                  <a16:creationId xmlns:a16="http://schemas.microsoft.com/office/drawing/2014/main" id="{2D7EAEEF-CEEA-671F-AF3C-3CD93CD135BE}"/>
                </a:ext>
              </a:extLst>
            </p:cNvPr>
            <p:cNvSpPr>
              <a:spLocks/>
            </p:cNvSpPr>
            <p:nvPr/>
          </p:nvSpPr>
          <p:spPr bwMode="auto">
            <a:xfrm>
              <a:off x="2830513" y="3687763"/>
              <a:ext cx="57150" cy="69850"/>
            </a:xfrm>
            <a:custGeom>
              <a:avLst/>
              <a:gdLst>
                <a:gd name="T0" fmla="*/ 0 w 79"/>
                <a:gd name="T1" fmla="*/ 72 h 97"/>
                <a:gd name="T2" fmla="*/ 0 w 79"/>
                <a:gd name="T3" fmla="*/ 72 h 97"/>
                <a:gd name="T4" fmla="*/ 31 w 79"/>
                <a:gd name="T5" fmla="*/ 97 h 97"/>
                <a:gd name="T6" fmla="*/ 64 w 79"/>
                <a:gd name="T7" fmla="*/ 47 h 97"/>
                <a:gd name="T8" fmla="*/ 64 w 79"/>
                <a:gd name="T9" fmla="*/ 47 h 97"/>
                <a:gd name="T10" fmla="*/ 64 w 79"/>
                <a:gd name="T11" fmla="*/ 47 h 97"/>
                <a:gd name="T12" fmla="*/ 64 w 79"/>
                <a:gd name="T13" fmla="*/ 47 h 97"/>
                <a:gd name="T14" fmla="*/ 64 w 79"/>
                <a:gd name="T15" fmla="*/ 47 h 97"/>
                <a:gd name="T16" fmla="*/ 64 w 79"/>
                <a:gd name="T17" fmla="*/ 47 h 97"/>
                <a:gd name="T18" fmla="*/ 64 w 79"/>
                <a:gd name="T19" fmla="*/ 47 h 97"/>
                <a:gd name="T20" fmla="*/ 64 w 79"/>
                <a:gd name="T21" fmla="*/ 47 h 97"/>
                <a:gd name="T22" fmla="*/ 64 w 79"/>
                <a:gd name="T23" fmla="*/ 47 h 97"/>
                <a:gd name="T24" fmla="*/ 64 w 79"/>
                <a:gd name="T25" fmla="*/ 47 h 97"/>
                <a:gd name="T26" fmla="*/ 64 w 79"/>
                <a:gd name="T27" fmla="*/ 46 h 97"/>
                <a:gd name="T28" fmla="*/ 64 w 79"/>
                <a:gd name="T29" fmla="*/ 46 h 97"/>
                <a:gd name="T30" fmla="*/ 64 w 79"/>
                <a:gd name="T31" fmla="*/ 46 h 97"/>
                <a:gd name="T32" fmla="*/ 64 w 79"/>
                <a:gd name="T33" fmla="*/ 46 h 97"/>
                <a:gd name="T34" fmla="*/ 65 w 79"/>
                <a:gd name="T35" fmla="*/ 46 h 97"/>
                <a:gd name="T36" fmla="*/ 65 w 79"/>
                <a:gd name="T37" fmla="*/ 46 h 97"/>
                <a:gd name="T38" fmla="*/ 65 w 79"/>
                <a:gd name="T39" fmla="*/ 46 h 97"/>
                <a:gd name="T40" fmla="*/ 65 w 79"/>
                <a:gd name="T41" fmla="*/ 46 h 97"/>
                <a:gd name="T42" fmla="*/ 65 w 79"/>
                <a:gd name="T43" fmla="*/ 46 h 97"/>
                <a:gd name="T44" fmla="*/ 65 w 79"/>
                <a:gd name="T45" fmla="*/ 46 h 97"/>
                <a:gd name="T46" fmla="*/ 65 w 79"/>
                <a:gd name="T47" fmla="*/ 45 h 97"/>
                <a:gd name="T48" fmla="*/ 65 w 79"/>
                <a:gd name="T49" fmla="*/ 45 h 97"/>
                <a:gd name="T50" fmla="*/ 65 w 79"/>
                <a:gd name="T51" fmla="*/ 45 h 97"/>
                <a:gd name="T52" fmla="*/ 65 w 79"/>
                <a:gd name="T53" fmla="*/ 45 h 97"/>
                <a:gd name="T54" fmla="*/ 65 w 79"/>
                <a:gd name="T55" fmla="*/ 45 h 97"/>
                <a:gd name="T56" fmla="*/ 65 w 79"/>
                <a:gd name="T57" fmla="*/ 45 h 97"/>
                <a:gd name="T58" fmla="*/ 65 w 79"/>
                <a:gd name="T59" fmla="*/ 45 h 97"/>
                <a:gd name="T60" fmla="*/ 65 w 79"/>
                <a:gd name="T61" fmla="*/ 45 h 97"/>
                <a:gd name="T62" fmla="*/ 65 w 79"/>
                <a:gd name="T63" fmla="*/ 45 h 97"/>
                <a:gd name="T64" fmla="*/ 65 w 79"/>
                <a:gd name="T65" fmla="*/ 45 h 97"/>
                <a:gd name="T66" fmla="*/ 65 w 79"/>
                <a:gd name="T67" fmla="*/ 45 h 97"/>
                <a:gd name="T68" fmla="*/ 65 w 79"/>
                <a:gd name="T69" fmla="*/ 45 h 97"/>
                <a:gd name="T70" fmla="*/ 65 w 79"/>
                <a:gd name="T71" fmla="*/ 44 h 97"/>
                <a:gd name="T72" fmla="*/ 65 w 79"/>
                <a:gd name="T73" fmla="*/ 44 h 97"/>
                <a:gd name="T74" fmla="*/ 65 w 79"/>
                <a:gd name="T75" fmla="*/ 44 h 97"/>
                <a:gd name="T76" fmla="*/ 65 w 79"/>
                <a:gd name="T77" fmla="*/ 44 h 97"/>
                <a:gd name="T78" fmla="*/ 65 w 79"/>
                <a:gd name="T79" fmla="*/ 44 h 97"/>
                <a:gd name="T80" fmla="*/ 66 w 79"/>
                <a:gd name="T81" fmla="*/ 44 h 97"/>
                <a:gd name="T82" fmla="*/ 66 w 79"/>
                <a:gd name="T83" fmla="*/ 44 h 97"/>
                <a:gd name="T84" fmla="*/ 66 w 79"/>
                <a:gd name="T85" fmla="*/ 44 h 97"/>
                <a:gd name="T86" fmla="*/ 66 w 79"/>
                <a:gd name="T87" fmla="*/ 44 h 97"/>
                <a:gd name="T88" fmla="*/ 66 w 79"/>
                <a:gd name="T89" fmla="*/ 44 h 97"/>
                <a:gd name="T90" fmla="*/ 66 w 79"/>
                <a:gd name="T91" fmla="*/ 43 h 97"/>
                <a:gd name="T92" fmla="*/ 66 w 79"/>
                <a:gd name="T93" fmla="*/ 43 h 97"/>
                <a:gd name="T94" fmla="*/ 66 w 79"/>
                <a:gd name="T95" fmla="*/ 43 h 97"/>
                <a:gd name="T96" fmla="*/ 66 w 79"/>
                <a:gd name="T97" fmla="*/ 43 h 97"/>
                <a:gd name="T98" fmla="*/ 66 w 79"/>
                <a:gd name="T99" fmla="*/ 43 h 97"/>
                <a:gd name="T100" fmla="*/ 66 w 79"/>
                <a:gd name="T101" fmla="*/ 43 h 97"/>
                <a:gd name="T102" fmla="*/ 66 w 79"/>
                <a:gd name="T103" fmla="*/ 42 h 97"/>
                <a:gd name="T104" fmla="*/ 66 w 79"/>
                <a:gd name="T105" fmla="*/ 42 h 97"/>
                <a:gd name="T106" fmla="*/ 67 w 79"/>
                <a:gd name="T107" fmla="*/ 42 h 97"/>
                <a:gd name="T108" fmla="*/ 67 w 79"/>
                <a:gd name="T109" fmla="*/ 42 h 97"/>
                <a:gd name="T110" fmla="*/ 67 w 79"/>
                <a:gd name="T111" fmla="*/ 42 h 97"/>
                <a:gd name="T112" fmla="*/ 79 w 79"/>
                <a:gd name="T113" fmla="*/ 17 h 97"/>
                <a:gd name="T114" fmla="*/ 43 w 79"/>
                <a:gd name="T115" fmla="*/ 0 h 97"/>
                <a:gd name="T116" fmla="*/ 0 w 79"/>
                <a:gd name="T117" fmla="*/ 7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97">
                  <a:moveTo>
                    <a:pt x="0" y="72"/>
                  </a:moveTo>
                  <a:lnTo>
                    <a:pt x="0" y="72"/>
                  </a:lnTo>
                  <a:lnTo>
                    <a:pt x="31" y="97"/>
                  </a:lnTo>
                  <a:cubicBezTo>
                    <a:pt x="43" y="81"/>
                    <a:pt x="54" y="64"/>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6"/>
                    <a:pt x="64" y="46"/>
                    <a:pt x="64" y="46"/>
                  </a:cubicBezTo>
                  <a:cubicBezTo>
                    <a:pt x="64" y="46"/>
                    <a:pt x="64" y="46"/>
                    <a:pt x="64" y="46"/>
                  </a:cubicBezTo>
                  <a:cubicBezTo>
                    <a:pt x="64" y="46"/>
                    <a:pt x="64" y="46"/>
                    <a:pt x="64" y="46"/>
                  </a:cubicBezTo>
                  <a:cubicBezTo>
                    <a:pt x="64" y="46"/>
                    <a:pt x="64" y="46"/>
                    <a:pt x="64"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4"/>
                    <a:pt x="65" y="44"/>
                    <a:pt x="65" y="44"/>
                  </a:cubicBezTo>
                  <a:cubicBezTo>
                    <a:pt x="65" y="44"/>
                    <a:pt x="65" y="44"/>
                    <a:pt x="65" y="44"/>
                  </a:cubicBezTo>
                  <a:cubicBezTo>
                    <a:pt x="65" y="44"/>
                    <a:pt x="65" y="44"/>
                    <a:pt x="65" y="44"/>
                  </a:cubicBezTo>
                  <a:cubicBezTo>
                    <a:pt x="65" y="44"/>
                    <a:pt x="65" y="44"/>
                    <a:pt x="65" y="44"/>
                  </a:cubicBezTo>
                  <a:cubicBezTo>
                    <a:pt x="65" y="44"/>
                    <a:pt x="65" y="44"/>
                    <a:pt x="65"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3"/>
                  </a:cubicBezTo>
                  <a:cubicBezTo>
                    <a:pt x="66" y="43"/>
                    <a:pt x="66" y="43"/>
                    <a:pt x="66" y="43"/>
                  </a:cubicBezTo>
                  <a:cubicBezTo>
                    <a:pt x="66" y="43"/>
                    <a:pt x="66" y="43"/>
                    <a:pt x="66" y="43"/>
                  </a:cubicBezTo>
                  <a:cubicBezTo>
                    <a:pt x="66" y="43"/>
                    <a:pt x="66" y="43"/>
                    <a:pt x="66" y="43"/>
                  </a:cubicBezTo>
                  <a:cubicBezTo>
                    <a:pt x="66" y="43"/>
                    <a:pt x="66" y="43"/>
                    <a:pt x="66" y="43"/>
                  </a:cubicBezTo>
                  <a:cubicBezTo>
                    <a:pt x="66" y="43"/>
                    <a:pt x="66" y="43"/>
                    <a:pt x="66" y="43"/>
                  </a:cubicBezTo>
                  <a:cubicBezTo>
                    <a:pt x="66" y="43"/>
                    <a:pt x="66" y="42"/>
                    <a:pt x="66" y="42"/>
                  </a:cubicBezTo>
                  <a:cubicBezTo>
                    <a:pt x="66" y="42"/>
                    <a:pt x="66" y="42"/>
                    <a:pt x="66" y="42"/>
                  </a:cubicBezTo>
                  <a:cubicBezTo>
                    <a:pt x="66" y="42"/>
                    <a:pt x="66" y="42"/>
                    <a:pt x="67" y="42"/>
                  </a:cubicBezTo>
                  <a:cubicBezTo>
                    <a:pt x="67" y="42"/>
                    <a:pt x="67" y="42"/>
                    <a:pt x="67" y="42"/>
                  </a:cubicBezTo>
                  <a:cubicBezTo>
                    <a:pt x="67" y="42"/>
                    <a:pt x="67" y="42"/>
                    <a:pt x="67" y="42"/>
                  </a:cubicBezTo>
                  <a:cubicBezTo>
                    <a:pt x="71" y="34"/>
                    <a:pt x="75" y="26"/>
                    <a:pt x="79" y="17"/>
                  </a:cubicBezTo>
                  <a:lnTo>
                    <a:pt x="43" y="0"/>
                  </a:lnTo>
                  <a:cubicBezTo>
                    <a:pt x="31" y="26"/>
                    <a:pt x="17" y="50"/>
                    <a:pt x="0" y="72"/>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44">
              <a:extLst>
                <a:ext uri="{FF2B5EF4-FFF2-40B4-BE49-F238E27FC236}">
                  <a16:creationId xmlns:a16="http://schemas.microsoft.com/office/drawing/2014/main" id="{EE33BE22-74A3-6B43-CE7A-870F0430CBFB}"/>
                </a:ext>
              </a:extLst>
            </p:cNvPr>
            <p:cNvSpPr>
              <a:spLocks/>
            </p:cNvSpPr>
            <p:nvPr/>
          </p:nvSpPr>
          <p:spPr bwMode="auto">
            <a:xfrm>
              <a:off x="2425701" y="3795713"/>
              <a:ext cx="68263" cy="57150"/>
            </a:xfrm>
            <a:custGeom>
              <a:avLst/>
              <a:gdLst>
                <a:gd name="T0" fmla="*/ 23 w 96"/>
                <a:gd name="T1" fmla="*/ 48 h 79"/>
                <a:gd name="T2" fmla="*/ 26 w 96"/>
                <a:gd name="T3" fmla="*/ 50 h 79"/>
                <a:gd name="T4" fmla="*/ 27 w 96"/>
                <a:gd name="T5" fmla="*/ 50 h 79"/>
                <a:gd name="T6" fmla="*/ 27 w 96"/>
                <a:gd name="T7" fmla="*/ 51 h 79"/>
                <a:gd name="T8" fmla="*/ 27 w 96"/>
                <a:gd name="T9" fmla="*/ 51 h 79"/>
                <a:gd name="T10" fmla="*/ 28 w 96"/>
                <a:gd name="T11" fmla="*/ 51 h 79"/>
                <a:gd name="T12" fmla="*/ 28 w 96"/>
                <a:gd name="T13" fmla="*/ 51 h 79"/>
                <a:gd name="T14" fmla="*/ 28 w 96"/>
                <a:gd name="T15" fmla="*/ 51 h 79"/>
                <a:gd name="T16" fmla="*/ 28 w 96"/>
                <a:gd name="T17" fmla="*/ 51 h 79"/>
                <a:gd name="T18" fmla="*/ 28 w 96"/>
                <a:gd name="T19" fmla="*/ 51 h 79"/>
                <a:gd name="T20" fmla="*/ 29 w 96"/>
                <a:gd name="T21" fmla="*/ 52 h 79"/>
                <a:gd name="T22" fmla="*/ 29 w 96"/>
                <a:gd name="T23" fmla="*/ 52 h 79"/>
                <a:gd name="T24" fmla="*/ 29 w 96"/>
                <a:gd name="T25" fmla="*/ 52 h 79"/>
                <a:gd name="T26" fmla="*/ 30 w 96"/>
                <a:gd name="T27" fmla="*/ 52 h 79"/>
                <a:gd name="T28" fmla="*/ 30 w 96"/>
                <a:gd name="T29" fmla="*/ 52 h 79"/>
                <a:gd name="T30" fmla="*/ 30 w 96"/>
                <a:gd name="T31" fmla="*/ 52 h 79"/>
                <a:gd name="T32" fmla="*/ 30 w 96"/>
                <a:gd name="T33" fmla="*/ 53 h 79"/>
                <a:gd name="T34" fmla="*/ 30 w 96"/>
                <a:gd name="T35" fmla="*/ 53 h 79"/>
                <a:gd name="T36" fmla="*/ 31 w 96"/>
                <a:gd name="T37" fmla="*/ 53 h 79"/>
                <a:gd name="T38" fmla="*/ 31 w 96"/>
                <a:gd name="T39" fmla="*/ 53 h 79"/>
                <a:gd name="T40" fmla="*/ 31 w 96"/>
                <a:gd name="T41" fmla="*/ 53 h 79"/>
                <a:gd name="T42" fmla="*/ 31 w 96"/>
                <a:gd name="T43" fmla="*/ 53 h 79"/>
                <a:gd name="T44" fmla="*/ 32 w 96"/>
                <a:gd name="T45" fmla="*/ 53 h 79"/>
                <a:gd name="T46" fmla="*/ 32 w 96"/>
                <a:gd name="T47" fmla="*/ 54 h 79"/>
                <a:gd name="T48" fmla="*/ 32 w 96"/>
                <a:gd name="T49" fmla="*/ 54 h 79"/>
                <a:gd name="T50" fmla="*/ 32 w 96"/>
                <a:gd name="T51" fmla="*/ 54 h 79"/>
                <a:gd name="T52" fmla="*/ 33 w 96"/>
                <a:gd name="T53" fmla="*/ 54 h 79"/>
                <a:gd name="T54" fmla="*/ 33 w 96"/>
                <a:gd name="T55" fmla="*/ 54 h 79"/>
                <a:gd name="T56" fmla="*/ 33 w 96"/>
                <a:gd name="T57" fmla="*/ 54 h 79"/>
                <a:gd name="T58" fmla="*/ 33 w 96"/>
                <a:gd name="T59" fmla="*/ 54 h 79"/>
                <a:gd name="T60" fmla="*/ 34 w 96"/>
                <a:gd name="T61" fmla="*/ 55 h 79"/>
                <a:gd name="T62" fmla="*/ 34 w 96"/>
                <a:gd name="T63" fmla="*/ 55 h 79"/>
                <a:gd name="T64" fmla="*/ 34 w 96"/>
                <a:gd name="T65" fmla="*/ 55 h 79"/>
                <a:gd name="T66" fmla="*/ 34 w 96"/>
                <a:gd name="T67" fmla="*/ 55 h 79"/>
                <a:gd name="T68" fmla="*/ 35 w 96"/>
                <a:gd name="T69" fmla="*/ 55 h 79"/>
                <a:gd name="T70" fmla="*/ 35 w 96"/>
                <a:gd name="T71" fmla="*/ 55 h 79"/>
                <a:gd name="T72" fmla="*/ 35 w 96"/>
                <a:gd name="T73" fmla="*/ 56 h 79"/>
                <a:gd name="T74" fmla="*/ 35 w 96"/>
                <a:gd name="T75" fmla="*/ 56 h 79"/>
                <a:gd name="T76" fmla="*/ 36 w 96"/>
                <a:gd name="T77" fmla="*/ 56 h 79"/>
                <a:gd name="T78" fmla="*/ 36 w 96"/>
                <a:gd name="T79" fmla="*/ 56 h 79"/>
                <a:gd name="T80" fmla="*/ 36 w 96"/>
                <a:gd name="T81" fmla="*/ 56 h 79"/>
                <a:gd name="T82" fmla="*/ 36 w 96"/>
                <a:gd name="T83" fmla="*/ 56 h 79"/>
                <a:gd name="T84" fmla="*/ 37 w 96"/>
                <a:gd name="T85" fmla="*/ 57 h 79"/>
                <a:gd name="T86" fmla="*/ 96 w 96"/>
                <a:gd name="T87" fmla="*/ 4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79">
                  <a:moveTo>
                    <a:pt x="0" y="32"/>
                  </a:moveTo>
                  <a:lnTo>
                    <a:pt x="0" y="32"/>
                  </a:lnTo>
                  <a:cubicBezTo>
                    <a:pt x="7" y="37"/>
                    <a:pt x="15" y="43"/>
                    <a:pt x="23" y="48"/>
                  </a:cubicBezTo>
                  <a:cubicBezTo>
                    <a:pt x="24" y="49"/>
                    <a:pt x="25" y="49"/>
                    <a:pt x="26" y="50"/>
                  </a:cubicBezTo>
                  <a:lnTo>
                    <a:pt x="26" y="50"/>
                  </a:lnTo>
                  <a:cubicBezTo>
                    <a:pt x="26" y="50"/>
                    <a:pt x="26" y="50"/>
                    <a:pt x="26" y="50"/>
                  </a:cubicBezTo>
                  <a:cubicBezTo>
                    <a:pt x="26" y="50"/>
                    <a:pt x="26" y="50"/>
                    <a:pt x="26" y="50"/>
                  </a:cubicBezTo>
                  <a:cubicBezTo>
                    <a:pt x="26" y="50"/>
                    <a:pt x="26" y="50"/>
                    <a:pt x="27" y="50"/>
                  </a:cubicBezTo>
                  <a:lnTo>
                    <a:pt x="27" y="50"/>
                  </a:lnTo>
                  <a:cubicBezTo>
                    <a:pt x="27" y="50"/>
                    <a:pt x="27" y="50"/>
                    <a:pt x="27" y="50"/>
                  </a:cubicBezTo>
                  <a:lnTo>
                    <a:pt x="27" y="50"/>
                  </a:lnTo>
                  <a:cubicBezTo>
                    <a:pt x="27" y="50"/>
                    <a:pt x="27" y="51"/>
                    <a:pt x="27" y="51"/>
                  </a:cubicBezTo>
                  <a:cubicBezTo>
                    <a:pt x="27" y="51"/>
                    <a:pt x="27" y="51"/>
                    <a:pt x="27" y="51"/>
                  </a:cubicBezTo>
                  <a:cubicBezTo>
                    <a:pt x="27" y="51"/>
                    <a:pt x="27" y="51"/>
                    <a:pt x="27" y="51"/>
                  </a:cubicBezTo>
                  <a:lnTo>
                    <a:pt x="27" y="51"/>
                  </a:lnTo>
                  <a:cubicBezTo>
                    <a:pt x="27" y="51"/>
                    <a:pt x="27" y="51"/>
                    <a:pt x="27" y="51"/>
                  </a:cubicBezTo>
                  <a:lnTo>
                    <a:pt x="27" y="51"/>
                  </a:lnTo>
                  <a:cubicBezTo>
                    <a:pt x="27" y="51"/>
                    <a:pt x="27" y="51"/>
                    <a:pt x="28" y="51"/>
                  </a:cubicBezTo>
                  <a:cubicBezTo>
                    <a:pt x="28" y="51"/>
                    <a:pt x="28" y="51"/>
                    <a:pt x="28" y="51"/>
                  </a:cubicBezTo>
                  <a:cubicBezTo>
                    <a:pt x="28" y="51"/>
                    <a:pt x="28" y="51"/>
                    <a:pt x="28" y="51"/>
                  </a:cubicBezTo>
                  <a:lnTo>
                    <a:pt x="28" y="51"/>
                  </a:ln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9" y="52"/>
                    <a:pt x="28" y="51"/>
                    <a:pt x="29" y="52"/>
                  </a:cubicBezTo>
                  <a:cubicBezTo>
                    <a:pt x="29" y="52"/>
                    <a:pt x="29" y="52"/>
                    <a:pt x="29" y="52"/>
                  </a:cubicBezTo>
                  <a:lnTo>
                    <a:pt x="29" y="52"/>
                  </a:ln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30" y="53"/>
                    <a:pt x="30" y="53"/>
                    <a:pt x="30" y="53"/>
                  </a:cubicBezTo>
                  <a:cubicBezTo>
                    <a:pt x="30" y="53"/>
                    <a:pt x="30" y="53"/>
                    <a:pt x="30" y="53"/>
                  </a:cubicBezTo>
                  <a:cubicBezTo>
                    <a:pt x="30" y="53"/>
                    <a:pt x="30" y="53"/>
                    <a:pt x="30" y="53"/>
                  </a:cubicBezTo>
                  <a:cubicBezTo>
                    <a:pt x="30"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2" y="53"/>
                    <a:pt x="32" y="53"/>
                  </a:cubicBezTo>
                  <a:cubicBezTo>
                    <a:pt x="32" y="53"/>
                    <a:pt x="32" y="53"/>
                    <a:pt x="32" y="53"/>
                  </a:cubicBezTo>
                  <a:cubicBezTo>
                    <a:pt x="32" y="53"/>
                    <a:pt x="32" y="53"/>
                    <a:pt x="32" y="53"/>
                  </a:cubicBezTo>
                  <a:cubicBezTo>
                    <a:pt x="32" y="53"/>
                    <a:pt x="32" y="53"/>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5"/>
                    <a:pt x="33" y="55"/>
                    <a:pt x="33" y="55"/>
                  </a:cubicBezTo>
                  <a:cubicBezTo>
                    <a:pt x="33" y="55"/>
                    <a:pt x="33"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6"/>
                  </a:cubicBezTo>
                  <a:cubicBezTo>
                    <a:pt x="35" y="56"/>
                    <a:pt x="35" y="56"/>
                    <a:pt x="35" y="56"/>
                  </a:cubicBezTo>
                  <a:cubicBezTo>
                    <a:pt x="35" y="56"/>
                    <a:pt x="35" y="56"/>
                    <a:pt x="35" y="56"/>
                  </a:cubicBezTo>
                  <a:cubicBezTo>
                    <a:pt x="35" y="56"/>
                    <a:pt x="35" y="56"/>
                    <a:pt x="35" y="56"/>
                  </a:cubicBezTo>
                  <a:cubicBezTo>
                    <a:pt x="35" y="56"/>
                    <a:pt x="35" y="56"/>
                    <a:pt x="35" y="56"/>
                  </a:cubicBezTo>
                  <a:lnTo>
                    <a:pt x="35" y="56"/>
                  </a:lnTo>
                  <a:cubicBezTo>
                    <a:pt x="36" y="56"/>
                    <a:pt x="36" y="56"/>
                    <a:pt x="36" y="56"/>
                  </a:cubicBezTo>
                  <a:cubicBezTo>
                    <a:pt x="36" y="56"/>
                    <a:pt x="36" y="56"/>
                    <a:pt x="36" y="56"/>
                  </a:cubicBezTo>
                  <a:cubicBezTo>
                    <a:pt x="36" y="56"/>
                    <a:pt x="36" y="56"/>
                    <a:pt x="36" y="56"/>
                  </a:cubicBezTo>
                  <a:lnTo>
                    <a:pt x="36" y="56"/>
                  </a:ln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7" y="57"/>
                    <a:pt x="37" y="57"/>
                    <a:pt x="37" y="57"/>
                  </a:cubicBezTo>
                  <a:cubicBezTo>
                    <a:pt x="37" y="57"/>
                    <a:pt x="37" y="57"/>
                    <a:pt x="37" y="57"/>
                  </a:cubicBezTo>
                  <a:cubicBezTo>
                    <a:pt x="37" y="57"/>
                    <a:pt x="37" y="57"/>
                    <a:pt x="37" y="57"/>
                  </a:cubicBezTo>
                  <a:cubicBezTo>
                    <a:pt x="37" y="57"/>
                    <a:pt x="37" y="57"/>
                    <a:pt x="38" y="57"/>
                  </a:cubicBezTo>
                  <a:cubicBezTo>
                    <a:pt x="51" y="65"/>
                    <a:pt x="65" y="72"/>
                    <a:pt x="79" y="79"/>
                  </a:cubicBezTo>
                  <a:lnTo>
                    <a:pt x="96" y="42"/>
                  </a:lnTo>
                  <a:cubicBezTo>
                    <a:pt x="70" y="31"/>
                    <a:pt x="46" y="16"/>
                    <a:pt x="23" y="0"/>
                  </a:cubicBezTo>
                  <a:lnTo>
                    <a:pt x="0" y="32"/>
                  </a:ln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45">
              <a:extLst>
                <a:ext uri="{FF2B5EF4-FFF2-40B4-BE49-F238E27FC236}">
                  <a16:creationId xmlns:a16="http://schemas.microsoft.com/office/drawing/2014/main" id="{C3C95910-A860-F273-EB7A-A632A0B78397}"/>
                </a:ext>
              </a:extLst>
            </p:cNvPr>
            <p:cNvSpPr>
              <a:spLocks/>
            </p:cNvSpPr>
            <p:nvPr/>
          </p:nvSpPr>
          <p:spPr bwMode="auto">
            <a:xfrm>
              <a:off x="2603501" y="3844925"/>
              <a:ext cx="66675" cy="34925"/>
            </a:xfrm>
            <a:custGeom>
              <a:avLst/>
              <a:gdLst>
                <a:gd name="T0" fmla="*/ 0 w 92"/>
                <a:gd name="T1" fmla="*/ 48 h 48"/>
                <a:gd name="T2" fmla="*/ 2 w 92"/>
                <a:gd name="T3" fmla="*/ 48 h 48"/>
                <a:gd name="T4" fmla="*/ 5 w 92"/>
                <a:gd name="T5" fmla="*/ 48 h 48"/>
                <a:gd name="T6" fmla="*/ 5 w 92"/>
                <a:gd name="T7" fmla="*/ 48 h 48"/>
                <a:gd name="T8" fmla="*/ 6 w 92"/>
                <a:gd name="T9" fmla="*/ 48 h 48"/>
                <a:gd name="T10" fmla="*/ 6 w 92"/>
                <a:gd name="T11" fmla="*/ 48 h 48"/>
                <a:gd name="T12" fmla="*/ 7 w 92"/>
                <a:gd name="T13" fmla="*/ 48 h 48"/>
                <a:gd name="T14" fmla="*/ 8 w 92"/>
                <a:gd name="T15" fmla="*/ 48 h 48"/>
                <a:gd name="T16" fmla="*/ 8 w 92"/>
                <a:gd name="T17" fmla="*/ 48 h 48"/>
                <a:gd name="T18" fmla="*/ 8 w 92"/>
                <a:gd name="T19" fmla="*/ 48 h 48"/>
                <a:gd name="T20" fmla="*/ 9 w 92"/>
                <a:gd name="T21" fmla="*/ 48 h 48"/>
                <a:gd name="T22" fmla="*/ 9 w 92"/>
                <a:gd name="T23" fmla="*/ 48 h 48"/>
                <a:gd name="T24" fmla="*/ 9 w 92"/>
                <a:gd name="T25" fmla="*/ 48 h 48"/>
                <a:gd name="T26" fmla="*/ 10 w 92"/>
                <a:gd name="T27" fmla="*/ 48 h 48"/>
                <a:gd name="T28" fmla="*/ 10 w 92"/>
                <a:gd name="T29" fmla="*/ 48 h 48"/>
                <a:gd name="T30" fmla="*/ 11 w 92"/>
                <a:gd name="T31" fmla="*/ 48 h 48"/>
                <a:gd name="T32" fmla="*/ 11 w 92"/>
                <a:gd name="T33" fmla="*/ 48 h 48"/>
                <a:gd name="T34" fmla="*/ 11 w 92"/>
                <a:gd name="T35" fmla="*/ 48 h 48"/>
                <a:gd name="T36" fmla="*/ 12 w 92"/>
                <a:gd name="T37" fmla="*/ 48 h 48"/>
                <a:gd name="T38" fmla="*/ 12 w 92"/>
                <a:gd name="T39" fmla="*/ 48 h 48"/>
                <a:gd name="T40" fmla="*/ 12 w 92"/>
                <a:gd name="T41" fmla="*/ 48 h 48"/>
                <a:gd name="T42" fmla="*/ 13 w 92"/>
                <a:gd name="T43" fmla="*/ 48 h 48"/>
                <a:gd name="T44" fmla="*/ 13 w 92"/>
                <a:gd name="T45" fmla="*/ 48 h 48"/>
                <a:gd name="T46" fmla="*/ 13 w 92"/>
                <a:gd name="T47" fmla="*/ 48 h 48"/>
                <a:gd name="T48" fmla="*/ 14 w 92"/>
                <a:gd name="T49" fmla="*/ 48 h 48"/>
                <a:gd name="T50" fmla="*/ 14 w 92"/>
                <a:gd name="T51" fmla="*/ 48 h 48"/>
                <a:gd name="T52" fmla="*/ 15 w 92"/>
                <a:gd name="T53" fmla="*/ 48 h 48"/>
                <a:gd name="T54" fmla="*/ 15 w 92"/>
                <a:gd name="T55" fmla="*/ 48 h 48"/>
                <a:gd name="T56" fmla="*/ 15 w 92"/>
                <a:gd name="T57" fmla="*/ 48 h 48"/>
                <a:gd name="T58" fmla="*/ 16 w 92"/>
                <a:gd name="T59" fmla="*/ 48 h 48"/>
                <a:gd name="T60" fmla="*/ 16 w 92"/>
                <a:gd name="T61" fmla="*/ 48 h 48"/>
                <a:gd name="T62" fmla="*/ 16 w 92"/>
                <a:gd name="T63" fmla="*/ 48 h 48"/>
                <a:gd name="T64" fmla="*/ 17 w 92"/>
                <a:gd name="T65" fmla="*/ 48 h 48"/>
                <a:gd name="T66" fmla="*/ 17 w 92"/>
                <a:gd name="T67" fmla="*/ 48 h 48"/>
                <a:gd name="T68" fmla="*/ 17 w 92"/>
                <a:gd name="T69" fmla="*/ 48 h 48"/>
                <a:gd name="T70" fmla="*/ 18 w 92"/>
                <a:gd name="T71" fmla="*/ 48 h 48"/>
                <a:gd name="T72" fmla="*/ 18 w 92"/>
                <a:gd name="T73" fmla="*/ 48 h 48"/>
                <a:gd name="T74" fmla="*/ 18 w 92"/>
                <a:gd name="T75" fmla="*/ 48 h 48"/>
                <a:gd name="T76" fmla="*/ 19 w 92"/>
                <a:gd name="T77" fmla="*/ 48 h 48"/>
                <a:gd name="T78" fmla="*/ 19 w 92"/>
                <a:gd name="T79" fmla="*/ 48 h 48"/>
                <a:gd name="T80" fmla="*/ 19 w 92"/>
                <a:gd name="T81" fmla="*/ 48 h 48"/>
                <a:gd name="T82" fmla="*/ 20 w 92"/>
                <a:gd name="T83" fmla="*/ 48 h 48"/>
                <a:gd name="T84" fmla="*/ 20 w 92"/>
                <a:gd name="T85" fmla="*/ 48 h 48"/>
                <a:gd name="T86" fmla="*/ 20 w 92"/>
                <a:gd name="T87" fmla="*/ 48 h 48"/>
                <a:gd name="T88" fmla="*/ 21 w 92"/>
                <a:gd name="T89" fmla="*/ 48 h 48"/>
                <a:gd name="T90" fmla="*/ 21 w 92"/>
                <a:gd name="T91" fmla="*/ 48 h 48"/>
                <a:gd name="T92" fmla="*/ 21 w 92"/>
                <a:gd name="T93" fmla="*/ 48 h 48"/>
                <a:gd name="T94" fmla="*/ 22 w 92"/>
                <a:gd name="T95" fmla="*/ 48 h 48"/>
                <a:gd name="T96" fmla="*/ 22 w 92"/>
                <a:gd name="T97" fmla="*/ 47 h 48"/>
                <a:gd name="T98" fmla="*/ 22 w 92"/>
                <a:gd name="T99" fmla="*/ 47 h 48"/>
                <a:gd name="T100" fmla="*/ 23 w 92"/>
                <a:gd name="T101" fmla="*/ 47 h 48"/>
                <a:gd name="T102" fmla="*/ 92 w 92"/>
                <a:gd name="T103"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48">
                  <a:moveTo>
                    <a:pt x="6" y="8"/>
                  </a:moveTo>
                  <a:lnTo>
                    <a:pt x="6" y="8"/>
                  </a:lnTo>
                  <a:cubicBezTo>
                    <a:pt x="4" y="8"/>
                    <a:pt x="2" y="8"/>
                    <a:pt x="0" y="8"/>
                  </a:cubicBezTo>
                  <a:lnTo>
                    <a:pt x="0" y="48"/>
                  </a:lnTo>
                  <a:cubicBezTo>
                    <a:pt x="0" y="48"/>
                    <a:pt x="1" y="48"/>
                    <a:pt x="1" y="48"/>
                  </a:cubicBezTo>
                  <a:lnTo>
                    <a:pt x="1" y="48"/>
                  </a:lnTo>
                  <a:cubicBezTo>
                    <a:pt x="1" y="48"/>
                    <a:pt x="1" y="48"/>
                    <a:pt x="1" y="48"/>
                  </a:cubicBezTo>
                  <a:cubicBezTo>
                    <a:pt x="1" y="48"/>
                    <a:pt x="1" y="48"/>
                    <a:pt x="2" y="48"/>
                  </a:cubicBezTo>
                  <a:cubicBezTo>
                    <a:pt x="2" y="48"/>
                    <a:pt x="2" y="48"/>
                    <a:pt x="2" y="48"/>
                  </a:cubicBezTo>
                  <a:cubicBezTo>
                    <a:pt x="3" y="48"/>
                    <a:pt x="3" y="48"/>
                    <a:pt x="4" y="48"/>
                  </a:cubicBezTo>
                  <a:cubicBezTo>
                    <a:pt x="5" y="48"/>
                    <a:pt x="5" y="48"/>
                    <a:pt x="5" y="48"/>
                  </a:cubicBezTo>
                  <a:cubicBezTo>
                    <a:pt x="5" y="48"/>
                    <a:pt x="5" y="48"/>
                    <a:pt x="5" y="48"/>
                  </a:cubicBezTo>
                  <a:cubicBezTo>
                    <a:pt x="5" y="48"/>
                    <a:pt x="5" y="48"/>
                    <a:pt x="5" y="48"/>
                  </a:cubicBezTo>
                  <a:cubicBezTo>
                    <a:pt x="5" y="48"/>
                    <a:pt x="5" y="48"/>
                    <a:pt x="5" y="48"/>
                  </a:cubicBezTo>
                  <a:cubicBezTo>
                    <a:pt x="5" y="48"/>
                    <a:pt x="5" y="48"/>
                    <a:pt x="5" y="48"/>
                  </a:cubicBezTo>
                  <a:cubicBezTo>
                    <a:pt x="5" y="48"/>
                    <a:pt x="5" y="48"/>
                    <a:pt x="5" y="48"/>
                  </a:cubicBezTo>
                  <a:cubicBezTo>
                    <a:pt x="5" y="48"/>
                    <a:pt x="5" y="48"/>
                    <a:pt x="5" y="48"/>
                  </a:cubicBezTo>
                  <a:cubicBezTo>
                    <a:pt x="5" y="48"/>
                    <a:pt x="5" y="48"/>
                    <a:pt x="6" y="48"/>
                  </a:cubicBezTo>
                  <a:cubicBezTo>
                    <a:pt x="6" y="48"/>
                    <a:pt x="6" y="48"/>
                    <a:pt x="6" y="48"/>
                  </a:cubicBezTo>
                  <a:cubicBezTo>
                    <a:pt x="6" y="48"/>
                    <a:pt x="6" y="48"/>
                    <a:pt x="6" y="48"/>
                  </a:cubicBezTo>
                  <a:cubicBezTo>
                    <a:pt x="6" y="48"/>
                    <a:pt x="6" y="48"/>
                    <a:pt x="6" y="48"/>
                  </a:cubicBezTo>
                  <a:cubicBezTo>
                    <a:pt x="6" y="48"/>
                    <a:pt x="6" y="48"/>
                    <a:pt x="6" y="48"/>
                  </a:cubicBezTo>
                  <a:cubicBezTo>
                    <a:pt x="6" y="48"/>
                    <a:pt x="6" y="48"/>
                    <a:pt x="6" y="48"/>
                  </a:cubicBezTo>
                  <a:cubicBezTo>
                    <a:pt x="6" y="48"/>
                    <a:pt x="6" y="48"/>
                    <a:pt x="6" y="48"/>
                  </a:cubicBezTo>
                  <a:cubicBezTo>
                    <a:pt x="6" y="48"/>
                    <a:pt x="7" y="48"/>
                    <a:pt x="7" y="48"/>
                  </a:cubicBezTo>
                  <a:cubicBezTo>
                    <a:pt x="7" y="48"/>
                    <a:pt x="7" y="48"/>
                    <a:pt x="7" y="48"/>
                  </a:cubicBezTo>
                  <a:cubicBezTo>
                    <a:pt x="7" y="48"/>
                    <a:pt x="7" y="48"/>
                    <a:pt x="7" y="48"/>
                  </a:cubicBezTo>
                  <a:cubicBezTo>
                    <a:pt x="7" y="48"/>
                    <a:pt x="7" y="48"/>
                    <a:pt x="7" y="48"/>
                  </a:cubicBezTo>
                  <a:cubicBezTo>
                    <a:pt x="7" y="48"/>
                    <a:pt x="7" y="48"/>
                    <a:pt x="7" y="48"/>
                  </a:cubicBezTo>
                  <a:cubicBezTo>
                    <a:pt x="7" y="48"/>
                    <a:pt x="7" y="48"/>
                    <a:pt x="7" y="48"/>
                  </a:cubicBezTo>
                  <a:cubicBezTo>
                    <a:pt x="7" y="48"/>
                    <a:pt x="7"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8" y="48"/>
                    <a:pt x="18" y="48"/>
                    <a:pt x="18" y="48"/>
                  </a:cubicBezTo>
                  <a:lnTo>
                    <a:pt x="18" y="48"/>
                  </a:ln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20" y="48"/>
                  </a:cubicBezTo>
                  <a:cubicBezTo>
                    <a:pt x="20" y="48"/>
                    <a:pt x="20" y="48"/>
                    <a:pt x="20" y="48"/>
                  </a:cubicBezTo>
                  <a:cubicBezTo>
                    <a:pt x="20" y="48"/>
                    <a:pt x="20" y="48"/>
                    <a:pt x="20" y="48"/>
                  </a:cubicBezTo>
                  <a:cubicBezTo>
                    <a:pt x="20" y="48"/>
                    <a:pt x="20" y="48"/>
                    <a:pt x="20" y="48"/>
                  </a:cubicBezTo>
                  <a:lnTo>
                    <a:pt x="20" y="48"/>
                  </a:lnTo>
                  <a:cubicBezTo>
                    <a:pt x="20" y="48"/>
                    <a:pt x="20" y="48"/>
                    <a:pt x="20" y="48"/>
                  </a:cubicBezTo>
                  <a:lnTo>
                    <a:pt x="20" y="48"/>
                  </a:ln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1" y="48"/>
                  </a:cubicBezTo>
                  <a:cubicBezTo>
                    <a:pt x="21" y="48"/>
                    <a:pt x="21" y="48"/>
                    <a:pt x="21" y="48"/>
                  </a:cubicBezTo>
                  <a:cubicBezTo>
                    <a:pt x="21" y="48"/>
                    <a:pt x="21" y="48"/>
                    <a:pt x="21" y="48"/>
                  </a:cubicBezTo>
                  <a:lnTo>
                    <a:pt x="21" y="48"/>
                  </a:lnTo>
                  <a:cubicBezTo>
                    <a:pt x="21" y="48"/>
                    <a:pt x="21" y="48"/>
                    <a:pt x="21" y="48"/>
                  </a:cubicBezTo>
                  <a:lnTo>
                    <a:pt x="21" y="48"/>
                  </a:lnTo>
                  <a:cubicBezTo>
                    <a:pt x="21" y="48"/>
                    <a:pt x="21" y="48"/>
                    <a:pt x="21" y="48"/>
                  </a:cubicBezTo>
                  <a:cubicBezTo>
                    <a:pt x="21" y="48"/>
                    <a:pt x="21" y="48"/>
                    <a:pt x="21" y="48"/>
                  </a:cubicBezTo>
                  <a:cubicBezTo>
                    <a:pt x="21" y="48"/>
                    <a:pt x="21" y="48"/>
                    <a:pt x="21" y="48"/>
                  </a:cubicBezTo>
                  <a:cubicBezTo>
                    <a:pt x="21" y="48"/>
                    <a:pt x="21" y="48"/>
                    <a:pt x="21" y="48"/>
                  </a:cubicBezTo>
                  <a:cubicBezTo>
                    <a:pt x="21" y="48"/>
                    <a:pt x="21" y="48"/>
                    <a:pt x="21" y="48"/>
                  </a:cubicBezTo>
                  <a:cubicBezTo>
                    <a:pt x="21" y="48"/>
                    <a:pt x="21" y="48"/>
                    <a:pt x="21" y="48"/>
                  </a:cubicBezTo>
                  <a:cubicBezTo>
                    <a:pt x="21" y="48"/>
                    <a:pt x="21" y="48"/>
                    <a:pt x="22" y="48"/>
                  </a:cubicBezTo>
                  <a:lnTo>
                    <a:pt x="22" y="48"/>
                  </a:ln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7"/>
                  </a:cubicBezTo>
                  <a:cubicBezTo>
                    <a:pt x="22" y="47"/>
                    <a:pt x="22" y="47"/>
                    <a:pt x="22" y="47"/>
                  </a:cubicBezTo>
                  <a:cubicBezTo>
                    <a:pt x="22" y="47"/>
                    <a:pt x="22" y="47"/>
                    <a:pt x="22" y="47"/>
                  </a:cubicBezTo>
                  <a:lnTo>
                    <a:pt x="22" y="47"/>
                  </a:lnTo>
                  <a:cubicBezTo>
                    <a:pt x="22" y="47"/>
                    <a:pt x="22" y="47"/>
                    <a:pt x="22" y="47"/>
                  </a:cubicBezTo>
                  <a:cubicBezTo>
                    <a:pt x="22" y="47"/>
                    <a:pt x="22" y="47"/>
                    <a:pt x="22" y="47"/>
                  </a:cubicBezTo>
                  <a:cubicBezTo>
                    <a:pt x="22" y="47"/>
                    <a:pt x="23" y="47"/>
                    <a:pt x="23" y="47"/>
                  </a:cubicBezTo>
                  <a:cubicBezTo>
                    <a:pt x="23" y="47"/>
                    <a:pt x="23" y="47"/>
                    <a:pt x="23" y="47"/>
                  </a:cubicBezTo>
                  <a:cubicBezTo>
                    <a:pt x="23" y="47"/>
                    <a:pt x="23" y="47"/>
                    <a:pt x="23" y="47"/>
                  </a:cubicBezTo>
                  <a:cubicBezTo>
                    <a:pt x="23" y="47"/>
                    <a:pt x="23" y="47"/>
                    <a:pt x="23" y="47"/>
                  </a:cubicBezTo>
                  <a:cubicBezTo>
                    <a:pt x="23" y="47"/>
                    <a:pt x="23" y="47"/>
                    <a:pt x="23" y="47"/>
                  </a:cubicBezTo>
                  <a:cubicBezTo>
                    <a:pt x="23" y="47"/>
                    <a:pt x="24" y="47"/>
                    <a:pt x="24" y="47"/>
                  </a:cubicBezTo>
                  <a:cubicBezTo>
                    <a:pt x="47" y="46"/>
                    <a:pt x="70" y="44"/>
                    <a:pt x="92" y="39"/>
                  </a:cubicBezTo>
                  <a:lnTo>
                    <a:pt x="84" y="0"/>
                  </a:lnTo>
                  <a:cubicBezTo>
                    <a:pt x="59" y="5"/>
                    <a:pt x="32" y="8"/>
                    <a:pt x="6" y="8"/>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46">
              <a:extLst>
                <a:ext uri="{FF2B5EF4-FFF2-40B4-BE49-F238E27FC236}">
                  <a16:creationId xmlns:a16="http://schemas.microsoft.com/office/drawing/2014/main" id="{0AA0AA16-D527-CD74-D0BE-ACBC535F90D9}"/>
                </a:ext>
              </a:extLst>
            </p:cNvPr>
            <p:cNvSpPr>
              <a:spLocks/>
            </p:cNvSpPr>
            <p:nvPr/>
          </p:nvSpPr>
          <p:spPr bwMode="auto">
            <a:xfrm>
              <a:off x="2357438" y="3733800"/>
              <a:ext cx="65088" cy="66675"/>
            </a:xfrm>
            <a:custGeom>
              <a:avLst/>
              <a:gdLst>
                <a:gd name="T0" fmla="*/ 4 w 89"/>
                <a:gd name="T1" fmla="*/ 29 h 92"/>
                <a:gd name="T2" fmla="*/ 5 w 89"/>
                <a:gd name="T3" fmla="*/ 30 h 92"/>
                <a:gd name="T4" fmla="*/ 6 w 89"/>
                <a:gd name="T5" fmla="*/ 31 h 92"/>
                <a:gd name="T6" fmla="*/ 6 w 89"/>
                <a:gd name="T7" fmla="*/ 32 h 92"/>
                <a:gd name="T8" fmla="*/ 7 w 89"/>
                <a:gd name="T9" fmla="*/ 32 h 92"/>
                <a:gd name="T10" fmla="*/ 7 w 89"/>
                <a:gd name="T11" fmla="*/ 33 h 92"/>
                <a:gd name="T12" fmla="*/ 8 w 89"/>
                <a:gd name="T13" fmla="*/ 33 h 92"/>
                <a:gd name="T14" fmla="*/ 8 w 89"/>
                <a:gd name="T15" fmla="*/ 34 h 92"/>
                <a:gd name="T16" fmla="*/ 8 w 89"/>
                <a:gd name="T17" fmla="*/ 34 h 92"/>
                <a:gd name="T18" fmla="*/ 9 w 89"/>
                <a:gd name="T19" fmla="*/ 35 h 92"/>
                <a:gd name="T20" fmla="*/ 9 w 89"/>
                <a:gd name="T21" fmla="*/ 35 h 92"/>
                <a:gd name="T22" fmla="*/ 10 w 89"/>
                <a:gd name="T23" fmla="*/ 36 h 92"/>
                <a:gd name="T24" fmla="*/ 10 w 89"/>
                <a:gd name="T25" fmla="*/ 37 h 92"/>
                <a:gd name="T26" fmla="*/ 11 w 89"/>
                <a:gd name="T27" fmla="*/ 37 h 92"/>
                <a:gd name="T28" fmla="*/ 11 w 89"/>
                <a:gd name="T29" fmla="*/ 38 h 92"/>
                <a:gd name="T30" fmla="*/ 12 w 89"/>
                <a:gd name="T31" fmla="*/ 39 h 92"/>
                <a:gd name="T32" fmla="*/ 12 w 89"/>
                <a:gd name="T33" fmla="*/ 40 h 92"/>
                <a:gd name="T34" fmla="*/ 13 w 89"/>
                <a:gd name="T35" fmla="*/ 41 h 92"/>
                <a:gd name="T36" fmla="*/ 14 w 89"/>
                <a:gd name="T37" fmla="*/ 42 h 92"/>
                <a:gd name="T38" fmla="*/ 15 w 89"/>
                <a:gd name="T39" fmla="*/ 43 h 92"/>
                <a:gd name="T40" fmla="*/ 16 w 89"/>
                <a:gd name="T41" fmla="*/ 44 h 92"/>
                <a:gd name="T42" fmla="*/ 16 w 89"/>
                <a:gd name="T43" fmla="*/ 44 h 92"/>
                <a:gd name="T44" fmla="*/ 17 w 89"/>
                <a:gd name="T45" fmla="*/ 45 h 92"/>
                <a:gd name="T46" fmla="*/ 17 w 89"/>
                <a:gd name="T47" fmla="*/ 46 h 92"/>
                <a:gd name="T48" fmla="*/ 18 w 89"/>
                <a:gd name="T49" fmla="*/ 46 h 92"/>
                <a:gd name="T50" fmla="*/ 18 w 89"/>
                <a:gd name="T51" fmla="*/ 47 h 92"/>
                <a:gd name="T52" fmla="*/ 19 w 89"/>
                <a:gd name="T53" fmla="*/ 48 h 92"/>
                <a:gd name="T54" fmla="*/ 20 w 89"/>
                <a:gd name="T55" fmla="*/ 48 h 92"/>
                <a:gd name="T56" fmla="*/ 20 w 89"/>
                <a:gd name="T57" fmla="*/ 49 h 92"/>
                <a:gd name="T58" fmla="*/ 20 w 89"/>
                <a:gd name="T59" fmla="*/ 49 h 92"/>
                <a:gd name="T60" fmla="*/ 21 w 89"/>
                <a:gd name="T61" fmla="*/ 50 h 92"/>
                <a:gd name="T62" fmla="*/ 21 w 89"/>
                <a:gd name="T63" fmla="*/ 50 h 92"/>
                <a:gd name="T64" fmla="*/ 22 w 89"/>
                <a:gd name="T65" fmla="*/ 51 h 92"/>
                <a:gd name="T66" fmla="*/ 22 w 89"/>
                <a:gd name="T67" fmla="*/ 51 h 92"/>
                <a:gd name="T68" fmla="*/ 22 w 89"/>
                <a:gd name="T69" fmla="*/ 52 h 92"/>
                <a:gd name="T70" fmla="*/ 23 w 89"/>
                <a:gd name="T71" fmla="*/ 52 h 92"/>
                <a:gd name="T72" fmla="*/ 23 w 89"/>
                <a:gd name="T73" fmla="*/ 53 h 92"/>
                <a:gd name="T74" fmla="*/ 24 w 89"/>
                <a:gd name="T75" fmla="*/ 53 h 92"/>
                <a:gd name="T76" fmla="*/ 24 w 89"/>
                <a:gd name="T77" fmla="*/ 54 h 92"/>
                <a:gd name="T78" fmla="*/ 25 w 89"/>
                <a:gd name="T79" fmla="*/ 54 h 92"/>
                <a:gd name="T80" fmla="*/ 25 w 89"/>
                <a:gd name="T81" fmla="*/ 55 h 92"/>
                <a:gd name="T82" fmla="*/ 25 w 89"/>
                <a:gd name="T83" fmla="*/ 55 h 92"/>
                <a:gd name="T84" fmla="*/ 26 w 89"/>
                <a:gd name="T85" fmla="*/ 56 h 92"/>
                <a:gd name="T86" fmla="*/ 26 w 89"/>
                <a:gd name="T87" fmla="*/ 56 h 92"/>
                <a:gd name="T88" fmla="*/ 27 w 89"/>
                <a:gd name="T89" fmla="*/ 57 h 92"/>
                <a:gd name="T90" fmla="*/ 27 w 89"/>
                <a:gd name="T91" fmla="*/ 58 h 92"/>
                <a:gd name="T92" fmla="*/ 28 w 89"/>
                <a:gd name="T93" fmla="*/ 58 h 92"/>
                <a:gd name="T94" fmla="*/ 28 w 89"/>
                <a:gd name="T95" fmla="*/ 59 h 92"/>
                <a:gd name="T96" fmla="*/ 29 w 89"/>
                <a:gd name="T97" fmla="*/ 59 h 92"/>
                <a:gd name="T98" fmla="*/ 30 w 89"/>
                <a:gd name="T99" fmla="*/ 60 h 92"/>
                <a:gd name="T100" fmla="*/ 57 w 89"/>
                <a:gd name="T101" fmla="*/ 88 h 92"/>
                <a:gd name="T102" fmla="*/ 58 w 89"/>
                <a:gd name="T103" fmla="*/ 89 h 92"/>
                <a:gd name="T104" fmla="*/ 59 w 89"/>
                <a:gd name="T105" fmla="*/ 90 h 92"/>
                <a:gd name="T106" fmla="*/ 60 w 89"/>
                <a:gd name="T107" fmla="*/ 90 h 92"/>
                <a:gd name="T108" fmla="*/ 60 w 89"/>
                <a:gd name="T109" fmla="*/ 91 h 92"/>
                <a:gd name="T110" fmla="*/ 60 w 89"/>
                <a:gd name="T111" fmla="*/ 91 h 92"/>
                <a:gd name="T112" fmla="*/ 61 w 89"/>
                <a:gd name="T113" fmla="*/ 92 h 92"/>
                <a:gd name="T114" fmla="*/ 61 w 89"/>
                <a:gd name="T11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 h="92">
                  <a:moveTo>
                    <a:pt x="33" y="0"/>
                  </a:moveTo>
                  <a:lnTo>
                    <a:pt x="33" y="0"/>
                  </a:lnTo>
                  <a:lnTo>
                    <a:pt x="0" y="23"/>
                  </a:lnTo>
                  <a:cubicBezTo>
                    <a:pt x="1" y="25"/>
                    <a:pt x="3" y="27"/>
                    <a:pt x="4" y="28"/>
                  </a:cubicBezTo>
                  <a:cubicBezTo>
                    <a:pt x="4" y="28"/>
                    <a:pt x="4" y="28"/>
                    <a:pt x="4" y="28"/>
                  </a:cubicBezTo>
                  <a:cubicBezTo>
                    <a:pt x="4" y="29"/>
                    <a:pt x="4" y="29"/>
                    <a:pt x="4" y="29"/>
                  </a:cubicBezTo>
                  <a:cubicBezTo>
                    <a:pt x="4" y="29"/>
                    <a:pt x="4" y="29"/>
                    <a:pt x="4" y="29"/>
                  </a:cubicBezTo>
                  <a:cubicBezTo>
                    <a:pt x="5" y="29"/>
                    <a:pt x="5" y="29"/>
                    <a:pt x="5" y="29"/>
                  </a:cubicBezTo>
                  <a:lnTo>
                    <a:pt x="5" y="29"/>
                  </a:lnTo>
                  <a:cubicBezTo>
                    <a:pt x="5" y="29"/>
                    <a:pt x="5" y="29"/>
                    <a:pt x="5" y="29"/>
                  </a:cubicBezTo>
                  <a:cubicBezTo>
                    <a:pt x="5" y="29"/>
                    <a:pt x="5" y="29"/>
                    <a:pt x="5" y="29"/>
                  </a:cubicBezTo>
                  <a:cubicBezTo>
                    <a:pt x="5" y="30"/>
                    <a:pt x="5" y="30"/>
                    <a:pt x="5" y="30"/>
                  </a:cubicBezTo>
                  <a:cubicBezTo>
                    <a:pt x="5" y="30"/>
                    <a:pt x="5" y="30"/>
                    <a:pt x="5" y="30"/>
                  </a:cubicBezTo>
                  <a:cubicBezTo>
                    <a:pt x="5" y="30"/>
                    <a:pt x="5" y="30"/>
                    <a:pt x="5" y="30"/>
                  </a:cubicBezTo>
                  <a:cubicBezTo>
                    <a:pt x="5" y="30"/>
                    <a:pt x="5" y="30"/>
                    <a:pt x="5" y="30"/>
                  </a:cubicBezTo>
                  <a:cubicBezTo>
                    <a:pt x="5" y="30"/>
                    <a:pt x="5" y="30"/>
                    <a:pt x="5" y="30"/>
                  </a:cubicBezTo>
                  <a:cubicBezTo>
                    <a:pt x="5" y="30"/>
                    <a:pt x="5" y="30"/>
                    <a:pt x="5" y="30"/>
                  </a:cubicBezTo>
                  <a:cubicBezTo>
                    <a:pt x="5" y="30"/>
                    <a:pt x="5" y="30"/>
                    <a:pt x="5" y="30"/>
                  </a:cubicBezTo>
                  <a:cubicBezTo>
                    <a:pt x="5" y="30"/>
                    <a:pt x="6" y="30"/>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2"/>
                    <a:pt x="6" y="32"/>
                  </a:cubicBezTo>
                  <a:cubicBezTo>
                    <a:pt x="6" y="32"/>
                    <a:pt x="6" y="32"/>
                    <a:pt x="6" y="32"/>
                  </a:cubicBezTo>
                  <a:cubicBezTo>
                    <a:pt x="6" y="32"/>
                    <a:pt x="6" y="32"/>
                    <a:pt x="6" y="32"/>
                  </a:cubicBezTo>
                  <a:cubicBezTo>
                    <a:pt x="6" y="32"/>
                    <a:pt x="6" y="32"/>
                    <a:pt x="6" y="32"/>
                  </a:cubicBezTo>
                  <a:cubicBezTo>
                    <a:pt x="6"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3"/>
                    <a:pt x="7" y="33"/>
                  </a:cubicBezTo>
                  <a:cubicBezTo>
                    <a:pt x="7" y="33"/>
                    <a:pt x="7" y="33"/>
                    <a:pt x="7" y="33"/>
                  </a:cubicBezTo>
                  <a:cubicBezTo>
                    <a:pt x="7" y="33"/>
                    <a:pt x="7" y="33"/>
                    <a:pt x="7" y="33"/>
                  </a:cubicBezTo>
                  <a:cubicBezTo>
                    <a:pt x="7" y="33"/>
                    <a:pt x="7" y="33"/>
                    <a:pt x="7" y="33"/>
                  </a:cubicBezTo>
                  <a:cubicBezTo>
                    <a:pt x="7" y="33"/>
                    <a:pt x="7" y="33"/>
                    <a:pt x="7" y="33"/>
                  </a:cubicBezTo>
                  <a:cubicBezTo>
                    <a:pt x="7" y="33"/>
                    <a:pt x="7" y="33"/>
                    <a:pt x="7" y="33"/>
                  </a:cubicBezTo>
                  <a:cubicBezTo>
                    <a:pt x="7" y="33"/>
                    <a:pt x="7" y="33"/>
                    <a:pt x="7" y="33"/>
                  </a:cubicBezTo>
                  <a:cubicBezTo>
                    <a:pt x="7" y="33"/>
                    <a:pt x="7" y="33"/>
                    <a:pt x="7" y="33"/>
                  </a:cubicBezTo>
                  <a:cubicBezTo>
                    <a:pt x="7" y="33"/>
                    <a:pt x="7" y="33"/>
                    <a:pt x="7"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9" y="34"/>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6"/>
                  </a:cubicBezTo>
                  <a:cubicBezTo>
                    <a:pt x="9" y="36"/>
                    <a:pt x="9" y="36"/>
                    <a:pt x="9" y="36"/>
                  </a:cubicBezTo>
                  <a:cubicBezTo>
                    <a:pt x="9" y="36"/>
                    <a:pt x="9" y="36"/>
                    <a:pt x="9" y="36"/>
                  </a:cubicBezTo>
                  <a:cubicBezTo>
                    <a:pt x="9" y="36"/>
                    <a:pt x="9" y="36"/>
                    <a:pt x="9" y="36"/>
                  </a:cubicBezTo>
                  <a:cubicBezTo>
                    <a:pt x="9" y="36"/>
                    <a:pt x="9"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7"/>
                    <a:pt x="10" y="37"/>
                  </a:cubicBezTo>
                  <a:cubicBezTo>
                    <a:pt x="10" y="37"/>
                    <a:pt x="10" y="37"/>
                    <a:pt x="10" y="37"/>
                  </a:cubicBezTo>
                  <a:cubicBezTo>
                    <a:pt x="10" y="37"/>
                    <a:pt x="10" y="37"/>
                    <a:pt x="10" y="37"/>
                  </a:cubicBezTo>
                  <a:cubicBezTo>
                    <a:pt x="10" y="37"/>
                    <a:pt x="10" y="37"/>
                    <a:pt x="10" y="37"/>
                  </a:cubicBezTo>
                  <a:cubicBezTo>
                    <a:pt x="10" y="37"/>
                    <a:pt x="10" y="37"/>
                    <a:pt x="10" y="37"/>
                  </a:cubicBezTo>
                  <a:lnTo>
                    <a:pt x="10" y="37"/>
                  </a:lnTo>
                  <a:cubicBezTo>
                    <a:pt x="10" y="37"/>
                    <a:pt x="11" y="37"/>
                    <a:pt x="11" y="37"/>
                  </a:cubicBezTo>
                  <a:cubicBezTo>
                    <a:pt x="11" y="37"/>
                    <a:pt x="11" y="37"/>
                    <a:pt x="11" y="37"/>
                  </a:cubicBezTo>
                  <a:cubicBezTo>
                    <a:pt x="11" y="37"/>
                    <a:pt x="11" y="37"/>
                    <a:pt x="11" y="37"/>
                  </a:cubicBezTo>
                  <a:cubicBezTo>
                    <a:pt x="11" y="37"/>
                    <a:pt x="11" y="37"/>
                    <a:pt x="11" y="37"/>
                  </a:cubicBezTo>
                  <a:cubicBezTo>
                    <a:pt x="11" y="37"/>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lnTo>
                    <a:pt x="11" y="38"/>
                  </a:lnTo>
                  <a:cubicBezTo>
                    <a:pt x="11" y="38"/>
                    <a:pt x="12" y="38"/>
                    <a:pt x="12" y="38"/>
                  </a:cubicBezTo>
                  <a:cubicBezTo>
                    <a:pt x="12" y="38"/>
                    <a:pt x="12" y="38"/>
                    <a:pt x="12" y="38"/>
                  </a:cubicBezTo>
                  <a:cubicBezTo>
                    <a:pt x="12" y="38"/>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40"/>
                    <a:pt x="12" y="40"/>
                  </a:cubicBezTo>
                  <a:cubicBezTo>
                    <a:pt x="12" y="40"/>
                    <a:pt x="12" y="40"/>
                    <a:pt x="12" y="40"/>
                  </a:cubicBezTo>
                  <a:cubicBezTo>
                    <a:pt x="12" y="40"/>
                    <a:pt x="13" y="40"/>
                    <a:pt x="13" y="40"/>
                  </a:cubicBezTo>
                  <a:cubicBezTo>
                    <a:pt x="13" y="40"/>
                    <a:pt x="13" y="40"/>
                    <a:pt x="13" y="40"/>
                  </a:cubicBezTo>
                  <a:cubicBezTo>
                    <a:pt x="13" y="40"/>
                    <a:pt x="13" y="40"/>
                    <a:pt x="13" y="40"/>
                  </a:cubicBezTo>
                  <a:cubicBezTo>
                    <a:pt x="13" y="40"/>
                    <a:pt x="13" y="40"/>
                    <a:pt x="13" y="40"/>
                  </a:cubicBezTo>
                  <a:cubicBezTo>
                    <a:pt x="13" y="40"/>
                    <a:pt x="13" y="40"/>
                    <a:pt x="13" y="40"/>
                  </a:cubicBezTo>
                  <a:cubicBezTo>
                    <a:pt x="13" y="40"/>
                    <a:pt x="13" y="40"/>
                    <a:pt x="13" y="40"/>
                  </a:cubicBezTo>
                  <a:cubicBezTo>
                    <a:pt x="13" y="40"/>
                    <a:pt x="13" y="41"/>
                    <a:pt x="13" y="41"/>
                  </a:cubicBezTo>
                  <a:lnTo>
                    <a:pt x="13" y="41"/>
                  </a:lnTo>
                  <a:cubicBezTo>
                    <a:pt x="13" y="41"/>
                    <a:pt x="13" y="41"/>
                    <a:pt x="13" y="41"/>
                  </a:cubicBezTo>
                  <a:lnTo>
                    <a:pt x="13" y="41"/>
                  </a:lnTo>
                  <a:cubicBezTo>
                    <a:pt x="13" y="41"/>
                    <a:pt x="13" y="41"/>
                    <a:pt x="13" y="41"/>
                  </a:cubicBezTo>
                  <a:cubicBezTo>
                    <a:pt x="14" y="41"/>
                    <a:pt x="14" y="41"/>
                    <a:pt x="14" y="41"/>
                  </a:cubicBezTo>
                  <a:lnTo>
                    <a:pt x="14" y="41"/>
                  </a:lnTo>
                  <a:cubicBezTo>
                    <a:pt x="14" y="41"/>
                    <a:pt x="14" y="42"/>
                    <a:pt x="14" y="42"/>
                  </a:cubicBezTo>
                  <a:cubicBezTo>
                    <a:pt x="14" y="42"/>
                    <a:pt x="14" y="42"/>
                    <a:pt x="14" y="42"/>
                  </a:cubicBezTo>
                  <a:cubicBezTo>
                    <a:pt x="14" y="42"/>
                    <a:pt x="14" y="42"/>
                    <a:pt x="14" y="42"/>
                  </a:cubicBezTo>
                  <a:cubicBezTo>
                    <a:pt x="14" y="42"/>
                    <a:pt x="14" y="42"/>
                    <a:pt x="14" y="42"/>
                  </a:cubicBezTo>
                  <a:cubicBezTo>
                    <a:pt x="14" y="42"/>
                    <a:pt x="15" y="42"/>
                    <a:pt x="15" y="42"/>
                  </a:cubicBezTo>
                  <a:lnTo>
                    <a:pt x="15" y="42"/>
                  </a:lnTo>
                  <a:cubicBezTo>
                    <a:pt x="15" y="42"/>
                    <a:pt x="15" y="43"/>
                    <a:pt x="15" y="43"/>
                  </a:cubicBezTo>
                  <a:cubicBezTo>
                    <a:pt x="15" y="43"/>
                    <a:pt x="15" y="43"/>
                    <a:pt x="15" y="43"/>
                  </a:cubicBezTo>
                  <a:cubicBezTo>
                    <a:pt x="15" y="43"/>
                    <a:pt x="15" y="43"/>
                    <a:pt x="15" y="43"/>
                  </a:cubicBezTo>
                  <a:cubicBezTo>
                    <a:pt x="15" y="43"/>
                    <a:pt x="15" y="43"/>
                    <a:pt x="15" y="43"/>
                  </a:cubicBezTo>
                  <a:cubicBezTo>
                    <a:pt x="15" y="43"/>
                    <a:pt x="15" y="43"/>
                    <a:pt x="15" y="43"/>
                  </a:cubicBezTo>
                  <a:cubicBezTo>
                    <a:pt x="15" y="43"/>
                    <a:pt x="15" y="43"/>
                    <a:pt x="15" y="43"/>
                  </a:cubicBezTo>
                  <a:cubicBezTo>
                    <a:pt x="15" y="43"/>
                    <a:pt x="15" y="43"/>
                    <a:pt x="16" y="43"/>
                  </a:cubicBezTo>
                  <a:cubicBezTo>
                    <a:pt x="16" y="43"/>
                    <a:pt x="16" y="43"/>
                    <a:pt x="16" y="43"/>
                  </a:cubicBezTo>
                  <a:cubicBezTo>
                    <a:pt x="16" y="43"/>
                    <a:pt x="16" y="44"/>
                    <a:pt x="16" y="44"/>
                  </a:cubicBezTo>
                  <a:cubicBezTo>
                    <a:pt x="16" y="44"/>
                    <a:pt x="16" y="44"/>
                    <a:pt x="16" y="44"/>
                  </a:cubicBezTo>
                  <a:cubicBezTo>
                    <a:pt x="16" y="44"/>
                    <a:pt x="16" y="44"/>
                    <a:pt x="16" y="44"/>
                  </a:cubicBezTo>
                  <a:cubicBezTo>
                    <a:pt x="16" y="44"/>
                    <a:pt x="16" y="44"/>
                    <a:pt x="16" y="44"/>
                  </a:cubicBezTo>
                  <a:cubicBezTo>
                    <a:pt x="16" y="44"/>
                    <a:pt x="16" y="44"/>
                    <a:pt x="16" y="44"/>
                  </a:cubicBezTo>
                  <a:cubicBezTo>
                    <a:pt x="16" y="44"/>
                    <a:pt x="16" y="44"/>
                    <a:pt x="16" y="44"/>
                  </a:cubicBezTo>
                  <a:cubicBezTo>
                    <a:pt x="16" y="44"/>
                    <a:pt x="16" y="44"/>
                    <a:pt x="16" y="44"/>
                  </a:cubicBezTo>
                  <a:lnTo>
                    <a:pt x="16" y="44"/>
                  </a:lnTo>
                  <a:cubicBezTo>
                    <a:pt x="16" y="44"/>
                    <a:pt x="16" y="44"/>
                    <a:pt x="16" y="44"/>
                  </a:cubicBezTo>
                  <a:cubicBezTo>
                    <a:pt x="16" y="44"/>
                    <a:pt x="16" y="44"/>
                    <a:pt x="16" y="44"/>
                  </a:cubicBezTo>
                  <a:cubicBezTo>
                    <a:pt x="16" y="44"/>
                    <a:pt x="16" y="44"/>
                    <a:pt x="16" y="45"/>
                  </a:cubicBezTo>
                  <a:cubicBezTo>
                    <a:pt x="16" y="45"/>
                    <a:pt x="16"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6"/>
                  </a:cubicBezTo>
                  <a:cubicBezTo>
                    <a:pt x="17" y="46"/>
                    <a:pt x="17" y="46"/>
                    <a:pt x="17" y="46"/>
                  </a:cubicBezTo>
                  <a:cubicBezTo>
                    <a:pt x="17" y="46"/>
                    <a:pt x="17" y="46"/>
                    <a:pt x="17" y="46"/>
                  </a:cubicBezTo>
                  <a:cubicBezTo>
                    <a:pt x="17" y="46"/>
                    <a:pt x="17" y="46"/>
                    <a:pt x="17" y="46"/>
                  </a:cubicBezTo>
                  <a:cubicBezTo>
                    <a:pt x="17" y="46"/>
                    <a:pt x="17" y="46"/>
                    <a:pt x="17" y="46"/>
                  </a:cubicBezTo>
                  <a:lnTo>
                    <a:pt x="17" y="46"/>
                  </a:lnTo>
                  <a:cubicBezTo>
                    <a:pt x="17" y="46"/>
                    <a:pt x="17" y="46"/>
                    <a:pt x="18" y="46"/>
                  </a:cubicBezTo>
                  <a:cubicBezTo>
                    <a:pt x="18" y="46"/>
                    <a:pt x="18" y="46"/>
                    <a:pt x="18" y="46"/>
                  </a:cubicBezTo>
                  <a:cubicBezTo>
                    <a:pt x="18" y="46"/>
                    <a:pt x="18" y="46"/>
                    <a:pt x="18" y="46"/>
                  </a:cubicBezTo>
                  <a:lnTo>
                    <a:pt x="18" y="46"/>
                  </a:lnTo>
                  <a:cubicBezTo>
                    <a:pt x="18" y="46"/>
                    <a:pt x="18" y="46"/>
                    <a:pt x="18" y="47"/>
                  </a:cubicBezTo>
                  <a:lnTo>
                    <a:pt x="18" y="47"/>
                  </a:lnTo>
                  <a:cubicBezTo>
                    <a:pt x="18" y="47"/>
                    <a:pt x="18" y="47"/>
                    <a:pt x="18" y="47"/>
                  </a:cubicBezTo>
                  <a:cubicBezTo>
                    <a:pt x="18" y="47"/>
                    <a:pt x="18" y="47"/>
                    <a:pt x="18" y="47"/>
                  </a:cubicBezTo>
                  <a:cubicBezTo>
                    <a:pt x="18" y="47"/>
                    <a:pt x="18" y="47"/>
                    <a:pt x="18" y="47"/>
                  </a:cubicBezTo>
                  <a:cubicBezTo>
                    <a:pt x="18" y="47"/>
                    <a:pt x="18" y="47"/>
                    <a:pt x="18" y="47"/>
                  </a:cubicBezTo>
                  <a:cubicBezTo>
                    <a:pt x="18" y="47"/>
                    <a:pt x="18" y="47"/>
                    <a:pt x="18" y="47"/>
                  </a:cubicBezTo>
                  <a:cubicBezTo>
                    <a:pt x="18" y="47"/>
                    <a:pt x="18" y="47"/>
                    <a:pt x="18" y="47"/>
                  </a:cubicBezTo>
                  <a:cubicBezTo>
                    <a:pt x="18" y="47"/>
                    <a:pt x="18" y="47"/>
                    <a:pt x="18" y="47"/>
                  </a:cubicBezTo>
                  <a:cubicBezTo>
                    <a:pt x="19" y="47"/>
                    <a:pt x="19" y="47"/>
                    <a:pt x="19" y="47"/>
                  </a:cubicBezTo>
                  <a:cubicBezTo>
                    <a:pt x="19" y="47"/>
                    <a:pt x="19" y="47"/>
                    <a:pt x="19" y="47"/>
                  </a:cubicBezTo>
                  <a:cubicBezTo>
                    <a:pt x="19" y="47"/>
                    <a:pt x="19" y="47"/>
                    <a:pt x="19" y="47"/>
                  </a:cubicBezTo>
                  <a:cubicBezTo>
                    <a:pt x="19" y="47"/>
                    <a:pt x="19" y="47"/>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20" y="48"/>
                  </a:cubicBezTo>
                  <a:lnTo>
                    <a:pt x="20" y="48"/>
                  </a:lnTo>
                  <a:cubicBezTo>
                    <a:pt x="20" y="48"/>
                    <a:pt x="20" y="48"/>
                    <a:pt x="20" y="48"/>
                  </a:cubicBezTo>
                  <a:cubicBezTo>
                    <a:pt x="20" y="48"/>
                    <a:pt x="20" y="48"/>
                    <a:pt x="20" y="48"/>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lnTo>
                    <a:pt x="20" y="49"/>
                  </a:lnTo>
                  <a:cubicBezTo>
                    <a:pt x="20" y="49"/>
                    <a:pt x="20" y="49"/>
                    <a:pt x="20" y="49"/>
                  </a:cubicBezTo>
                  <a:cubicBezTo>
                    <a:pt x="20" y="49"/>
                    <a:pt x="20" y="49"/>
                    <a:pt x="20" y="49"/>
                  </a:cubicBezTo>
                  <a:cubicBezTo>
                    <a:pt x="20" y="49"/>
                    <a:pt x="20" y="49"/>
                    <a:pt x="20" y="49"/>
                  </a:cubicBezTo>
                  <a:cubicBezTo>
                    <a:pt x="20" y="49"/>
                    <a:pt x="20" y="49"/>
                    <a:pt x="20" y="49"/>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1"/>
                    <a:pt x="21" y="51"/>
                  </a:cubicBezTo>
                  <a:cubicBezTo>
                    <a:pt x="21" y="51"/>
                    <a:pt x="21" y="51"/>
                    <a:pt x="21" y="51"/>
                  </a:cubicBezTo>
                  <a:cubicBezTo>
                    <a:pt x="21" y="51"/>
                    <a:pt x="21" y="51"/>
                    <a:pt x="21" y="51"/>
                  </a:cubicBezTo>
                  <a:cubicBezTo>
                    <a:pt x="21"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2"/>
                    <a:pt x="22" y="52"/>
                    <a:pt x="22" y="52"/>
                  </a:cubicBezTo>
                  <a:cubicBezTo>
                    <a:pt x="22" y="52"/>
                    <a:pt x="22" y="52"/>
                    <a:pt x="22" y="52"/>
                  </a:cubicBezTo>
                  <a:cubicBezTo>
                    <a:pt x="22" y="52"/>
                    <a:pt x="22" y="52"/>
                    <a:pt x="22" y="52"/>
                  </a:cubicBezTo>
                  <a:cubicBezTo>
                    <a:pt x="22" y="52"/>
                    <a:pt x="22" y="52"/>
                    <a:pt x="22" y="52"/>
                  </a:cubicBezTo>
                  <a:cubicBezTo>
                    <a:pt x="22" y="52"/>
                    <a:pt x="22" y="52"/>
                    <a:pt x="22" y="52"/>
                  </a:cubicBezTo>
                  <a:cubicBezTo>
                    <a:pt x="22" y="52"/>
                    <a:pt x="22"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3"/>
                    <a:pt x="23" y="53"/>
                  </a:cubicBezTo>
                  <a:cubicBezTo>
                    <a:pt x="23" y="53"/>
                    <a:pt x="23" y="53"/>
                    <a:pt x="23" y="53"/>
                  </a:cubicBezTo>
                  <a:cubicBezTo>
                    <a:pt x="23" y="53"/>
                    <a:pt x="23" y="53"/>
                    <a:pt x="23" y="53"/>
                  </a:cubicBezTo>
                  <a:cubicBezTo>
                    <a:pt x="23" y="53"/>
                    <a:pt x="23" y="53"/>
                    <a:pt x="23" y="53"/>
                  </a:cubicBezTo>
                  <a:cubicBezTo>
                    <a:pt x="23" y="53"/>
                    <a:pt x="23" y="53"/>
                    <a:pt x="23" y="53"/>
                  </a:cubicBezTo>
                  <a:cubicBezTo>
                    <a:pt x="23" y="53"/>
                    <a:pt x="23" y="53"/>
                    <a:pt x="23" y="53"/>
                  </a:cubicBezTo>
                  <a:cubicBezTo>
                    <a:pt x="23" y="53"/>
                    <a:pt x="23" y="53"/>
                    <a:pt x="23" y="53"/>
                  </a:cubicBezTo>
                  <a:cubicBezTo>
                    <a:pt x="23" y="53"/>
                    <a:pt x="23" y="53"/>
                    <a:pt x="23" y="53"/>
                  </a:cubicBezTo>
                  <a:cubicBezTo>
                    <a:pt x="23" y="53"/>
                    <a:pt x="23"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lnTo>
                    <a:pt x="25" y="54"/>
                  </a:lnTo>
                  <a:cubicBezTo>
                    <a:pt x="25" y="54"/>
                    <a:pt x="25" y="54"/>
                    <a:pt x="25" y="54"/>
                  </a:cubicBezTo>
                  <a:cubicBezTo>
                    <a:pt x="25" y="54"/>
                    <a:pt x="25" y="54"/>
                    <a:pt x="25" y="54"/>
                  </a:cubicBezTo>
                  <a:cubicBezTo>
                    <a:pt x="25" y="54"/>
                    <a:pt x="25" y="54"/>
                    <a:pt x="25" y="54"/>
                  </a:cubicBezTo>
                  <a:cubicBezTo>
                    <a:pt x="25" y="54"/>
                    <a:pt x="25" y="54"/>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6" y="55"/>
                    <a:pt x="26" y="55"/>
                  </a:cubicBezTo>
                  <a:cubicBezTo>
                    <a:pt x="26" y="55"/>
                    <a:pt x="26" y="55"/>
                    <a:pt x="26" y="55"/>
                  </a:cubicBezTo>
                  <a:cubicBezTo>
                    <a:pt x="26" y="55"/>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8"/>
                  </a:cubicBezTo>
                  <a:cubicBezTo>
                    <a:pt x="27" y="58"/>
                    <a:pt x="27" y="58"/>
                    <a:pt x="27" y="58"/>
                  </a:cubicBezTo>
                  <a:cubicBezTo>
                    <a:pt x="27" y="58"/>
                    <a:pt x="27" y="58"/>
                    <a:pt x="27"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9"/>
                    <a:pt x="28" y="59"/>
                  </a:cubicBezTo>
                  <a:lnTo>
                    <a:pt x="28" y="59"/>
                  </a:lnTo>
                  <a:cubicBezTo>
                    <a:pt x="28" y="59"/>
                    <a:pt x="28" y="59"/>
                    <a:pt x="28" y="59"/>
                  </a:cubicBezTo>
                  <a:cubicBezTo>
                    <a:pt x="28" y="59"/>
                    <a:pt x="28" y="59"/>
                    <a:pt x="28" y="59"/>
                  </a:cubicBezTo>
                  <a:cubicBezTo>
                    <a:pt x="28" y="59"/>
                    <a:pt x="29" y="59"/>
                    <a:pt x="29" y="59"/>
                  </a:cubicBezTo>
                  <a:cubicBezTo>
                    <a:pt x="29" y="59"/>
                    <a:pt x="29" y="59"/>
                    <a:pt x="29" y="59"/>
                  </a:cubicBezTo>
                  <a:lnTo>
                    <a:pt x="29" y="59"/>
                  </a:lnTo>
                  <a:cubicBezTo>
                    <a:pt x="29" y="59"/>
                    <a:pt x="29" y="59"/>
                    <a:pt x="29" y="59"/>
                  </a:cubicBezTo>
                  <a:cubicBezTo>
                    <a:pt x="29" y="59"/>
                    <a:pt x="29" y="59"/>
                    <a:pt x="29" y="59"/>
                  </a:cubicBezTo>
                  <a:cubicBezTo>
                    <a:pt x="29" y="59"/>
                    <a:pt x="29" y="59"/>
                    <a:pt x="29" y="60"/>
                  </a:cubicBezTo>
                  <a:cubicBezTo>
                    <a:pt x="29" y="60"/>
                    <a:pt x="29" y="60"/>
                    <a:pt x="29" y="60"/>
                  </a:cubicBezTo>
                  <a:cubicBezTo>
                    <a:pt x="29" y="60"/>
                    <a:pt x="29" y="60"/>
                    <a:pt x="29" y="60"/>
                  </a:cubicBezTo>
                  <a:cubicBezTo>
                    <a:pt x="29" y="60"/>
                    <a:pt x="29" y="60"/>
                    <a:pt x="29" y="60"/>
                  </a:cubicBezTo>
                  <a:cubicBezTo>
                    <a:pt x="29" y="60"/>
                    <a:pt x="29" y="60"/>
                    <a:pt x="29" y="60"/>
                  </a:cubicBezTo>
                  <a:lnTo>
                    <a:pt x="29" y="60"/>
                  </a:lnTo>
                  <a:cubicBezTo>
                    <a:pt x="30" y="60"/>
                    <a:pt x="30" y="60"/>
                    <a:pt x="30" y="60"/>
                  </a:cubicBezTo>
                  <a:cubicBezTo>
                    <a:pt x="30" y="60"/>
                    <a:pt x="30" y="60"/>
                    <a:pt x="30" y="60"/>
                  </a:cubicBezTo>
                  <a:cubicBezTo>
                    <a:pt x="30" y="61"/>
                    <a:pt x="30" y="61"/>
                    <a:pt x="30" y="61"/>
                  </a:cubicBezTo>
                  <a:cubicBezTo>
                    <a:pt x="30" y="61"/>
                    <a:pt x="30" y="61"/>
                    <a:pt x="30" y="61"/>
                  </a:cubicBezTo>
                  <a:cubicBezTo>
                    <a:pt x="30" y="61"/>
                    <a:pt x="31" y="61"/>
                    <a:pt x="31" y="62"/>
                  </a:cubicBezTo>
                  <a:cubicBezTo>
                    <a:pt x="31" y="62"/>
                    <a:pt x="31" y="62"/>
                    <a:pt x="31" y="62"/>
                  </a:cubicBezTo>
                  <a:cubicBezTo>
                    <a:pt x="39" y="71"/>
                    <a:pt x="48" y="80"/>
                    <a:pt x="57" y="88"/>
                  </a:cubicBezTo>
                  <a:lnTo>
                    <a:pt x="57" y="88"/>
                  </a:lnTo>
                  <a:cubicBezTo>
                    <a:pt x="57" y="88"/>
                    <a:pt x="58" y="88"/>
                    <a:pt x="58" y="89"/>
                  </a:cubicBezTo>
                  <a:lnTo>
                    <a:pt x="58" y="89"/>
                  </a:lnTo>
                  <a:cubicBezTo>
                    <a:pt x="58" y="89"/>
                    <a:pt x="58" y="89"/>
                    <a:pt x="58" y="89"/>
                  </a:cubicBezTo>
                  <a:lnTo>
                    <a:pt x="58" y="89"/>
                  </a:lnTo>
                  <a:cubicBezTo>
                    <a:pt x="58" y="89"/>
                    <a:pt x="58" y="89"/>
                    <a:pt x="58" y="89"/>
                  </a:cubicBezTo>
                  <a:lnTo>
                    <a:pt x="58" y="89"/>
                  </a:lnTo>
                  <a:cubicBezTo>
                    <a:pt x="58" y="89"/>
                    <a:pt x="58" y="89"/>
                    <a:pt x="58" y="89"/>
                  </a:cubicBezTo>
                  <a:cubicBezTo>
                    <a:pt x="58" y="89"/>
                    <a:pt x="58" y="89"/>
                    <a:pt x="58" y="89"/>
                  </a:cubicBezTo>
                  <a:cubicBezTo>
                    <a:pt x="58" y="89"/>
                    <a:pt x="58" y="89"/>
                    <a:pt x="58" y="89"/>
                  </a:cubicBezTo>
                  <a:lnTo>
                    <a:pt x="58" y="89"/>
                  </a:lnTo>
                  <a:cubicBezTo>
                    <a:pt x="59" y="89"/>
                    <a:pt x="59" y="89"/>
                    <a:pt x="59" y="89"/>
                  </a:cubicBezTo>
                  <a:lnTo>
                    <a:pt x="59" y="90"/>
                  </a:lnTo>
                  <a:cubicBezTo>
                    <a:pt x="59" y="90"/>
                    <a:pt x="59" y="90"/>
                    <a:pt x="59" y="90"/>
                  </a:cubicBezTo>
                  <a:lnTo>
                    <a:pt x="59" y="90"/>
                  </a:lnTo>
                  <a:cubicBezTo>
                    <a:pt x="59" y="90"/>
                    <a:pt x="59" y="90"/>
                    <a:pt x="59" y="90"/>
                  </a:cubicBezTo>
                  <a:cubicBezTo>
                    <a:pt x="59" y="90"/>
                    <a:pt x="59" y="90"/>
                    <a:pt x="59" y="90"/>
                  </a:cubicBezTo>
                  <a:cubicBezTo>
                    <a:pt x="59" y="90"/>
                    <a:pt x="59" y="90"/>
                    <a:pt x="59" y="90"/>
                  </a:cubicBezTo>
                  <a:cubicBezTo>
                    <a:pt x="59" y="90"/>
                    <a:pt x="59" y="90"/>
                    <a:pt x="59" y="90"/>
                  </a:cubicBezTo>
                  <a:cubicBezTo>
                    <a:pt x="59" y="90"/>
                    <a:pt x="59" y="90"/>
                    <a:pt x="59" y="90"/>
                  </a:cubicBezTo>
                  <a:cubicBezTo>
                    <a:pt x="59" y="90"/>
                    <a:pt x="59" y="90"/>
                    <a:pt x="59" y="90"/>
                  </a:cubicBezTo>
                  <a:cubicBezTo>
                    <a:pt x="59" y="90"/>
                    <a:pt x="59" y="90"/>
                    <a:pt x="60" y="90"/>
                  </a:cubicBezTo>
                  <a:cubicBezTo>
                    <a:pt x="60" y="90"/>
                    <a:pt x="60" y="90"/>
                    <a:pt x="60" y="90"/>
                  </a:cubicBezTo>
                  <a:cubicBezTo>
                    <a:pt x="60" y="90"/>
                    <a:pt x="60" y="90"/>
                    <a:pt x="60" y="90"/>
                  </a:cubicBezTo>
                  <a:cubicBezTo>
                    <a:pt x="60" y="90"/>
                    <a:pt x="60" y="90"/>
                    <a:pt x="60" y="90"/>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lnTo>
                    <a:pt x="61" y="92"/>
                  </a:lnTo>
                  <a:cubicBezTo>
                    <a:pt x="62" y="92"/>
                    <a:pt x="62" y="92"/>
                    <a:pt x="62" y="92"/>
                  </a:cubicBezTo>
                  <a:lnTo>
                    <a:pt x="89" y="63"/>
                  </a:lnTo>
                  <a:cubicBezTo>
                    <a:pt x="68" y="44"/>
                    <a:pt x="49" y="23"/>
                    <a:pt x="33" y="0"/>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47">
              <a:extLst>
                <a:ext uri="{FF2B5EF4-FFF2-40B4-BE49-F238E27FC236}">
                  <a16:creationId xmlns:a16="http://schemas.microsoft.com/office/drawing/2014/main" id="{45487CBF-78E4-4EBD-9865-36E5FF2EEFC1}"/>
                </a:ext>
              </a:extLst>
            </p:cNvPr>
            <p:cNvSpPr>
              <a:spLocks/>
            </p:cNvSpPr>
            <p:nvPr/>
          </p:nvSpPr>
          <p:spPr bwMode="auto">
            <a:xfrm>
              <a:off x="2509838" y="3835400"/>
              <a:ext cx="68263" cy="42863"/>
            </a:xfrm>
            <a:custGeom>
              <a:avLst/>
              <a:gdLst>
                <a:gd name="T0" fmla="*/ 0 w 95"/>
                <a:gd name="T1" fmla="*/ 38 h 58"/>
                <a:gd name="T2" fmla="*/ 0 w 95"/>
                <a:gd name="T3" fmla="*/ 38 h 58"/>
                <a:gd name="T4" fmla="*/ 91 w 95"/>
                <a:gd name="T5" fmla="*/ 58 h 58"/>
                <a:gd name="T6" fmla="*/ 95 w 95"/>
                <a:gd name="T7" fmla="*/ 19 h 58"/>
                <a:gd name="T8" fmla="*/ 13 w 95"/>
                <a:gd name="T9" fmla="*/ 0 h 58"/>
                <a:gd name="T10" fmla="*/ 0 w 95"/>
                <a:gd name="T11" fmla="*/ 38 h 58"/>
              </a:gdLst>
              <a:ahLst/>
              <a:cxnLst>
                <a:cxn ang="0">
                  <a:pos x="T0" y="T1"/>
                </a:cxn>
                <a:cxn ang="0">
                  <a:pos x="T2" y="T3"/>
                </a:cxn>
                <a:cxn ang="0">
                  <a:pos x="T4" y="T5"/>
                </a:cxn>
                <a:cxn ang="0">
                  <a:pos x="T6" y="T7"/>
                </a:cxn>
                <a:cxn ang="0">
                  <a:pos x="T8" y="T9"/>
                </a:cxn>
                <a:cxn ang="0">
                  <a:pos x="T10" y="T11"/>
                </a:cxn>
              </a:cxnLst>
              <a:rect l="0" t="0" r="r" b="b"/>
              <a:pathLst>
                <a:path w="95" h="58">
                  <a:moveTo>
                    <a:pt x="0" y="38"/>
                  </a:moveTo>
                  <a:lnTo>
                    <a:pt x="0" y="38"/>
                  </a:lnTo>
                  <a:cubicBezTo>
                    <a:pt x="29" y="48"/>
                    <a:pt x="60" y="55"/>
                    <a:pt x="91" y="58"/>
                  </a:cubicBezTo>
                  <a:lnTo>
                    <a:pt x="95" y="19"/>
                  </a:lnTo>
                  <a:cubicBezTo>
                    <a:pt x="67" y="16"/>
                    <a:pt x="40" y="9"/>
                    <a:pt x="13" y="0"/>
                  </a:cubicBezTo>
                  <a:lnTo>
                    <a:pt x="0" y="38"/>
                  </a:ln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14" name="Group 213">
            <a:extLst>
              <a:ext uri="{FF2B5EF4-FFF2-40B4-BE49-F238E27FC236}">
                <a16:creationId xmlns:a16="http://schemas.microsoft.com/office/drawing/2014/main" id="{B84A8043-93B0-91F5-1614-EA266367E531}"/>
              </a:ext>
            </a:extLst>
          </p:cNvPr>
          <p:cNvGrpSpPr/>
          <p:nvPr/>
        </p:nvGrpSpPr>
        <p:grpSpPr>
          <a:xfrm>
            <a:off x="3917269" y="3218420"/>
            <a:ext cx="585364" cy="584700"/>
            <a:chOff x="3371923" y="3278353"/>
            <a:chExt cx="585364" cy="584700"/>
          </a:xfrm>
        </p:grpSpPr>
        <p:sp>
          <p:nvSpPr>
            <p:cNvPr id="176" name="Freeform: Shape 175">
              <a:extLst>
                <a:ext uri="{FF2B5EF4-FFF2-40B4-BE49-F238E27FC236}">
                  <a16:creationId xmlns:a16="http://schemas.microsoft.com/office/drawing/2014/main" id="{E19DCD2C-210B-8984-FB95-987BD37B12F3}"/>
                </a:ext>
              </a:extLst>
            </p:cNvPr>
            <p:cNvSpPr/>
            <p:nvPr/>
          </p:nvSpPr>
          <p:spPr>
            <a:xfrm>
              <a:off x="3477765" y="3278353"/>
              <a:ext cx="479522" cy="474572"/>
            </a:xfrm>
            <a:custGeom>
              <a:avLst/>
              <a:gdLst>
                <a:gd name="connsiteX0" fmla="*/ 239158 w 479522"/>
                <a:gd name="connsiteY0" fmla="*/ 0 h 474572"/>
                <a:gd name="connsiteX1" fmla="*/ 479522 w 479522"/>
                <a:gd name="connsiteY1" fmla="*/ 237289 h 474572"/>
                <a:gd name="connsiteX2" fmla="*/ 257187 w 479522"/>
                <a:gd name="connsiteY2" fmla="*/ 473862 h 474572"/>
                <a:gd name="connsiteX3" fmla="*/ 257187 w 479522"/>
                <a:gd name="connsiteY3" fmla="*/ 474572 h 474572"/>
                <a:gd name="connsiteX4" fmla="*/ 254733 w 479522"/>
                <a:gd name="connsiteY4" fmla="*/ 474572 h 474572"/>
                <a:gd name="connsiteX5" fmla="*/ 261556 w 479522"/>
                <a:gd name="connsiteY5" fmla="*/ 452589 h 474572"/>
                <a:gd name="connsiteX6" fmla="*/ 262019 w 479522"/>
                <a:gd name="connsiteY6" fmla="*/ 448000 h 474572"/>
                <a:gd name="connsiteX7" fmla="*/ 332425 w 479522"/>
                <a:gd name="connsiteY7" fmla="*/ 429112 h 474572"/>
                <a:gd name="connsiteX8" fmla="*/ 454460 w 479522"/>
                <a:gd name="connsiteY8" fmla="*/ 247790 h 474572"/>
                <a:gd name="connsiteX9" fmla="*/ 408745 w 479522"/>
                <a:gd name="connsiteY9" fmla="*/ 247790 h 474572"/>
                <a:gd name="connsiteX10" fmla="*/ 408745 w 479522"/>
                <a:gd name="connsiteY10" fmla="*/ 226783 h 474572"/>
                <a:gd name="connsiteX11" fmla="*/ 454460 w 479522"/>
                <a:gd name="connsiteY11" fmla="*/ 226783 h 474572"/>
                <a:gd name="connsiteX12" fmla="*/ 257187 w 479522"/>
                <a:gd name="connsiteY12" fmla="*/ 25278 h 474572"/>
                <a:gd name="connsiteX13" fmla="*/ 257187 w 479522"/>
                <a:gd name="connsiteY13" fmla="*/ 68358 h 474572"/>
                <a:gd name="connsiteX14" fmla="*/ 235911 w 479522"/>
                <a:gd name="connsiteY14" fmla="*/ 68358 h 474572"/>
                <a:gd name="connsiteX15" fmla="*/ 235911 w 479522"/>
                <a:gd name="connsiteY15" fmla="*/ 24567 h 474572"/>
                <a:gd name="connsiteX16" fmla="*/ 29875 w 479522"/>
                <a:gd name="connsiteY16" fmla="*/ 186171 h 474572"/>
                <a:gd name="connsiteX17" fmla="*/ 25208 w 479522"/>
                <a:gd name="connsiteY17" fmla="*/ 217632 h 474572"/>
                <a:gd name="connsiteX18" fmla="*/ 0 w 479522"/>
                <a:gd name="connsiteY18" fmla="*/ 225456 h 474572"/>
                <a:gd name="connsiteX19" fmla="*/ 3680 w 479522"/>
                <a:gd name="connsiteY19" fmla="*/ 189528 h 474572"/>
                <a:gd name="connsiteX20" fmla="*/ 239158 w 479522"/>
                <a:gd name="connsiteY20" fmla="*/ 0 h 47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522" h="474572">
                  <a:moveTo>
                    <a:pt x="239158" y="0"/>
                  </a:moveTo>
                  <a:cubicBezTo>
                    <a:pt x="371687" y="0"/>
                    <a:pt x="479522" y="106451"/>
                    <a:pt x="479522" y="237289"/>
                  </a:cubicBezTo>
                  <a:cubicBezTo>
                    <a:pt x="479522" y="362161"/>
                    <a:pt x="381336" y="464691"/>
                    <a:pt x="257187" y="473862"/>
                  </a:cubicBezTo>
                  <a:lnTo>
                    <a:pt x="257187" y="474572"/>
                  </a:lnTo>
                  <a:lnTo>
                    <a:pt x="254733" y="474572"/>
                  </a:lnTo>
                  <a:lnTo>
                    <a:pt x="261556" y="452589"/>
                  </a:lnTo>
                  <a:lnTo>
                    <a:pt x="262019" y="448000"/>
                  </a:lnTo>
                  <a:lnTo>
                    <a:pt x="332425" y="429112"/>
                  </a:lnTo>
                  <a:cubicBezTo>
                    <a:pt x="401731" y="396181"/>
                    <a:pt x="450535" y="327692"/>
                    <a:pt x="454460" y="247790"/>
                  </a:cubicBezTo>
                  <a:lnTo>
                    <a:pt x="408745" y="247790"/>
                  </a:lnTo>
                  <a:lnTo>
                    <a:pt x="408745" y="226783"/>
                  </a:lnTo>
                  <a:lnTo>
                    <a:pt x="454460" y="226783"/>
                  </a:lnTo>
                  <a:cubicBezTo>
                    <a:pt x="449227" y="120247"/>
                    <a:pt x="364115" y="34087"/>
                    <a:pt x="257187" y="25278"/>
                  </a:cubicBezTo>
                  <a:lnTo>
                    <a:pt x="257187" y="68358"/>
                  </a:lnTo>
                  <a:lnTo>
                    <a:pt x="235911" y="68358"/>
                  </a:lnTo>
                  <a:lnTo>
                    <a:pt x="235911" y="24567"/>
                  </a:lnTo>
                  <a:cubicBezTo>
                    <a:pt x="136350" y="26047"/>
                    <a:pt x="52874" y="94444"/>
                    <a:pt x="29875" y="186171"/>
                  </a:cubicBezTo>
                  <a:lnTo>
                    <a:pt x="25208" y="217632"/>
                  </a:lnTo>
                  <a:lnTo>
                    <a:pt x="0" y="225456"/>
                  </a:lnTo>
                  <a:lnTo>
                    <a:pt x="3680" y="189528"/>
                  </a:lnTo>
                  <a:cubicBezTo>
                    <a:pt x="26133" y="81502"/>
                    <a:pt x="123189" y="0"/>
                    <a:pt x="239158" y="0"/>
                  </a:cubicBezTo>
                  <a:close/>
                </a:path>
              </a:pathLst>
            </a:custGeom>
            <a:solidFill>
              <a:schemeClr val="tx1"/>
            </a:solidFill>
            <a:ln w="9525" cap="flat">
              <a:noFill/>
              <a:prstDash val="solid"/>
              <a:miter/>
            </a:ln>
          </p:spPr>
          <p:txBody>
            <a:bodyPr wrap="square" rtlCol="0" anchor="ctr">
              <a:noAutofit/>
            </a:bodyPr>
            <a:lstStyle/>
            <a:p>
              <a:endParaRPr lang="en-US" dirty="0"/>
            </a:p>
          </p:txBody>
        </p:sp>
        <p:sp>
          <p:nvSpPr>
            <p:cNvPr id="124" name="Freeform: Shape 123">
              <a:extLst>
                <a:ext uri="{FF2B5EF4-FFF2-40B4-BE49-F238E27FC236}">
                  <a16:creationId xmlns:a16="http://schemas.microsoft.com/office/drawing/2014/main" id="{4F2BCEBE-2B77-C9D0-22DF-3447565D7FAB}"/>
                </a:ext>
              </a:extLst>
            </p:cNvPr>
            <p:cNvSpPr/>
            <p:nvPr/>
          </p:nvSpPr>
          <p:spPr>
            <a:xfrm>
              <a:off x="3696174" y="3390883"/>
              <a:ext cx="174998" cy="228224"/>
            </a:xfrm>
            <a:custGeom>
              <a:avLst/>
              <a:gdLst>
                <a:gd name="connsiteX0" fmla="*/ 82867 w 214312"/>
                <a:gd name="connsiteY0" fmla="*/ 151448 h 267652"/>
                <a:gd name="connsiteX1" fmla="*/ 83820 w 214312"/>
                <a:gd name="connsiteY1" fmla="*/ 140970 h 267652"/>
                <a:gd name="connsiteX2" fmla="*/ 59055 w 214312"/>
                <a:gd name="connsiteY2" fmla="*/ 102870 h 267652"/>
                <a:gd name="connsiteX3" fmla="*/ 59055 w 214312"/>
                <a:gd name="connsiteY3" fmla="*/ 0 h 267652"/>
                <a:gd name="connsiteX4" fmla="*/ 22860 w 214312"/>
                <a:gd name="connsiteY4" fmla="*/ 0 h 267652"/>
                <a:gd name="connsiteX5" fmla="*/ 22860 w 214312"/>
                <a:gd name="connsiteY5" fmla="*/ 103823 h 267652"/>
                <a:gd name="connsiteX6" fmla="*/ 0 w 214312"/>
                <a:gd name="connsiteY6" fmla="*/ 140970 h 267652"/>
                <a:gd name="connsiteX7" fmla="*/ 41910 w 214312"/>
                <a:gd name="connsiteY7" fmla="*/ 182880 h 267652"/>
                <a:gd name="connsiteX8" fmla="*/ 59055 w 214312"/>
                <a:gd name="connsiteY8" fmla="*/ 179070 h 267652"/>
                <a:gd name="connsiteX9" fmla="*/ 194310 w 214312"/>
                <a:gd name="connsiteY9" fmla="*/ 267653 h 267652"/>
                <a:gd name="connsiteX10" fmla="*/ 214312 w 214312"/>
                <a:gd name="connsiteY10" fmla="*/ 238125 h 267652"/>
                <a:gd name="connsiteX11" fmla="*/ 82867 w 214312"/>
                <a:gd name="connsiteY11" fmla="*/ 151448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312" h="267652">
                  <a:moveTo>
                    <a:pt x="82867" y="151448"/>
                  </a:moveTo>
                  <a:cubicBezTo>
                    <a:pt x="83820" y="147638"/>
                    <a:pt x="83820" y="144780"/>
                    <a:pt x="83820" y="140970"/>
                  </a:cubicBezTo>
                  <a:cubicBezTo>
                    <a:pt x="83820" y="124778"/>
                    <a:pt x="74295" y="109538"/>
                    <a:pt x="59055" y="102870"/>
                  </a:cubicBezTo>
                  <a:lnTo>
                    <a:pt x="59055" y="0"/>
                  </a:lnTo>
                  <a:lnTo>
                    <a:pt x="22860" y="0"/>
                  </a:lnTo>
                  <a:lnTo>
                    <a:pt x="22860" y="103823"/>
                  </a:lnTo>
                  <a:cubicBezTo>
                    <a:pt x="8572" y="110490"/>
                    <a:pt x="0" y="124778"/>
                    <a:pt x="0" y="140970"/>
                  </a:cubicBezTo>
                  <a:cubicBezTo>
                    <a:pt x="0" y="163830"/>
                    <a:pt x="19050" y="182880"/>
                    <a:pt x="41910" y="182880"/>
                  </a:cubicBezTo>
                  <a:cubicBezTo>
                    <a:pt x="47625" y="182880"/>
                    <a:pt x="53340" y="181927"/>
                    <a:pt x="59055" y="179070"/>
                  </a:cubicBezTo>
                  <a:lnTo>
                    <a:pt x="194310" y="267653"/>
                  </a:lnTo>
                  <a:lnTo>
                    <a:pt x="214312" y="238125"/>
                  </a:lnTo>
                  <a:lnTo>
                    <a:pt x="82867" y="151448"/>
                  </a:lnTo>
                  <a:close/>
                </a:path>
              </a:pathLst>
            </a:custGeom>
            <a:solidFill>
              <a:srgbClr val="40AA1D"/>
            </a:solidFill>
            <a:ln w="9525" cap="flat">
              <a:noFill/>
              <a:prstDash val="solid"/>
              <a:miter/>
            </a:ln>
          </p:spPr>
          <p:txBody>
            <a:bodyPr rtlCol="0" anchor="ctr"/>
            <a:lstStyle/>
            <a:p>
              <a:endParaRPr lang="en-US" dirty="0"/>
            </a:p>
          </p:txBody>
        </p:sp>
        <p:grpSp>
          <p:nvGrpSpPr>
            <p:cNvPr id="213" name="Group 212">
              <a:extLst>
                <a:ext uri="{FF2B5EF4-FFF2-40B4-BE49-F238E27FC236}">
                  <a16:creationId xmlns:a16="http://schemas.microsoft.com/office/drawing/2014/main" id="{C4055ADE-F6B6-AC14-BEE0-AD1B61451095}"/>
                </a:ext>
              </a:extLst>
            </p:cNvPr>
            <p:cNvGrpSpPr/>
            <p:nvPr/>
          </p:nvGrpSpPr>
          <p:grpSpPr>
            <a:xfrm>
              <a:off x="3371923" y="3518543"/>
              <a:ext cx="344510" cy="344510"/>
              <a:chOff x="3371923" y="3518543"/>
              <a:chExt cx="344510" cy="344510"/>
            </a:xfrm>
          </p:grpSpPr>
          <p:sp>
            <p:nvSpPr>
              <p:cNvPr id="132" name="Freeform: Shape 131">
                <a:extLst>
                  <a:ext uri="{FF2B5EF4-FFF2-40B4-BE49-F238E27FC236}">
                    <a16:creationId xmlns:a16="http://schemas.microsoft.com/office/drawing/2014/main" id="{50382817-155F-432C-F235-0C6F4D379D01}"/>
                  </a:ext>
                </a:extLst>
              </p:cNvPr>
              <p:cNvSpPr/>
              <p:nvPr/>
            </p:nvSpPr>
            <p:spPr>
              <a:xfrm>
                <a:off x="3389487" y="3578089"/>
                <a:ext cx="39949" cy="45327"/>
              </a:xfrm>
              <a:custGeom>
                <a:avLst/>
                <a:gdLst>
                  <a:gd name="connsiteX0" fmla="*/ 29797 w 65909"/>
                  <a:gd name="connsiteY0" fmla="*/ 74482 h 74782"/>
                  <a:gd name="connsiteX1" fmla="*/ 35090 w 65909"/>
                  <a:gd name="connsiteY1" fmla="*/ 72493 h 74782"/>
                  <a:gd name="connsiteX2" fmla="*/ 64925 w 65909"/>
                  <a:gd name="connsiteY2" fmla="*/ 27588 h 74782"/>
                  <a:gd name="connsiteX3" fmla="*/ 64689 w 65909"/>
                  <a:gd name="connsiteY3" fmla="*/ 21958 h 74782"/>
                  <a:gd name="connsiteX4" fmla="*/ 43956 w 65909"/>
                  <a:gd name="connsiteY4" fmla="*/ 1225 h 74782"/>
                  <a:gd name="connsiteX5" fmla="*/ 37854 w 65909"/>
                  <a:gd name="connsiteY5" fmla="*/ 1461 h 74782"/>
                  <a:gd name="connsiteX6" fmla="*/ 433 w 65909"/>
                  <a:gd name="connsiteY6" fmla="*/ 57761 h 74782"/>
                  <a:gd name="connsiteX7" fmla="*/ 2625 w 65909"/>
                  <a:gd name="connsiteY7" fmla="*/ 63492 h 74782"/>
                  <a:gd name="connsiteX8" fmla="*/ 29797 w 65909"/>
                  <a:gd name="connsiteY8" fmla="*/ 74482 h 74782"/>
                  <a:gd name="connsiteX9" fmla="*/ 29797 w 65909"/>
                  <a:gd name="connsiteY9" fmla="*/ 74482 h 7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909" h="74782">
                    <a:moveTo>
                      <a:pt x="29797" y="74482"/>
                    </a:moveTo>
                    <a:cubicBezTo>
                      <a:pt x="31820" y="75291"/>
                      <a:pt x="34078" y="74414"/>
                      <a:pt x="35090" y="72493"/>
                    </a:cubicBezTo>
                    <a:cubicBezTo>
                      <a:pt x="43315" y="56614"/>
                      <a:pt x="53261" y="41545"/>
                      <a:pt x="64925" y="27588"/>
                    </a:cubicBezTo>
                    <a:cubicBezTo>
                      <a:pt x="66307" y="25936"/>
                      <a:pt x="66240" y="23475"/>
                      <a:pt x="64689" y="21958"/>
                    </a:cubicBezTo>
                    <a:lnTo>
                      <a:pt x="43956" y="1225"/>
                    </a:lnTo>
                    <a:cubicBezTo>
                      <a:pt x="42237" y="-494"/>
                      <a:pt x="39405" y="-393"/>
                      <a:pt x="37854" y="1461"/>
                    </a:cubicBezTo>
                    <a:cubicBezTo>
                      <a:pt x="23054" y="18857"/>
                      <a:pt x="10513" y="37735"/>
                      <a:pt x="433" y="57761"/>
                    </a:cubicBezTo>
                    <a:cubicBezTo>
                      <a:pt x="-645" y="59918"/>
                      <a:pt x="366" y="62581"/>
                      <a:pt x="2625" y="63492"/>
                    </a:cubicBezTo>
                    <a:lnTo>
                      <a:pt x="29797" y="74482"/>
                    </a:lnTo>
                    <a:lnTo>
                      <a:pt x="29797" y="74482"/>
                    </a:lnTo>
                    <a:close/>
                  </a:path>
                </a:pathLst>
              </a:custGeom>
              <a:solidFill>
                <a:schemeClr val="bg2"/>
              </a:solidFill>
              <a:ln w="3325" cap="flat">
                <a:noFill/>
                <a:prstDash val="solid"/>
                <a:miter/>
              </a:ln>
            </p:spPr>
            <p:txBody>
              <a:bodyPr rtlCol="0" anchor="ctr"/>
              <a:lstStyle/>
              <a:p>
                <a:endParaRPr lang="en-US" dirty="0"/>
              </a:p>
            </p:txBody>
          </p:sp>
          <p:sp>
            <p:nvSpPr>
              <p:cNvPr id="133" name="Freeform: Shape 132">
                <a:extLst>
                  <a:ext uri="{FF2B5EF4-FFF2-40B4-BE49-F238E27FC236}">
                    <a16:creationId xmlns:a16="http://schemas.microsoft.com/office/drawing/2014/main" id="{23324889-38B2-DE4F-7305-1B2EE0B4A38E}"/>
                  </a:ext>
                </a:extLst>
              </p:cNvPr>
              <p:cNvSpPr/>
              <p:nvPr/>
            </p:nvSpPr>
            <p:spPr>
              <a:xfrm>
                <a:off x="3371923" y="3702169"/>
                <a:ext cx="29355" cy="44460"/>
              </a:xfrm>
              <a:custGeom>
                <a:avLst/>
                <a:gdLst>
                  <a:gd name="connsiteX0" fmla="*/ 13297 w 48431"/>
                  <a:gd name="connsiteY0" fmla="*/ 70526 h 73352"/>
                  <a:gd name="connsiteX1" fmla="*/ 18860 w 48431"/>
                  <a:gd name="connsiteY1" fmla="*/ 73021 h 73352"/>
                  <a:gd name="connsiteX2" fmla="*/ 45897 w 48431"/>
                  <a:gd name="connsiteY2" fmla="*/ 61592 h 73352"/>
                  <a:gd name="connsiteX3" fmla="*/ 48223 w 48431"/>
                  <a:gd name="connsiteY3" fmla="*/ 56468 h 73352"/>
                  <a:gd name="connsiteX4" fmla="*/ 37638 w 48431"/>
                  <a:gd name="connsiteY4" fmla="*/ 3809 h 73352"/>
                  <a:gd name="connsiteX5" fmla="*/ 33491 w 48431"/>
                  <a:gd name="connsiteY5" fmla="*/ 0 h 73352"/>
                  <a:gd name="connsiteX6" fmla="*/ 4161 w 48431"/>
                  <a:gd name="connsiteY6" fmla="*/ 0 h 73352"/>
                  <a:gd name="connsiteX7" fmla="*/ 15 w 48431"/>
                  <a:gd name="connsiteY7" fmla="*/ 4484 h 73352"/>
                  <a:gd name="connsiteX8" fmla="*/ 13297 w 48431"/>
                  <a:gd name="connsiteY8" fmla="*/ 70526 h 73352"/>
                  <a:gd name="connsiteX9" fmla="*/ 13297 w 48431"/>
                  <a:gd name="connsiteY9" fmla="*/ 70526 h 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31" h="73352">
                    <a:moveTo>
                      <a:pt x="13297" y="70526"/>
                    </a:moveTo>
                    <a:cubicBezTo>
                      <a:pt x="14039" y="72819"/>
                      <a:pt x="16635" y="73965"/>
                      <a:pt x="18860" y="73021"/>
                    </a:cubicBezTo>
                    <a:lnTo>
                      <a:pt x="45897" y="61592"/>
                    </a:lnTo>
                    <a:cubicBezTo>
                      <a:pt x="47886" y="60750"/>
                      <a:pt x="48897" y="58525"/>
                      <a:pt x="48223" y="56468"/>
                    </a:cubicBezTo>
                    <a:cubicBezTo>
                      <a:pt x="42829" y="39477"/>
                      <a:pt x="39256" y="21846"/>
                      <a:pt x="37638" y="3809"/>
                    </a:cubicBezTo>
                    <a:cubicBezTo>
                      <a:pt x="37435" y="1652"/>
                      <a:pt x="35649" y="0"/>
                      <a:pt x="33491" y="0"/>
                    </a:cubicBezTo>
                    <a:lnTo>
                      <a:pt x="4161" y="0"/>
                    </a:lnTo>
                    <a:cubicBezTo>
                      <a:pt x="1734" y="0"/>
                      <a:pt x="-188" y="2056"/>
                      <a:pt x="15" y="4484"/>
                    </a:cubicBezTo>
                    <a:cubicBezTo>
                      <a:pt x="1835" y="27172"/>
                      <a:pt x="6319" y="49321"/>
                      <a:pt x="13297" y="70526"/>
                    </a:cubicBezTo>
                    <a:lnTo>
                      <a:pt x="13297" y="70526"/>
                    </a:lnTo>
                    <a:close/>
                  </a:path>
                </a:pathLst>
              </a:custGeom>
              <a:solidFill>
                <a:schemeClr val="bg2"/>
              </a:solidFill>
              <a:ln w="3325" cap="flat">
                <a:no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CAEEEC58-688C-3BFB-4089-29C340371233}"/>
                  </a:ext>
                </a:extLst>
              </p:cNvPr>
              <p:cNvSpPr/>
              <p:nvPr/>
            </p:nvSpPr>
            <p:spPr>
              <a:xfrm>
                <a:off x="3431498" y="3537296"/>
                <a:ext cx="43192" cy="38733"/>
              </a:xfrm>
              <a:custGeom>
                <a:avLst/>
                <a:gdLst>
                  <a:gd name="connsiteX0" fmla="*/ 53736 w 71260"/>
                  <a:gd name="connsiteY0" fmla="*/ 461 h 63903"/>
                  <a:gd name="connsiteX1" fmla="*/ 1448 w 71260"/>
                  <a:gd name="connsiteY1" fmla="*/ 35859 h 63903"/>
                  <a:gd name="connsiteX2" fmla="*/ 1212 w 71260"/>
                  <a:gd name="connsiteY2" fmla="*/ 41961 h 63903"/>
                  <a:gd name="connsiteX3" fmla="*/ 21945 w 71260"/>
                  <a:gd name="connsiteY3" fmla="*/ 62694 h 63903"/>
                  <a:gd name="connsiteX4" fmla="*/ 27575 w 71260"/>
                  <a:gd name="connsiteY4" fmla="*/ 62930 h 63903"/>
                  <a:gd name="connsiteX5" fmla="*/ 69041 w 71260"/>
                  <a:gd name="connsiteY5" fmla="*/ 34915 h 63903"/>
                  <a:gd name="connsiteX6" fmla="*/ 70929 w 71260"/>
                  <a:gd name="connsiteY6" fmla="*/ 29623 h 63903"/>
                  <a:gd name="connsiteX7" fmla="*/ 59467 w 71260"/>
                  <a:gd name="connsiteY7" fmla="*/ 2552 h 63903"/>
                  <a:gd name="connsiteX8" fmla="*/ 53736 w 71260"/>
                  <a:gd name="connsiteY8" fmla="*/ 461 h 63903"/>
                  <a:gd name="connsiteX9" fmla="*/ 53736 w 71260"/>
                  <a:gd name="connsiteY9" fmla="*/ 461 h 63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60" h="63903">
                    <a:moveTo>
                      <a:pt x="53736" y="461"/>
                    </a:moveTo>
                    <a:cubicBezTo>
                      <a:pt x="35194" y="10204"/>
                      <a:pt x="17663" y="22037"/>
                      <a:pt x="1448" y="35859"/>
                    </a:cubicBezTo>
                    <a:cubicBezTo>
                      <a:pt x="-406" y="37444"/>
                      <a:pt x="-474" y="40242"/>
                      <a:pt x="1212" y="41961"/>
                    </a:cubicBezTo>
                    <a:lnTo>
                      <a:pt x="21945" y="62694"/>
                    </a:lnTo>
                    <a:cubicBezTo>
                      <a:pt x="23462" y="64211"/>
                      <a:pt x="25923" y="64313"/>
                      <a:pt x="27575" y="62930"/>
                    </a:cubicBezTo>
                    <a:cubicBezTo>
                      <a:pt x="40520" y="52109"/>
                      <a:pt x="54410" y="42770"/>
                      <a:pt x="69041" y="34915"/>
                    </a:cubicBezTo>
                    <a:cubicBezTo>
                      <a:pt x="70963" y="33904"/>
                      <a:pt x="71772" y="31612"/>
                      <a:pt x="70929" y="29623"/>
                    </a:cubicBezTo>
                    <a:lnTo>
                      <a:pt x="59467" y="2552"/>
                    </a:lnTo>
                    <a:cubicBezTo>
                      <a:pt x="58523" y="327"/>
                      <a:pt x="55860" y="-651"/>
                      <a:pt x="53736" y="461"/>
                    </a:cubicBezTo>
                    <a:lnTo>
                      <a:pt x="53736" y="461"/>
                    </a:lnTo>
                    <a:close/>
                  </a:path>
                </a:pathLst>
              </a:custGeom>
              <a:solidFill>
                <a:schemeClr val="bg2"/>
              </a:solidFill>
              <a:ln w="3325" cap="flat">
                <a:noFill/>
                <a:prstDash val="solid"/>
                <a:miter/>
              </a:ln>
            </p:spPr>
            <p:txBody>
              <a:bodyPr rtlCol="0" anchor="ctr"/>
              <a:lstStyle/>
              <a:p>
                <a:endParaRPr lang="en-US" dirty="0"/>
              </a:p>
            </p:txBody>
          </p:sp>
          <p:sp>
            <p:nvSpPr>
              <p:cNvPr id="135" name="Freeform: Shape 134">
                <a:extLst>
                  <a:ext uri="{FF2B5EF4-FFF2-40B4-BE49-F238E27FC236}">
                    <a16:creationId xmlns:a16="http://schemas.microsoft.com/office/drawing/2014/main" id="{CD7E7C7B-75DF-594F-2F8C-C64899E04BC8}"/>
                  </a:ext>
                </a:extLst>
              </p:cNvPr>
              <p:cNvSpPr/>
              <p:nvPr/>
            </p:nvSpPr>
            <p:spPr>
              <a:xfrm>
                <a:off x="3371923" y="3637494"/>
                <a:ext cx="28640" cy="41912"/>
              </a:xfrm>
              <a:custGeom>
                <a:avLst/>
                <a:gdLst>
                  <a:gd name="connsiteX0" fmla="*/ 11915 w 47251"/>
                  <a:gd name="connsiteY0" fmla="*/ 2904 h 69148"/>
                  <a:gd name="connsiteX1" fmla="*/ 14 w 47251"/>
                  <a:gd name="connsiteY1" fmla="*/ 64665 h 69148"/>
                  <a:gd name="connsiteX2" fmla="*/ 4161 w 47251"/>
                  <a:gd name="connsiteY2" fmla="*/ 69148 h 69148"/>
                  <a:gd name="connsiteX3" fmla="*/ 33491 w 47251"/>
                  <a:gd name="connsiteY3" fmla="*/ 69148 h 69148"/>
                  <a:gd name="connsiteX4" fmla="*/ 37637 w 47251"/>
                  <a:gd name="connsiteY4" fmla="*/ 65339 h 69148"/>
                  <a:gd name="connsiteX5" fmla="*/ 47077 w 47251"/>
                  <a:gd name="connsiteY5" fmla="*/ 16422 h 69148"/>
                  <a:gd name="connsiteX6" fmla="*/ 44650 w 47251"/>
                  <a:gd name="connsiteY6" fmla="*/ 11332 h 69148"/>
                  <a:gd name="connsiteX7" fmla="*/ 17444 w 47251"/>
                  <a:gd name="connsiteY7" fmla="*/ 308 h 69148"/>
                  <a:gd name="connsiteX8" fmla="*/ 11915 w 47251"/>
                  <a:gd name="connsiteY8" fmla="*/ 2904 h 69148"/>
                  <a:gd name="connsiteX9" fmla="*/ 11915 w 47251"/>
                  <a:gd name="connsiteY9" fmla="*/ 2904 h 69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251" h="69148">
                    <a:moveTo>
                      <a:pt x="11915" y="2904"/>
                    </a:moveTo>
                    <a:cubicBezTo>
                      <a:pt x="5712" y="22828"/>
                      <a:pt x="1734" y="43527"/>
                      <a:pt x="14" y="64665"/>
                    </a:cubicBezTo>
                    <a:cubicBezTo>
                      <a:pt x="-188" y="67092"/>
                      <a:pt x="1767" y="69148"/>
                      <a:pt x="4161" y="69148"/>
                    </a:cubicBezTo>
                    <a:lnTo>
                      <a:pt x="33491" y="69148"/>
                    </a:lnTo>
                    <a:cubicBezTo>
                      <a:pt x="35648" y="69148"/>
                      <a:pt x="37435" y="67496"/>
                      <a:pt x="37637" y="65339"/>
                    </a:cubicBezTo>
                    <a:cubicBezTo>
                      <a:pt x="39154" y="48618"/>
                      <a:pt x="42323" y="32233"/>
                      <a:pt x="47077" y="16422"/>
                    </a:cubicBezTo>
                    <a:cubicBezTo>
                      <a:pt x="47684" y="14366"/>
                      <a:pt x="46672" y="12141"/>
                      <a:pt x="44650" y="11332"/>
                    </a:cubicBezTo>
                    <a:lnTo>
                      <a:pt x="17444" y="308"/>
                    </a:lnTo>
                    <a:cubicBezTo>
                      <a:pt x="15219" y="-602"/>
                      <a:pt x="12623" y="578"/>
                      <a:pt x="11915" y="2904"/>
                    </a:cubicBezTo>
                    <a:lnTo>
                      <a:pt x="11915" y="2904"/>
                    </a:lnTo>
                    <a:close/>
                  </a:path>
                </a:pathLst>
              </a:custGeom>
              <a:solidFill>
                <a:schemeClr val="bg2"/>
              </a:solidFill>
              <a:ln w="3325" cap="flat">
                <a:noFill/>
                <a:prstDash val="solid"/>
                <a:miter/>
              </a:ln>
            </p:spPr>
            <p:txBody>
              <a:bodyPr rtlCol="0" anchor="ctr"/>
              <a:lstStyle/>
              <a:p>
                <a:endParaRPr lang="en-US" dirty="0"/>
              </a:p>
            </p:txBody>
          </p:sp>
          <p:sp>
            <p:nvSpPr>
              <p:cNvPr id="136" name="Freeform: Shape 135">
                <a:extLst>
                  <a:ext uri="{FF2B5EF4-FFF2-40B4-BE49-F238E27FC236}">
                    <a16:creationId xmlns:a16="http://schemas.microsoft.com/office/drawing/2014/main" id="{9AF1C32D-F4B4-48D0-4743-B669B8064FE3}"/>
                  </a:ext>
                </a:extLst>
              </p:cNvPr>
              <p:cNvSpPr/>
              <p:nvPr/>
            </p:nvSpPr>
            <p:spPr>
              <a:xfrm>
                <a:off x="3658928" y="3578097"/>
                <a:ext cx="38733" cy="43192"/>
              </a:xfrm>
              <a:custGeom>
                <a:avLst/>
                <a:gdLst>
                  <a:gd name="connsiteX0" fmla="*/ 28044 w 63903"/>
                  <a:gd name="connsiteY0" fmla="*/ 1448 h 71260"/>
                  <a:gd name="connsiteX1" fmla="*/ 21942 w 63903"/>
                  <a:gd name="connsiteY1" fmla="*/ 1212 h 71260"/>
                  <a:gd name="connsiteX2" fmla="*/ 1209 w 63903"/>
                  <a:gd name="connsiteY2" fmla="*/ 21945 h 71260"/>
                  <a:gd name="connsiteX3" fmla="*/ 973 w 63903"/>
                  <a:gd name="connsiteY3" fmla="*/ 27575 h 71260"/>
                  <a:gd name="connsiteX4" fmla="*/ 28988 w 63903"/>
                  <a:gd name="connsiteY4" fmla="*/ 69041 h 71260"/>
                  <a:gd name="connsiteX5" fmla="*/ 34281 w 63903"/>
                  <a:gd name="connsiteY5" fmla="*/ 70929 h 71260"/>
                  <a:gd name="connsiteX6" fmla="*/ 61352 w 63903"/>
                  <a:gd name="connsiteY6" fmla="*/ 59467 h 71260"/>
                  <a:gd name="connsiteX7" fmla="*/ 63442 w 63903"/>
                  <a:gd name="connsiteY7" fmla="*/ 53702 h 71260"/>
                  <a:gd name="connsiteX8" fmla="*/ 28044 w 63903"/>
                  <a:gd name="connsiteY8" fmla="*/ 1448 h 71260"/>
                  <a:gd name="connsiteX9" fmla="*/ 28044 w 63903"/>
                  <a:gd name="connsiteY9" fmla="*/ 1448 h 71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03" h="71260">
                    <a:moveTo>
                      <a:pt x="28044" y="1448"/>
                    </a:moveTo>
                    <a:cubicBezTo>
                      <a:pt x="26459" y="-406"/>
                      <a:pt x="23661" y="-474"/>
                      <a:pt x="21942" y="1212"/>
                    </a:cubicBezTo>
                    <a:lnTo>
                      <a:pt x="1209" y="21945"/>
                    </a:lnTo>
                    <a:cubicBezTo>
                      <a:pt x="-308" y="23462"/>
                      <a:pt x="-409" y="25923"/>
                      <a:pt x="973" y="27575"/>
                    </a:cubicBezTo>
                    <a:cubicBezTo>
                      <a:pt x="11795" y="40520"/>
                      <a:pt x="21133" y="54410"/>
                      <a:pt x="28988" y="69041"/>
                    </a:cubicBezTo>
                    <a:cubicBezTo>
                      <a:pt x="29999" y="70963"/>
                      <a:pt x="32292" y="71772"/>
                      <a:pt x="34281" y="70929"/>
                    </a:cubicBezTo>
                    <a:lnTo>
                      <a:pt x="61352" y="59467"/>
                    </a:lnTo>
                    <a:cubicBezTo>
                      <a:pt x="63577" y="58523"/>
                      <a:pt x="64554" y="55860"/>
                      <a:pt x="63442" y="53702"/>
                    </a:cubicBezTo>
                    <a:cubicBezTo>
                      <a:pt x="53733" y="35194"/>
                      <a:pt x="41866" y="17663"/>
                      <a:pt x="28044" y="1448"/>
                    </a:cubicBezTo>
                    <a:lnTo>
                      <a:pt x="28044" y="1448"/>
                    </a:lnTo>
                    <a:close/>
                  </a:path>
                </a:pathLst>
              </a:custGeom>
              <a:solidFill>
                <a:schemeClr val="bg2"/>
              </a:solidFill>
              <a:ln w="3325" cap="flat">
                <a:noFill/>
                <a:prstDash val="solid"/>
                <a:miter/>
              </a:ln>
            </p:spPr>
            <p:txBody>
              <a:bodyPr rtlCol="0" anchor="ctr"/>
              <a:lstStyle/>
              <a:p>
                <a:endParaRPr lang="en-US" dirty="0"/>
              </a:p>
            </p:txBody>
          </p:sp>
          <p:sp>
            <p:nvSpPr>
              <p:cNvPr id="137" name="Freeform: Shape 136">
                <a:extLst>
                  <a:ext uri="{FF2B5EF4-FFF2-40B4-BE49-F238E27FC236}">
                    <a16:creationId xmlns:a16="http://schemas.microsoft.com/office/drawing/2014/main" id="{08A11795-F93C-A2E1-F9EA-79E6F79F676E}"/>
                  </a:ext>
                </a:extLst>
              </p:cNvPr>
              <p:cNvSpPr/>
              <p:nvPr/>
            </p:nvSpPr>
            <p:spPr>
              <a:xfrm>
                <a:off x="3488326" y="3518543"/>
                <a:ext cx="44460" cy="29355"/>
              </a:xfrm>
              <a:custGeom>
                <a:avLst/>
                <a:gdLst>
                  <a:gd name="connsiteX0" fmla="*/ 2826 w 73352"/>
                  <a:gd name="connsiteY0" fmla="*/ 13297 h 48431"/>
                  <a:gd name="connsiteX1" fmla="*/ 332 w 73352"/>
                  <a:gd name="connsiteY1" fmla="*/ 18860 h 48431"/>
                  <a:gd name="connsiteX2" fmla="*/ 11760 w 73352"/>
                  <a:gd name="connsiteY2" fmla="*/ 45897 h 48431"/>
                  <a:gd name="connsiteX3" fmla="*/ 16884 w 73352"/>
                  <a:gd name="connsiteY3" fmla="*/ 48223 h 48431"/>
                  <a:gd name="connsiteX4" fmla="*/ 69543 w 73352"/>
                  <a:gd name="connsiteY4" fmla="*/ 37638 h 48431"/>
                  <a:gd name="connsiteX5" fmla="*/ 73352 w 73352"/>
                  <a:gd name="connsiteY5" fmla="*/ 33491 h 48431"/>
                  <a:gd name="connsiteX6" fmla="*/ 73352 w 73352"/>
                  <a:gd name="connsiteY6" fmla="*/ 4161 h 48431"/>
                  <a:gd name="connsiteX7" fmla="*/ 68869 w 73352"/>
                  <a:gd name="connsiteY7" fmla="*/ 15 h 48431"/>
                  <a:gd name="connsiteX8" fmla="*/ 2826 w 73352"/>
                  <a:gd name="connsiteY8" fmla="*/ 13297 h 48431"/>
                  <a:gd name="connsiteX9" fmla="*/ 2826 w 73352"/>
                  <a:gd name="connsiteY9" fmla="*/ 13297 h 4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52" h="48431">
                    <a:moveTo>
                      <a:pt x="2826" y="13297"/>
                    </a:moveTo>
                    <a:cubicBezTo>
                      <a:pt x="534" y="14039"/>
                      <a:pt x="-612" y="16635"/>
                      <a:pt x="332" y="18860"/>
                    </a:cubicBezTo>
                    <a:lnTo>
                      <a:pt x="11760" y="45897"/>
                    </a:lnTo>
                    <a:cubicBezTo>
                      <a:pt x="12603" y="47886"/>
                      <a:pt x="14828" y="48897"/>
                      <a:pt x="16884" y="48223"/>
                    </a:cubicBezTo>
                    <a:cubicBezTo>
                      <a:pt x="33875" y="42829"/>
                      <a:pt x="51507" y="39256"/>
                      <a:pt x="69543" y="37638"/>
                    </a:cubicBezTo>
                    <a:cubicBezTo>
                      <a:pt x="71700" y="37435"/>
                      <a:pt x="73352" y="35649"/>
                      <a:pt x="73352" y="33491"/>
                    </a:cubicBezTo>
                    <a:lnTo>
                      <a:pt x="73352" y="4161"/>
                    </a:lnTo>
                    <a:cubicBezTo>
                      <a:pt x="73352" y="1734"/>
                      <a:pt x="71296" y="-188"/>
                      <a:pt x="68869" y="15"/>
                    </a:cubicBezTo>
                    <a:cubicBezTo>
                      <a:pt x="46214" y="1835"/>
                      <a:pt x="24065" y="6319"/>
                      <a:pt x="2826" y="13297"/>
                    </a:cubicBezTo>
                    <a:lnTo>
                      <a:pt x="2826" y="13297"/>
                    </a:lnTo>
                    <a:close/>
                  </a:path>
                </a:pathLst>
              </a:custGeom>
              <a:solidFill>
                <a:schemeClr val="bg2"/>
              </a:solidFill>
              <a:ln w="3325" cap="flat">
                <a:noFill/>
                <a:prstDash val="solid"/>
                <a:miter/>
              </a:ln>
            </p:spPr>
            <p:txBody>
              <a:bodyPr rtlCol="0" anchor="ctr"/>
              <a:lstStyle/>
              <a:p>
                <a:endParaRPr lang="en-US" dirty="0"/>
              </a:p>
            </p:txBody>
          </p:sp>
          <p:sp>
            <p:nvSpPr>
              <p:cNvPr id="138" name="Freeform: Shape 137">
                <a:extLst>
                  <a:ext uri="{FF2B5EF4-FFF2-40B4-BE49-F238E27FC236}">
                    <a16:creationId xmlns:a16="http://schemas.microsoft.com/office/drawing/2014/main" id="{9A91922A-9BE0-ECBC-F7C6-A078995F752F}"/>
                  </a:ext>
                </a:extLst>
              </p:cNvPr>
              <p:cNvSpPr/>
              <p:nvPr/>
            </p:nvSpPr>
            <p:spPr>
              <a:xfrm>
                <a:off x="3555550" y="3518543"/>
                <a:ext cx="41912" cy="28640"/>
              </a:xfrm>
              <a:custGeom>
                <a:avLst/>
                <a:gdLst>
                  <a:gd name="connsiteX0" fmla="*/ 4484 w 69148"/>
                  <a:gd name="connsiteY0" fmla="*/ 14 h 47251"/>
                  <a:gd name="connsiteX1" fmla="*/ 0 w 69148"/>
                  <a:gd name="connsiteY1" fmla="*/ 4161 h 47251"/>
                  <a:gd name="connsiteX2" fmla="*/ 0 w 69148"/>
                  <a:gd name="connsiteY2" fmla="*/ 33491 h 47251"/>
                  <a:gd name="connsiteX3" fmla="*/ 3809 w 69148"/>
                  <a:gd name="connsiteY3" fmla="*/ 37637 h 47251"/>
                  <a:gd name="connsiteX4" fmla="*/ 52726 w 69148"/>
                  <a:gd name="connsiteY4" fmla="*/ 47077 h 47251"/>
                  <a:gd name="connsiteX5" fmla="*/ 57817 w 69148"/>
                  <a:gd name="connsiteY5" fmla="*/ 44650 h 47251"/>
                  <a:gd name="connsiteX6" fmla="*/ 68841 w 69148"/>
                  <a:gd name="connsiteY6" fmla="*/ 17410 h 47251"/>
                  <a:gd name="connsiteX7" fmla="*/ 66245 w 69148"/>
                  <a:gd name="connsiteY7" fmla="*/ 11881 h 47251"/>
                  <a:gd name="connsiteX8" fmla="*/ 4484 w 69148"/>
                  <a:gd name="connsiteY8" fmla="*/ 14 h 47251"/>
                  <a:gd name="connsiteX9" fmla="*/ 4484 w 69148"/>
                  <a:gd name="connsiteY9" fmla="*/ 14 h 4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148" h="47251">
                    <a:moveTo>
                      <a:pt x="4484" y="14"/>
                    </a:moveTo>
                    <a:cubicBezTo>
                      <a:pt x="2056" y="-188"/>
                      <a:pt x="0" y="1767"/>
                      <a:pt x="0" y="4161"/>
                    </a:cubicBezTo>
                    <a:lnTo>
                      <a:pt x="0" y="33491"/>
                    </a:lnTo>
                    <a:cubicBezTo>
                      <a:pt x="0" y="35648"/>
                      <a:pt x="1652" y="37435"/>
                      <a:pt x="3809" y="37637"/>
                    </a:cubicBezTo>
                    <a:cubicBezTo>
                      <a:pt x="20531" y="39154"/>
                      <a:pt x="36915" y="42323"/>
                      <a:pt x="52726" y="47077"/>
                    </a:cubicBezTo>
                    <a:cubicBezTo>
                      <a:pt x="54783" y="47684"/>
                      <a:pt x="57008" y="46672"/>
                      <a:pt x="57817" y="44650"/>
                    </a:cubicBezTo>
                    <a:lnTo>
                      <a:pt x="68841" y="17410"/>
                    </a:lnTo>
                    <a:cubicBezTo>
                      <a:pt x="69751" y="15151"/>
                      <a:pt x="68571" y="12589"/>
                      <a:pt x="66245" y="11881"/>
                    </a:cubicBezTo>
                    <a:cubicBezTo>
                      <a:pt x="46354" y="5712"/>
                      <a:pt x="25655" y="1734"/>
                      <a:pt x="4484" y="14"/>
                    </a:cubicBezTo>
                    <a:lnTo>
                      <a:pt x="4484" y="14"/>
                    </a:lnTo>
                    <a:close/>
                  </a:path>
                </a:pathLst>
              </a:custGeom>
              <a:solidFill>
                <a:schemeClr val="bg2"/>
              </a:solidFill>
              <a:ln w="3325" cap="flat">
                <a:noFill/>
                <a:prstDash val="solid"/>
                <a:miter/>
              </a:ln>
            </p:spPr>
            <p:txBody>
              <a:bodyPr rtlCol="0" anchor="ctr"/>
              <a:lstStyle/>
              <a:p>
                <a:endParaRPr lang="en-US" dirty="0"/>
              </a:p>
            </p:txBody>
          </p:sp>
          <p:sp>
            <p:nvSpPr>
              <p:cNvPr id="139" name="Freeform: Shape 138">
                <a:extLst>
                  <a:ext uri="{FF2B5EF4-FFF2-40B4-BE49-F238E27FC236}">
                    <a16:creationId xmlns:a16="http://schemas.microsoft.com/office/drawing/2014/main" id="{599C1B12-6E4C-E012-5EE2-1076239DD4EA}"/>
                  </a:ext>
                </a:extLst>
              </p:cNvPr>
              <p:cNvSpPr/>
              <p:nvPr/>
            </p:nvSpPr>
            <p:spPr>
              <a:xfrm>
                <a:off x="3611540" y="3536087"/>
                <a:ext cx="45327" cy="39949"/>
              </a:xfrm>
              <a:custGeom>
                <a:avLst/>
                <a:gdLst>
                  <a:gd name="connsiteX0" fmla="*/ 17022 w 74782"/>
                  <a:gd name="connsiteY0" fmla="*/ 433 h 65909"/>
                  <a:gd name="connsiteX1" fmla="*/ 11325 w 74782"/>
                  <a:gd name="connsiteY1" fmla="*/ 2625 h 65909"/>
                  <a:gd name="connsiteX2" fmla="*/ 301 w 74782"/>
                  <a:gd name="connsiteY2" fmla="*/ 29830 h 65909"/>
                  <a:gd name="connsiteX3" fmla="*/ 2290 w 74782"/>
                  <a:gd name="connsiteY3" fmla="*/ 35090 h 65909"/>
                  <a:gd name="connsiteX4" fmla="*/ 47195 w 74782"/>
                  <a:gd name="connsiteY4" fmla="*/ 64925 h 65909"/>
                  <a:gd name="connsiteX5" fmla="*/ 52825 w 74782"/>
                  <a:gd name="connsiteY5" fmla="*/ 64689 h 65909"/>
                  <a:gd name="connsiteX6" fmla="*/ 52825 w 74782"/>
                  <a:gd name="connsiteY6" fmla="*/ 64689 h 65909"/>
                  <a:gd name="connsiteX7" fmla="*/ 73558 w 74782"/>
                  <a:gd name="connsiteY7" fmla="*/ 43956 h 65909"/>
                  <a:gd name="connsiteX8" fmla="*/ 73322 w 74782"/>
                  <a:gd name="connsiteY8" fmla="*/ 37854 h 6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782" h="65909">
                    <a:moveTo>
                      <a:pt x="17022" y="433"/>
                    </a:moveTo>
                    <a:cubicBezTo>
                      <a:pt x="14865" y="-645"/>
                      <a:pt x="12201" y="366"/>
                      <a:pt x="11325" y="2625"/>
                    </a:cubicBezTo>
                    <a:lnTo>
                      <a:pt x="301" y="29830"/>
                    </a:lnTo>
                    <a:cubicBezTo>
                      <a:pt x="-508" y="31853"/>
                      <a:pt x="368" y="34112"/>
                      <a:pt x="2290" y="35090"/>
                    </a:cubicBezTo>
                    <a:cubicBezTo>
                      <a:pt x="18168" y="43315"/>
                      <a:pt x="33238" y="53294"/>
                      <a:pt x="47195" y="64925"/>
                    </a:cubicBezTo>
                    <a:cubicBezTo>
                      <a:pt x="48847" y="66307"/>
                      <a:pt x="51308" y="66240"/>
                      <a:pt x="52825" y="64689"/>
                    </a:cubicBezTo>
                    <a:lnTo>
                      <a:pt x="52825" y="64689"/>
                    </a:lnTo>
                    <a:lnTo>
                      <a:pt x="73558" y="43956"/>
                    </a:lnTo>
                    <a:cubicBezTo>
                      <a:pt x="75277" y="42237"/>
                      <a:pt x="75176" y="39405"/>
                      <a:pt x="73322" y="37854"/>
                    </a:cubicBezTo>
                  </a:path>
                </a:pathLst>
              </a:custGeom>
              <a:solidFill>
                <a:schemeClr val="bg2"/>
              </a:solidFill>
              <a:ln w="3325" cap="flat">
                <a:noFill/>
                <a:prstDash val="solid"/>
                <a:miter/>
              </a:ln>
            </p:spPr>
            <p:txBody>
              <a:bodyPr rtlCol="0" anchor="ctr"/>
              <a:lstStyle/>
              <a:p>
                <a:endParaRPr lang="en-US" dirty="0"/>
              </a:p>
            </p:txBody>
          </p:sp>
          <p:sp>
            <p:nvSpPr>
              <p:cNvPr id="140" name="Freeform: Shape 139">
                <a:extLst>
                  <a:ext uri="{FF2B5EF4-FFF2-40B4-BE49-F238E27FC236}">
                    <a16:creationId xmlns:a16="http://schemas.microsoft.com/office/drawing/2014/main" id="{D510F2D5-7B13-A0BF-4B18-4B768360F121}"/>
                  </a:ext>
                </a:extLst>
              </p:cNvPr>
              <p:cNvSpPr/>
              <p:nvPr/>
            </p:nvSpPr>
            <p:spPr>
              <a:xfrm>
                <a:off x="3658920" y="3758160"/>
                <a:ext cx="39949" cy="45327"/>
              </a:xfrm>
              <a:custGeom>
                <a:avLst/>
                <a:gdLst>
                  <a:gd name="connsiteX0" fmla="*/ 36113 w 65909"/>
                  <a:gd name="connsiteY0" fmla="*/ 301 h 74782"/>
                  <a:gd name="connsiteX1" fmla="*/ 30820 w 65909"/>
                  <a:gd name="connsiteY1" fmla="*/ 2290 h 74782"/>
                  <a:gd name="connsiteX2" fmla="*/ 985 w 65909"/>
                  <a:gd name="connsiteY2" fmla="*/ 47195 h 74782"/>
                  <a:gd name="connsiteX3" fmla="*/ 1221 w 65909"/>
                  <a:gd name="connsiteY3" fmla="*/ 52825 h 74782"/>
                  <a:gd name="connsiteX4" fmla="*/ 21954 w 65909"/>
                  <a:gd name="connsiteY4" fmla="*/ 73558 h 74782"/>
                  <a:gd name="connsiteX5" fmla="*/ 28056 w 65909"/>
                  <a:gd name="connsiteY5" fmla="*/ 73322 h 74782"/>
                  <a:gd name="connsiteX6" fmla="*/ 65476 w 65909"/>
                  <a:gd name="connsiteY6" fmla="*/ 17022 h 74782"/>
                  <a:gd name="connsiteX7" fmla="*/ 63285 w 65909"/>
                  <a:gd name="connsiteY7" fmla="*/ 11325 h 74782"/>
                  <a:gd name="connsiteX8" fmla="*/ 36113 w 65909"/>
                  <a:gd name="connsiteY8" fmla="*/ 301 h 74782"/>
                  <a:gd name="connsiteX9" fmla="*/ 36113 w 65909"/>
                  <a:gd name="connsiteY9" fmla="*/ 301 h 7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909" h="74782">
                    <a:moveTo>
                      <a:pt x="36113" y="301"/>
                    </a:moveTo>
                    <a:cubicBezTo>
                      <a:pt x="34090" y="-508"/>
                      <a:pt x="31832" y="368"/>
                      <a:pt x="30820" y="2290"/>
                    </a:cubicBezTo>
                    <a:cubicBezTo>
                      <a:pt x="22594" y="18168"/>
                      <a:pt x="12616" y="33238"/>
                      <a:pt x="985" y="47195"/>
                    </a:cubicBezTo>
                    <a:cubicBezTo>
                      <a:pt x="-397" y="48847"/>
                      <a:pt x="-330" y="51308"/>
                      <a:pt x="1221" y="52825"/>
                    </a:cubicBezTo>
                    <a:lnTo>
                      <a:pt x="21954" y="73558"/>
                    </a:lnTo>
                    <a:cubicBezTo>
                      <a:pt x="23673" y="75277"/>
                      <a:pt x="26505" y="75176"/>
                      <a:pt x="28056" y="73322"/>
                    </a:cubicBezTo>
                    <a:cubicBezTo>
                      <a:pt x="42856" y="55926"/>
                      <a:pt x="55396" y="37047"/>
                      <a:pt x="65476" y="17022"/>
                    </a:cubicBezTo>
                    <a:cubicBezTo>
                      <a:pt x="66555" y="14865"/>
                      <a:pt x="65544" y="12201"/>
                      <a:pt x="63285" y="11325"/>
                    </a:cubicBezTo>
                    <a:lnTo>
                      <a:pt x="36113" y="301"/>
                    </a:lnTo>
                    <a:lnTo>
                      <a:pt x="36113" y="301"/>
                    </a:lnTo>
                    <a:close/>
                  </a:path>
                </a:pathLst>
              </a:custGeom>
              <a:solidFill>
                <a:schemeClr val="bg2"/>
              </a:solidFill>
              <a:ln w="3325" cap="flat">
                <a:noFill/>
                <a:prstDash val="solid"/>
                <a:miter/>
              </a:ln>
            </p:spPr>
            <p:txBody>
              <a:bodyPr rtlCol="0" anchor="ctr"/>
              <a:lstStyle/>
              <a:p>
                <a:endParaRPr lang="en-US" dirty="0"/>
              </a:p>
            </p:txBody>
          </p:sp>
          <p:sp>
            <p:nvSpPr>
              <p:cNvPr id="141" name="Freeform: Shape 140">
                <a:extLst>
                  <a:ext uri="{FF2B5EF4-FFF2-40B4-BE49-F238E27FC236}">
                    <a16:creationId xmlns:a16="http://schemas.microsoft.com/office/drawing/2014/main" id="{0D3F08F0-FBCF-AB08-C54D-AC0A918F74BF}"/>
                  </a:ext>
                </a:extLst>
              </p:cNvPr>
              <p:cNvSpPr/>
              <p:nvPr/>
            </p:nvSpPr>
            <p:spPr>
              <a:xfrm>
                <a:off x="3687793" y="3702190"/>
                <a:ext cx="28640" cy="41910"/>
              </a:xfrm>
              <a:custGeom>
                <a:avLst/>
                <a:gdLst>
                  <a:gd name="connsiteX0" fmla="*/ 35337 w 47251"/>
                  <a:gd name="connsiteY0" fmla="*/ 66245 h 69144"/>
                  <a:gd name="connsiteX1" fmla="*/ 47237 w 47251"/>
                  <a:gd name="connsiteY1" fmla="*/ 4484 h 69144"/>
                  <a:gd name="connsiteX2" fmla="*/ 43091 w 47251"/>
                  <a:gd name="connsiteY2" fmla="*/ 0 h 69144"/>
                  <a:gd name="connsiteX3" fmla="*/ 13761 w 47251"/>
                  <a:gd name="connsiteY3" fmla="*/ 0 h 69144"/>
                  <a:gd name="connsiteX4" fmla="*/ 9614 w 47251"/>
                  <a:gd name="connsiteY4" fmla="*/ 3809 h 69144"/>
                  <a:gd name="connsiteX5" fmla="*/ 175 w 47251"/>
                  <a:gd name="connsiteY5" fmla="*/ 52726 h 69144"/>
                  <a:gd name="connsiteX6" fmla="*/ 2602 w 47251"/>
                  <a:gd name="connsiteY6" fmla="*/ 57817 h 69144"/>
                  <a:gd name="connsiteX7" fmla="*/ 29842 w 47251"/>
                  <a:gd name="connsiteY7" fmla="*/ 68841 h 69144"/>
                  <a:gd name="connsiteX8" fmla="*/ 35337 w 47251"/>
                  <a:gd name="connsiteY8" fmla="*/ 66245 h 69144"/>
                  <a:gd name="connsiteX9" fmla="*/ 35337 w 47251"/>
                  <a:gd name="connsiteY9" fmla="*/ 66245 h 6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251" h="69144">
                    <a:moveTo>
                      <a:pt x="35337" y="66245"/>
                    </a:moveTo>
                    <a:cubicBezTo>
                      <a:pt x="41540" y="46321"/>
                      <a:pt x="45518" y="25621"/>
                      <a:pt x="47237" y="4484"/>
                    </a:cubicBezTo>
                    <a:cubicBezTo>
                      <a:pt x="47440" y="2056"/>
                      <a:pt x="45484" y="0"/>
                      <a:pt x="43091" y="0"/>
                    </a:cubicBezTo>
                    <a:lnTo>
                      <a:pt x="13761" y="0"/>
                    </a:lnTo>
                    <a:cubicBezTo>
                      <a:pt x="11603" y="0"/>
                      <a:pt x="9817" y="1652"/>
                      <a:pt x="9614" y="3809"/>
                    </a:cubicBezTo>
                    <a:cubicBezTo>
                      <a:pt x="8097" y="20531"/>
                      <a:pt x="4928" y="36915"/>
                      <a:pt x="175" y="52726"/>
                    </a:cubicBezTo>
                    <a:cubicBezTo>
                      <a:pt x="-432" y="54783"/>
                      <a:pt x="579" y="57008"/>
                      <a:pt x="2602" y="57817"/>
                    </a:cubicBezTo>
                    <a:lnTo>
                      <a:pt x="29842" y="68841"/>
                    </a:lnTo>
                    <a:cubicBezTo>
                      <a:pt x="32033" y="69751"/>
                      <a:pt x="34595" y="68537"/>
                      <a:pt x="35337" y="66245"/>
                    </a:cubicBezTo>
                    <a:lnTo>
                      <a:pt x="35337" y="66245"/>
                    </a:lnTo>
                    <a:close/>
                  </a:path>
                </a:pathLst>
              </a:custGeom>
              <a:solidFill>
                <a:schemeClr val="bg2"/>
              </a:solidFill>
              <a:ln w="3325" cap="flat">
                <a:noFill/>
                <a:prstDash val="solid"/>
                <a:miter/>
              </a:ln>
            </p:spPr>
            <p:txBody>
              <a:bodyPr rtlCol="0" anchor="ctr"/>
              <a:lstStyle/>
              <a:p>
                <a:endParaRPr lang="en-US" dirty="0"/>
              </a:p>
            </p:txBody>
          </p:sp>
          <p:sp>
            <p:nvSpPr>
              <p:cNvPr id="142" name="Freeform: Shape 141">
                <a:extLst>
                  <a:ext uri="{FF2B5EF4-FFF2-40B4-BE49-F238E27FC236}">
                    <a16:creationId xmlns:a16="http://schemas.microsoft.com/office/drawing/2014/main" id="{A004CFD4-AC0B-C07A-96B3-26B349AB0354}"/>
                  </a:ext>
                </a:extLst>
              </p:cNvPr>
              <p:cNvSpPr/>
              <p:nvPr/>
            </p:nvSpPr>
            <p:spPr>
              <a:xfrm>
                <a:off x="3613670" y="3805567"/>
                <a:ext cx="43209" cy="38733"/>
              </a:xfrm>
              <a:custGeom>
                <a:avLst/>
                <a:gdLst>
                  <a:gd name="connsiteX0" fmla="*/ 326 w 71288"/>
                  <a:gd name="connsiteY0" fmla="*/ 34281 h 63903"/>
                  <a:gd name="connsiteX1" fmla="*/ 11788 w 71288"/>
                  <a:gd name="connsiteY1" fmla="*/ 61352 h 63903"/>
                  <a:gd name="connsiteX2" fmla="*/ 17553 w 71288"/>
                  <a:gd name="connsiteY2" fmla="*/ 63442 h 63903"/>
                  <a:gd name="connsiteX3" fmla="*/ 69841 w 71288"/>
                  <a:gd name="connsiteY3" fmla="*/ 28044 h 63903"/>
                  <a:gd name="connsiteX4" fmla="*/ 70077 w 71288"/>
                  <a:gd name="connsiteY4" fmla="*/ 21942 h 63903"/>
                  <a:gd name="connsiteX5" fmla="*/ 49344 w 71288"/>
                  <a:gd name="connsiteY5" fmla="*/ 1209 h 63903"/>
                  <a:gd name="connsiteX6" fmla="*/ 43714 w 71288"/>
                  <a:gd name="connsiteY6" fmla="*/ 973 h 63903"/>
                  <a:gd name="connsiteX7" fmla="*/ 2248 w 71288"/>
                  <a:gd name="connsiteY7" fmla="*/ 28988 h 63903"/>
                  <a:gd name="connsiteX8" fmla="*/ 326 w 71288"/>
                  <a:gd name="connsiteY8" fmla="*/ 34281 h 63903"/>
                  <a:gd name="connsiteX9" fmla="*/ 326 w 71288"/>
                  <a:gd name="connsiteY9" fmla="*/ 34281 h 63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88" h="63903">
                    <a:moveTo>
                      <a:pt x="326" y="34281"/>
                    </a:moveTo>
                    <a:lnTo>
                      <a:pt x="11788" y="61352"/>
                    </a:lnTo>
                    <a:cubicBezTo>
                      <a:pt x="12732" y="63577"/>
                      <a:pt x="15396" y="64554"/>
                      <a:pt x="17553" y="63442"/>
                    </a:cubicBezTo>
                    <a:cubicBezTo>
                      <a:pt x="36095" y="53699"/>
                      <a:pt x="53625" y="41866"/>
                      <a:pt x="69841" y="28044"/>
                    </a:cubicBezTo>
                    <a:cubicBezTo>
                      <a:pt x="71695" y="26459"/>
                      <a:pt x="71763" y="23661"/>
                      <a:pt x="70077" y="21942"/>
                    </a:cubicBezTo>
                    <a:lnTo>
                      <a:pt x="49344" y="1209"/>
                    </a:lnTo>
                    <a:cubicBezTo>
                      <a:pt x="47827" y="-308"/>
                      <a:pt x="45366" y="-409"/>
                      <a:pt x="43714" y="973"/>
                    </a:cubicBezTo>
                    <a:cubicBezTo>
                      <a:pt x="30768" y="11795"/>
                      <a:pt x="16879" y="21133"/>
                      <a:pt x="2248" y="28988"/>
                    </a:cubicBezTo>
                    <a:cubicBezTo>
                      <a:pt x="326" y="29999"/>
                      <a:pt x="-517" y="32292"/>
                      <a:pt x="326" y="34281"/>
                    </a:cubicBezTo>
                    <a:lnTo>
                      <a:pt x="326" y="34281"/>
                    </a:lnTo>
                    <a:close/>
                  </a:path>
                </a:pathLst>
              </a:custGeom>
              <a:solidFill>
                <a:schemeClr val="bg2"/>
              </a:solidFill>
              <a:ln w="3325" cap="flat">
                <a:noFill/>
                <a:prstDash val="solid"/>
                <a:miter/>
              </a:ln>
            </p:spPr>
            <p:txBody>
              <a:bodyPr rtlCol="0" anchor="ctr"/>
              <a:lstStyle/>
              <a:p>
                <a:endParaRPr lang="en-US" dirty="0"/>
              </a:p>
            </p:txBody>
          </p:sp>
          <p:sp>
            <p:nvSpPr>
              <p:cNvPr id="143" name="Freeform: Shape 142">
                <a:extLst>
                  <a:ext uri="{FF2B5EF4-FFF2-40B4-BE49-F238E27FC236}">
                    <a16:creationId xmlns:a16="http://schemas.microsoft.com/office/drawing/2014/main" id="{3013CE32-7B56-72A9-03A5-1CAC69F3F0D6}"/>
                  </a:ext>
                </a:extLst>
              </p:cNvPr>
              <p:cNvSpPr/>
              <p:nvPr/>
            </p:nvSpPr>
            <p:spPr>
              <a:xfrm>
                <a:off x="3687078" y="3634946"/>
                <a:ext cx="29355" cy="44460"/>
              </a:xfrm>
              <a:custGeom>
                <a:avLst/>
                <a:gdLst>
                  <a:gd name="connsiteX0" fmla="*/ 35134 w 48431"/>
                  <a:gd name="connsiteY0" fmla="*/ 2826 h 73352"/>
                  <a:gd name="connsiteX1" fmla="*/ 29572 w 48431"/>
                  <a:gd name="connsiteY1" fmla="*/ 332 h 73352"/>
                  <a:gd name="connsiteX2" fmla="*/ 2534 w 48431"/>
                  <a:gd name="connsiteY2" fmla="*/ 11760 h 73352"/>
                  <a:gd name="connsiteX3" fmla="*/ 208 w 48431"/>
                  <a:gd name="connsiteY3" fmla="*/ 16884 h 73352"/>
                  <a:gd name="connsiteX4" fmla="*/ 10794 w 48431"/>
                  <a:gd name="connsiteY4" fmla="*/ 69543 h 73352"/>
                  <a:gd name="connsiteX5" fmla="*/ 14941 w 48431"/>
                  <a:gd name="connsiteY5" fmla="*/ 73352 h 73352"/>
                  <a:gd name="connsiteX6" fmla="*/ 44270 w 48431"/>
                  <a:gd name="connsiteY6" fmla="*/ 73352 h 73352"/>
                  <a:gd name="connsiteX7" fmla="*/ 48417 w 48431"/>
                  <a:gd name="connsiteY7" fmla="*/ 68869 h 73352"/>
                  <a:gd name="connsiteX8" fmla="*/ 35134 w 48431"/>
                  <a:gd name="connsiteY8" fmla="*/ 2826 h 73352"/>
                  <a:gd name="connsiteX9" fmla="*/ 35134 w 48431"/>
                  <a:gd name="connsiteY9" fmla="*/ 2826 h 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31" h="73352">
                    <a:moveTo>
                      <a:pt x="35134" y="2826"/>
                    </a:moveTo>
                    <a:cubicBezTo>
                      <a:pt x="34393" y="534"/>
                      <a:pt x="31797" y="-612"/>
                      <a:pt x="29572" y="332"/>
                    </a:cubicBezTo>
                    <a:lnTo>
                      <a:pt x="2534" y="11760"/>
                    </a:lnTo>
                    <a:cubicBezTo>
                      <a:pt x="545" y="12603"/>
                      <a:pt x="-466" y="14828"/>
                      <a:pt x="208" y="16884"/>
                    </a:cubicBezTo>
                    <a:cubicBezTo>
                      <a:pt x="5602" y="33875"/>
                      <a:pt x="9176" y="51507"/>
                      <a:pt x="10794" y="69543"/>
                    </a:cubicBezTo>
                    <a:cubicBezTo>
                      <a:pt x="10996" y="71700"/>
                      <a:pt x="12783" y="73352"/>
                      <a:pt x="14941" y="73352"/>
                    </a:cubicBezTo>
                    <a:lnTo>
                      <a:pt x="44270" y="73352"/>
                    </a:lnTo>
                    <a:cubicBezTo>
                      <a:pt x="46698" y="73352"/>
                      <a:pt x="48619" y="71296"/>
                      <a:pt x="48417" y="68869"/>
                    </a:cubicBezTo>
                    <a:cubicBezTo>
                      <a:pt x="46563" y="46214"/>
                      <a:pt x="42113" y="24065"/>
                      <a:pt x="35134" y="2826"/>
                    </a:cubicBezTo>
                    <a:lnTo>
                      <a:pt x="35134" y="2826"/>
                    </a:lnTo>
                    <a:close/>
                  </a:path>
                </a:pathLst>
              </a:custGeom>
              <a:solidFill>
                <a:schemeClr val="bg2"/>
              </a:solidFill>
              <a:ln w="3325" cap="flat">
                <a:noFill/>
                <a:prstDash val="solid"/>
                <a:miter/>
              </a:ln>
            </p:spPr>
            <p:txBody>
              <a:bodyPr rtlCol="0" anchor="ctr"/>
              <a:lstStyle/>
              <a:p>
                <a:endParaRPr lang="en-US" dirty="0"/>
              </a:p>
            </p:txBody>
          </p:sp>
          <p:sp>
            <p:nvSpPr>
              <p:cNvPr id="144" name="Freeform: Shape 143">
                <a:extLst>
                  <a:ext uri="{FF2B5EF4-FFF2-40B4-BE49-F238E27FC236}">
                    <a16:creationId xmlns:a16="http://schemas.microsoft.com/office/drawing/2014/main" id="{8FEEE95E-8704-1135-7516-3DAEDFBC6A1F}"/>
                  </a:ext>
                </a:extLst>
              </p:cNvPr>
              <p:cNvSpPr/>
              <p:nvPr/>
            </p:nvSpPr>
            <p:spPr>
              <a:xfrm>
                <a:off x="3431469" y="3805560"/>
                <a:ext cx="45327" cy="39949"/>
              </a:xfrm>
              <a:custGeom>
                <a:avLst/>
                <a:gdLst>
                  <a:gd name="connsiteX0" fmla="*/ 57761 w 74782"/>
                  <a:gd name="connsiteY0" fmla="*/ 65476 h 65909"/>
                  <a:gd name="connsiteX1" fmla="*/ 63458 w 74782"/>
                  <a:gd name="connsiteY1" fmla="*/ 63285 h 65909"/>
                  <a:gd name="connsiteX2" fmla="*/ 74482 w 74782"/>
                  <a:gd name="connsiteY2" fmla="*/ 36079 h 65909"/>
                  <a:gd name="connsiteX3" fmla="*/ 72493 w 74782"/>
                  <a:gd name="connsiteY3" fmla="*/ 30820 h 65909"/>
                  <a:gd name="connsiteX4" fmla="*/ 27588 w 74782"/>
                  <a:gd name="connsiteY4" fmla="*/ 985 h 65909"/>
                  <a:gd name="connsiteX5" fmla="*/ 21958 w 74782"/>
                  <a:gd name="connsiteY5" fmla="*/ 1221 h 65909"/>
                  <a:gd name="connsiteX6" fmla="*/ 1225 w 74782"/>
                  <a:gd name="connsiteY6" fmla="*/ 21954 h 65909"/>
                  <a:gd name="connsiteX7" fmla="*/ 1461 w 74782"/>
                  <a:gd name="connsiteY7" fmla="*/ 28056 h 65909"/>
                  <a:gd name="connsiteX8" fmla="*/ 57761 w 74782"/>
                  <a:gd name="connsiteY8" fmla="*/ 65476 h 65909"/>
                  <a:gd name="connsiteX9" fmla="*/ 57761 w 74782"/>
                  <a:gd name="connsiteY9" fmla="*/ 65476 h 6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782" h="65909">
                    <a:moveTo>
                      <a:pt x="57761" y="65476"/>
                    </a:moveTo>
                    <a:cubicBezTo>
                      <a:pt x="59918" y="66555"/>
                      <a:pt x="62581" y="65544"/>
                      <a:pt x="63458" y="63285"/>
                    </a:cubicBezTo>
                    <a:lnTo>
                      <a:pt x="74482" y="36079"/>
                    </a:lnTo>
                    <a:cubicBezTo>
                      <a:pt x="75291" y="34090"/>
                      <a:pt x="74414" y="31798"/>
                      <a:pt x="72493" y="30820"/>
                    </a:cubicBezTo>
                    <a:cubicBezTo>
                      <a:pt x="56614" y="22594"/>
                      <a:pt x="41545" y="12649"/>
                      <a:pt x="27588" y="985"/>
                    </a:cubicBezTo>
                    <a:cubicBezTo>
                      <a:pt x="25936" y="-397"/>
                      <a:pt x="23475" y="-330"/>
                      <a:pt x="21958" y="1221"/>
                    </a:cubicBezTo>
                    <a:lnTo>
                      <a:pt x="1225" y="21954"/>
                    </a:lnTo>
                    <a:cubicBezTo>
                      <a:pt x="-494" y="23673"/>
                      <a:pt x="-393" y="26471"/>
                      <a:pt x="1461" y="28056"/>
                    </a:cubicBezTo>
                    <a:cubicBezTo>
                      <a:pt x="18857" y="42855"/>
                      <a:pt x="37735" y="55363"/>
                      <a:pt x="57761" y="65476"/>
                    </a:cubicBezTo>
                    <a:lnTo>
                      <a:pt x="57761" y="65476"/>
                    </a:lnTo>
                    <a:close/>
                  </a:path>
                </a:pathLst>
              </a:custGeom>
              <a:solidFill>
                <a:schemeClr val="bg2"/>
              </a:solidFill>
              <a:ln w="3325" cap="flat">
                <a:noFill/>
                <a:prstDash val="solid"/>
                <a:miter/>
              </a:ln>
            </p:spPr>
            <p:txBody>
              <a:bodyPr rtlCol="0" anchor="ctr"/>
              <a:lstStyle/>
              <a:p>
                <a:endParaRPr lang="en-US" dirty="0"/>
              </a:p>
            </p:txBody>
          </p:sp>
          <p:sp>
            <p:nvSpPr>
              <p:cNvPr id="145" name="Freeform: Shape 144">
                <a:extLst>
                  <a:ext uri="{FF2B5EF4-FFF2-40B4-BE49-F238E27FC236}">
                    <a16:creationId xmlns:a16="http://schemas.microsoft.com/office/drawing/2014/main" id="{D03CBD42-3441-6F21-FEF0-AF128740C1E0}"/>
                  </a:ext>
                </a:extLst>
              </p:cNvPr>
              <p:cNvSpPr/>
              <p:nvPr/>
            </p:nvSpPr>
            <p:spPr>
              <a:xfrm>
                <a:off x="3390676" y="3760307"/>
                <a:ext cx="38733" cy="43192"/>
              </a:xfrm>
              <a:custGeom>
                <a:avLst/>
                <a:gdLst>
                  <a:gd name="connsiteX0" fmla="*/ 35859 w 63903"/>
                  <a:gd name="connsiteY0" fmla="*/ 69813 h 71260"/>
                  <a:gd name="connsiteX1" fmla="*/ 41961 w 63903"/>
                  <a:gd name="connsiteY1" fmla="*/ 70049 h 71260"/>
                  <a:gd name="connsiteX2" fmla="*/ 62694 w 63903"/>
                  <a:gd name="connsiteY2" fmla="*/ 49316 h 71260"/>
                  <a:gd name="connsiteX3" fmla="*/ 62930 w 63903"/>
                  <a:gd name="connsiteY3" fmla="*/ 43686 h 71260"/>
                  <a:gd name="connsiteX4" fmla="*/ 34915 w 63903"/>
                  <a:gd name="connsiteY4" fmla="*/ 2220 h 71260"/>
                  <a:gd name="connsiteX5" fmla="*/ 29623 w 63903"/>
                  <a:gd name="connsiteY5" fmla="*/ 332 h 71260"/>
                  <a:gd name="connsiteX6" fmla="*/ 2552 w 63903"/>
                  <a:gd name="connsiteY6" fmla="*/ 11794 h 71260"/>
                  <a:gd name="connsiteX7" fmla="*/ 461 w 63903"/>
                  <a:gd name="connsiteY7" fmla="*/ 17559 h 71260"/>
                  <a:gd name="connsiteX8" fmla="*/ 35859 w 63903"/>
                  <a:gd name="connsiteY8" fmla="*/ 69813 h 71260"/>
                  <a:gd name="connsiteX9" fmla="*/ 35859 w 63903"/>
                  <a:gd name="connsiteY9" fmla="*/ 69813 h 71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03" h="71260">
                    <a:moveTo>
                      <a:pt x="35859" y="69813"/>
                    </a:moveTo>
                    <a:cubicBezTo>
                      <a:pt x="37444" y="71667"/>
                      <a:pt x="40242" y="71735"/>
                      <a:pt x="41961" y="70049"/>
                    </a:cubicBezTo>
                    <a:lnTo>
                      <a:pt x="62694" y="49316"/>
                    </a:lnTo>
                    <a:cubicBezTo>
                      <a:pt x="64211" y="47799"/>
                      <a:pt x="64313" y="45338"/>
                      <a:pt x="62930" y="43686"/>
                    </a:cubicBezTo>
                    <a:cubicBezTo>
                      <a:pt x="52109" y="30741"/>
                      <a:pt x="42770" y="16851"/>
                      <a:pt x="34915" y="2220"/>
                    </a:cubicBezTo>
                    <a:cubicBezTo>
                      <a:pt x="33904" y="298"/>
                      <a:pt x="31612" y="-511"/>
                      <a:pt x="29623" y="332"/>
                    </a:cubicBezTo>
                    <a:lnTo>
                      <a:pt x="2552" y="11794"/>
                    </a:lnTo>
                    <a:cubicBezTo>
                      <a:pt x="327" y="12738"/>
                      <a:pt x="-651" y="15401"/>
                      <a:pt x="461" y="17559"/>
                    </a:cubicBezTo>
                    <a:cubicBezTo>
                      <a:pt x="10204" y="36033"/>
                      <a:pt x="22037" y="53564"/>
                      <a:pt x="35859" y="69813"/>
                    </a:cubicBezTo>
                    <a:lnTo>
                      <a:pt x="35859" y="69813"/>
                    </a:lnTo>
                    <a:close/>
                  </a:path>
                </a:pathLst>
              </a:custGeom>
              <a:solidFill>
                <a:schemeClr val="bg2"/>
              </a:solidFill>
              <a:ln w="3325" cap="flat">
                <a:noFill/>
                <a:prstDash val="solid"/>
                <a:miter/>
              </a:ln>
            </p:spPr>
            <p:txBody>
              <a:bodyPr rtlCol="0" anchor="ctr"/>
              <a:lstStyle/>
              <a:p>
                <a:endParaRPr lang="en-US" dirty="0"/>
              </a:p>
            </p:txBody>
          </p:sp>
          <p:sp>
            <p:nvSpPr>
              <p:cNvPr id="147" name="Freeform: Shape 146">
                <a:extLst>
                  <a:ext uri="{FF2B5EF4-FFF2-40B4-BE49-F238E27FC236}">
                    <a16:creationId xmlns:a16="http://schemas.microsoft.com/office/drawing/2014/main" id="{9F641254-37E7-CD0C-7ED0-4273489EEF94}"/>
                  </a:ext>
                </a:extLst>
              </p:cNvPr>
              <p:cNvSpPr/>
              <p:nvPr/>
            </p:nvSpPr>
            <p:spPr>
              <a:xfrm>
                <a:off x="3490874" y="3834393"/>
                <a:ext cx="41912" cy="28660"/>
              </a:xfrm>
              <a:custGeom>
                <a:avLst/>
                <a:gdLst>
                  <a:gd name="connsiteX0" fmla="*/ 16422 w 69148"/>
                  <a:gd name="connsiteY0" fmla="*/ 175 h 47285"/>
                  <a:gd name="connsiteX1" fmla="*/ 11332 w 69148"/>
                  <a:gd name="connsiteY1" fmla="*/ 2602 h 47285"/>
                  <a:gd name="connsiteX2" fmla="*/ 308 w 69148"/>
                  <a:gd name="connsiteY2" fmla="*/ 29842 h 47285"/>
                  <a:gd name="connsiteX3" fmla="*/ 2904 w 69148"/>
                  <a:gd name="connsiteY3" fmla="*/ 35371 h 47285"/>
                  <a:gd name="connsiteX4" fmla="*/ 64665 w 69148"/>
                  <a:gd name="connsiteY4" fmla="*/ 47271 h 47285"/>
                  <a:gd name="connsiteX5" fmla="*/ 69148 w 69148"/>
                  <a:gd name="connsiteY5" fmla="*/ 43124 h 47285"/>
                  <a:gd name="connsiteX6" fmla="*/ 69148 w 69148"/>
                  <a:gd name="connsiteY6" fmla="*/ 13795 h 47285"/>
                  <a:gd name="connsiteX7" fmla="*/ 65339 w 69148"/>
                  <a:gd name="connsiteY7" fmla="*/ 9648 h 47285"/>
                  <a:gd name="connsiteX8" fmla="*/ 16422 w 69148"/>
                  <a:gd name="connsiteY8" fmla="*/ 175 h 47285"/>
                  <a:gd name="connsiteX9" fmla="*/ 16422 w 69148"/>
                  <a:gd name="connsiteY9" fmla="*/ 175 h 4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148" h="47285">
                    <a:moveTo>
                      <a:pt x="16422" y="175"/>
                    </a:moveTo>
                    <a:cubicBezTo>
                      <a:pt x="14366" y="-432"/>
                      <a:pt x="12141" y="579"/>
                      <a:pt x="11332" y="2602"/>
                    </a:cubicBezTo>
                    <a:lnTo>
                      <a:pt x="308" y="29842"/>
                    </a:lnTo>
                    <a:cubicBezTo>
                      <a:pt x="-602" y="32100"/>
                      <a:pt x="578" y="34663"/>
                      <a:pt x="2904" y="35371"/>
                    </a:cubicBezTo>
                    <a:cubicBezTo>
                      <a:pt x="22828" y="41574"/>
                      <a:pt x="43527" y="45552"/>
                      <a:pt x="64665" y="47271"/>
                    </a:cubicBezTo>
                    <a:cubicBezTo>
                      <a:pt x="67092" y="47473"/>
                      <a:pt x="69148" y="45518"/>
                      <a:pt x="69148" y="43124"/>
                    </a:cubicBezTo>
                    <a:lnTo>
                      <a:pt x="69148" y="13795"/>
                    </a:lnTo>
                    <a:cubicBezTo>
                      <a:pt x="69148" y="11637"/>
                      <a:pt x="67496" y="9850"/>
                      <a:pt x="65339" y="9648"/>
                    </a:cubicBezTo>
                    <a:cubicBezTo>
                      <a:pt x="48618" y="8097"/>
                      <a:pt x="32233" y="4928"/>
                      <a:pt x="16422" y="175"/>
                    </a:cubicBezTo>
                    <a:lnTo>
                      <a:pt x="16422" y="175"/>
                    </a:lnTo>
                    <a:close/>
                  </a:path>
                </a:pathLst>
              </a:custGeom>
              <a:solidFill>
                <a:schemeClr val="bg2"/>
              </a:solidFill>
              <a:ln w="3325" cap="flat">
                <a:noFill/>
                <a:prstDash val="solid"/>
                <a:miter/>
              </a:ln>
            </p:spPr>
            <p:txBody>
              <a:bodyPr rtlCol="0" anchor="ctr"/>
              <a:lstStyle/>
              <a:p>
                <a:endParaRPr lang="en-US" dirty="0"/>
              </a:p>
            </p:txBody>
          </p:sp>
          <p:sp>
            <p:nvSpPr>
              <p:cNvPr id="148" name="Freeform: Shape 147">
                <a:extLst>
                  <a:ext uri="{FF2B5EF4-FFF2-40B4-BE49-F238E27FC236}">
                    <a16:creationId xmlns:a16="http://schemas.microsoft.com/office/drawing/2014/main" id="{F3A9971A-A34F-5683-801F-6FB5596FA7B7}"/>
                  </a:ext>
                </a:extLst>
              </p:cNvPr>
              <p:cNvSpPr/>
              <p:nvPr/>
            </p:nvSpPr>
            <p:spPr>
              <a:xfrm>
                <a:off x="3555570" y="3833678"/>
                <a:ext cx="44460" cy="29355"/>
              </a:xfrm>
              <a:custGeom>
                <a:avLst/>
                <a:gdLst>
                  <a:gd name="connsiteX0" fmla="*/ 73021 w 73352"/>
                  <a:gd name="connsiteY0" fmla="*/ 29572 h 48431"/>
                  <a:gd name="connsiteX1" fmla="*/ 61592 w 73352"/>
                  <a:gd name="connsiteY1" fmla="*/ 2534 h 48431"/>
                  <a:gd name="connsiteX2" fmla="*/ 56468 w 73352"/>
                  <a:gd name="connsiteY2" fmla="*/ 208 h 48431"/>
                  <a:gd name="connsiteX3" fmla="*/ 3809 w 73352"/>
                  <a:gd name="connsiteY3" fmla="*/ 10794 h 48431"/>
                  <a:gd name="connsiteX4" fmla="*/ 0 w 73352"/>
                  <a:gd name="connsiteY4" fmla="*/ 14941 h 48431"/>
                  <a:gd name="connsiteX5" fmla="*/ 0 w 73352"/>
                  <a:gd name="connsiteY5" fmla="*/ 44270 h 48431"/>
                  <a:gd name="connsiteX6" fmla="*/ 4484 w 73352"/>
                  <a:gd name="connsiteY6" fmla="*/ 48417 h 48431"/>
                  <a:gd name="connsiteX7" fmla="*/ 70526 w 73352"/>
                  <a:gd name="connsiteY7" fmla="*/ 35134 h 48431"/>
                  <a:gd name="connsiteX8" fmla="*/ 73021 w 73352"/>
                  <a:gd name="connsiteY8" fmla="*/ 29572 h 48431"/>
                  <a:gd name="connsiteX9" fmla="*/ 73021 w 73352"/>
                  <a:gd name="connsiteY9" fmla="*/ 29572 h 4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52" h="48431">
                    <a:moveTo>
                      <a:pt x="73021" y="29572"/>
                    </a:moveTo>
                    <a:lnTo>
                      <a:pt x="61592" y="2534"/>
                    </a:lnTo>
                    <a:cubicBezTo>
                      <a:pt x="60750" y="545"/>
                      <a:pt x="58525" y="-466"/>
                      <a:pt x="56468" y="208"/>
                    </a:cubicBezTo>
                    <a:cubicBezTo>
                      <a:pt x="39477" y="5602"/>
                      <a:pt x="21846" y="9176"/>
                      <a:pt x="3809" y="10794"/>
                    </a:cubicBezTo>
                    <a:cubicBezTo>
                      <a:pt x="1652" y="10996"/>
                      <a:pt x="0" y="12783"/>
                      <a:pt x="0" y="14941"/>
                    </a:cubicBezTo>
                    <a:lnTo>
                      <a:pt x="0" y="44270"/>
                    </a:lnTo>
                    <a:cubicBezTo>
                      <a:pt x="0" y="46698"/>
                      <a:pt x="2056" y="48619"/>
                      <a:pt x="4484" y="48417"/>
                    </a:cubicBezTo>
                    <a:cubicBezTo>
                      <a:pt x="27172" y="46596"/>
                      <a:pt x="49287" y="42113"/>
                      <a:pt x="70526" y="35134"/>
                    </a:cubicBezTo>
                    <a:cubicBezTo>
                      <a:pt x="72819" y="34393"/>
                      <a:pt x="73965" y="31830"/>
                      <a:pt x="73021" y="29572"/>
                    </a:cubicBezTo>
                    <a:lnTo>
                      <a:pt x="73021" y="29572"/>
                    </a:lnTo>
                    <a:close/>
                  </a:path>
                </a:pathLst>
              </a:custGeom>
              <a:solidFill>
                <a:schemeClr val="bg2"/>
              </a:solidFill>
              <a:ln w="3325" cap="flat">
                <a:noFill/>
                <a:prstDash val="solid"/>
                <a:miter/>
              </a:ln>
            </p:spPr>
            <p:txBody>
              <a:bodyPr rtlCol="0" anchor="ctr"/>
              <a:lstStyle/>
              <a:p>
                <a:endParaRPr lang="en-US" dirty="0"/>
              </a:p>
            </p:txBody>
          </p:sp>
        </p:grpSp>
        <p:sp>
          <p:nvSpPr>
            <p:cNvPr id="194" name="Freeform: Shape 193">
              <a:extLst>
                <a:ext uri="{FF2B5EF4-FFF2-40B4-BE49-F238E27FC236}">
                  <a16:creationId xmlns:a16="http://schemas.microsoft.com/office/drawing/2014/main" id="{0CD09129-BB21-8F58-FD67-B8CF7133CE31}"/>
                </a:ext>
              </a:extLst>
            </p:cNvPr>
            <p:cNvSpPr/>
            <p:nvPr/>
          </p:nvSpPr>
          <p:spPr>
            <a:xfrm>
              <a:off x="3415583" y="3562203"/>
              <a:ext cx="257190" cy="257190"/>
            </a:xfrm>
            <a:custGeom>
              <a:avLst/>
              <a:gdLst>
                <a:gd name="connsiteX0" fmla="*/ 216298 w 432596"/>
                <a:gd name="connsiteY0" fmla="*/ 0 h 432596"/>
                <a:gd name="connsiteX1" fmla="*/ 0 w 432596"/>
                <a:gd name="connsiteY1" fmla="*/ 216298 h 432596"/>
                <a:gd name="connsiteX2" fmla="*/ 216298 w 432596"/>
                <a:gd name="connsiteY2" fmla="*/ 432596 h 432596"/>
                <a:gd name="connsiteX3" fmla="*/ 432596 w 432596"/>
                <a:gd name="connsiteY3" fmla="*/ 216298 h 432596"/>
                <a:gd name="connsiteX4" fmla="*/ 216298 w 432596"/>
                <a:gd name="connsiteY4" fmla="*/ 0 h 432596"/>
                <a:gd name="connsiteX5" fmla="*/ 307962 w 432596"/>
                <a:gd name="connsiteY5" fmla="*/ 277992 h 432596"/>
                <a:gd name="connsiteX6" fmla="*/ 289420 w 432596"/>
                <a:gd name="connsiteY6" fmla="*/ 317267 h 432596"/>
                <a:gd name="connsiteX7" fmla="*/ 239930 w 432596"/>
                <a:gd name="connsiteY7" fmla="*/ 333651 h 432596"/>
                <a:gd name="connsiteX8" fmla="*/ 239930 w 432596"/>
                <a:gd name="connsiteY8" fmla="*/ 362711 h 432596"/>
                <a:gd name="connsiteX9" fmla="*/ 197858 w 432596"/>
                <a:gd name="connsiteY9" fmla="*/ 362711 h 432596"/>
                <a:gd name="connsiteX10" fmla="*/ 197858 w 432596"/>
                <a:gd name="connsiteY10" fmla="*/ 333651 h 432596"/>
                <a:gd name="connsiteX11" fmla="*/ 146075 w 432596"/>
                <a:gd name="connsiteY11" fmla="*/ 314165 h 432596"/>
                <a:gd name="connsiteX12" fmla="*/ 127365 w 432596"/>
                <a:gd name="connsiteY12" fmla="*/ 261608 h 432596"/>
                <a:gd name="connsiteX13" fmla="*/ 169438 w 432596"/>
                <a:gd name="connsiteY13" fmla="*/ 261608 h 432596"/>
                <a:gd name="connsiteX14" fmla="*/ 177630 w 432596"/>
                <a:gd name="connsiteY14" fmla="*/ 286791 h 432596"/>
                <a:gd name="connsiteX15" fmla="*/ 200352 w 432596"/>
                <a:gd name="connsiteY15" fmla="*/ 295927 h 432596"/>
                <a:gd name="connsiteX16" fmla="*/ 234671 w 432596"/>
                <a:gd name="connsiteY16" fmla="*/ 295927 h 432596"/>
                <a:gd name="connsiteX17" fmla="*/ 256787 w 432596"/>
                <a:gd name="connsiteY17" fmla="*/ 290196 h 432596"/>
                <a:gd name="connsiteX18" fmla="*/ 265282 w 432596"/>
                <a:gd name="connsiteY18" fmla="*/ 274890 h 432596"/>
                <a:gd name="connsiteX19" fmla="*/ 265282 w 432596"/>
                <a:gd name="connsiteY19" fmla="*/ 264372 h 432596"/>
                <a:gd name="connsiteX20" fmla="*/ 243032 w 432596"/>
                <a:gd name="connsiteY20" fmla="*/ 245493 h 432596"/>
                <a:gd name="connsiteX21" fmla="*/ 186126 w 432596"/>
                <a:gd name="connsiteY21" fmla="*/ 235919 h 432596"/>
                <a:gd name="connsiteX22" fmla="*/ 143918 w 432596"/>
                <a:gd name="connsiteY22" fmla="*/ 218152 h 432596"/>
                <a:gd name="connsiteX23" fmla="*/ 129523 w 432596"/>
                <a:gd name="connsiteY23" fmla="*/ 184609 h 432596"/>
                <a:gd name="connsiteX24" fmla="*/ 129523 w 432596"/>
                <a:gd name="connsiteY24" fmla="*/ 167280 h 432596"/>
                <a:gd name="connsiteX25" fmla="*/ 138018 w 432596"/>
                <a:gd name="connsiteY25" fmla="*/ 139131 h 432596"/>
                <a:gd name="connsiteX26" fmla="*/ 161988 w 432596"/>
                <a:gd name="connsiteY26" fmla="*/ 119645 h 432596"/>
                <a:gd name="connsiteX27" fmla="*/ 197858 w 432596"/>
                <a:gd name="connsiteY27" fmla="*/ 112228 h 432596"/>
                <a:gd name="connsiteX28" fmla="*/ 197858 w 432596"/>
                <a:gd name="connsiteY28" fmla="*/ 83168 h 432596"/>
                <a:gd name="connsiteX29" fmla="*/ 239930 w 432596"/>
                <a:gd name="connsiteY29" fmla="*/ 83168 h 432596"/>
                <a:gd name="connsiteX30" fmla="*/ 239930 w 432596"/>
                <a:gd name="connsiteY30" fmla="*/ 112228 h 432596"/>
                <a:gd name="connsiteX31" fmla="*/ 286453 w 432596"/>
                <a:gd name="connsiteY31" fmla="*/ 131714 h 432596"/>
                <a:gd name="connsiteX32" fmla="*/ 303916 w 432596"/>
                <a:gd name="connsiteY32" fmla="*/ 178709 h 432596"/>
                <a:gd name="connsiteX33" fmla="*/ 261877 w 432596"/>
                <a:gd name="connsiteY33" fmla="*/ 178709 h 432596"/>
                <a:gd name="connsiteX34" fmla="*/ 254764 w 432596"/>
                <a:gd name="connsiteY34" fmla="*/ 157841 h 432596"/>
                <a:gd name="connsiteX35" fmla="*/ 235919 w 432596"/>
                <a:gd name="connsiteY35" fmla="*/ 149952 h 432596"/>
                <a:gd name="connsiteX36" fmla="*/ 200959 w 432596"/>
                <a:gd name="connsiteY36" fmla="*/ 149952 h 432596"/>
                <a:gd name="connsiteX37" fmla="*/ 180091 w 432596"/>
                <a:gd name="connsiteY37" fmla="*/ 155515 h 432596"/>
                <a:gd name="connsiteX38" fmla="*/ 172202 w 432596"/>
                <a:gd name="connsiteY38" fmla="*/ 170348 h 432596"/>
                <a:gd name="connsiteX39" fmla="*/ 172202 w 432596"/>
                <a:gd name="connsiteY39" fmla="*/ 178709 h 432596"/>
                <a:gd name="connsiteX40" fmla="*/ 193542 w 432596"/>
                <a:gd name="connsiteY40" fmla="*/ 197891 h 432596"/>
                <a:gd name="connsiteX41" fmla="*/ 250145 w 432596"/>
                <a:gd name="connsiteY41" fmla="*/ 207803 h 432596"/>
                <a:gd name="connsiteX42" fmla="*/ 293129 w 432596"/>
                <a:gd name="connsiteY42" fmla="*/ 225266 h 432596"/>
                <a:gd name="connsiteX43" fmla="*/ 307962 w 432596"/>
                <a:gd name="connsiteY43" fmla="*/ 257596 h 432596"/>
                <a:gd name="connsiteX44" fmla="*/ 307962 w 432596"/>
                <a:gd name="connsiteY44" fmla="*/ 277992 h 43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596" h="432596">
                  <a:moveTo>
                    <a:pt x="216298" y="0"/>
                  </a:moveTo>
                  <a:cubicBezTo>
                    <a:pt x="96855" y="0"/>
                    <a:pt x="0" y="96855"/>
                    <a:pt x="0" y="216298"/>
                  </a:cubicBezTo>
                  <a:cubicBezTo>
                    <a:pt x="0" y="335741"/>
                    <a:pt x="96855" y="432596"/>
                    <a:pt x="216298" y="432596"/>
                  </a:cubicBezTo>
                  <a:cubicBezTo>
                    <a:pt x="335741" y="432596"/>
                    <a:pt x="432596" y="335741"/>
                    <a:pt x="432596" y="216298"/>
                  </a:cubicBezTo>
                  <a:cubicBezTo>
                    <a:pt x="432596" y="96855"/>
                    <a:pt x="335741" y="0"/>
                    <a:pt x="216298" y="0"/>
                  </a:cubicBezTo>
                  <a:close/>
                  <a:moveTo>
                    <a:pt x="307962" y="277992"/>
                  </a:moveTo>
                  <a:cubicBezTo>
                    <a:pt x="307962" y="294072"/>
                    <a:pt x="301793" y="307153"/>
                    <a:pt x="289420" y="317267"/>
                  </a:cubicBezTo>
                  <a:cubicBezTo>
                    <a:pt x="277048" y="327380"/>
                    <a:pt x="260562" y="332842"/>
                    <a:pt x="239930" y="333651"/>
                  </a:cubicBezTo>
                  <a:lnTo>
                    <a:pt x="239930" y="362711"/>
                  </a:lnTo>
                  <a:lnTo>
                    <a:pt x="197858" y="362711"/>
                  </a:lnTo>
                  <a:lnTo>
                    <a:pt x="197858" y="333651"/>
                  </a:lnTo>
                  <a:cubicBezTo>
                    <a:pt x="175810" y="333448"/>
                    <a:pt x="158549" y="326942"/>
                    <a:pt x="146075" y="314165"/>
                  </a:cubicBezTo>
                  <a:cubicBezTo>
                    <a:pt x="133602" y="301388"/>
                    <a:pt x="127365" y="283858"/>
                    <a:pt x="127365" y="261608"/>
                  </a:cubicBezTo>
                  <a:lnTo>
                    <a:pt x="169438" y="261608"/>
                  </a:lnTo>
                  <a:cubicBezTo>
                    <a:pt x="169438" y="272328"/>
                    <a:pt x="172169" y="280722"/>
                    <a:pt x="177630" y="286791"/>
                  </a:cubicBezTo>
                  <a:cubicBezTo>
                    <a:pt x="183092" y="292893"/>
                    <a:pt x="190677" y="295927"/>
                    <a:pt x="200352" y="295927"/>
                  </a:cubicBezTo>
                  <a:lnTo>
                    <a:pt x="234671" y="295927"/>
                  </a:lnTo>
                  <a:cubicBezTo>
                    <a:pt x="243740" y="295927"/>
                    <a:pt x="251089" y="294039"/>
                    <a:pt x="256787" y="290196"/>
                  </a:cubicBezTo>
                  <a:cubicBezTo>
                    <a:pt x="262450" y="286386"/>
                    <a:pt x="265282" y="281262"/>
                    <a:pt x="265282" y="274890"/>
                  </a:cubicBezTo>
                  <a:lnTo>
                    <a:pt x="265282" y="264372"/>
                  </a:lnTo>
                  <a:cubicBezTo>
                    <a:pt x="265282" y="254292"/>
                    <a:pt x="257865" y="247988"/>
                    <a:pt x="243032" y="245493"/>
                  </a:cubicBezTo>
                  <a:lnTo>
                    <a:pt x="186126" y="235919"/>
                  </a:lnTo>
                  <a:cubicBezTo>
                    <a:pt x="167584" y="232817"/>
                    <a:pt x="153492" y="226918"/>
                    <a:pt x="143918" y="218152"/>
                  </a:cubicBezTo>
                  <a:cubicBezTo>
                    <a:pt x="134344" y="209387"/>
                    <a:pt x="129523" y="198195"/>
                    <a:pt x="129523" y="184609"/>
                  </a:cubicBezTo>
                  <a:lnTo>
                    <a:pt x="129523" y="167280"/>
                  </a:lnTo>
                  <a:cubicBezTo>
                    <a:pt x="129523" y="156762"/>
                    <a:pt x="132355" y="147390"/>
                    <a:pt x="138018" y="139131"/>
                  </a:cubicBezTo>
                  <a:cubicBezTo>
                    <a:pt x="143682" y="130871"/>
                    <a:pt x="151672" y="124398"/>
                    <a:pt x="161988" y="119645"/>
                  </a:cubicBezTo>
                  <a:cubicBezTo>
                    <a:pt x="172304" y="114892"/>
                    <a:pt x="184271" y="112431"/>
                    <a:pt x="197858" y="112228"/>
                  </a:cubicBezTo>
                  <a:lnTo>
                    <a:pt x="197858" y="83168"/>
                  </a:lnTo>
                  <a:lnTo>
                    <a:pt x="239930" y="83168"/>
                  </a:lnTo>
                  <a:lnTo>
                    <a:pt x="239930" y="112228"/>
                  </a:lnTo>
                  <a:cubicBezTo>
                    <a:pt x="259315" y="113273"/>
                    <a:pt x="274823" y="119746"/>
                    <a:pt x="286453" y="131714"/>
                  </a:cubicBezTo>
                  <a:cubicBezTo>
                    <a:pt x="298084" y="143682"/>
                    <a:pt x="303916" y="159358"/>
                    <a:pt x="303916" y="178709"/>
                  </a:cubicBezTo>
                  <a:lnTo>
                    <a:pt x="261877" y="178709"/>
                  </a:lnTo>
                  <a:cubicBezTo>
                    <a:pt x="261877" y="170045"/>
                    <a:pt x="259517" y="163100"/>
                    <a:pt x="254764" y="157841"/>
                  </a:cubicBezTo>
                  <a:cubicBezTo>
                    <a:pt x="250010" y="152582"/>
                    <a:pt x="243740" y="149952"/>
                    <a:pt x="235919" y="149952"/>
                  </a:cubicBezTo>
                  <a:lnTo>
                    <a:pt x="200959" y="149952"/>
                  </a:lnTo>
                  <a:cubicBezTo>
                    <a:pt x="192295" y="149952"/>
                    <a:pt x="185350" y="151807"/>
                    <a:pt x="180091" y="155515"/>
                  </a:cubicBezTo>
                  <a:cubicBezTo>
                    <a:pt x="174832" y="159223"/>
                    <a:pt x="172202" y="164179"/>
                    <a:pt x="172202" y="170348"/>
                  </a:cubicBezTo>
                  <a:lnTo>
                    <a:pt x="172202" y="178709"/>
                  </a:lnTo>
                  <a:cubicBezTo>
                    <a:pt x="172202" y="189025"/>
                    <a:pt x="179316" y="195397"/>
                    <a:pt x="193542" y="197891"/>
                  </a:cubicBezTo>
                  <a:lnTo>
                    <a:pt x="250145" y="207803"/>
                  </a:lnTo>
                  <a:cubicBezTo>
                    <a:pt x="268889" y="211106"/>
                    <a:pt x="283217" y="216939"/>
                    <a:pt x="293129" y="225266"/>
                  </a:cubicBezTo>
                  <a:cubicBezTo>
                    <a:pt x="303006" y="233626"/>
                    <a:pt x="307962" y="244381"/>
                    <a:pt x="307962" y="257596"/>
                  </a:cubicBezTo>
                  <a:lnTo>
                    <a:pt x="307962" y="277992"/>
                  </a:lnTo>
                  <a:close/>
                </a:path>
              </a:pathLst>
            </a:custGeom>
            <a:solidFill>
              <a:schemeClr val="tx1"/>
            </a:solidFill>
            <a:ln w="3325" cap="flat">
              <a:noFill/>
              <a:prstDash val="solid"/>
              <a:miter/>
            </a:ln>
          </p:spPr>
          <p:txBody>
            <a:bodyPr rtlCol="0" anchor="ctr"/>
            <a:lstStyle/>
            <a:p>
              <a:endParaRPr lang="en-US" dirty="0"/>
            </a:p>
          </p:txBody>
        </p:sp>
      </p:grpSp>
      <p:pic>
        <p:nvPicPr>
          <p:cNvPr id="264" name="Graphic 263">
            <a:extLst>
              <a:ext uri="{FF2B5EF4-FFF2-40B4-BE49-F238E27FC236}">
                <a16:creationId xmlns:a16="http://schemas.microsoft.com/office/drawing/2014/main" id="{328FAEB4-7E1F-F3D4-114C-97914D48EFD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8884417" y="3205970"/>
            <a:ext cx="774700" cy="609600"/>
          </a:xfrm>
          <a:prstGeom prst="rect">
            <a:avLst/>
          </a:prstGeom>
        </p:spPr>
      </p:pic>
      <p:pic>
        <p:nvPicPr>
          <p:cNvPr id="22" name="Graphic 21">
            <a:extLst>
              <a:ext uri="{FF2B5EF4-FFF2-40B4-BE49-F238E27FC236}">
                <a16:creationId xmlns:a16="http://schemas.microsoft.com/office/drawing/2014/main" id="{78014446-B964-3429-51C7-F2EC80E5E52B}"/>
              </a:ext>
            </a:extLst>
          </p:cNvPr>
          <p:cNvPicPr>
            <a:picLocks noChangeAspect="1"/>
          </p:cNvPicPr>
          <p:nvPr/>
        </p:nvPicPr>
        <p:blipFill rotWithShape="1">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rcRect t="15367" b="17121"/>
          <a:stretch/>
        </p:blipFill>
        <p:spPr>
          <a:xfrm>
            <a:off x="4493237" y="4434009"/>
            <a:ext cx="907472" cy="612648"/>
          </a:xfrm>
          <a:prstGeom prst="rect">
            <a:avLst/>
          </a:prstGeom>
        </p:spPr>
      </p:pic>
      <p:sp>
        <p:nvSpPr>
          <p:cNvPr id="13" name="Text Placeholder 81">
            <a:extLst>
              <a:ext uri="{FF2B5EF4-FFF2-40B4-BE49-F238E27FC236}">
                <a16:creationId xmlns:a16="http://schemas.microsoft.com/office/drawing/2014/main" id="{9288201F-AEF9-50C6-A6DB-96756B5AB7BD}"/>
              </a:ext>
            </a:extLst>
          </p:cNvPr>
          <p:cNvSpPr txBox="1">
            <a:spLocks/>
          </p:cNvSpPr>
          <p:nvPr/>
        </p:nvSpPr>
        <p:spPr>
          <a:xfrm>
            <a:off x="10782262" y="4093312"/>
            <a:ext cx="120094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arget</a:t>
            </a:r>
          </a:p>
        </p:txBody>
      </p:sp>
      <p:pic>
        <p:nvPicPr>
          <p:cNvPr id="24" name="Graphic 23">
            <a:extLst>
              <a:ext uri="{FF2B5EF4-FFF2-40B4-BE49-F238E27FC236}">
                <a16:creationId xmlns:a16="http://schemas.microsoft.com/office/drawing/2014/main" id="{DA3750F7-D17F-CD83-FE45-2D3D5D113C7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1076409" y="4434009"/>
            <a:ext cx="612648" cy="612648"/>
          </a:xfrm>
          <a:prstGeom prst="rect">
            <a:avLst/>
          </a:prstGeom>
        </p:spPr>
      </p:pic>
      <p:sp>
        <p:nvSpPr>
          <p:cNvPr id="30" name="object 49">
            <a:extLst>
              <a:ext uri="{FF2B5EF4-FFF2-40B4-BE49-F238E27FC236}">
                <a16:creationId xmlns:a16="http://schemas.microsoft.com/office/drawing/2014/main" id="{28305925-D7BF-CA93-BF7D-FB0519F74D98}"/>
              </a:ext>
            </a:extLst>
          </p:cNvPr>
          <p:cNvSpPr txBox="1"/>
          <p:nvPr/>
        </p:nvSpPr>
        <p:spPr>
          <a:xfrm>
            <a:off x="10415791" y="5428177"/>
            <a:ext cx="137160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Data Process</a:t>
            </a:r>
          </a:p>
        </p:txBody>
      </p:sp>
      <p:sp>
        <p:nvSpPr>
          <p:cNvPr id="5" name="TextBox 4">
            <a:extLst>
              <a:ext uri="{FF2B5EF4-FFF2-40B4-BE49-F238E27FC236}">
                <a16:creationId xmlns:a16="http://schemas.microsoft.com/office/drawing/2014/main" id="{093E8DF8-804B-252F-5C6C-5C08E6F0001A}"/>
              </a:ext>
            </a:extLst>
          </p:cNvPr>
          <p:cNvSpPr txBox="1"/>
          <p:nvPr/>
        </p:nvSpPr>
        <p:spPr>
          <a:xfrm>
            <a:off x="1331271" y="5428177"/>
            <a:ext cx="11887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log Contact</a:t>
            </a:r>
          </a:p>
        </p:txBody>
      </p:sp>
      <p:sp>
        <p:nvSpPr>
          <p:cNvPr id="16" name="TextBox 15">
            <a:extLst>
              <a:ext uri="{FF2B5EF4-FFF2-40B4-BE49-F238E27FC236}">
                <a16:creationId xmlns:a16="http://schemas.microsoft.com/office/drawing/2014/main" id="{AC93992A-FD81-2512-A5EC-8CE883149C9A}"/>
              </a:ext>
            </a:extLst>
          </p:cNvPr>
          <p:cNvSpPr txBox="1"/>
          <p:nvPr/>
        </p:nvSpPr>
        <p:spPr>
          <a:xfrm>
            <a:off x="2344365" y="5428177"/>
            <a:ext cx="135632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orkflow </a:t>
            </a:r>
          </a:p>
        </p:txBody>
      </p:sp>
      <p:sp>
        <p:nvSpPr>
          <p:cNvPr id="57" name="TextBox 56">
            <a:extLst>
              <a:ext uri="{FF2B5EF4-FFF2-40B4-BE49-F238E27FC236}">
                <a16:creationId xmlns:a16="http://schemas.microsoft.com/office/drawing/2014/main" id="{C49E99E3-441E-008C-7474-61E56CDF2A4D}"/>
              </a:ext>
            </a:extLst>
          </p:cNvPr>
          <p:cNvSpPr txBox="1"/>
          <p:nvPr/>
        </p:nvSpPr>
        <p:spPr>
          <a:xfrm>
            <a:off x="3733117" y="5421252"/>
            <a:ext cx="1549092" cy="15234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duce Burndown</a:t>
            </a:r>
          </a:p>
        </p:txBody>
      </p:sp>
      <p:sp>
        <p:nvSpPr>
          <p:cNvPr id="71" name="TextBox 70">
            <a:extLst>
              <a:ext uri="{FF2B5EF4-FFF2-40B4-BE49-F238E27FC236}">
                <a16:creationId xmlns:a16="http://schemas.microsoft.com/office/drawing/2014/main" id="{99140BD9-6715-924E-CA99-460744DE9D16}"/>
              </a:ext>
            </a:extLst>
          </p:cNvPr>
          <p:cNvSpPr txBox="1"/>
          <p:nvPr/>
        </p:nvSpPr>
        <p:spPr>
          <a:xfrm>
            <a:off x="5355863" y="5428177"/>
            <a:ext cx="11887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ransparency</a:t>
            </a:r>
          </a:p>
        </p:txBody>
      </p:sp>
      <p:pic>
        <p:nvPicPr>
          <p:cNvPr id="104" name="Graphic 103">
            <a:extLst>
              <a:ext uri="{FF2B5EF4-FFF2-40B4-BE49-F238E27FC236}">
                <a16:creationId xmlns:a16="http://schemas.microsoft.com/office/drawing/2014/main" id="{9147C4CD-4683-C19F-5256-7D81475AC007}"/>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535106" y="5705488"/>
            <a:ext cx="781050" cy="609600"/>
          </a:xfrm>
          <a:prstGeom prst="rect">
            <a:avLst/>
          </a:prstGeom>
        </p:spPr>
      </p:pic>
      <p:pic>
        <p:nvPicPr>
          <p:cNvPr id="3" name="Graphic 2">
            <a:extLst>
              <a:ext uri="{FF2B5EF4-FFF2-40B4-BE49-F238E27FC236}">
                <a16:creationId xmlns:a16="http://schemas.microsoft.com/office/drawing/2014/main" id="{B7FF4526-BBB6-B37B-B6D1-8ACE69C63DCB}"/>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5614903" y="5711643"/>
            <a:ext cx="781050" cy="609600"/>
          </a:xfrm>
          <a:prstGeom prst="rect">
            <a:avLst/>
          </a:prstGeom>
        </p:spPr>
      </p:pic>
      <p:pic>
        <p:nvPicPr>
          <p:cNvPr id="9" name="Graphic 8">
            <a:extLst>
              <a:ext uri="{FF2B5EF4-FFF2-40B4-BE49-F238E27FC236}">
                <a16:creationId xmlns:a16="http://schemas.microsoft.com/office/drawing/2014/main" id="{298BB51C-C46E-388B-5676-F0219CE270E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733117" y="5711643"/>
            <a:ext cx="781050" cy="609600"/>
          </a:xfrm>
          <a:prstGeom prst="rect">
            <a:avLst/>
          </a:prstGeom>
        </p:spPr>
      </p:pic>
      <p:pic>
        <p:nvPicPr>
          <p:cNvPr id="18" name="Graphic 17">
            <a:extLst>
              <a:ext uri="{FF2B5EF4-FFF2-40B4-BE49-F238E27FC236}">
                <a16:creationId xmlns:a16="http://schemas.microsoft.com/office/drawing/2014/main" id="{0E350642-E0BC-E547-9529-20B601EF565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rot="16200000" flipV="1">
            <a:off x="4606368" y="5711644"/>
            <a:ext cx="781050" cy="609600"/>
          </a:xfrm>
          <a:prstGeom prst="rect">
            <a:avLst/>
          </a:prstGeom>
        </p:spPr>
      </p:pic>
      <p:pic>
        <p:nvPicPr>
          <p:cNvPr id="103" name="Graphic 102">
            <a:extLst>
              <a:ext uri="{FF2B5EF4-FFF2-40B4-BE49-F238E27FC236}">
                <a16:creationId xmlns:a16="http://schemas.microsoft.com/office/drawing/2014/main" id="{CE06449C-F0FB-0883-1D44-7CE7D2C6CFC5}"/>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2632001" y="5705488"/>
            <a:ext cx="781050" cy="609600"/>
          </a:xfrm>
          <a:prstGeom prst="rect">
            <a:avLst/>
          </a:prstGeom>
        </p:spPr>
      </p:pic>
      <p:pic>
        <p:nvPicPr>
          <p:cNvPr id="70" name="Graphic 69">
            <a:extLst>
              <a:ext uri="{FF2B5EF4-FFF2-40B4-BE49-F238E27FC236}">
                <a16:creationId xmlns:a16="http://schemas.microsoft.com/office/drawing/2014/main" id="{D87666F7-6FDA-C8D3-2FE3-254C1912687E}"/>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11243623" y="1971541"/>
            <a:ext cx="609600" cy="609600"/>
          </a:xfrm>
          <a:prstGeom prst="rect">
            <a:avLst/>
          </a:prstGeom>
        </p:spPr>
      </p:pic>
      <p:grpSp>
        <p:nvGrpSpPr>
          <p:cNvPr id="68" name="Group 67">
            <a:extLst>
              <a:ext uri="{FF2B5EF4-FFF2-40B4-BE49-F238E27FC236}">
                <a16:creationId xmlns:a16="http://schemas.microsoft.com/office/drawing/2014/main" id="{D63E226E-8B2E-E732-009A-8F7D73C39398}"/>
              </a:ext>
            </a:extLst>
          </p:cNvPr>
          <p:cNvGrpSpPr/>
          <p:nvPr/>
        </p:nvGrpSpPr>
        <p:grpSpPr>
          <a:xfrm>
            <a:off x="8328482" y="4441859"/>
            <a:ext cx="566077" cy="596949"/>
            <a:chOff x="7002726" y="4084131"/>
            <a:chExt cx="566077" cy="596949"/>
          </a:xfrm>
        </p:grpSpPr>
        <p:sp>
          <p:nvSpPr>
            <p:cNvPr id="20" name="Freeform: Shape 19">
              <a:extLst>
                <a:ext uri="{FF2B5EF4-FFF2-40B4-BE49-F238E27FC236}">
                  <a16:creationId xmlns:a16="http://schemas.microsoft.com/office/drawing/2014/main" id="{89A8745B-8A3D-6D71-5869-8C77E37C6AD8}"/>
                </a:ext>
              </a:extLst>
            </p:cNvPr>
            <p:cNvSpPr/>
            <p:nvPr/>
          </p:nvSpPr>
          <p:spPr>
            <a:xfrm>
              <a:off x="7010384" y="4084131"/>
              <a:ext cx="370077" cy="317045"/>
            </a:xfrm>
            <a:custGeom>
              <a:avLst/>
              <a:gdLst>
                <a:gd name="connsiteX0" fmla="*/ 369886 w 370077"/>
                <a:gd name="connsiteY0" fmla="*/ 91131 h 317045"/>
                <a:gd name="connsiteX1" fmla="*/ 300580 w 370077"/>
                <a:gd name="connsiteY1" fmla="*/ 0 h 317045"/>
                <a:gd name="connsiteX2" fmla="*/ 295220 w 370077"/>
                <a:gd name="connsiteY2" fmla="*/ 39248 h 317045"/>
                <a:gd name="connsiteX3" fmla="*/ 112957 w 370077"/>
                <a:gd name="connsiteY3" fmla="*/ 93620 h 317045"/>
                <a:gd name="connsiteX4" fmla="*/ 3063 w 370077"/>
                <a:gd name="connsiteY4" fmla="*/ 276840 h 317045"/>
                <a:gd name="connsiteX5" fmla="*/ 0 w 370077"/>
                <a:gd name="connsiteY5" fmla="*/ 316471 h 317045"/>
                <a:gd name="connsiteX6" fmla="*/ 76581 w 370077"/>
                <a:gd name="connsiteY6" fmla="*/ 317045 h 317045"/>
                <a:gd name="connsiteX7" fmla="*/ 78878 w 370077"/>
                <a:gd name="connsiteY7" fmla="*/ 288136 h 317045"/>
                <a:gd name="connsiteX8" fmla="*/ 158714 w 370077"/>
                <a:gd name="connsiteY8" fmla="*/ 155077 h 317045"/>
                <a:gd name="connsiteX9" fmla="*/ 285073 w 370077"/>
                <a:gd name="connsiteY9" fmla="*/ 115446 h 317045"/>
                <a:gd name="connsiteX10" fmla="*/ 278946 w 370077"/>
                <a:gd name="connsiteY10" fmla="*/ 160437 h 317045"/>
                <a:gd name="connsiteX11" fmla="*/ 370078 w 370077"/>
                <a:gd name="connsiteY11" fmla="*/ 91131 h 31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0077" h="317045">
                  <a:moveTo>
                    <a:pt x="369886" y="91131"/>
                  </a:moveTo>
                  <a:lnTo>
                    <a:pt x="300580" y="0"/>
                  </a:lnTo>
                  <a:lnTo>
                    <a:pt x="295220" y="39248"/>
                  </a:lnTo>
                  <a:cubicBezTo>
                    <a:pt x="229934" y="35419"/>
                    <a:pt x="166181" y="54181"/>
                    <a:pt x="112957" y="93620"/>
                  </a:cubicBezTo>
                  <a:cubicBezTo>
                    <a:pt x="53032" y="138037"/>
                    <a:pt x="13976" y="203131"/>
                    <a:pt x="3063" y="276840"/>
                  </a:cubicBezTo>
                  <a:cubicBezTo>
                    <a:pt x="1149" y="290051"/>
                    <a:pt x="0" y="303261"/>
                    <a:pt x="0" y="316471"/>
                  </a:cubicBezTo>
                  <a:lnTo>
                    <a:pt x="76581" y="317045"/>
                  </a:lnTo>
                  <a:cubicBezTo>
                    <a:pt x="76581" y="307473"/>
                    <a:pt x="77347" y="297709"/>
                    <a:pt x="78878" y="288136"/>
                  </a:cubicBezTo>
                  <a:cubicBezTo>
                    <a:pt x="86919" y="234529"/>
                    <a:pt x="115254" y="187432"/>
                    <a:pt x="158714" y="155077"/>
                  </a:cubicBezTo>
                  <a:cubicBezTo>
                    <a:pt x="195664" y="127699"/>
                    <a:pt x="239890" y="114106"/>
                    <a:pt x="285073" y="115446"/>
                  </a:cubicBezTo>
                  <a:lnTo>
                    <a:pt x="278946" y="160437"/>
                  </a:lnTo>
                  <a:lnTo>
                    <a:pt x="370078" y="91131"/>
                  </a:lnTo>
                  <a:close/>
                </a:path>
              </a:pathLst>
            </a:custGeom>
            <a:solidFill>
              <a:srgbClr val="3D4647"/>
            </a:solidFill>
            <a:ln w="19050"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E52AEC76-FC23-D6A4-D5E2-FF313892260D}"/>
                </a:ext>
              </a:extLst>
            </p:cNvPr>
            <p:cNvSpPr/>
            <p:nvPr/>
          </p:nvSpPr>
          <p:spPr>
            <a:xfrm>
              <a:off x="7388311" y="4158223"/>
              <a:ext cx="180492" cy="427130"/>
            </a:xfrm>
            <a:custGeom>
              <a:avLst/>
              <a:gdLst>
                <a:gd name="connsiteX0" fmla="*/ 177476 w 180492"/>
                <a:gd name="connsiteY0" fmla="*/ 284881 h 427130"/>
                <a:gd name="connsiteX1" fmla="*/ 37333 w 180492"/>
                <a:gd name="connsiteY1" fmla="*/ 0 h 427130"/>
                <a:gd name="connsiteX2" fmla="*/ 0 w 180492"/>
                <a:gd name="connsiteY2" fmla="*/ 66817 h 427130"/>
                <a:gd name="connsiteX3" fmla="*/ 101661 w 180492"/>
                <a:gd name="connsiteY3" fmla="*/ 273586 h 427130"/>
                <a:gd name="connsiteX4" fmla="*/ 81559 w 180492"/>
                <a:gd name="connsiteY4" fmla="*/ 335425 h 427130"/>
                <a:gd name="connsiteX5" fmla="*/ 49586 w 180492"/>
                <a:gd name="connsiteY5" fmla="*/ 307856 h 427130"/>
                <a:gd name="connsiteX6" fmla="*/ 58584 w 180492"/>
                <a:gd name="connsiteY6" fmla="*/ 427131 h 427130"/>
                <a:gd name="connsiteX7" fmla="*/ 177859 w 180492"/>
                <a:gd name="connsiteY7" fmla="*/ 418132 h 427130"/>
                <a:gd name="connsiteX8" fmla="*/ 141101 w 180492"/>
                <a:gd name="connsiteY8" fmla="*/ 386543 h 427130"/>
                <a:gd name="connsiteX9" fmla="*/ 177476 w 180492"/>
                <a:gd name="connsiteY9" fmla="*/ 284690 h 42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92" h="427130">
                  <a:moveTo>
                    <a:pt x="177476" y="284881"/>
                  </a:moveTo>
                  <a:cubicBezTo>
                    <a:pt x="194516" y="170584"/>
                    <a:pt x="138229" y="56096"/>
                    <a:pt x="37333" y="0"/>
                  </a:cubicBezTo>
                  <a:lnTo>
                    <a:pt x="0" y="66817"/>
                  </a:lnTo>
                  <a:cubicBezTo>
                    <a:pt x="73135" y="107596"/>
                    <a:pt x="114106" y="190687"/>
                    <a:pt x="101661" y="273586"/>
                  </a:cubicBezTo>
                  <a:cubicBezTo>
                    <a:pt x="98407" y="295411"/>
                    <a:pt x="91323" y="316088"/>
                    <a:pt x="81559" y="335425"/>
                  </a:cubicBezTo>
                  <a:lnTo>
                    <a:pt x="49586" y="307856"/>
                  </a:lnTo>
                  <a:lnTo>
                    <a:pt x="58584" y="427131"/>
                  </a:lnTo>
                  <a:lnTo>
                    <a:pt x="177859" y="418132"/>
                  </a:lnTo>
                  <a:lnTo>
                    <a:pt x="141101" y="386543"/>
                  </a:lnTo>
                  <a:cubicBezTo>
                    <a:pt x="159671" y="355527"/>
                    <a:pt x="172116" y="320874"/>
                    <a:pt x="177476" y="284690"/>
                  </a:cubicBezTo>
                  <a:close/>
                </a:path>
              </a:pathLst>
            </a:custGeom>
            <a:solidFill>
              <a:srgbClr val="3D4647"/>
            </a:solidFill>
            <a:ln w="19050"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C53D9167-B592-921A-3568-7F82B5D1D80F}"/>
                </a:ext>
              </a:extLst>
            </p:cNvPr>
            <p:cNvSpPr/>
            <p:nvPr/>
          </p:nvSpPr>
          <p:spPr>
            <a:xfrm>
              <a:off x="7002726" y="4442339"/>
              <a:ext cx="432682" cy="238741"/>
            </a:xfrm>
            <a:custGeom>
              <a:avLst/>
              <a:gdLst>
                <a:gd name="connsiteX0" fmla="*/ 392669 w 432682"/>
                <a:gd name="connsiteY0" fmla="*/ 132485 h 238741"/>
                <a:gd name="connsiteX1" fmla="*/ 257121 w 432682"/>
                <a:gd name="connsiteY1" fmla="*/ 160054 h 238741"/>
                <a:gd name="connsiteX2" fmla="*/ 112574 w 432682"/>
                <a:gd name="connsiteY2" fmla="*/ 62222 h 238741"/>
                <a:gd name="connsiteX3" fmla="*/ 155077 w 432682"/>
                <a:gd name="connsiteY3" fmla="*/ 43843 h 238741"/>
                <a:gd name="connsiteX4" fmla="*/ 43843 w 432682"/>
                <a:gd name="connsiteY4" fmla="*/ 0 h 238741"/>
                <a:gd name="connsiteX5" fmla="*/ 0 w 432682"/>
                <a:gd name="connsiteY5" fmla="*/ 111234 h 238741"/>
                <a:gd name="connsiteX6" fmla="*/ 41737 w 432682"/>
                <a:gd name="connsiteY6" fmla="*/ 93046 h 238741"/>
                <a:gd name="connsiteX7" fmla="*/ 245825 w 432682"/>
                <a:gd name="connsiteY7" fmla="*/ 235678 h 238741"/>
                <a:gd name="connsiteX8" fmla="*/ 286796 w 432682"/>
                <a:gd name="connsiteY8" fmla="*/ 238741 h 238741"/>
                <a:gd name="connsiteX9" fmla="*/ 432683 w 432682"/>
                <a:gd name="connsiteY9" fmla="*/ 197770 h 238741"/>
                <a:gd name="connsiteX10" fmla="*/ 392669 w 432682"/>
                <a:gd name="connsiteY10" fmla="*/ 132485 h 23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2682" h="238741">
                  <a:moveTo>
                    <a:pt x="392669" y="132485"/>
                  </a:moveTo>
                  <a:cubicBezTo>
                    <a:pt x="352273" y="157183"/>
                    <a:pt x="304027" y="167138"/>
                    <a:pt x="257121" y="160054"/>
                  </a:cubicBezTo>
                  <a:cubicBezTo>
                    <a:pt x="196239" y="151056"/>
                    <a:pt x="143398" y="114489"/>
                    <a:pt x="112574" y="62222"/>
                  </a:cubicBezTo>
                  <a:lnTo>
                    <a:pt x="155077" y="43843"/>
                  </a:lnTo>
                  <a:lnTo>
                    <a:pt x="43843" y="0"/>
                  </a:lnTo>
                  <a:lnTo>
                    <a:pt x="0" y="111234"/>
                  </a:lnTo>
                  <a:lnTo>
                    <a:pt x="41737" y="93046"/>
                  </a:lnTo>
                  <a:cubicBezTo>
                    <a:pt x="83282" y="169244"/>
                    <a:pt x="158714" y="222851"/>
                    <a:pt x="245825" y="235678"/>
                  </a:cubicBezTo>
                  <a:cubicBezTo>
                    <a:pt x="259418" y="237784"/>
                    <a:pt x="273203" y="238741"/>
                    <a:pt x="286796" y="238741"/>
                  </a:cubicBezTo>
                  <a:cubicBezTo>
                    <a:pt x="338105" y="238741"/>
                    <a:pt x="388649" y="224574"/>
                    <a:pt x="432683" y="197770"/>
                  </a:cubicBezTo>
                  <a:lnTo>
                    <a:pt x="392669" y="132485"/>
                  </a:lnTo>
                  <a:close/>
                </a:path>
              </a:pathLst>
            </a:custGeom>
            <a:solidFill>
              <a:srgbClr val="3D4647"/>
            </a:solidFill>
            <a:ln w="19050"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33086A97-0DD4-7434-4925-EA48D1474B6F}"/>
                </a:ext>
              </a:extLst>
            </p:cNvPr>
            <p:cNvSpPr/>
            <p:nvPr/>
          </p:nvSpPr>
          <p:spPr>
            <a:xfrm>
              <a:off x="7199539" y="4297409"/>
              <a:ext cx="179199" cy="206960"/>
            </a:xfrm>
            <a:custGeom>
              <a:avLst/>
              <a:gdLst>
                <a:gd name="connsiteX0" fmla="*/ 179200 w 179199"/>
                <a:gd name="connsiteY0" fmla="*/ 51692 h 206960"/>
                <a:gd name="connsiteX1" fmla="*/ 89600 w 179199"/>
                <a:gd name="connsiteY1" fmla="*/ 0 h 206960"/>
                <a:gd name="connsiteX2" fmla="*/ 0 w 179199"/>
                <a:gd name="connsiteY2" fmla="*/ 51692 h 206960"/>
                <a:gd name="connsiteX3" fmla="*/ 0 w 179199"/>
                <a:gd name="connsiteY3" fmla="*/ 155077 h 206960"/>
                <a:gd name="connsiteX4" fmla="*/ 89600 w 179199"/>
                <a:gd name="connsiteY4" fmla="*/ 206960 h 206960"/>
                <a:gd name="connsiteX5" fmla="*/ 179200 w 179199"/>
                <a:gd name="connsiteY5" fmla="*/ 155077 h 206960"/>
                <a:gd name="connsiteX6" fmla="*/ 179200 w 179199"/>
                <a:gd name="connsiteY6" fmla="*/ 51692 h 20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99" h="206960">
                  <a:moveTo>
                    <a:pt x="179200" y="51692"/>
                  </a:moveTo>
                  <a:lnTo>
                    <a:pt x="89600" y="0"/>
                  </a:lnTo>
                  <a:lnTo>
                    <a:pt x="0" y="51692"/>
                  </a:lnTo>
                  <a:lnTo>
                    <a:pt x="0" y="155077"/>
                  </a:lnTo>
                  <a:lnTo>
                    <a:pt x="89600" y="206960"/>
                  </a:lnTo>
                  <a:lnTo>
                    <a:pt x="179200" y="155077"/>
                  </a:lnTo>
                  <a:lnTo>
                    <a:pt x="179200" y="51692"/>
                  </a:lnTo>
                  <a:close/>
                </a:path>
              </a:pathLst>
            </a:custGeom>
            <a:solidFill>
              <a:schemeClr val="accent1"/>
            </a:solidFill>
            <a:ln w="19050" cap="flat">
              <a:noFill/>
              <a:prstDash val="solid"/>
              <a:miter/>
            </a:ln>
          </p:spPr>
          <p:txBody>
            <a:bodyPr rtlCol="0" anchor="ctr"/>
            <a:lstStyle/>
            <a:p>
              <a:endParaRPr lang="en-US" dirty="0"/>
            </a:p>
          </p:txBody>
        </p:sp>
      </p:grpSp>
      <p:grpSp>
        <p:nvGrpSpPr>
          <p:cNvPr id="151" name="Group 150">
            <a:extLst>
              <a:ext uri="{FF2B5EF4-FFF2-40B4-BE49-F238E27FC236}">
                <a16:creationId xmlns:a16="http://schemas.microsoft.com/office/drawing/2014/main" id="{C6B88F8F-8835-3896-8EA1-EF6F9E910D76}"/>
              </a:ext>
            </a:extLst>
          </p:cNvPr>
          <p:cNvGrpSpPr/>
          <p:nvPr/>
        </p:nvGrpSpPr>
        <p:grpSpPr>
          <a:xfrm>
            <a:off x="10495815" y="5727541"/>
            <a:ext cx="582582" cy="577804"/>
            <a:chOff x="11009399" y="4190399"/>
            <a:chExt cx="582582" cy="577804"/>
          </a:xfrm>
        </p:grpSpPr>
        <p:sp>
          <p:nvSpPr>
            <p:cNvPr id="150" name="Freeform: Shape 149">
              <a:extLst>
                <a:ext uri="{FF2B5EF4-FFF2-40B4-BE49-F238E27FC236}">
                  <a16:creationId xmlns:a16="http://schemas.microsoft.com/office/drawing/2014/main" id="{1BF6258F-6B4C-CF14-03F0-A1C31BA18F71}"/>
                </a:ext>
              </a:extLst>
            </p:cNvPr>
            <p:cNvSpPr/>
            <p:nvPr/>
          </p:nvSpPr>
          <p:spPr>
            <a:xfrm>
              <a:off x="11264987" y="4434594"/>
              <a:ext cx="249462" cy="142348"/>
            </a:xfrm>
            <a:custGeom>
              <a:avLst/>
              <a:gdLst>
                <a:gd name="connsiteX0" fmla="*/ 73503 w 249462"/>
                <a:gd name="connsiteY0" fmla="*/ 141780 h 142348"/>
                <a:gd name="connsiteX1" fmla="*/ 73709 w 249462"/>
                <a:gd name="connsiteY1" fmla="*/ 142157 h 142348"/>
                <a:gd name="connsiteX2" fmla="*/ 73326 w 249462"/>
                <a:gd name="connsiteY2" fmla="*/ 142348 h 142348"/>
                <a:gd name="connsiteX3" fmla="*/ 228402 w 249462"/>
                <a:gd name="connsiteY3" fmla="*/ 15223 h 142348"/>
                <a:gd name="connsiteX4" fmla="*/ 249462 w 249462"/>
                <a:gd name="connsiteY4" fmla="*/ 68255 h 142348"/>
                <a:gd name="connsiteX5" fmla="*/ 197387 w 249462"/>
                <a:gd name="connsiteY5" fmla="*/ 84146 h 142348"/>
                <a:gd name="connsiteX6" fmla="*/ 164841 w 249462"/>
                <a:gd name="connsiteY6" fmla="*/ 99 h 142348"/>
                <a:gd name="connsiteX7" fmla="*/ 228211 w 249462"/>
                <a:gd name="connsiteY7" fmla="*/ 14649 h 142348"/>
                <a:gd name="connsiteX8" fmla="*/ 212512 w 249462"/>
                <a:gd name="connsiteY8" fmla="*/ 49685 h 142348"/>
                <a:gd name="connsiteX9" fmla="*/ 196813 w 249462"/>
                <a:gd name="connsiteY9" fmla="*/ 84721 h 142348"/>
                <a:gd name="connsiteX10" fmla="*/ 162543 w 249462"/>
                <a:gd name="connsiteY10" fmla="*/ 76871 h 142348"/>
                <a:gd name="connsiteX11" fmla="*/ 127890 w 249462"/>
                <a:gd name="connsiteY11" fmla="*/ 82806 h 142348"/>
                <a:gd name="connsiteX12" fmla="*/ 98024 w 249462"/>
                <a:gd name="connsiteY12" fmla="*/ 101569 h 142348"/>
                <a:gd name="connsiteX13" fmla="*/ 77730 w 249462"/>
                <a:gd name="connsiteY13" fmla="*/ 130287 h 142348"/>
                <a:gd name="connsiteX14" fmla="*/ 75241 w 249462"/>
                <a:gd name="connsiteY14" fmla="*/ 136222 h 142348"/>
                <a:gd name="connsiteX15" fmla="*/ 73503 w 249462"/>
                <a:gd name="connsiteY15" fmla="*/ 141780 h 142348"/>
                <a:gd name="connsiteX16" fmla="*/ 50735 w 249462"/>
                <a:gd name="connsiteY16" fmla="*/ 100037 h 142348"/>
                <a:gd name="connsiteX17" fmla="*/ 0 w 249462"/>
                <a:gd name="connsiteY17" fmla="*/ 121097 h 142348"/>
                <a:gd name="connsiteX18" fmla="*/ 3638 w 249462"/>
                <a:gd name="connsiteY18" fmla="*/ 109801 h 142348"/>
                <a:gd name="connsiteX19" fmla="*/ 8041 w 249462"/>
                <a:gd name="connsiteY19" fmla="*/ 98888 h 142348"/>
                <a:gd name="connsiteX20" fmla="*/ 45566 w 249462"/>
                <a:gd name="connsiteY20" fmla="*/ 45665 h 142348"/>
                <a:gd name="connsiteX21" fmla="*/ 100704 w 249462"/>
                <a:gd name="connsiteY21" fmla="*/ 11012 h 142348"/>
                <a:gd name="connsiteX22" fmla="*/ 164841 w 249462"/>
                <a:gd name="connsiteY22" fmla="*/ 99 h 14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9462" h="142348">
                  <a:moveTo>
                    <a:pt x="73503" y="141780"/>
                  </a:moveTo>
                  <a:lnTo>
                    <a:pt x="73709" y="142157"/>
                  </a:lnTo>
                  <a:lnTo>
                    <a:pt x="73326" y="142348"/>
                  </a:lnTo>
                  <a:close/>
                  <a:moveTo>
                    <a:pt x="228402" y="15223"/>
                  </a:moveTo>
                  <a:lnTo>
                    <a:pt x="249462" y="68255"/>
                  </a:lnTo>
                  <a:lnTo>
                    <a:pt x="197387" y="84146"/>
                  </a:lnTo>
                  <a:close/>
                  <a:moveTo>
                    <a:pt x="164841" y="99"/>
                  </a:moveTo>
                  <a:cubicBezTo>
                    <a:pt x="186475" y="865"/>
                    <a:pt x="207917" y="5651"/>
                    <a:pt x="228211" y="14649"/>
                  </a:cubicBezTo>
                  <a:lnTo>
                    <a:pt x="212512" y="49685"/>
                  </a:lnTo>
                  <a:lnTo>
                    <a:pt x="196813" y="84721"/>
                  </a:lnTo>
                  <a:cubicBezTo>
                    <a:pt x="185900" y="79743"/>
                    <a:pt x="174222" y="77254"/>
                    <a:pt x="162543" y="76871"/>
                  </a:cubicBezTo>
                  <a:cubicBezTo>
                    <a:pt x="150865" y="76488"/>
                    <a:pt x="139186" y="78594"/>
                    <a:pt x="127890" y="82806"/>
                  </a:cubicBezTo>
                  <a:cubicBezTo>
                    <a:pt x="116595" y="87018"/>
                    <a:pt x="106639" y="93528"/>
                    <a:pt x="98024" y="101569"/>
                  </a:cubicBezTo>
                  <a:cubicBezTo>
                    <a:pt x="89408" y="109610"/>
                    <a:pt x="82516" y="119374"/>
                    <a:pt x="77730" y="130287"/>
                  </a:cubicBezTo>
                  <a:cubicBezTo>
                    <a:pt x="76772" y="132201"/>
                    <a:pt x="76007" y="134307"/>
                    <a:pt x="75241" y="136222"/>
                  </a:cubicBezTo>
                  <a:lnTo>
                    <a:pt x="73503" y="141780"/>
                  </a:lnTo>
                  <a:lnTo>
                    <a:pt x="50735" y="100037"/>
                  </a:lnTo>
                  <a:lnTo>
                    <a:pt x="0" y="121097"/>
                  </a:lnTo>
                  <a:cubicBezTo>
                    <a:pt x="1149" y="117268"/>
                    <a:pt x="2297" y="113630"/>
                    <a:pt x="3638" y="109801"/>
                  </a:cubicBezTo>
                  <a:cubicBezTo>
                    <a:pt x="4978" y="105972"/>
                    <a:pt x="6509" y="102335"/>
                    <a:pt x="8041" y="98888"/>
                  </a:cubicBezTo>
                  <a:cubicBezTo>
                    <a:pt x="17231" y="78594"/>
                    <a:pt x="29867" y="60598"/>
                    <a:pt x="45566" y="45665"/>
                  </a:cubicBezTo>
                  <a:cubicBezTo>
                    <a:pt x="61265" y="30731"/>
                    <a:pt x="79836" y="19053"/>
                    <a:pt x="100704" y="11012"/>
                  </a:cubicBezTo>
                  <a:cubicBezTo>
                    <a:pt x="121572" y="2971"/>
                    <a:pt x="143206" y="-667"/>
                    <a:pt x="164841" y="99"/>
                  </a:cubicBezTo>
                  <a:close/>
                </a:path>
              </a:pathLst>
            </a:custGeom>
            <a:solidFill>
              <a:schemeClr val="accent1"/>
            </a:solidFill>
            <a:ln w="19050" cap="flat">
              <a:noFill/>
              <a:prstDash val="solid"/>
              <a:miter/>
            </a:ln>
          </p:spPr>
          <p:txBody>
            <a:bodyPr rtlCol="0" anchor="ctr"/>
            <a:lstStyle/>
            <a:p>
              <a:endParaRPr lang="en-US" dirty="0"/>
            </a:p>
          </p:txBody>
        </p:sp>
        <p:sp>
          <p:nvSpPr>
            <p:cNvPr id="146" name="Freeform: Shape 145">
              <a:extLst>
                <a:ext uri="{FF2B5EF4-FFF2-40B4-BE49-F238E27FC236}">
                  <a16:creationId xmlns:a16="http://schemas.microsoft.com/office/drawing/2014/main" id="{A6F3A896-C2C1-8383-092C-7AF02C94CE8E}"/>
                </a:ext>
              </a:extLst>
            </p:cNvPr>
            <p:cNvSpPr/>
            <p:nvPr/>
          </p:nvSpPr>
          <p:spPr>
            <a:xfrm>
              <a:off x="11464289" y="4483129"/>
              <a:ext cx="127692" cy="254440"/>
            </a:xfrm>
            <a:custGeom>
              <a:avLst/>
              <a:gdLst>
                <a:gd name="connsiteX0" fmla="*/ 78495 w 127692"/>
                <a:gd name="connsiteY0" fmla="*/ 0 h 254440"/>
                <a:gd name="connsiteX1" fmla="*/ 124827 w 127692"/>
                <a:gd name="connsiteY1" fmla="*/ 87877 h 254440"/>
                <a:gd name="connsiteX2" fmla="*/ 113340 w 127692"/>
                <a:gd name="connsiteY2" fmla="*/ 186475 h 254440"/>
                <a:gd name="connsiteX3" fmla="*/ 89982 w 127692"/>
                <a:gd name="connsiteY3" fmla="*/ 224191 h 254440"/>
                <a:gd name="connsiteX4" fmla="*/ 57627 w 127692"/>
                <a:gd name="connsiteY4" fmla="*/ 254440 h 254440"/>
                <a:gd name="connsiteX5" fmla="*/ 57627 w 127692"/>
                <a:gd name="connsiteY5" fmla="*/ 254249 h 254440"/>
                <a:gd name="connsiteX6" fmla="*/ 0 w 127692"/>
                <a:gd name="connsiteY6" fmla="*/ 242762 h 254440"/>
                <a:gd name="connsiteX7" fmla="*/ 13379 w 127692"/>
                <a:gd name="connsiteY7" fmla="*/ 192073 h 254440"/>
                <a:gd name="connsiteX8" fmla="*/ 13210 w 127692"/>
                <a:gd name="connsiteY8" fmla="*/ 191835 h 254440"/>
                <a:gd name="connsiteX9" fmla="*/ 13517 w 127692"/>
                <a:gd name="connsiteY9" fmla="*/ 191548 h 254440"/>
                <a:gd name="connsiteX10" fmla="*/ 13593 w 127692"/>
                <a:gd name="connsiteY10" fmla="*/ 191261 h 254440"/>
                <a:gd name="connsiteX11" fmla="*/ 13684 w 127692"/>
                <a:gd name="connsiteY11" fmla="*/ 191392 h 254440"/>
                <a:gd name="connsiteX12" fmla="*/ 30632 w 127692"/>
                <a:gd name="connsiteY12" fmla="*/ 175562 h 254440"/>
                <a:gd name="connsiteX13" fmla="*/ 43268 w 127692"/>
                <a:gd name="connsiteY13" fmla="*/ 155268 h 254440"/>
                <a:gd name="connsiteX14" fmla="*/ 49586 w 127692"/>
                <a:gd name="connsiteY14" fmla="*/ 101853 h 254440"/>
                <a:gd name="connsiteX15" fmla="*/ 24506 w 127692"/>
                <a:gd name="connsiteY15" fmla="*/ 54373 h 254440"/>
                <a:gd name="connsiteX16" fmla="*/ 72177 w 127692"/>
                <a:gd name="connsiteY16" fmla="*/ 53607 h 25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7692" h="254440">
                  <a:moveTo>
                    <a:pt x="78495" y="0"/>
                  </a:moveTo>
                  <a:cubicBezTo>
                    <a:pt x="103001" y="24314"/>
                    <a:pt x="118700" y="55138"/>
                    <a:pt x="124827" y="87877"/>
                  </a:cubicBezTo>
                  <a:cubicBezTo>
                    <a:pt x="130953" y="120615"/>
                    <a:pt x="127316" y="155077"/>
                    <a:pt x="113340" y="186475"/>
                  </a:cubicBezTo>
                  <a:cubicBezTo>
                    <a:pt x="107213" y="200068"/>
                    <a:pt x="99364" y="212704"/>
                    <a:pt x="89982" y="224191"/>
                  </a:cubicBezTo>
                  <a:cubicBezTo>
                    <a:pt x="80601" y="235678"/>
                    <a:pt x="69688" y="245825"/>
                    <a:pt x="57627" y="254440"/>
                  </a:cubicBezTo>
                  <a:lnTo>
                    <a:pt x="57627" y="254249"/>
                  </a:lnTo>
                  <a:lnTo>
                    <a:pt x="0" y="242762"/>
                  </a:lnTo>
                  <a:lnTo>
                    <a:pt x="13379" y="192073"/>
                  </a:lnTo>
                  <a:lnTo>
                    <a:pt x="13210" y="191835"/>
                  </a:lnTo>
                  <a:lnTo>
                    <a:pt x="13517" y="191548"/>
                  </a:lnTo>
                  <a:lnTo>
                    <a:pt x="13593" y="191261"/>
                  </a:lnTo>
                  <a:lnTo>
                    <a:pt x="13684" y="191392"/>
                  </a:lnTo>
                  <a:lnTo>
                    <a:pt x="30632" y="175562"/>
                  </a:lnTo>
                  <a:cubicBezTo>
                    <a:pt x="35610" y="169435"/>
                    <a:pt x="40013" y="162543"/>
                    <a:pt x="43268" y="155268"/>
                  </a:cubicBezTo>
                  <a:cubicBezTo>
                    <a:pt x="50926" y="138229"/>
                    <a:pt x="52841" y="119658"/>
                    <a:pt x="49586" y="101853"/>
                  </a:cubicBezTo>
                  <a:cubicBezTo>
                    <a:pt x="46331" y="84048"/>
                    <a:pt x="37716" y="67391"/>
                    <a:pt x="24506" y="54373"/>
                  </a:cubicBezTo>
                  <a:lnTo>
                    <a:pt x="72177" y="53607"/>
                  </a:lnTo>
                  <a:close/>
                </a:path>
              </a:pathLst>
            </a:custGeom>
            <a:solidFill>
              <a:schemeClr val="accent1"/>
            </a:solidFill>
            <a:ln w="19050" cap="flat">
              <a:noFill/>
              <a:prstDash val="solid"/>
              <a:miter/>
            </a:ln>
          </p:spPr>
          <p:txBody>
            <a:bodyPr rtlCol="0" anchor="ctr"/>
            <a:lstStyle/>
            <a:p>
              <a:endParaRPr lang="en-US" dirty="0"/>
            </a:p>
          </p:txBody>
        </p:sp>
        <p:sp>
          <p:nvSpPr>
            <p:cNvPr id="149" name="Freeform: Shape 148">
              <a:extLst>
                <a:ext uri="{FF2B5EF4-FFF2-40B4-BE49-F238E27FC236}">
                  <a16:creationId xmlns:a16="http://schemas.microsoft.com/office/drawing/2014/main" id="{C6141953-D536-2ED5-4F2E-F9CF8E19E27B}"/>
                </a:ext>
              </a:extLst>
            </p:cNvPr>
            <p:cNvSpPr/>
            <p:nvPr/>
          </p:nvSpPr>
          <p:spPr>
            <a:xfrm>
              <a:off x="11259243" y="4571964"/>
              <a:ext cx="211746" cy="196239"/>
            </a:xfrm>
            <a:custGeom>
              <a:avLst/>
              <a:gdLst>
                <a:gd name="connsiteX0" fmla="*/ 34078 w 211746"/>
                <a:gd name="connsiteY0" fmla="*/ 0 h 196239"/>
                <a:gd name="connsiteX1" fmla="*/ 75831 w 211746"/>
                <a:gd name="connsiteY1" fmla="*/ 37558 h 196239"/>
                <a:gd name="connsiteX2" fmla="*/ 76198 w 211746"/>
                <a:gd name="connsiteY2" fmla="*/ 37525 h 196239"/>
                <a:gd name="connsiteX3" fmla="*/ 92663 w 211746"/>
                <a:gd name="connsiteY3" fmla="*/ 81942 h 196239"/>
                <a:gd name="connsiteX4" fmla="*/ 129230 w 211746"/>
                <a:gd name="connsiteY4" fmla="*/ 111809 h 196239"/>
                <a:gd name="connsiteX5" fmla="*/ 159671 w 211746"/>
                <a:gd name="connsiteY5" fmla="*/ 119467 h 196239"/>
                <a:gd name="connsiteX6" fmla="*/ 190687 w 211746"/>
                <a:gd name="connsiteY6" fmla="*/ 116212 h 196239"/>
                <a:gd name="connsiteX7" fmla="*/ 165989 w 211746"/>
                <a:gd name="connsiteY7" fmla="*/ 158906 h 196239"/>
                <a:gd name="connsiteX8" fmla="*/ 211746 w 211746"/>
                <a:gd name="connsiteY8" fmla="*/ 189921 h 196239"/>
                <a:gd name="connsiteX9" fmla="*/ 189155 w 211746"/>
                <a:gd name="connsiteY9" fmla="*/ 194707 h 196239"/>
                <a:gd name="connsiteX10" fmla="*/ 166181 w 211746"/>
                <a:gd name="connsiteY10" fmla="*/ 196239 h 196239"/>
                <a:gd name="connsiteX11" fmla="*/ 131528 w 211746"/>
                <a:gd name="connsiteY11" fmla="*/ 192602 h 196239"/>
                <a:gd name="connsiteX12" fmla="*/ 98024 w 211746"/>
                <a:gd name="connsiteY12" fmla="*/ 181689 h 196239"/>
                <a:gd name="connsiteX13" fmla="*/ 30441 w 211746"/>
                <a:gd name="connsiteY13" fmla="*/ 126359 h 196239"/>
                <a:gd name="connsiteX14" fmla="*/ 0 w 211746"/>
                <a:gd name="connsiteY14" fmla="*/ 44417 h 196239"/>
                <a:gd name="connsiteX15" fmla="*/ 361 w 211746"/>
                <a:gd name="connsiteY15" fmla="*/ 44385 h 196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1746" h="196239">
                  <a:moveTo>
                    <a:pt x="34078" y="0"/>
                  </a:moveTo>
                  <a:lnTo>
                    <a:pt x="75831" y="37558"/>
                  </a:lnTo>
                  <a:lnTo>
                    <a:pt x="76198" y="37525"/>
                  </a:lnTo>
                  <a:cubicBezTo>
                    <a:pt x="77730" y="53798"/>
                    <a:pt x="83473" y="69115"/>
                    <a:pt x="92663" y="81942"/>
                  </a:cubicBezTo>
                  <a:cubicBezTo>
                    <a:pt x="101853" y="94769"/>
                    <a:pt x="114297" y="105299"/>
                    <a:pt x="129230" y="111809"/>
                  </a:cubicBezTo>
                  <a:cubicBezTo>
                    <a:pt x="138803" y="116212"/>
                    <a:pt x="149142" y="118701"/>
                    <a:pt x="159671" y="119467"/>
                  </a:cubicBezTo>
                  <a:cubicBezTo>
                    <a:pt x="170201" y="120232"/>
                    <a:pt x="180540" y="119084"/>
                    <a:pt x="190687" y="116212"/>
                  </a:cubicBezTo>
                  <a:lnTo>
                    <a:pt x="165989" y="158906"/>
                  </a:lnTo>
                  <a:lnTo>
                    <a:pt x="211746" y="189921"/>
                  </a:lnTo>
                  <a:cubicBezTo>
                    <a:pt x="204280" y="192027"/>
                    <a:pt x="196813" y="193559"/>
                    <a:pt x="189155" y="194707"/>
                  </a:cubicBezTo>
                  <a:cubicBezTo>
                    <a:pt x="181497" y="195856"/>
                    <a:pt x="173839" y="196239"/>
                    <a:pt x="166181" y="196239"/>
                  </a:cubicBezTo>
                  <a:cubicBezTo>
                    <a:pt x="154502" y="196239"/>
                    <a:pt x="142824" y="195090"/>
                    <a:pt x="131528" y="192602"/>
                  </a:cubicBezTo>
                  <a:cubicBezTo>
                    <a:pt x="120232" y="190113"/>
                    <a:pt x="108936" y="186475"/>
                    <a:pt x="98024" y="181689"/>
                  </a:cubicBezTo>
                  <a:cubicBezTo>
                    <a:pt x="70455" y="169436"/>
                    <a:pt x="47289" y="150099"/>
                    <a:pt x="30441" y="126359"/>
                  </a:cubicBezTo>
                  <a:cubicBezTo>
                    <a:pt x="13593" y="102619"/>
                    <a:pt x="2680" y="74475"/>
                    <a:pt x="0" y="44417"/>
                  </a:cubicBezTo>
                  <a:lnTo>
                    <a:pt x="361" y="44385"/>
                  </a:lnTo>
                  <a:close/>
                </a:path>
              </a:pathLst>
            </a:custGeom>
            <a:solidFill>
              <a:schemeClr val="accent1"/>
            </a:solidFill>
            <a:ln w="19050" cap="flat">
              <a:noFill/>
              <a:prstDash val="solid"/>
              <a:miter/>
            </a:ln>
          </p:spPr>
          <p:txBody>
            <a:bodyPr rtlCol="0" anchor="ctr"/>
            <a:lstStyle/>
            <a:p>
              <a:endParaRPr lang="en-US" dirty="0"/>
            </a:p>
          </p:txBody>
        </p:sp>
        <p:sp>
          <p:nvSpPr>
            <p:cNvPr id="128" name="Freeform: Shape 127">
              <a:extLst>
                <a:ext uri="{FF2B5EF4-FFF2-40B4-BE49-F238E27FC236}">
                  <a16:creationId xmlns:a16="http://schemas.microsoft.com/office/drawing/2014/main" id="{966D648D-5BDC-F483-68B3-8395B5E6437A}"/>
                </a:ext>
              </a:extLst>
            </p:cNvPr>
            <p:cNvSpPr/>
            <p:nvPr/>
          </p:nvSpPr>
          <p:spPr>
            <a:xfrm>
              <a:off x="11009399" y="4190399"/>
              <a:ext cx="479014" cy="150098"/>
            </a:xfrm>
            <a:custGeom>
              <a:avLst/>
              <a:gdLst>
                <a:gd name="connsiteX0" fmla="*/ 0 w 479014"/>
                <a:gd name="connsiteY0" fmla="*/ 0 h 150098"/>
                <a:gd name="connsiteX1" fmla="*/ 0 w 479014"/>
                <a:gd name="connsiteY1" fmla="*/ 150099 h 150098"/>
                <a:gd name="connsiteX2" fmla="*/ 479014 w 479014"/>
                <a:gd name="connsiteY2" fmla="*/ 150099 h 150098"/>
                <a:gd name="connsiteX3" fmla="*/ 479014 w 479014"/>
                <a:gd name="connsiteY3" fmla="*/ 0 h 150098"/>
                <a:gd name="connsiteX4" fmla="*/ 0 w 479014"/>
                <a:gd name="connsiteY4" fmla="*/ 0 h 150098"/>
                <a:gd name="connsiteX5" fmla="*/ 83665 w 479014"/>
                <a:gd name="connsiteY5" fmla="*/ 117935 h 150098"/>
                <a:gd name="connsiteX6" fmla="*/ 51501 w 479014"/>
                <a:gd name="connsiteY6" fmla="*/ 85771 h 150098"/>
                <a:gd name="connsiteX7" fmla="*/ 83665 w 479014"/>
                <a:gd name="connsiteY7" fmla="*/ 53607 h 150098"/>
                <a:gd name="connsiteX8" fmla="*/ 115829 w 479014"/>
                <a:gd name="connsiteY8" fmla="*/ 85771 h 150098"/>
                <a:gd name="connsiteX9" fmla="*/ 83665 w 479014"/>
                <a:gd name="connsiteY9" fmla="*/ 117935 h 150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014" h="150098">
                  <a:moveTo>
                    <a:pt x="0" y="0"/>
                  </a:moveTo>
                  <a:lnTo>
                    <a:pt x="0" y="150099"/>
                  </a:lnTo>
                  <a:lnTo>
                    <a:pt x="479014" y="150099"/>
                  </a:lnTo>
                  <a:lnTo>
                    <a:pt x="479014" y="0"/>
                  </a:lnTo>
                  <a:lnTo>
                    <a:pt x="0" y="0"/>
                  </a:lnTo>
                  <a:close/>
                  <a:moveTo>
                    <a:pt x="83665" y="117935"/>
                  </a:moveTo>
                  <a:cubicBezTo>
                    <a:pt x="66051" y="117935"/>
                    <a:pt x="51501" y="103576"/>
                    <a:pt x="51501" y="85771"/>
                  </a:cubicBezTo>
                  <a:cubicBezTo>
                    <a:pt x="51501" y="67966"/>
                    <a:pt x="65860" y="53607"/>
                    <a:pt x="83665" y="53607"/>
                  </a:cubicBezTo>
                  <a:cubicBezTo>
                    <a:pt x="101470" y="53607"/>
                    <a:pt x="115829" y="67966"/>
                    <a:pt x="115829" y="85771"/>
                  </a:cubicBezTo>
                  <a:cubicBezTo>
                    <a:pt x="115829" y="103576"/>
                    <a:pt x="101470" y="117935"/>
                    <a:pt x="83665" y="117935"/>
                  </a:cubicBezTo>
                  <a:close/>
                </a:path>
              </a:pathLst>
            </a:custGeom>
            <a:solidFill>
              <a:srgbClr val="3D4647"/>
            </a:solidFill>
            <a:ln w="19050" cap="flat">
              <a:no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5DC21412-D7B8-51CA-A7DB-FCE5DF669CF2}"/>
                </a:ext>
              </a:extLst>
            </p:cNvPr>
            <p:cNvSpPr/>
            <p:nvPr/>
          </p:nvSpPr>
          <p:spPr>
            <a:xfrm>
              <a:off x="11009399" y="4379363"/>
              <a:ext cx="479014" cy="145503"/>
            </a:xfrm>
            <a:custGeom>
              <a:avLst/>
              <a:gdLst>
                <a:gd name="connsiteX0" fmla="*/ 0 w 479014"/>
                <a:gd name="connsiteY0" fmla="*/ 145504 h 145503"/>
                <a:gd name="connsiteX1" fmla="*/ 227254 w 479014"/>
                <a:gd name="connsiteY1" fmla="*/ 145504 h 145503"/>
                <a:gd name="connsiteX2" fmla="*/ 413155 w 479014"/>
                <a:gd name="connsiteY2" fmla="*/ 18188 h 145503"/>
                <a:gd name="connsiteX3" fmla="*/ 479014 w 479014"/>
                <a:gd name="connsiteY3" fmla="*/ 29484 h 145503"/>
                <a:gd name="connsiteX4" fmla="*/ 479014 w 479014"/>
                <a:gd name="connsiteY4" fmla="*/ 0 h 145503"/>
                <a:gd name="connsiteX5" fmla="*/ 0 w 479014"/>
                <a:gd name="connsiteY5" fmla="*/ 0 h 145503"/>
                <a:gd name="connsiteX6" fmla="*/ 0 w 479014"/>
                <a:gd name="connsiteY6" fmla="*/ 145312 h 145503"/>
                <a:gd name="connsiteX7" fmla="*/ 83665 w 479014"/>
                <a:gd name="connsiteY7" fmla="*/ 55138 h 145503"/>
                <a:gd name="connsiteX8" fmla="*/ 115829 w 479014"/>
                <a:gd name="connsiteY8" fmla="*/ 87302 h 145503"/>
                <a:gd name="connsiteX9" fmla="*/ 83665 w 479014"/>
                <a:gd name="connsiteY9" fmla="*/ 119466 h 145503"/>
                <a:gd name="connsiteX10" fmla="*/ 51501 w 479014"/>
                <a:gd name="connsiteY10" fmla="*/ 87302 h 145503"/>
                <a:gd name="connsiteX11" fmla="*/ 83665 w 479014"/>
                <a:gd name="connsiteY11" fmla="*/ 55138 h 145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9014" h="145503">
                  <a:moveTo>
                    <a:pt x="0" y="145504"/>
                  </a:moveTo>
                  <a:lnTo>
                    <a:pt x="227254" y="145504"/>
                  </a:lnTo>
                  <a:cubicBezTo>
                    <a:pt x="256163" y="71029"/>
                    <a:pt x="328341" y="18188"/>
                    <a:pt x="413155" y="18188"/>
                  </a:cubicBezTo>
                  <a:cubicBezTo>
                    <a:pt x="436320" y="18188"/>
                    <a:pt x="458337" y="22400"/>
                    <a:pt x="479014" y="29484"/>
                  </a:cubicBezTo>
                  <a:lnTo>
                    <a:pt x="479014" y="0"/>
                  </a:lnTo>
                  <a:lnTo>
                    <a:pt x="0" y="0"/>
                  </a:lnTo>
                  <a:lnTo>
                    <a:pt x="0" y="145312"/>
                  </a:lnTo>
                  <a:close/>
                  <a:moveTo>
                    <a:pt x="83665" y="55138"/>
                  </a:moveTo>
                  <a:cubicBezTo>
                    <a:pt x="101470" y="55138"/>
                    <a:pt x="115829" y="69497"/>
                    <a:pt x="115829" y="87302"/>
                  </a:cubicBezTo>
                  <a:cubicBezTo>
                    <a:pt x="115829" y="105107"/>
                    <a:pt x="101470" y="119466"/>
                    <a:pt x="83665" y="119466"/>
                  </a:cubicBezTo>
                  <a:cubicBezTo>
                    <a:pt x="65860" y="119466"/>
                    <a:pt x="51501" y="105107"/>
                    <a:pt x="51501" y="87302"/>
                  </a:cubicBezTo>
                  <a:cubicBezTo>
                    <a:pt x="51501" y="69497"/>
                    <a:pt x="65860" y="55138"/>
                    <a:pt x="83665" y="55138"/>
                  </a:cubicBezTo>
                  <a:close/>
                </a:path>
              </a:pathLst>
            </a:custGeom>
            <a:solidFill>
              <a:srgbClr val="3D4647"/>
            </a:solidFill>
            <a:ln w="19050" cap="flat">
              <a:noFill/>
              <a:prstDash val="solid"/>
              <a:miter/>
            </a:ln>
          </p:spPr>
          <p:txBody>
            <a:bodyPr rtlCol="0" anchor="ctr"/>
            <a:lstStyle/>
            <a:p>
              <a:endParaRPr lang="en-US" dirty="0"/>
            </a:p>
          </p:txBody>
        </p:sp>
        <p:sp>
          <p:nvSpPr>
            <p:cNvPr id="131" name="Freeform: Shape 130">
              <a:extLst>
                <a:ext uri="{FF2B5EF4-FFF2-40B4-BE49-F238E27FC236}">
                  <a16:creationId xmlns:a16="http://schemas.microsoft.com/office/drawing/2014/main" id="{E7828983-38E5-FCE3-EF12-0FA1715818D7}"/>
                </a:ext>
              </a:extLst>
            </p:cNvPr>
            <p:cNvSpPr/>
            <p:nvPr/>
          </p:nvSpPr>
          <p:spPr>
            <a:xfrm>
              <a:off x="11009399" y="4563349"/>
              <a:ext cx="250994" cy="149907"/>
            </a:xfrm>
            <a:custGeom>
              <a:avLst/>
              <a:gdLst>
                <a:gd name="connsiteX0" fmla="*/ 216533 w 250994"/>
                <a:gd name="connsiteY0" fmla="*/ 0 h 149907"/>
                <a:gd name="connsiteX1" fmla="*/ 0 w 250994"/>
                <a:gd name="connsiteY1" fmla="*/ 0 h 149907"/>
                <a:gd name="connsiteX2" fmla="*/ 0 w 250994"/>
                <a:gd name="connsiteY2" fmla="*/ 149907 h 149907"/>
                <a:gd name="connsiteX3" fmla="*/ 250994 w 250994"/>
                <a:gd name="connsiteY3" fmla="*/ 149907 h 149907"/>
                <a:gd name="connsiteX4" fmla="*/ 213470 w 250994"/>
                <a:gd name="connsiteY4" fmla="*/ 33696 h 149907"/>
                <a:gd name="connsiteX5" fmla="*/ 216533 w 250994"/>
                <a:gd name="connsiteY5" fmla="*/ 0 h 149907"/>
                <a:gd name="connsiteX6" fmla="*/ 83665 w 250994"/>
                <a:gd name="connsiteY6" fmla="*/ 122147 h 149907"/>
                <a:gd name="connsiteX7" fmla="*/ 51501 w 250994"/>
                <a:gd name="connsiteY7" fmla="*/ 89983 h 149907"/>
                <a:gd name="connsiteX8" fmla="*/ 83665 w 250994"/>
                <a:gd name="connsiteY8" fmla="*/ 57819 h 149907"/>
                <a:gd name="connsiteX9" fmla="*/ 115829 w 250994"/>
                <a:gd name="connsiteY9" fmla="*/ 89983 h 149907"/>
                <a:gd name="connsiteX10" fmla="*/ 83665 w 250994"/>
                <a:gd name="connsiteY10" fmla="*/ 122147 h 14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0994" h="149907">
                  <a:moveTo>
                    <a:pt x="216533" y="0"/>
                  </a:moveTo>
                  <a:lnTo>
                    <a:pt x="0" y="0"/>
                  </a:lnTo>
                  <a:lnTo>
                    <a:pt x="0" y="149907"/>
                  </a:lnTo>
                  <a:lnTo>
                    <a:pt x="250994" y="149907"/>
                  </a:lnTo>
                  <a:cubicBezTo>
                    <a:pt x="227446" y="117169"/>
                    <a:pt x="213470" y="77155"/>
                    <a:pt x="213470" y="33696"/>
                  </a:cubicBezTo>
                  <a:cubicBezTo>
                    <a:pt x="213470" y="22209"/>
                    <a:pt x="214618" y="10913"/>
                    <a:pt x="216533" y="0"/>
                  </a:cubicBezTo>
                  <a:close/>
                  <a:moveTo>
                    <a:pt x="83665" y="122147"/>
                  </a:moveTo>
                  <a:cubicBezTo>
                    <a:pt x="66051" y="122147"/>
                    <a:pt x="51501" y="107788"/>
                    <a:pt x="51501" y="89983"/>
                  </a:cubicBezTo>
                  <a:cubicBezTo>
                    <a:pt x="51501" y="72178"/>
                    <a:pt x="65860" y="57819"/>
                    <a:pt x="83665" y="57819"/>
                  </a:cubicBezTo>
                  <a:cubicBezTo>
                    <a:pt x="101470" y="57819"/>
                    <a:pt x="115829" y="72178"/>
                    <a:pt x="115829" y="89983"/>
                  </a:cubicBezTo>
                  <a:cubicBezTo>
                    <a:pt x="115829" y="107788"/>
                    <a:pt x="101470" y="122147"/>
                    <a:pt x="83665" y="122147"/>
                  </a:cubicBezTo>
                  <a:close/>
                </a:path>
              </a:pathLst>
            </a:custGeom>
            <a:solidFill>
              <a:srgbClr val="3D4647"/>
            </a:solidFill>
            <a:ln w="19050" cap="flat">
              <a:noFill/>
              <a:prstDash val="solid"/>
              <a:miter/>
            </a:ln>
          </p:spPr>
          <p:txBody>
            <a:bodyPr rtlCol="0" anchor="ctr"/>
            <a:lstStyle/>
            <a:p>
              <a:endParaRPr lang="en-US" dirty="0"/>
            </a:p>
          </p:txBody>
        </p:sp>
      </p:grpSp>
      <p:pic>
        <p:nvPicPr>
          <p:cNvPr id="119" name="Graphic 118">
            <a:extLst>
              <a:ext uri="{FF2B5EF4-FFF2-40B4-BE49-F238E27FC236}">
                <a16:creationId xmlns:a16="http://schemas.microsoft.com/office/drawing/2014/main" id="{ABFD2DE8-5F56-1FF2-5685-DB56BA1A264F}"/>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11309075" y="5711643"/>
            <a:ext cx="609600" cy="609600"/>
          </a:xfrm>
          <a:prstGeom prst="rect">
            <a:avLst/>
          </a:prstGeom>
        </p:spPr>
      </p:pic>
      <p:sp>
        <p:nvSpPr>
          <p:cNvPr id="17" name="object 19">
            <a:extLst>
              <a:ext uri="{FF2B5EF4-FFF2-40B4-BE49-F238E27FC236}">
                <a16:creationId xmlns:a16="http://schemas.microsoft.com/office/drawing/2014/main" id="{5911A822-DADE-2DF9-03AD-45192FAB4140}"/>
              </a:ext>
            </a:extLst>
          </p:cNvPr>
          <p:cNvSpPr txBox="1"/>
          <p:nvPr/>
        </p:nvSpPr>
        <p:spPr>
          <a:xfrm>
            <a:off x="7580013" y="5428177"/>
            <a:ext cx="137160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Operatin</a:t>
            </a:r>
            <a:r>
              <a:rPr lang="en-US" dirty="0"/>
              <a:t>g Margin</a:t>
            </a:r>
            <a:endParaRPr dirty="0"/>
          </a:p>
        </p:txBody>
      </p:sp>
      <p:sp>
        <p:nvSpPr>
          <p:cNvPr id="114" name="object 37">
            <a:extLst>
              <a:ext uri="{FF2B5EF4-FFF2-40B4-BE49-F238E27FC236}">
                <a16:creationId xmlns:a16="http://schemas.microsoft.com/office/drawing/2014/main" id="{0E31B229-6EFB-870F-4D28-B5BFBA873E92}"/>
              </a:ext>
            </a:extLst>
          </p:cNvPr>
          <p:cNvSpPr txBox="1"/>
          <p:nvPr/>
        </p:nvSpPr>
        <p:spPr>
          <a:xfrm>
            <a:off x="8341888" y="1628374"/>
            <a:ext cx="13379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Trend Drive</a:t>
            </a:r>
            <a:r>
              <a:rPr lang="en-US" dirty="0"/>
              <a:t>n Product</a:t>
            </a:r>
            <a:endParaRPr dirty="0"/>
          </a:p>
        </p:txBody>
      </p:sp>
      <p:sp>
        <p:nvSpPr>
          <p:cNvPr id="118" name="object 3">
            <a:extLst>
              <a:ext uri="{FF2B5EF4-FFF2-40B4-BE49-F238E27FC236}">
                <a16:creationId xmlns:a16="http://schemas.microsoft.com/office/drawing/2014/main" id="{8F1D495D-D2A5-EEBF-D564-31782882D675}"/>
              </a:ext>
            </a:extLst>
          </p:cNvPr>
          <p:cNvSpPr txBox="1"/>
          <p:nvPr/>
        </p:nvSpPr>
        <p:spPr>
          <a:xfrm>
            <a:off x="2802849" y="2851900"/>
            <a:ext cx="715514"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a:t>
            </a:r>
            <a:r>
              <a:rPr dirty="0"/>
              <a:t>sset Effici</a:t>
            </a:r>
            <a:r>
              <a:rPr lang="en-US" dirty="0"/>
              <a:t>ency</a:t>
            </a:r>
            <a:endParaRPr dirty="0"/>
          </a:p>
        </p:txBody>
      </p:sp>
      <p:pic>
        <p:nvPicPr>
          <p:cNvPr id="155" name="Graphic 154">
            <a:extLst>
              <a:ext uri="{FF2B5EF4-FFF2-40B4-BE49-F238E27FC236}">
                <a16:creationId xmlns:a16="http://schemas.microsoft.com/office/drawing/2014/main" id="{A970D833-2613-7CF9-8A06-F8316C6164EB}"/>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2854282" y="3204446"/>
            <a:ext cx="612648" cy="612648"/>
          </a:xfrm>
          <a:prstGeom prst="rect">
            <a:avLst/>
          </a:prstGeom>
        </p:spPr>
      </p:pic>
      <p:grpSp>
        <p:nvGrpSpPr>
          <p:cNvPr id="166" name="Group 165">
            <a:extLst>
              <a:ext uri="{FF2B5EF4-FFF2-40B4-BE49-F238E27FC236}">
                <a16:creationId xmlns:a16="http://schemas.microsoft.com/office/drawing/2014/main" id="{3D94749E-1F72-1CB4-43C0-F0B94CF68375}"/>
              </a:ext>
            </a:extLst>
          </p:cNvPr>
          <p:cNvGrpSpPr/>
          <p:nvPr/>
        </p:nvGrpSpPr>
        <p:grpSpPr>
          <a:xfrm>
            <a:off x="7616044" y="5711643"/>
            <a:ext cx="609601" cy="609599"/>
            <a:chOff x="7262081" y="5711643"/>
            <a:chExt cx="609601" cy="609599"/>
          </a:xfrm>
        </p:grpSpPr>
        <p:sp>
          <p:nvSpPr>
            <p:cNvPr id="159" name="Freeform: Shape 158">
              <a:extLst>
                <a:ext uri="{FF2B5EF4-FFF2-40B4-BE49-F238E27FC236}">
                  <a16:creationId xmlns:a16="http://schemas.microsoft.com/office/drawing/2014/main" id="{3DF1AF16-1CE0-A3EE-FBD2-B1513F6CF7D9}"/>
                </a:ext>
              </a:extLst>
            </p:cNvPr>
            <p:cNvSpPr/>
            <p:nvPr/>
          </p:nvSpPr>
          <p:spPr>
            <a:xfrm>
              <a:off x="7262082" y="5811654"/>
              <a:ext cx="609600" cy="509588"/>
            </a:xfrm>
            <a:custGeom>
              <a:avLst/>
              <a:gdLst>
                <a:gd name="connsiteX0" fmla="*/ 530543 w 609600"/>
                <a:gd name="connsiteY0" fmla="*/ 0 h 509588"/>
                <a:gd name="connsiteX1" fmla="*/ 609600 w 609600"/>
                <a:gd name="connsiteY1" fmla="*/ 204788 h 509588"/>
                <a:gd name="connsiteX2" fmla="*/ 304800 w 609600"/>
                <a:gd name="connsiteY2" fmla="*/ 509588 h 509588"/>
                <a:gd name="connsiteX3" fmla="*/ 0 w 609600"/>
                <a:gd name="connsiteY3" fmla="*/ 219075 h 509588"/>
                <a:gd name="connsiteX4" fmla="*/ 310515 w 609600"/>
                <a:gd name="connsiteY4" fmla="*/ 219075 h 509588"/>
                <a:gd name="connsiteX5" fmla="*/ 530543 w 609600"/>
                <a:gd name="connsiteY5" fmla="*/ 0 h 509588"/>
                <a:gd name="connsiteX6" fmla="*/ 304800 w 609600"/>
                <a:gd name="connsiteY6" fmla="*/ 247650 h 509588"/>
                <a:gd name="connsiteX7" fmla="*/ 200977 w 609600"/>
                <a:gd name="connsiteY7" fmla="*/ 385763 h 509588"/>
                <a:gd name="connsiteX8" fmla="*/ 266700 w 609600"/>
                <a:gd name="connsiteY8" fmla="*/ 385763 h 509588"/>
                <a:gd name="connsiteX9" fmla="*/ 266700 w 609600"/>
                <a:gd name="connsiteY9" fmla="*/ 465773 h 509588"/>
                <a:gd name="connsiteX10" fmla="*/ 342900 w 609600"/>
                <a:gd name="connsiteY10" fmla="*/ 465773 h 509588"/>
                <a:gd name="connsiteX11" fmla="*/ 342900 w 609600"/>
                <a:gd name="connsiteY11" fmla="*/ 385763 h 509588"/>
                <a:gd name="connsiteX12" fmla="*/ 408622 w 609600"/>
                <a:gd name="connsiteY12" fmla="*/ 385763 h 509588"/>
                <a:gd name="connsiteX13" fmla="*/ 304800 w 609600"/>
                <a:gd name="connsiteY13" fmla="*/ 247650 h 50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9600" h="509588">
                  <a:moveTo>
                    <a:pt x="530543" y="0"/>
                  </a:moveTo>
                  <a:cubicBezTo>
                    <a:pt x="579120" y="53340"/>
                    <a:pt x="609600" y="125730"/>
                    <a:pt x="609600" y="204788"/>
                  </a:cubicBezTo>
                  <a:cubicBezTo>
                    <a:pt x="609600" y="373380"/>
                    <a:pt x="473393" y="509588"/>
                    <a:pt x="304800" y="509588"/>
                  </a:cubicBezTo>
                  <a:cubicBezTo>
                    <a:pt x="140970" y="509588"/>
                    <a:pt x="7620" y="381000"/>
                    <a:pt x="0" y="219075"/>
                  </a:cubicBezTo>
                  <a:lnTo>
                    <a:pt x="310515" y="219075"/>
                  </a:lnTo>
                  <a:lnTo>
                    <a:pt x="530543" y="0"/>
                  </a:lnTo>
                  <a:close/>
                  <a:moveTo>
                    <a:pt x="304800" y="247650"/>
                  </a:moveTo>
                  <a:lnTo>
                    <a:pt x="200977" y="385763"/>
                  </a:lnTo>
                  <a:lnTo>
                    <a:pt x="266700" y="385763"/>
                  </a:lnTo>
                  <a:lnTo>
                    <a:pt x="266700" y="465773"/>
                  </a:lnTo>
                  <a:lnTo>
                    <a:pt x="342900" y="465773"/>
                  </a:lnTo>
                  <a:lnTo>
                    <a:pt x="342900" y="385763"/>
                  </a:lnTo>
                  <a:lnTo>
                    <a:pt x="408622" y="385763"/>
                  </a:lnTo>
                  <a:lnTo>
                    <a:pt x="304800" y="247650"/>
                  </a:lnTo>
                  <a:close/>
                </a:path>
              </a:pathLst>
            </a:custGeom>
            <a:solidFill>
              <a:srgbClr val="3D4647"/>
            </a:solidFill>
            <a:ln w="9525" cap="flat">
              <a:noFill/>
              <a:prstDash val="solid"/>
              <a:miter/>
            </a:ln>
          </p:spPr>
          <p:txBody>
            <a:bodyPr rtlCol="0" anchor="ctr"/>
            <a:lstStyle/>
            <a:p>
              <a:endParaRPr lang="en-US" dirty="0"/>
            </a:p>
          </p:txBody>
        </p:sp>
        <p:sp>
          <p:nvSpPr>
            <p:cNvPr id="163" name="Freeform: Shape 162">
              <a:extLst>
                <a:ext uri="{FF2B5EF4-FFF2-40B4-BE49-F238E27FC236}">
                  <a16:creationId xmlns:a16="http://schemas.microsoft.com/office/drawing/2014/main" id="{8224C0F1-823F-B7D8-ABAB-1D40B9726922}"/>
                </a:ext>
              </a:extLst>
            </p:cNvPr>
            <p:cNvSpPr/>
            <p:nvPr/>
          </p:nvSpPr>
          <p:spPr>
            <a:xfrm>
              <a:off x="7262081" y="5711643"/>
              <a:ext cx="509588" cy="290513"/>
            </a:xfrm>
            <a:custGeom>
              <a:avLst/>
              <a:gdLst>
                <a:gd name="connsiteX0" fmla="*/ 304800 w 509588"/>
                <a:gd name="connsiteY0" fmla="*/ 0 h 290513"/>
                <a:gd name="connsiteX1" fmla="*/ 509588 w 509588"/>
                <a:gd name="connsiteY1" fmla="*/ 79058 h 290513"/>
                <a:gd name="connsiteX2" fmla="*/ 299085 w 509588"/>
                <a:gd name="connsiteY2" fmla="*/ 290513 h 290513"/>
                <a:gd name="connsiteX3" fmla="*/ 0 w 509588"/>
                <a:gd name="connsiteY3" fmla="*/ 290513 h 290513"/>
                <a:gd name="connsiteX4" fmla="*/ 304800 w 509588"/>
                <a:gd name="connsiteY4" fmla="*/ 0 h 290513"/>
                <a:gd name="connsiteX5" fmla="*/ 203835 w 509588"/>
                <a:gd name="connsiteY5" fmla="*/ 70485 h 290513"/>
                <a:gd name="connsiteX6" fmla="*/ 203835 w 509588"/>
                <a:gd name="connsiteY6" fmla="*/ 87630 h 290513"/>
                <a:gd name="connsiteX7" fmla="*/ 181927 w 509588"/>
                <a:gd name="connsiteY7" fmla="*/ 92392 h 290513"/>
                <a:gd name="connsiteX8" fmla="*/ 167640 w 509588"/>
                <a:gd name="connsiteY8" fmla="*/ 103822 h 290513"/>
                <a:gd name="connsiteX9" fmla="*/ 162877 w 509588"/>
                <a:gd name="connsiteY9" fmla="*/ 120967 h 290513"/>
                <a:gd name="connsiteX10" fmla="*/ 162877 w 509588"/>
                <a:gd name="connsiteY10" fmla="*/ 131445 h 290513"/>
                <a:gd name="connsiteX11" fmla="*/ 171450 w 509588"/>
                <a:gd name="connsiteY11" fmla="*/ 151447 h 290513"/>
                <a:gd name="connsiteX12" fmla="*/ 197167 w 509588"/>
                <a:gd name="connsiteY12" fmla="*/ 161925 h 290513"/>
                <a:gd name="connsiteX13" fmla="*/ 230505 w 509588"/>
                <a:gd name="connsiteY13" fmla="*/ 167640 h 290513"/>
                <a:gd name="connsiteX14" fmla="*/ 243840 w 509588"/>
                <a:gd name="connsiteY14" fmla="*/ 179070 h 290513"/>
                <a:gd name="connsiteX15" fmla="*/ 243840 w 509588"/>
                <a:gd name="connsiteY15" fmla="*/ 185738 h 290513"/>
                <a:gd name="connsiteX16" fmla="*/ 239077 w 509588"/>
                <a:gd name="connsiteY16" fmla="*/ 195263 h 290513"/>
                <a:gd name="connsiteX17" fmla="*/ 225742 w 509588"/>
                <a:gd name="connsiteY17" fmla="*/ 199072 h 290513"/>
                <a:gd name="connsiteX18" fmla="*/ 204787 w 509588"/>
                <a:gd name="connsiteY18" fmla="*/ 199072 h 290513"/>
                <a:gd name="connsiteX19" fmla="*/ 191452 w 509588"/>
                <a:gd name="connsiteY19" fmla="*/ 193357 h 290513"/>
                <a:gd name="connsiteX20" fmla="*/ 186690 w 509588"/>
                <a:gd name="connsiteY20" fmla="*/ 178118 h 290513"/>
                <a:gd name="connsiteX21" fmla="*/ 160972 w 509588"/>
                <a:gd name="connsiteY21" fmla="*/ 178118 h 290513"/>
                <a:gd name="connsiteX22" fmla="*/ 172402 w 509588"/>
                <a:gd name="connsiteY22" fmla="*/ 209550 h 290513"/>
                <a:gd name="connsiteX23" fmla="*/ 203835 w 509588"/>
                <a:gd name="connsiteY23" fmla="*/ 220980 h 290513"/>
                <a:gd name="connsiteX24" fmla="*/ 203835 w 509588"/>
                <a:gd name="connsiteY24" fmla="*/ 238125 h 290513"/>
                <a:gd name="connsiteX25" fmla="*/ 229552 w 509588"/>
                <a:gd name="connsiteY25" fmla="*/ 238125 h 290513"/>
                <a:gd name="connsiteX26" fmla="*/ 229552 w 509588"/>
                <a:gd name="connsiteY26" fmla="*/ 220980 h 290513"/>
                <a:gd name="connsiteX27" fmla="*/ 259080 w 509588"/>
                <a:gd name="connsiteY27" fmla="*/ 211455 h 290513"/>
                <a:gd name="connsiteX28" fmla="*/ 270510 w 509588"/>
                <a:gd name="connsiteY28" fmla="*/ 187643 h 290513"/>
                <a:gd name="connsiteX29" fmla="*/ 269557 w 509588"/>
                <a:gd name="connsiteY29" fmla="*/ 187643 h 290513"/>
                <a:gd name="connsiteX30" fmla="*/ 269557 w 509588"/>
                <a:gd name="connsiteY30" fmla="*/ 174307 h 290513"/>
                <a:gd name="connsiteX31" fmla="*/ 260985 w 509588"/>
                <a:gd name="connsiteY31" fmla="*/ 155257 h 290513"/>
                <a:gd name="connsiteX32" fmla="*/ 235267 w 509588"/>
                <a:gd name="connsiteY32" fmla="*/ 144780 h 290513"/>
                <a:gd name="connsiteX33" fmla="*/ 200977 w 509588"/>
                <a:gd name="connsiteY33" fmla="*/ 139065 h 290513"/>
                <a:gd name="connsiteX34" fmla="*/ 187642 w 509588"/>
                <a:gd name="connsiteY34" fmla="*/ 127635 h 290513"/>
                <a:gd name="connsiteX35" fmla="*/ 187642 w 509588"/>
                <a:gd name="connsiteY35" fmla="*/ 122872 h 290513"/>
                <a:gd name="connsiteX36" fmla="*/ 192405 w 509588"/>
                <a:gd name="connsiteY36" fmla="*/ 114300 h 290513"/>
                <a:gd name="connsiteX37" fmla="*/ 204787 w 509588"/>
                <a:gd name="connsiteY37" fmla="*/ 110490 h 290513"/>
                <a:gd name="connsiteX38" fmla="*/ 225742 w 509588"/>
                <a:gd name="connsiteY38" fmla="*/ 110490 h 290513"/>
                <a:gd name="connsiteX39" fmla="*/ 237172 w 509588"/>
                <a:gd name="connsiteY39" fmla="*/ 115253 h 290513"/>
                <a:gd name="connsiteX40" fmla="*/ 241935 w 509588"/>
                <a:gd name="connsiteY40" fmla="*/ 127635 h 290513"/>
                <a:gd name="connsiteX41" fmla="*/ 267652 w 509588"/>
                <a:gd name="connsiteY41" fmla="*/ 127635 h 290513"/>
                <a:gd name="connsiteX42" fmla="*/ 257175 w 509588"/>
                <a:gd name="connsiteY42" fmla="*/ 99060 h 290513"/>
                <a:gd name="connsiteX43" fmla="*/ 229552 w 509588"/>
                <a:gd name="connsiteY43" fmla="*/ 87630 h 290513"/>
                <a:gd name="connsiteX44" fmla="*/ 229552 w 509588"/>
                <a:gd name="connsiteY44" fmla="*/ 70485 h 290513"/>
                <a:gd name="connsiteX45" fmla="*/ 203835 w 509588"/>
                <a:gd name="connsiteY45" fmla="*/ 70485 h 290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09588" h="290513">
                  <a:moveTo>
                    <a:pt x="304800" y="0"/>
                  </a:moveTo>
                  <a:cubicBezTo>
                    <a:pt x="383858" y="0"/>
                    <a:pt x="455295" y="30480"/>
                    <a:pt x="509588" y="79058"/>
                  </a:cubicBezTo>
                  <a:lnTo>
                    <a:pt x="299085" y="290513"/>
                  </a:lnTo>
                  <a:lnTo>
                    <a:pt x="0" y="290513"/>
                  </a:lnTo>
                  <a:cubicBezTo>
                    <a:pt x="7620" y="128588"/>
                    <a:pt x="140970" y="0"/>
                    <a:pt x="304800" y="0"/>
                  </a:cubicBezTo>
                  <a:close/>
                  <a:moveTo>
                    <a:pt x="203835" y="70485"/>
                  </a:moveTo>
                  <a:lnTo>
                    <a:pt x="203835" y="87630"/>
                  </a:lnTo>
                  <a:cubicBezTo>
                    <a:pt x="195262" y="87630"/>
                    <a:pt x="188594" y="89535"/>
                    <a:pt x="181927" y="92392"/>
                  </a:cubicBezTo>
                  <a:cubicBezTo>
                    <a:pt x="176212" y="95250"/>
                    <a:pt x="171450" y="99060"/>
                    <a:pt x="167640" y="103822"/>
                  </a:cubicBezTo>
                  <a:cubicBezTo>
                    <a:pt x="164782" y="108585"/>
                    <a:pt x="162877" y="114300"/>
                    <a:pt x="162877" y="120967"/>
                  </a:cubicBezTo>
                  <a:lnTo>
                    <a:pt x="162877" y="131445"/>
                  </a:lnTo>
                  <a:cubicBezTo>
                    <a:pt x="162877" y="139065"/>
                    <a:pt x="165735" y="145733"/>
                    <a:pt x="171450" y="151447"/>
                  </a:cubicBezTo>
                  <a:cubicBezTo>
                    <a:pt x="177165" y="156210"/>
                    <a:pt x="185737" y="160020"/>
                    <a:pt x="197167" y="161925"/>
                  </a:cubicBezTo>
                  <a:lnTo>
                    <a:pt x="230505" y="167640"/>
                  </a:lnTo>
                  <a:cubicBezTo>
                    <a:pt x="239077" y="169545"/>
                    <a:pt x="243840" y="173355"/>
                    <a:pt x="243840" y="179070"/>
                  </a:cubicBezTo>
                  <a:lnTo>
                    <a:pt x="243840" y="185738"/>
                  </a:lnTo>
                  <a:cubicBezTo>
                    <a:pt x="243840" y="189547"/>
                    <a:pt x="242887" y="193357"/>
                    <a:pt x="239077" y="195263"/>
                  </a:cubicBezTo>
                  <a:cubicBezTo>
                    <a:pt x="235267" y="198120"/>
                    <a:pt x="231457" y="199072"/>
                    <a:pt x="225742" y="199072"/>
                  </a:cubicBezTo>
                  <a:lnTo>
                    <a:pt x="204787" y="199072"/>
                  </a:lnTo>
                  <a:cubicBezTo>
                    <a:pt x="199072" y="199072"/>
                    <a:pt x="194310" y="197168"/>
                    <a:pt x="191452" y="193357"/>
                  </a:cubicBezTo>
                  <a:cubicBezTo>
                    <a:pt x="188594" y="189547"/>
                    <a:pt x="186690" y="184785"/>
                    <a:pt x="186690" y="178118"/>
                  </a:cubicBezTo>
                  <a:lnTo>
                    <a:pt x="160972" y="178118"/>
                  </a:lnTo>
                  <a:cubicBezTo>
                    <a:pt x="160972" y="191453"/>
                    <a:pt x="164782" y="201930"/>
                    <a:pt x="172402" y="209550"/>
                  </a:cubicBezTo>
                  <a:cubicBezTo>
                    <a:pt x="180022" y="217170"/>
                    <a:pt x="190500" y="220980"/>
                    <a:pt x="203835" y="220980"/>
                  </a:cubicBezTo>
                  <a:lnTo>
                    <a:pt x="203835" y="238125"/>
                  </a:lnTo>
                  <a:lnTo>
                    <a:pt x="229552" y="238125"/>
                  </a:lnTo>
                  <a:lnTo>
                    <a:pt x="229552" y="220980"/>
                  </a:lnTo>
                  <a:cubicBezTo>
                    <a:pt x="241935" y="220980"/>
                    <a:pt x="251460" y="217170"/>
                    <a:pt x="259080" y="211455"/>
                  </a:cubicBezTo>
                  <a:cubicBezTo>
                    <a:pt x="266700" y="204788"/>
                    <a:pt x="270510" y="197168"/>
                    <a:pt x="270510" y="187643"/>
                  </a:cubicBezTo>
                  <a:lnTo>
                    <a:pt x="269557" y="187643"/>
                  </a:lnTo>
                  <a:lnTo>
                    <a:pt x="269557" y="174307"/>
                  </a:lnTo>
                  <a:cubicBezTo>
                    <a:pt x="269557" y="166688"/>
                    <a:pt x="266700" y="160020"/>
                    <a:pt x="260985" y="155257"/>
                  </a:cubicBezTo>
                  <a:cubicBezTo>
                    <a:pt x="255270" y="150495"/>
                    <a:pt x="246697" y="146685"/>
                    <a:pt x="235267" y="144780"/>
                  </a:cubicBezTo>
                  <a:lnTo>
                    <a:pt x="200977" y="139065"/>
                  </a:lnTo>
                  <a:cubicBezTo>
                    <a:pt x="192405" y="138113"/>
                    <a:pt x="187642" y="134303"/>
                    <a:pt x="187642" y="127635"/>
                  </a:cubicBezTo>
                  <a:lnTo>
                    <a:pt x="187642" y="122872"/>
                  </a:lnTo>
                  <a:cubicBezTo>
                    <a:pt x="187642" y="119063"/>
                    <a:pt x="189547" y="116205"/>
                    <a:pt x="192405" y="114300"/>
                  </a:cubicBezTo>
                  <a:cubicBezTo>
                    <a:pt x="195262" y="111442"/>
                    <a:pt x="200025" y="110490"/>
                    <a:pt x="204787" y="110490"/>
                  </a:cubicBezTo>
                  <a:lnTo>
                    <a:pt x="225742" y="110490"/>
                  </a:lnTo>
                  <a:cubicBezTo>
                    <a:pt x="230505" y="110490"/>
                    <a:pt x="234315" y="112395"/>
                    <a:pt x="237172" y="115253"/>
                  </a:cubicBezTo>
                  <a:cubicBezTo>
                    <a:pt x="240030" y="118110"/>
                    <a:pt x="241935" y="122872"/>
                    <a:pt x="241935" y="127635"/>
                  </a:cubicBezTo>
                  <a:lnTo>
                    <a:pt x="267652" y="127635"/>
                  </a:lnTo>
                  <a:cubicBezTo>
                    <a:pt x="267652" y="116205"/>
                    <a:pt x="263842" y="106680"/>
                    <a:pt x="257175" y="99060"/>
                  </a:cubicBezTo>
                  <a:cubicBezTo>
                    <a:pt x="250507" y="92392"/>
                    <a:pt x="240982" y="88583"/>
                    <a:pt x="229552" y="87630"/>
                  </a:cubicBezTo>
                  <a:lnTo>
                    <a:pt x="229552" y="70485"/>
                  </a:lnTo>
                  <a:lnTo>
                    <a:pt x="203835" y="70485"/>
                  </a:lnTo>
                  <a:close/>
                </a:path>
              </a:pathLst>
            </a:custGeom>
            <a:solidFill>
              <a:srgbClr val="40AA1D"/>
            </a:solidFill>
            <a:ln w="9525" cap="flat">
              <a:noFill/>
              <a:prstDash val="solid"/>
              <a:miter/>
            </a:ln>
          </p:spPr>
          <p:txBody>
            <a:bodyPr rtlCol="0" anchor="ctr"/>
            <a:lstStyle/>
            <a:p>
              <a:endParaRPr lang="en-US" dirty="0"/>
            </a:p>
          </p:txBody>
        </p:sp>
      </p:grpSp>
      <p:pic>
        <p:nvPicPr>
          <p:cNvPr id="121" name="Graphic 120">
            <a:extLst>
              <a:ext uri="{FF2B5EF4-FFF2-40B4-BE49-F238E27FC236}">
                <a16:creationId xmlns:a16="http://schemas.microsoft.com/office/drawing/2014/main" id="{90293E8A-171E-550F-A789-BBB906472B10}"/>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8639095" y="1828838"/>
            <a:ext cx="740941" cy="740941"/>
          </a:xfrm>
          <a:prstGeom prst="rect">
            <a:avLst/>
          </a:prstGeom>
        </p:spPr>
      </p:pic>
      <p:pic>
        <p:nvPicPr>
          <p:cNvPr id="120" name="Graphic 119">
            <a:extLst>
              <a:ext uri="{FF2B5EF4-FFF2-40B4-BE49-F238E27FC236}">
                <a16:creationId xmlns:a16="http://schemas.microsoft.com/office/drawing/2014/main" id="{894F1510-7576-AA84-FDCC-3EAB0A4AA969}"/>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5771867" y="4435533"/>
            <a:ext cx="609600" cy="609600"/>
          </a:xfrm>
          <a:prstGeom prst="rect">
            <a:avLst/>
          </a:prstGeom>
        </p:spPr>
      </p:pic>
      <p:pic>
        <p:nvPicPr>
          <p:cNvPr id="123" name="Graphic 122">
            <a:extLst>
              <a:ext uri="{FF2B5EF4-FFF2-40B4-BE49-F238E27FC236}">
                <a16:creationId xmlns:a16="http://schemas.microsoft.com/office/drawing/2014/main" id="{59AAE015-9EBB-BD13-C10D-5AF084A9A8FC}"/>
              </a:ext>
            </a:extLst>
          </p:cNvPr>
          <p:cNvPicPr>
            <a:picLocks noChangeAspect="1"/>
          </p:cNvPicPr>
          <p:nvPr/>
        </p:nvPicPr>
        <p:blipFill>
          <a:blip r:embed="rId61">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a:off x="7301170" y="4435533"/>
            <a:ext cx="609600" cy="609600"/>
          </a:xfrm>
          <a:prstGeom prst="rect">
            <a:avLst/>
          </a:prstGeom>
        </p:spPr>
      </p:pic>
      <p:pic>
        <p:nvPicPr>
          <p:cNvPr id="126" name="Graphic 125">
            <a:extLst>
              <a:ext uri="{FF2B5EF4-FFF2-40B4-BE49-F238E27FC236}">
                <a16:creationId xmlns:a16="http://schemas.microsoft.com/office/drawing/2014/main" id="{21DBF734-73EB-8F75-B708-B323834922AA}"/>
              </a:ext>
            </a:extLst>
          </p:cNvPr>
          <p:cNvPicPr>
            <a:picLocks noChangeAspect="1"/>
          </p:cNvPicPr>
          <p:nvPr/>
        </p:nvPicPr>
        <p:blipFill>
          <a:blip r:embed="rId63">
            <a:extLst>
              <a:ext uri="{28A0092B-C50C-407E-A947-70E740481C1C}">
                <a14:useLocalDpi xmlns:a14="http://schemas.microsoft.com/office/drawing/2010/main" val="0"/>
              </a:ext>
              <a:ext uri="{96DAC541-7B7A-43D3-8B79-37D633B846F1}">
                <asvg:svgBlip xmlns:asvg="http://schemas.microsoft.com/office/drawing/2016/SVG/main" r:embed="rId64"/>
              </a:ext>
            </a:extLst>
          </a:blip>
          <a:stretch>
            <a:fillRect/>
          </a:stretch>
        </p:blipFill>
        <p:spPr>
          <a:xfrm>
            <a:off x="4393457" y="1971541"/>
            <a:ext cx="609600" cy="609600"/>
          </a:xfrm>
          <a:prstGeom prst="rect">
            <a:avLst/>
          </a:prstGeom>
        </p:spPr>
      </p:pic>
      <p:sp>
        <p:nvSpPr>
          <p:cNvPr id="127" name="Text Placeholder 81">
            <a:extLst>
              <a:ext uri="{FF2B5EF4-FFF2-40B4-BE49-F238E27FC236}">
                <a16:creationId xmlns:a16="http://schemas.microsoft.com/office/drawing/2014/main" id="{5328414E-A577-83FD-E08F-E40B31EF3F96}"/>
              </a:ext>
            </a:extLst>
          </p:cNvPr>
          <p:cNvSpPr txBox="1">
            <a:spLocks/>
          </p:cNvSpPr>
          <p:nvPr/>
        </p:nvSpPr>
        <p:spPr>
          <a:xfrm>
            <a:off x="4353064" y="1629043"/>
            <a:ext cx="1737360" cy="137160"/>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r Chart Horizontal Variable</a:t>
            </a:r>
          </a:p>
        </p:txBody>
      </p:sp>
      <p:pic>
        <p:nvPicPr>
          <p:cNvPr id="158" name="Graphic 157">
            <a:extLst>
              <a:ext uri="{FF2B5EF4-FFF2-40B4-BE49-F238E27FC236}">
                <a16:creationId xmlns:a16="http://schemas.microsoft.com/office/drawing/2014/main" id="{53B05446-2037-C137-DD87-8576213DDB44}"/>
              </a:ext>
            </a:extLst>
          </p:cNvPr>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5269519" y="1971541"/>
            <a:ext cx="609600" cy="609600"/>
          </a:xfrm>
          <a:prstGeom prst="rect">
            <a:avLst/>
          </a:prstGeom>
        </p:spPr>
      </p:pic>
      <p:grpSp>
        <p:nvGrpSpPr>
          <p:cNvPr id="165" name="Group 164">
            <a:extLst>
              <a:ext uri="{FF2B5EF4-FFF2-40B4-BE49-F238E27FC236}">
                <a16:creationId xmlns:a16="http://schemas.microsoft.com/office/drawing/2014/main" id="{9A4F2572-4648-AEA3-162E-34C0C672D9AB}"/>
              </a:ext>
            </a:extLst>
          </p:cNvPr>
          <p:cNvGrpSpPr/>
          <p:nvPr/>
        </p:nvGrpSpPr>
        <p:grpSpPr>
          <a:xfrm>
            <a:off x="8393295" y="5708594"/>
            <a:ext cx="612648" cy="612648"/>
            <a:chOff x="8039332" y="5708594"/>
            <a:chExt cx="612648" cy="612648"/>
          </a:xfrm>
        </p:grpSpPr>
        <p:sp>
          <p:nvSpPr>
            <p:cNvPr id="161" name="Freeform: Shape 160">
              <a:extLst>
                <a:ext uri="{FF2B5EF4-FFF2-40B4-BE49-F238E27FC236}">
                  <a16:creationId xmlns:a16="http://schemas.microsoft.com/office/drawing/2014/main" id="{A02873EC-E259-4F29-2322-41D4171B01CF}"/>
                </a:ext>
              </a:extLst>
            </p:cNvPr>
            <p:cNvSpPr/>
            <p:nvPr/>
          </p:nvSpPr>
          <p:spPr>
            <a:xfrm>
              <a:off x="8039332" y="5708594"/>
              <a:ext cx="512136" cy="291966"/>
            </a:xfrm>
            <a:custGeom>
              <a:avLst/>
              <a:gdLst>
                <a:gd name="connsiteX0" fmla="*/ 306324 w 512136"/>
                <a:gd name="connsiteY0" fmla="*/ 0 h 291966"/>
                <a:gd name="connsiteX1" fmla="*/ 512136 w 512136"/>
                <a:gd name="connsiteY1" fmla="*/ 79454 h 291966"/>
                <a:gd name="connsiteX2" fmla="*/ 300581 w 512136"/>
                <a:gd name="connsiteY2" fmla="*/ 291966 h 291966"/>
                <a:gd name="connsiteX3" fmla="*/ 0 w 512136"/>
                <a:gd name="connsiteY3" fmla="*/ 291966 h 291966"/>
                <a:gd name="connsiteX4" fmla="*/ 306324 w 512136"/>
                <a:gd name="connsiteY4" fmla="*/ 0 h 291966"/>
                <a:gd name="connsiteX5" fmla="*/ 204855 w 512136"/>
                <a:gd name="connsiteY5" fmla="*/ 70837 h 291966"/>
                <a:gd name="connsiteX6" fmla="*/ 204855 w 512136"/>
                <a:gd name="connsiteY6" fmla="*/ 88068 h 291966"/>
                <a:gd name="connsiteX7" fmla="*/ 182837 w 512136"/>
                <a:gd name="connsiteY7" fmla="*/ 92854 h 291966"/>
                <a:gd name="connsiteX8" fmla="*/ 168479 w 512136"/>
                <a:gd name="connsiteY8" fmla="*/ 104341 h 291966"/>
                <a:gd name="connsiteX9" fmla="*/ 163692 w 512136"/>
                <a:gd name="connsiteY9" fmla="*/ 121572 h 291966"/>
                <a:gd name="connsiteX10" fmla="*/ 163692 w 512136"/>
                <a:gd name="connsiteY10" fmla="*/ 132102 h 291966"/>
                <a:gd name="connsiteX11" fmla="*/ 172308 w 512136"/>
                <a:gd name="connsiteY11" fmla="*/ 152204 h 291966"/>
                <a:gd name="connsiteX12" fmla="*/ 198153 w 512136"/>
                <a:gd name="connsiteY12" fmla="*/ 162734 h 291966"/>
                <a:gd name="connsiteX13" fmla="*/ 231658 w 512136"/>
                <a:gd name="connsiteY13" fmla="*/ 168478 h 291966"/>
                <a:gd name="connsiteX14" fmla="*/ 245060 w 512136"/>
                <a:gd name="connsiteY14" fmla="*/ 179965 h 291966"/>
                <a:gd name="connsiteX15" fmla="*/ 245060 w 512136"/>
                <a:gd name="connsiteY15" fmla="*/ 186666 h 291966"/>
                <a:gd name="connsiteX16" fmla="*/ 240273 w 512136"/>
                <a:gd name="connsiteY16" fmla="*/ 196239 h 291966"/>
                <a:gd name="connsiteX17" fmla="*/ 226871 w 512136"/>
                <a:gd name="connsiteY17" fmla="*/ 200067 h 291966"/>
                <a:gd name="connsiteX18" fmla="*/ 205811 w 512136"/>
                <a:gd name="connsiteY18" fmla="*/ 200067 h 291966"/>
                <a:gd name="connsiteX19" fmla="*/ 192410 w 512136"/>
                <a:gd name="connsiteY19" fmla="*/ 194323 h 291966"/>
                <a:gd name="connsiteX20" fmla="*/ 187624 w 512136"/>
                <a:gd name="connsiteY20" fmla="*/ 179008 h 291966"/>
                <a:gd name="connsiteX21" fmla="*/ 161777 w 512136"/>
                <a:gd name="connsiteY21" fmla="*/ 179008 h 291966"/>
                <a:gd name="connsiteX22" fmla="*/ 173264 w 512136"/>
                <a:gd name="connsiteY22" fmla="*/ 210597 h 291966"/>
                <a:gd name="connsiteX23" fmla="*/ 204855 w 512136"/>
                <a:gd name="connsiteY23" fmla="*/ 222085 h 291966"/>
                <a:gd name="connsiteX24" fmla="*/ 204855 w 512136"/>
                <a:gd name="connsiteY24" fmla="*/ 239315 h 291966"/>
                <a:gd name="connsiteX25" fmla="*/ 230700 w 512136"/>
                <a:gd name="connsiteY25" fmla="*/ 239315 h 291966"/>
                <a:gd name="connsiteX26" fmla="*/ 230700 w 512136"/>
                <a:gd name="connsiteY26" fmla="*/ 222085 h 291966"/>
                <a:gd name="connsiteX27" fmla="*/ 260376 w 512136"/>
                <a:gd name="connsiteY27" fmla="*/ 212512 h 291966"/>
                <a:gd name="connsiteX28" fmla="*/ 271863 w 512136"/>
                <a:gd name="connsiteY28" fmla="*/ 188581 h 291966"/>
                <a:gd name="connsiteX29" fmla="*/ 270905 w 512136"/>
                <a:gd name="connsiteY29" fmla="*/ 188581 h 291966"/>
                <a:gd name="connsiteX30" fmla="*/ 270905 w 512136"/>
                <a:gd name="connsiteY30" fmla="*/ 175178 h 291966"/>
                <a:gd name="connsiteX31" fmla="*/ 262291 w 512136"/>
                <a:gd name="connsiteY31" fmla="*/ 156033 h 291966"/>
                <a:gd name="connsiteX32" fmla="*/ 236444 w 512136"/>
                <a:gd name="connsiteY32" fmla="*/ 145504 h 291966"/>
                <a:gd name="connsiteX33" fmla="*/ 201982 w 512136"/>
                <a:gd name="connsiteY33" fmla="*/ 139760 h 291966"/>
                <a:gd name="connsiteX34" fmla="*/ 188581 w 512136"/>
                <a:gd name="connsiteY34" fmla="*/ 128273 h 291966"/>
                <a:gd name="connsiteX35" fmla="*/ 188581 w 512136"/>
                <a:gd name="connsiteY35" fmla="*/ 123486 h 291966"/>
                <a:gd name="connsiteX36" fmla="*/ 193368 w 512136"/>
                <a:gd name="connsiteY36" fmla="*/ 114871 h 291966"/>
                <a:gd name="connsiteX37" fmla="*/ 205811 w 512136"/>
                <a:gd name="connsiteY37" fmla="*/ 111042 h 291966"/>
                <a:gd name="connsiteX38" fmla="*/ 226871 w 512136"/>
                <a:gd name="connsiteY38" fmla="*/ 111042 h 291966"/>
                <a:gd name="connsiteX39" fmla="*/ 238358 w 512136"/>
                <a:gd name="connsiteY39" fmla="*/ 115829 h 291966"/>
                <a:gd name="connsiteX40" fmla="*/ 243145 w 512136"/>
                <a:gd name="connsiteY40" fmla="*/ 128273 h 291966"/>
                <a:gd name="connsiteX41" fmla="*/ 268991 w 512136"/>
                <a:gd name="connsiteY41" fmla="*/ 128273 h 291966"/>
                <a:gd name="connsiteX42" fmla="*/ 258462 w 512136"/>
                <a:gd name="connsiteY42" fmla="*/ 99555 h 291966"/>
                <a:gd name="connsiteX43" fmla="*/ 230700 w 512136"/>
                <a:gd name="connsiteY43" fmla="*/ 88068 h 291966"/>
                <a:gd name="connsiteX44" fmla="*/ 230700 w 512136"/>
                <a:gd name="connsiteY44" fmla="*/ 70837 h 291966"/>
                <a:gd name="connsiteX45" fmla="*/ 204855 w 512136"/>
                <a:gd name="connsiteY45" fmla="*/ 70837 h 29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12136" h="291966">
                  <a:moveTo>
                    <a:pt x="306324" y="0"/>
                  </a:moveTo>
                  <a:cubicBezTo>
                    <a:pt x="385777" y="0"/>
                    <a:pt x="457572" y="30633"/>
                    <a:pt x="512136" y="79454"/>
                  </a:cubicBezTo>
                  <a:lnTo>
                    <a:pt x="300581" y="291966"/>
                  </a:lnTo>
                  <a:lnTo>
                    <a:pt x="0" y="291966"/>
                  </a:lnTo>
                  <a:cubicBezTo>
                    <a:pt x="7658" y="129231"/>
                    <a:pt x="141675" y="0"/>
                    <a:pt x="306324" y="0"/>
                  </a:cubicBezTo>
                  <a:close/>
                  <a:moveTo>
                    <a:pt x="204855" y="70837"/>
                  </a:moveTo>
                  <a:lnTo>
                    <a:pt x="204855" y="88068"/>
                  </a:lnTo>
                  <a:cubicBezTo>
                    <a:pt x="196239" y="88068"/>
                    <a:pt x="189537" y="89982"/>
                    <a:pt x="182837" y="92854"/>
                  </a:cubicBezTo>
                  <a:cubicBezTo>
                    <a:pt x="177093" y="95726"/>
                    <a:pt x="172308" y="99555"/>
                    <a:pt x="168479" y="104341"/>
                  </a:cubicBezTo>
                  <a:cubicBezTo>
                    <a:pt x="165606" y="109128"/>
                    <a:pt x="163692" y="114871"/>
                    <a:pt x="163692" y="121572"/>
                  </a:cubicBezTo>
                  <a:lnTo>
                    <a:pt x="163692" y="132102"/>
                  </a:lnTo>
                  <a:cubicBezTo>
                    <a:pt x="163692" y="139760"/>
                    <a:pt x="166564" y="146461"/>
                    <a:pt x="172308" y="152204"/>
                  </a:cubicBezTo>
                  <a:cubicBezTo>
                    <a:pt x="178051" y="156991"/>
                    <a:pt x="186666" y="160820"/>
                    <a:pt x="198153" y="162734"/>
                  </a:cubicBezTo>
                  <a:lnTo>
                    <a:pt x="231658" y="168478"/>
                  </a:lnTo>
                  <a:cubicBezTo>
                    <a:pt x="240273" y="170392"/>
                    <a:pt x="245060" y="174221"/>
                    <a:pt x="245060" y="179965"/>
                  </a:cubicBezTo>
                  <a:lnTo>
                    <a:pt x="245060" y="186666"/>
                  </a:lnTo>
                  <a:cubicBezTo>
                    <a:pt x="245060" y="190494"/>
                    <a:pt x="244102" y="194323"/>
                    <a:pt x="240273" y="196239"/>
                  </a:cubicBezTo>
                  <a:cubicBezTo>
                    <a:pt x="236444" y="199110"/>
                    <a:pt x="232615" y="200067"/>
                    <a:pt x="226871" y="200067"/>
                  </a:cubicBezTo>
                  <a:lnTo>
                    <a:pt x="205811" y="200067"/>
                  </a:lnTo>
                  <a:cubicBezTo>
                    <a:pt x="200068" y="200067"/>
                    <a:pt x="195282" y="198154"/>
                    <a:pt x="192410" y="194323"/>
                  </a:cubicBezTo>
                  <a:cubicBezTo>
                    <a:pt x="189537" y="190494"/>
                    <a:pt x="187624" y="185709"/>
                    <a:pt x="187624" y="179008"/>
                  </a:cubicBezTo>
                  <a:lnTo>
                    <a:pt x="161777" y="179008"/>
                  </a:lnTo>
                  <a:cubicBezTo>
                    <a:pt x="161777" y="192410"/>
                    <a:pt x="165606" y="202939"/>
                    <a:pt x="173264" y="210597"/>
                  </a:cubicBezTo>
                  <a:cubicBezTo>
                    <a:pt x="180923" y="218255"/>
                    <a:pt x="191453" y="222085"/>
                    <a:pt x="204855" y="222085"/>
                  </a:cubicBezTo>
                  <a:lnTo>
                    <a:pt x="204855" y="239315"/>
                  </a:lnTo>
                  <a:lnTo>
                    <a:pt x="230700" y="239315"/>
                  </a:lnTo>
                  <a:lnTo>
                    <a:pt x="230700" y="222085"/>
                  </a:lnTo>
                  <a:cubicBezTo>
                    <a:pt x="243145" y="222085"/>
                    <a:pt x="252718" y="218255"/>
                    <a:pt x="260376" y="212512"/>
                  </a:cubicBezTo>
                  <a:cubicBezTo>
                    <a:pt x="268034" y="205812"/>
                    <a:pt x="271863" y="198154"/>
                    <a:pt x="271863" y="188581"/>
                  </a:cubicBezTo>
                  <a:lnTo>
                    <a:pt x="270905" y="188581"/>
                  </a:lnTo>
                  <a:lnTo>
                    <a:pt x="270905" y="175178"/>
                  </a:lnTo>
                  <a:cubicBezTo>
                    <a:pt x="270905" y="167521"/>
                    <a:pt x="268034" y="160820"/>
                    <a:pt x="262291" y="156033"/>
                  </a:cubicBezTo>
                  <a:cubicBezTo>
                    <a:pt x="256547" y="151247"/>
                    <a:pt x="247931" y="147418"/>
                    <a:pt x="236444" y="145504"/>
                  </a:cubicBezTo>
                  <a:lnTo>
                    <a:pt x="201982" y="139760"/>
                  </a:lnTo>
                  <a:cubicBezTo>
                    <a:pt x="193368" y="138803"/>
                    <a:pt x="188581" y="134974"/>
                    <a:pt x="188581" y="128273"/>
                  </a:cubicBezTo>
                  <a:lnTo>
                    <a:pt x="188581" y="123486"/>
                  </a:lnTo>
                  <a:cubicBezTo>
                    <a:pt x="188581" y="119658"/>
                    <a:pt x="190495" y="116786"/>
                    <a:pt x="193368" y="114871"/>
                  </a:cubicBezTo>
                  <a:cubicBezTo>
                    <a:pt x="196239" y="111999"/>
                    <a:pt x="201026" y="111042"/>
                    <a:pt x="205811" y="111042"/>
                  </a:cubicBezTo>
                  <a:lnTo>
                    <a:pt x="226871" y="111042"/>
                  </a:lnTo>
                  <a:cubicBezTo>
                    <a:pt x="231658" y="111042"/>
                    <a:pt x="235487" y="112957"/>
                    <a:pt x="238358" y="115829"/>
                  </a:cubicBezTo>
                  <a:cubicBezTo>
                    <a:pt x="241231" y="118700"/>
                    <a:pt x="243145" y="123486"/>
                    <a:pt x="243145" y="128273"/>
                  </a:cubicBezTo>
                  <a:lnTo>
                    <a:pt x="268991" y="128273"/>
                  </a:lnTo>
                  <a:cubicBezTo>
                    <a:pt x="268991" y="116786"/>
                    <a:pt x="265162" y="107213"/>
                    <a:pt x="258462" y="99555"/>
                  </a:cubicBezTo>
                  <a:cubicBezTo>
                    <a:pt x="251760" y="92854"/>
                    <a:pt x="242188" y="89026"/>
                    <a:pt x="230700" y="88068"/>
                  </a:cubicBezTo>
                  <a:lnTo>
                    <a:pt x="230700" y="70837"/>
                  </a:lnTo>
                  <a:lnTo>
                    <a:pt x="204855" y="70837"/>
                  </a:lnTo>
                  <a:close/>
                </a:path>
              </a:pathLst>
            </a:custGeom>
            <a:solidFill>
              <a:srgbClr val="40AA1D"/>
            </a:solidFill>
            <a:ln w="9525" cap="flat">
              <a:noFill/>
              <a:prstDash val="solid"/>
              <a:miter/>
            </a:ln>
          </p:spPr>
          <p:txBody>
            <a:bodyPr wrap="square" rtlCol="0" anchor="ctr">
              <a:noAutofit/>
            </a:bodyPr>
            <a:lstStyle/>
            <a:p>
              <a:endParaRPr lang="en-US" dirty="0"/>
            </a:p>
          </p:txBody>
        </p:sp>
        <p:sp>
          <p:nvSpPr>
            <p:cNvPr id="92" name="Freeform: Shape 91">
              <a:extLst>
                <a:ext uri="{FF2B5EF4-FFF2-40B4-BE49-F238E27FC236}">
                  <a16:creationId xmlns:a16="http://schemas.microsoft.com/office/drawing/2014/main" id="{05C0F8FE-2C02-DE8A-BF49-722E953B7EA6}"/>
                </a:ext>
              </a:extLst>
            </p:cNvPr>
            <p:cNvSpPr/>
            <p:nvPr/>
          </p:nvSpPr>
          <p:spPr>
            <a:xfrm flipV="1">
              <a:off x="8039332" y="5809106"/>
              <a:ext cx="612648" cy="512136"/>
            </a:xfrm>
            <a:custGeom>
              <a:avLst/>
              <a:gdLst>
                <a:gd name="connsiteX0" fmla="*/ 533196 w 612648"/>
                <a:gd name="connsiteY0" fmla="*/ 512136 h 512136"/>
                <a:gd name="connsiteX1" fmla="*/ 612648 w 612648"/>
                <a:gd name="connsiteY1" fmla="*/ 306324 h 512136"/>
                <a:gd name="connsiteX2" fmla="*/ 306324 w 612648"/>
                <a:gd name="connsiteY2" fmla="*/ 0 h 512136"/>
                <a:gd name="connsiteX3" fmla="*/ 0 w 612648"/>
                <a:gd name="connsiteY3" fmla="*/ 291965 h 512136"/>
                <a:gd name="connsiteX4" fmla="*/ 312068 w 612648"/>
                <a:gd name="connsiteY4" fmla="*/ 291965 h 512136"/>
                <a:gd name="connsiteX5" fmla="*/ 533196 w 612648"/>
                <a:gd name="connsiteY5" fmla="*/ 512136 h 512136"/>
                <a:gd name="connsiteX6" fmla="*/ 268034 w 612648"/>
                <a:gd name="connsiteY6" fmla="*/ 263249 h 512136"/>
                <a:gd name="connsiteX7" fmla="*/ 268034 w 612648"/>
                <a:gd name="connsiteY7" fmla="*/ 182839 h 512136"/>
                <a:gd name="connsiteX8" fmla="*/ 201982 w 612648"/>
                <a:gd name="connsiteY8" fmla="*/ 182839 h 512136"/>
                <a:gd name="connsiteX9" fmla="*/ 306324 w 612648"/>
                <a:gd name="connsiteY9" fmla="*/ 44035 h 512136"/>
                <a:gd name="connsiteX10" fmla="*/ 410665 w 612648"/>
                <a:gd name="connsiteY10" fmla="*/ 182839 h 512136"/>
                <a:gd name="connsiteX11" fmla="*/ 344615 w 612648"/>
                <a:gd name="connsiteY11" fmla="*/ 182839 h 512136"/>
                <a:gd name="connsiteX12" fmla="*/ 344615 w 612648"/>
                <a:gd name="connsiteY12" fmla="*/ 263249 h 512136"/>
                <a:gd name="connsiteX13" fmla="*/ 268034 w 612648"/>
                <a:gd name="connsiteY13" fmla="*/ 263249 h 512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48" h="512136">
                  <a:moveTo>
                    <a:pt x="533196" y="512136"/>
                  </a:moveTo>
                  <a:cubicBezTo>
                    <a:pt x="582016" y="458529"/>
                    <a:pt x="612648" y="385777"/>
                    <a:pt x="612648" y="306324"/>
                  </a:cubicBezTo>
                  <a:cubicBezTo>
                    <a:pt x="612648" y="136889"/>
                    <a:pt x="475760" y="0"/>
                    <a:pt x="306324" y="0"/>
                  </a:cubicBezTo>
                  <a:cubicBezTo>
                    <a:pt x="141675" y="0"/>
                    <a:pt x="7658" y="129231"/>
                    <a:pt x="0" y="291965"/>
                  </a:cubicBezTo>
                  <a:lnTo>
                    <a:pt x="312068" y="291965"/>
                  </a:lnTo>
                  <a:lnTo>
                    <a:pt x="533196" y="512136"/>
                  </a:lnTo>
                  <a:close/>
                  <a:moveTo>
                    <a:pt x="268034" y="263249"/>
                  </a:moveTo>
                  <a:lnTo>
                    <a:pt x="268034" y="182839"/>
                  </a:lnTo>
                  <a:lnTo>
                    <a:pt x="201982" y="182839"/>
                  </a:lnTo>
                  <a:lnTo>
                    <a:pt x="306324" y="44035"/>
                  </a:lnTo>
                  <a:lnTo>
                    <a:pt x="410665" y="182839"/>
                  </a:lnTo>
                  <a:lnTo>
                    <a:pt x="344615" y="182839"/>
                  </a:lnTo>
                  <a:lnTo>
                    <a:pt x="344615" y="263249"/>
                  </a:lnTo>
                  <a:lnTo>
                    <a:pt x="268034" y="263249"/>
                  </a:lnTo>
                  <a:close/>
                </a:path>
              </a:pathLst>
            </a:custGeom>
            <a:solidFill>
              <a:schemeClr val="tx1"/>
            </a:solidFill>
            <a:ln w="9525" cap="flat">
              <a:noFill/>
              <a:prstDash val="solid"/>
              <a:miter/>
            </a:ln>
          </p:spPr>
          <p:txBody>
            <a:bodyPr wrap="square" rtlCol="0" anchor="ctr">
              <a:noAutofit/>
            </a:bodyPr>
            <a:lstStyle/>
            <a:p>
              <a:endParaRPr lang="en-US" dirty="0"/>
            </a:p>
          </p:txBody>
        </p:sp>
      </p:grpSp>
      <p:grpSp>
        <p:nvGrpSpPr>
          <p:cNvPr id="109" name="Group 108">
            <a:extLst>
              <a:ext uri="{FF2B5EF4-FFF2-40B4-BE49-F238E27FC236}">
                <a16:creationId xmlns:a16="http://schemas.microsoft.com/office/drawing/2014/main" id="{5C3F924E-8E39-EC37-F586-E679F52424A8}"/>
              </a:ext>
            </a:extLst>
          </p:cNvPr>
          <p:cNvGrpSpPr/>
          <p:nvPr/>
        </p:nvGrpSpPr>
        <p:grpSpPr>
          <a:xfrm>
            <a:off x="7014305" y="3197263"/>
            <a:ext cx="609600" cy="745308"/>
            <a:chOff x="7096568" y="3197263"/>
            <a:chExt cx="609600" cy="745308"/>
          </a:xfrm>
        </p:grpSpPr>
        <p:sp>
          <p:nvSpPr>
            <p:cNvPr id="36" name="Freeform: Shape 35">
              <a:extLst>
                <a:ext uri="{FF2B5EF4-FFF2-40B4-BE49-F238E27FC236}">
                  <a16:creationId xmlns:a16="http://schemas.microsoft.com/office/drawing/2014/main" id="{0EC7A328-0736-772A-7A97-B2C57861A1CB}"/>
                </a:ext>
              </a:extLst>
            </p:cNvPr>
            <p:cNvSpPr/>
            <p:nvPr/>
          </p:nvSpPr>
          <p:spPr>
            <a:xfrm>
              <a:off x="7249921" y="3197263"/>
              <a:ext cx="302895" cy="300778"/>
            </a:xfrm>
            <a:custGeom>
              <a:avLst/>
              <a:gdLst>
                <a:gd name="connsiteX0" fmla="*/ 151448 w 302895"/>
                <a:gd name="connsiteY0" fmla="*/ 0 h 300778"/>
                <a:gd name="connsiteX1" fmla="*/ 0 w 302895"/>
                <a:gd name="connsiteY1" fmla="*/ 149918 h 300778"/>
                <a:gd name="connsiteX2" fmla="*/ 151448 w 302895"/>
                <a:gd name="connsiteY2" fmla="*/ 300778 h 300778"/>
                <a:gd name="connsiteX3" fmla="*/ 302895 w 302895"/>
                <a:gd name="connsiteY3" fmla="*/ 150861 h 300778"/>
                <a:gd name="connsiteX4" fmla="*/ 151448 w 302895"/>
                <a:gd name="connsiteY4" fmla="*/ 0 h 300778"/>
                <a:gd name="connsiteX5" fmla="*/ 216217 w 302895"/>
                <a:gd name="connsiteY5" fmla="*/ 193290 h 300778"/>
                <a:gd name="connsiteX6" fmla="*/ 202883 w 302895"/>
                <a:gd name="connsiteY6" fmla="*/ 220634 h 300778"/>
                <a:gd name="connsiteX7" fmla="*/ 168592 w 302895"/>
                <a:gd name="connsiteY7" fmla="*/ 231948 h 300778"/>
                <a:gd name="connsiteX8" fmla="*/ 168592 w 302895"/>
                <a:gd name="connsiteY8" fmla="*/ 251749 h 300778"/>
                <a:gd name="connsiteX9" fmla="*/ 139065 w 302895"/>
                <a:gd name="connsiteY9" fmla="*/ 251749 h 300778"/>
                <a:gd name="connsiteX10" fmla="*/ 139065 w 302895"/>
                <a:gd name="connsiteY10" fmla="*/ 231948 h 300778"/>
                <a:gd name="connsiteX11" fmla="*/ 102870 w 302895"/>
                <a:gd name="connsiteY11" fmla="*/ 218748 h 300778"/>
                <a:gd name="connsiteX12" fmla="*/ 89535 w 302895"/>
                <a:gd name="connsiteY12" fmla="*/ 181976 h 300778"/>
                <a:gd name="connsiteX13" fmla="*/ 119063 w 302895"/>
                <a:gd name="connsiteY13" fmla="*/ 181976 h 300778"/>
                <a:gd name="connsiteX14" fmla="*/ 124778 w 302895"/>
                <a:gd name="connsiteY14" fmla="*/ 199890 h 300778"/>
                <a:gd name="connsiteX15" fmla="*/ 140970 w 302895"/>
                <a:gd name="connsiteY15" fmla="*/ 206490 h 300778"/>
                <a:gd name="connsiteX16" fmla="*/ 164783 w 302895"/>
                <a:gd name="connsiteY16" fmla="*/ 206490 h 300778"/>
                <a:gd name="connsiteX17" fmla="*/ 180023 w 302895"/>
                <a:gd name="connsiteY17" fmla="*/ 202719 h 300778"/>
                <a:gd name="connsiteX18" fmla="*/ 185737 w 302895"/>
                <a:gd name="connsiteY18" fmla="*/ 192347 h 300778"/>
                <a:gd name="connsiteX19" fmla="*/ 185737 w 302895"/>
                <a:gd name="connsiteY19" fmla="*/ 184804 h 300778"/>
                <a:gd name="connsiteX20" fmla="*/ 170498 w 302895"/>
                <a:gd name="connsiteY20" fmla="*/ 171604 h 300778"/>
                <a:gd name="connsiteX21" fmla="*/ 130492 w 302895"/>
                <a:gd name="connsiteY21" fmla="*/ 165004 h 300778"/>
                <a:gd name="connsiteX22" fmla="*/ 100965 w 302895"/>
                <a:gd name="connsiteY22" fmla="*/ 152746 h 300778"/>
                <a:gd name="connsiteX23" fmla="*/ 90488 w 302895"/>
                <a:gd name="connsiteY23" fmla="*/ 129174 h 300778"/>
                <a:gd name="connsiteX24" fmla="*/ 90488 w 302895"/>
                <a:gd name="connsiteY24" fmla="*/ 116917 h 300778"/>
                <a:gd name="connsiteX25" fmla="*/ 96203 w 302895"/>
                <a:gd name="connsiteY25" fmla="*/ 97117 h 300778"/>
                <a:gd name="connsiteX26" fmla="*/ 113348 w 302895"/>
                <a:gd name="connsiteY26" fmla="*/ 83916 h 300778"/>
                <a:gd name="connsiteX27" fmla="*/ 138113 w 302895"/>
                <a:gd name="connsiteY27" fmla="*/ 79202 h 300778"/>
                <a:gd name="connsiteX28" fmla="*/ 138113 w 302895"/>
                <a:gd name="connsiteY28" fmla="*/ 57516 h 300778"/>
                <a:gd name="connsiteX29" fmla="*/ 167640 w 302895"/>
                <a:gd name="connsiteY29" fmla="*/ 57516 h 300778"/>
                <a:gd name="connsiteX30" fmla="*/ 167640 w 302895"/>
                <a:gd name="connsiteY30" fmla="*/ 77316 h 300778"/>
                <a:gd name="connsiteX31" fmla="*/ 200025 w 302895"/>
                <a:gd name="connsiteY31" fmla="*/ 90516 h 300778"/>
                <a:gd name="connsiteX32" fmla="*/ 212408 w 302895"/>
                <a:gd name="connsiteY32" fmla="*/ 123517 h 300778"/>
                <a:gd name="connsiteX33" fmla="*/ 182880 w 302895"/>
                <a:gd name="connsiteY33" fmla="*/ 123517 h 300778"/>
                <a:gd name="connsiteX34" fmla="*/ 178117 w 302895"/>
                <a:gd name="connsiteY34" fmla="*/ 109374 h 300778"/>
                <a:gd name="connsiteX35" fmla="*/ 164783 w 302895"/>
                <a:gd name="connsiteY35" fmla="*/ 103717 h 300778"/>
                <a:gd name="connsiteX36" fmla="*/ 140017 w 302895"/>
                <a:gd name="connsiteY36" fmla="*/ 103717 h 300778"/>
                <a:gd name="connsiteX37" fmla="*/ 125730 w 302895"/>
                <a:gd name="connsiteY37" fmla="*/ 107488 h 300778"/>
                <a:gd name="connsiteX38" fmla="*/ 120015 w 302895"/>
                <a:gd name="connsiteY38" fmla="*/ 117860 h 300778"/>
                <a:gd name="connsiteX39" fmla="*/ 120015 w 302895"/>
                <a:gd name="connsiteY39" fmla="*/ 123517 h 300778"/>
                <a:gd name="connsiteX40" fmla="*/ 135255 w 302895"/>
                <a:gd name="connsiteY40" fmla="*/ 136717 h 300778"/>
                <a:gd name="connsiteX41" fmla="*/ 175260 w 302895"/>
                <a:gd name="connsiteY41" fmla="*/ 143318 h 300778"/>
                <a:gd name="connsiteX42" fmla="*/ 205740 w 302895"/>
                <a:gd name="connsiteY42" fmla="*/ 155575 h 300778"/>
                <a:gd name="connsiteX43" fmla="*/ 216217 w 302895"/>
                <a:gd name="connsiteY43" fmla="*/ 178204 h 300778"/>
                <a:gd name="connsiteX44" fmla="*/ 216217 w 302895"/>
                <a:gd name="connsiteY44" fmla="*/ 193290 h 300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02895" h="300778">
                  <a:moveTo>
                    <a:pt x="151448" y="0"/>
                  </a:moveTo>
                  <a:cubicBezTo>
                    <a:pt x="67628" y="0"/>
                    <a:pt x="0" y="66944"/>
                    <a:pt x="0" y="149918"/>
                  </a:cubicBezTo>
                  <a:cubicBezTo>
                    <a:pt x="0" y="232891"/>
                    <a:pt x="67628" y="300778"/>
                    <a:pt x="151448" y="300778"/>
                  </a:cubicBezTo>
                  <a:cubicBezTo>
                    <a:pt x="235267" y="300778"/>
                    <a:pt x="302895" y="233834"/>
                    <a:pt x="302895" y="150861"/>
                  </a:cubicBezTo>
                  <a:cubicBezTo>
                    <a:pt x="302895" y="67887"/>
                    <a:pt x="235267" y="0"/>
                    <a:pt x="151448" y="0"/>
                  </a:cubicBezTo>
                  <a:close/>
                  <a:moveTo>
                    <a:pt x="216217" y="193290"/>
                  </a:moveTo>
                  <a:cubicBezTo>
                    <a:pt x="216217" y="204605"/>
                    <a:pt x="211455" y="214033"/>
                    <a:pt x="202883" y="220634"/>
                  </a:cubicBezTo>
                  <a:cubicBezTo>
                    <a:pt x="194310" y="227234"/>
                    <a:pt x="182880" y="231005"/>
                    <a:pt x="168592" y="231948"/>
                  </a:cubicBezTo>
                  <a:lnTo>
                    <a:pt x="168592" y="251749"/>
                  </a:lnTo>
                  <a:lnTo>
                    <a:pt x="139065" y="251749"/>
                  </a:lnTo>
                  <a:lnTo>
                    <a:pt x="139065" y="231948"/>
                  </a:lnTo>
                  <a:cubicBezTo>
                    <a:pt x="123825" y="231948"/>
                    <a:pt x="111442" y="227234"/>
                    <a:pt x="102870" y="218748"/>
                  </a:cubicBezTo>
                  <a:cubicBezTo>
                    <a:pt x="94298" y="210262"/>
                    <a:pt x="89535" y="198005"/>
                    <a:pt x="89535" y="181976"/>
                  </a:cubicBezTo>
                  <a:lnTo>
                    <a:pt x="119063" y="181976"/>
                  </a:lnTo>
                  <a:cubicBezTo>
                    <a:pt x="119063" y="189519"/>
                    <a:pt x="120967" y="195176"/>
                    <a:pt x="124778" y="199890"/>
                  </a:cubicBezTo>
                  <a:cubicBezTo>
                    <a:pt x="128588" y="203662"/>
                    <a:pt x="134303" y="206490"/>
                    <a:pt x="140970" y="206490"/>
                  </a:cubicBezTo>
                  <a:lnTo>
                    <a:pt x="164783" y="206490"/>
                  </a:lnTo>
                  <a:cubicBezTo>
                    <a:pt x="171450" y="206490"/>
                    <a:pt x="176212" y="205548"/>
                    <a:pt x="180023" y="202719"/>
                  </a:cubicBezTo>
                  <a:cubicBezTo>
                    <a:pt x="183833" y="199890"/>
                    <a:pt x="185737" y="196119"/>
                    <a:pt x="185737" y="192347"/>
                  </a:cubicBezTo>
                  <a:lnTo>
                    <a:pt x="185737" y="184804"/>
                  </a:lnTo>
                  <a:cubicBezTo>
                    <a:pt x="185737" y="178204"/>
                    <a:pt x="180975" y="173490"/>
                    <a:pt x="170498" y="171604"/>
                  </a:cubicBezTo>
                  <a:lnTo>
                    <a:pt x="130492" y="165004"/>
                  </a:lnTo>
                  <a:cubicBezTo>
                    <a:pt x="117157" y="163118"/>
                    <a:pt x="107632" y="158404"/>
                    <a:pt x="100965" y="152746"/>
                  </a:cubicBezTo>
                  <a:cubicBezTo>
                    <a:pt x="94298" y="147089"/>
                    <a:pt x="90488" y="138603"/>
                    <a:pt x="90488" y="129174"/>
                  </a:cubicBezTo>
                  <a:lnTo>
                    <a:pt x="90488" y="116917"/>
                  </a:lnTo>
                  <a:cubicBezTo>
                    <a:pt x="90488" y="109374"/>
                    <a:pt x="92392" y="102774"/>
                    <a:pt x="96203" y="97117"/>
                  </a:cubicBezTo>
                  <a:cubicBezTo>
                    <a:pt x="100013" y="91459"/>
                    <a:pt x="105728" y="86745"/>
                    <a:pt x="113348" y="83916"/>
                  </a:cubicBezTo>
                  <a:cubicBezTo>
                    <a:pt x="120967" y="81088"/>
                    <a:pt x="128588" y="79202"/>
                    <a:pt x="138113" y="79202"/>
                  </a:cubicBezTo>
                  <a:lnTo>
                    <a:pt x="138113" y="57516"/>
                  </a:lnTo>
                  <a:lnTo>
                    <a:pt x="167640" y="57516"/>
                  </a:lnTo>
                  <a:lnTo>
                    <a:pt x="167640" y="77316"/>
                  </a:lnTo>
                  <a:cubicBezTo>
                    <a:pt x="180975" y="78259"/>
                    <a:pt x="192405" y="82973"/>
                    <a:pt x="200025" y="90516"/>
                  </a:cubicBezTo>
                  <a:cubicBezTo>
                    <a:pt x="208598" y="99002"/>
                    <a:pt x="212408" y="109374"/>
                    <a:pt x="212408" y="123517"/>
                  </a:cubicBezTo>
                  <a:lnTo>
                    <a:pt x="182880" y="123517"/>
                  </a:lnTo>
                  <a:cubicBezTo>
                    <a:pt x="182880" y="117860"/>
                    <a:pt x="180975" y="112203"/>
                    <a:pt x="178117" y="109374"/>
                  </a:cubicBezTo>
                  <a:cubicBezTo>
                    <a:pt x="175260" y="105602"/>
                    <a:pt x="170498" y="103717"/>
                    <a:pt x="164783" y="103717"/>
                  </a:cubicBezTo>
                  <a:lnTo>
                    <a:pt x="140017" y="103717"/>
                  </a:lnTo>
                  <a:cubicBezTo>
                    <a:pt x="134303" y="103717"/>
                    <a:pt x="128588" y="104660"/>
                    <a:pt x="125730" y="107488"/>
                  </a:cubicBezTo>
                  <a:cubicBezTo>
                    <a:pt x="121920" y="110317"/>
                    <a:pt x="120015" y="113145"/>
                    <a:pt x="120015" y="117860"/>
                  </a:cubicBezTo>
                  <a:lnTo>
                    <a:pt x="120015" y="123517"/>
                  </a:lnTo>
                  <a:cubicBezTo>
                    <a:pt x="120015" y="131060"/>
                    <a:pt x="124778" y="134832"/>
                    <a:pt x="135255" y="136717"/>
                  </a:cubicBezTo>
                  <a:lnTo>
                    <a:pt x="175260" y="143318"/>
                  </a:lnTo>
                  <a:cubicBezTo>
                    <a:pt x="188595" y="145203"/>
                    <a:pt x="198120" y="149918"/>
                    <a:pt x="205740" y="155575"/>
                  </a:cubicBezTo>
                  <a:cubicBezTo>
                    <a:pt x="212408" y="161232"/>
                    <a:pt x="216217" y="168775"/>
                    <a:pt x="216217" y="178204"/>
                  </a:cubicBezTo>
                  <a:lnTo>
                    <a:pt x="216217" y="193290"/>
                  </a:lnTo>
                  <a:close/>
                </a:path>
              </a:pathLst>
            </a:custGeom>
            <a:solidFill>
              <a:schemeClr val="accent1"/>
            </a:solidFill>
            <a:ln w="9525" cap="flat">
              <a:noFill/>
              <a:prstDash val="solid"/>
              <a:miter/>
            </a:ln>
          </p:spPr>
          <p:txBody>
            <a:bodyPr rtlCol="0" anchor="ctr"/>
            <a:lstStyle/>
            <a:p>
              <a:endParaRPr lang="en-US" dirty="0"/>
            </a:p>
          </p:txBody>
        </p:sp>
        <p:pic>
          <p:nvPicPr>
            <p:cNvPr id="15" name="Graphic 14">
              <a:extLst>
                <a:ext uri="{FF2B5EF4-FFF2-40B4-BE49-F238E27FC236}">
                  <a16:creationId xmlns:a16="http://schemas.microsoft.com/office/drawing/2014/main" id="{0C0B36A6-AC66-380A-571F-CF233ACF5213}"/>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7096568" y="3332971"/>
              <a:ext cx="609600" cy="609600"/>
            </a:xfrm>
            <a:prstGeom prst="rect">
              <a:avLst/>
            </a:prstGeom>
          </p:spPr>
        </p:pic>
      </p:grpSp>
      <p:grpSp>
        <p:nvGrpSpPr>
          <p:cNvPr id="75" name="Group 74">
            <a:extLst>
              <a:ext uri="{FF2B5EF4-FFF2-40B4-BE49-F238E27FC236}">
                <a16:creationId xmlns:a16="http://schemas.microsoft.com/office/drawing/2014/main" id="{53D7A245-FAB6-210E-910D-89F0D8AC551B}"/>
              </a:ext>
            </a:extLst>
          </p:cNvPr>
          <p:cNvGrpSpPr/>
          <p:nvPr/>
        </p:nvGrpSpPr>
        <p:grpSpPr>
          <a:xfrm>
            <a:off x="7842957" y="3189270"/>
            <a:ext cx="609600" cy="753301"/>
            <a:chOff x="7925220" y="3189270"/>
            <a:chExt cx="609600" cy="753301"/>
          </a:xfrm>
        </p:grpSpPr>
        <p:sp>
          <p:nvSpPr>
            <p:cNvPr id="12" name="Freeform: Shape 11">
              <a:extLst>
                <a:ext uri="{FF2B5EF4-FFF2-40B4-BE49-F238E27FC236}">
                  <a16:creationId xmlns:a16="http://schemas.microsoft.com/office/drawing/2014/main" id="{32BFAEC7-E8CA-8DEE-9A10-6A7F8801706F}"/>
                </a:ext>
              </a:extLst>
            </p:cNvPr>
            <p:cNvSpPr/>
            <p:nvPr/>
          </p:nvSpPr>
          <p:spPr>
            <a:xfrm>
              <a:off x="8078573" y="3189270"/>
              <a:ext cx="302895" cy="300778"/>
            </a:xfrm>
            <a:custGeom>
              <a:avLst/>
              <a:gdLst>
                <a:gd name="connsiteX0" fmla="*/ 151448 w 302895"/>
                <a:gd name="connsiteY0" fmla="*/ 0 h 300778"/>
                <a:gd name="connsiteX1" fmla="*/ 0 w 302895"/>
                <a:gd name="connsiteY1" fmla="*/ 149918 h 300778"/>
                <a:gd name="connsiteX2" fmla="*/ 151448 w 302895"/>
                <a:gd name="connsiteY2" fmla="*/ 300778 h 300778"/>
                <a:gd name="connsiteX3" fmla="*/ 302895 w 302895"/>
                <a:gd name="connsiteY3" fmla="*/ 150861 h 300778"/>
                <a:gd name="connsiteX4" fmla="*/ 151448 w 302895"/>
                <a:gd name="connsiteY4" fmla="*/ 0 h 300778"/>
                <a:gd name="connsiteX5" fmla="*/ 216217 w 302895"/>
                <a:gd name="connsiteY5" fmla="*/ 193290 h 300778"/>
                <a:gd name="connsiteX6" fmla="*/ 202883 w 302895"/>
                <a:gd name="connsiteY6" fmla="*/ 220634 h 300778"/>
                <a:gd name="connsiteX7" fmla="*/ 168592 w 302895"/>
                <a:gd name="connsiteY7" fmla="*/ 231948 h 300778"/>
                <a:gd name="connsiteX8" fmla="*/ 168592 w 302895"/>
                <a:gd name="connsiteY8" fmla="*/ 251749 h 300778"/>
                <a:gd name="connsiteX9" fmla="*/ 139065 w 302895"/>
                <a:gd name="connsiteY9" fmla="*/ 251749 h 300778"/>
                <a:gd name="connsiteX10" fmla="*/ 139065 w 302895"/>
                <a:gd name="connsiteY10" fmla="*/ 231948 h 300778"/>
                <a:gd name="connsiteX11" fmla="*/ 102870 w 302895"/>
                <a:gd name="connsiteY11" fmla="*/ 218748 h 300778"/>
                <a:gd name="connsiteX12" fmla="*/ 89535 w 302895"/>
                <a:gd name="connsiteY12" fmla="*/ 181976 h 300778"/>
                <a:gd name="connsiteX13" fmla="*/ 119063 w 302895"/>
                <a:gd name="connsiteY13" fmla="*/ 181976 h 300778"/>
                <a:gd name="connsiteX14" fmla="*/ 124778 w 302895"/>
                <a:gd name="connsiteY14" fmla="*/ 199890 h 300778"/>
                <a:gd name="connsiteX15" fmla="*/ 140970 w 302895"/>
                <a:gd name="connsiteY15" fmla="*/ 206490 h 300778"/>
                <a:gd name="connsiteX16" fmla="*/ 164783 w 302895"/>
                <a:gd name="connsiteY16" fmla="*/ 206490 h 300778"/>
                <a:gd name="connsiteX17" fmla="*/ 180023 w 302895"/>
                <a:gd name="connsiteY17" fmla="*/ 202719 h 300778"/>
                <a:gd name="connsiteX18" fmla="*/ 185737 w 302895"/>
                <a:gd name="connsiteY18" fmla="*/ 192347 h 300778"/>
                <a:gd name="connsiteX19" fmla="*/ 185737 w 302895"/>
                <a:gd name="connsiteY19" fmla="*/ 184804 h 300778"/>
                <a:gd name="connsiteX20" fmla="*/ 170498 w 302895"/>
                <a:gd name="connsiteY20" fmla="*/ 171604 h 300778"/>
                <a:gd name="connsiteX21" fmla="*/ 130492 w 302895"/>
                <a:gd name="connsiteY21" fmla="*/ 165004 h 300778"/>
                <a:gd name="connsiteX22" fmla="*/ 100965 w 302895"/>
                <a:gd name="connsiteY22" fmla="*/ 152746 h 300778"/>
                <a:gd name="connsiteX23" fmla="*/ 90488 w 302895"/>
                <a:gd name="connsiteY23" fmla="*/ 129174 h 300778"/>
                <a:gd name="connsiteX24" fmla="*/ 90488 w 302895"/>
                <a:gd name="connsiteY24" fmla="*/ 116917 h 300778"/>
                <a:gd name="connsiteX25" fmla="*/ 96203 w 302895"/>
                <a:gd name="connsiteY25" fmla="*/ 97117 h 300778"/>
                <a:gd name="connsiteX26" fmla="*/ 113348 w 302895"/>
                <a:gd name="connsiteY26" fmla="*/ 83916 h 300778"/>
                <a:gd name="connsiteX27" fmla="*/ 138113 w 302895"/>
                <a:gd name="connsiteY27" fmla="*/ 79202 h 300778"/>
                <a:gd name="connsiteX28" fmla="*/ 138113 w 302895"/>
                <a:gd name="connsiteY28" fmla="*/ 57516 h 300778"/>
                <a:gd name="connsiteX29" fmla="*/ 167640 w 302895"/>
                <a:gd name="connsiteY29" fmla="*/ 57516 h 300778"/>
                <a:gd name="connsiteX30" fmla="*/ 167640 w 302895"/>
                <a:gd name="connsiteY30" fmla="*/ 77316 h 300778"/>
                <a:gd name="connsiteX31" fmla="*/ 200025 w 302895"/>
                <a:gd name="connsiteY31" fmla="*/ 90516 h 300778"/>
                <a:gd name="connsiteX32" fmla="*/ 212408 w 302895"/>
                <a:gd name="connsiteY32" fmla="*/ 123517 h 300778"/>
                <a:gd name="connsiteX33" fmla="*/ 182880 w 302895"/>
                <a:gd name="connsiteY33" fmla="*/ 123517 h 300778"/>
                <a:gd name="connsiteX34" fmla="*/ 178117 w 302895"/>
                <a:gd name="connsiteY34" fmla="*/ 109374 h 300778"/>
                <a:gd name="connsiteX35" fmla="*/ 164783 w 302895"/>
                <a:gd name="connsiteY35" fmla="*/ 103717 h 300778"/>
                <a:gd name="connsiteX36" fmla="*/ 140017 w 302895"/>
                <a:gd name="connsiteY36" fmla="*/ 103717 h 300778"/>
                <a:gd name="connsiteX37" fmla="*/ 125730 w 302895"/>
                <a:gd name="connsiteY37" fmla="*/ 107488 h 300778"/>
                <a:gd name="connsiteX38" fmla="*/ 120015 w 302895"/>
                <a:gd name="connsiteY38" fmla="*/ 117860 h 300778"/>
                <a:gd name="connsiteX39" fmla="*/ 120015 w 302895"/>
                <a:gd name="connsiteY39" fmla="*/ 123517 h 300778"/>
                <a:gd name="connsiteX40" fmla="*/ 135255 w 302895"/>
                <a:gd name="connsiteY40" fmla="*/ 136717 h 300778"/>
                <a:gd name="connsiteX41" fmla="*/ 175260 w 302895"/>
                <a:gd name="connsiteY41" fmla="*/ 143318 h 300778"/>
                <a:gd name="connsiteX42" fmla="*/ 205740 w 302895"/>
                <a:gd name="connsiteY42" fmla="*/ 155575 h 300778"/>
                <a:gd name="connsiteX43" fmla="*/ 216217 w 302895"/>
                <a:gd name="connsiteY43" fmla="*/ 178204 h 300778"/>
                <a:gd name="connsiteX44" fmla="*/ 216217 w 302895"/>
                <a:gd name="connsiteY44" fmla="*/ 193290 h 300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02895" h="300778">
                  <a:moveTo>
                    <a:pt x="151448" y="0"/>
                  </a:moveTo>
                  <a:cubicBezTo>
                    <a:pt x="67628" y="0"/>
                    <a:pt x="0" y="66944"/>
                    <a:pt x="0" y="149918"/>
                  </a:cubicBezTo>
                  <a:cubicBezTo>
                    <a:pt x="0" y="232891"/>
                    <a:pt x="67628" y="300778"/>
                    <a:pt x="151448" y="300778"/>
                  </a:cubicBezTo>
                  <a:cubicBezTo>
                    <a:pt x="235267" y="300778"/>
                    <a:pt x="302895" y="233834"/>
                    <a:pt x="302895" y="150861"/>
                  </a:cubicBezTo>
                  <a:cubicBezTo>
                    <a:pt x="302895" y="67887"/>
                    <a:pt x="235267" y="0"/>
                    <a:pt x="151448" y="0"/>
                  </a:cubicBezTo>
                  <a:close/>
                  <a:moveTo>
                    <a:pt x="216217" y="193290"/>
                  </a:moveTo>
                  <a:cubicBezTo>
                    <a:pt x="216217" y="204605"/>
                    <a:pt x="211455" y="214033"/>
                    <a:pt x="202883" y="220634"/>
                  </a:cubicBezTo>
                  <a:cubicBezTo>
                    <a:pt x="194310" y="227234"/>
                    <a:pt x="182880" y="231005"/>
                    <a:pt x="168592" y="231948"/>
                  </a:cubicBezTo>
                  <a:lnTo>
                    <a:pt x="168592" y="251749"/>
                  </a:lnTo>
                  <a:lnTo>
                    <a:pt x="139065" y="251749"/>
                  </a:lnTo>
                  <a:lnTo>
                    <a:pt x="139065" y="231948"/>
                  </a:lnTo>
                  <a:cubicBezTo>
                    <a:pt x="123825" y="231948"/>
                    <a:pt x="111442" y="227234"/>
                    <a:pt x="102870" y="218748"/>
                  </a:cubicBezTo>
                  <a:cubicBezTo>
                    <a:pt x="94298" y="210262"/>
                    <a:pt x="89535" y="198005"/>
                    <a:pt x="89535" y="181976"/>
                  </a:cubicBezTo>
                  <a:lnTo>
                    <a:pt x="119063" y="181976"/>
                  </a:lnTo>
                  <a:cubicBezTo>
                    <a:pt x="119063" y="189519"/>
                    <a:pt x="120967" y="195176"/>
                    <a:pt x="124778" y="199890"/>
                  </a:cubicBezTo>
                  <a:cubicBezTo>
                    <a:pt x="128588" y="203662"/>
                    <a:pt x="134303" y="206490"/>
                    <a:pt x="140970" y="206490"/>
                  </a:cubicBezTo>
                  <a:lnTo>
                    <a:pt x="164783" y="206490"/>
                  </a:lnTo>
                  <a:cubicBezTo>
                    <a:pt x="171450" y="206490"/>
                    <a:pt x="176212" y="205548"/>
                    <a:pt x="180023" y="202719"/>
                  </a:cubicBezTo>
                  <a:cubicBezTo>
                    <a:pt x="183833" y="199890"/>
                    <a:pt x="185737" y="196119"/>
                    <a:pt x="185737" y="192347"/>
                  </a:cubicBezTo>
                  <a:lnTo>
                    <a:pt x="185737" y="184804"/>
                  </a:lnTo>
                  <a:cubicBezTo>
                    <a:pt x="185737" y="178204"/>
                    <a:pt x="180975" y="173490"/>
                    <a:pt x="170498" y="171604"/>
                  </a:cubicBezTo>
                  <a:lnTo>
                    <a:pt x="130492" y="165004"/>
                  </a:lnTo>
                  <a:cubicBezTo>
                    <a:pt x="117157" y="163118"/>
                    <a:pt x="107632" y="158404"/>
                    <a:pt x="100965" y="152746"/>
                  </a:cubicBezTo>
                  <a:cubicBezTo>
                    <a:pt x="94298" y="147089"/>
                    <a:pt x="90488" y="138603"/>
                    <a:pt x="90488" y="129174"/>
                  </a:cubicBezTo>
                  <a:lnTo>
                    <a:pt x="90488" y="116917"/>
                  </a:lnTo>
                  <a:cubicBezTo>
                    <a:pt x="90488" y="109374"/>
                    <a:pt x="92392" y="102774"/>
                    <a:pt x="96203" y="97117"/>
                  </a:cubicBezTo>
                  <a:cubicBezTo>
                    <a:pt x="100013" y="91459"/>
                    <a:pt x="105728" y="86745"/>
                    <a:pt x="113348" y="83916"/>
                  </a:cubicBezTo>
                  <a:cubicBezTo>
                    <a:pt x="120967" y="81088"/>
                    <a:pt x="128588" y="79202"/>
                    <a:pt x="138113" y="79202"/>
                  </a:cubicBezTo>
                  <a:lnTo>
                    <a:pt x="138113" y="57516"/>
                  </a:lnTo>
                  <a:lnTo>
                    <a:pt x="167640" y="57516"/>
                  </a:lnTo>
                  <a:lnTo>
                    <a:pt x="167640" y="77316"/>
                  </a:lnTo>
                  <a:cubicBezTo>
                    <a:pt x="180975" y="78259"/>
                    <a:pt x="192405" y="82973"/>
                    <a:pt x="200025" y="90516"/>
                  </a:cubicBezTo>
                  <a:cubicBezTo>
                    <a:pt x="208598" y="99002"/>
                    <a:pt x="212408" y="109374"/>
                    <a:pt x="212408" y="123517"/>
                  </a:cubicBezTo>
                  <a:lnTo>
                    <a:pt x="182880" y="123517"/>
                  </a:lnTo>
                  <a:cubicBezTo>
                    <a:pt x="182880" y="117860"/>
                    <a:pt x="180975" y="112203"/>
                    <a:pt x="178117" y="109374"/>
                  </a:cubicBezTo>
                  <a:cubicBezTo>
                    <a:pt x="175260" y="105602"/>
                    <a:pt x="170498" y="103717"/>
                    <a:pt x="164783" y="103717"/>
                  </a:cubicBezTo>
                  <a:lnTo>
                    <a:pt x="140017" y="103717"/>
                  </a:lnTo>
                  <a:cubicBezTo>
                    <a:pt x="134303" y="103717"/>
                    <a:pt x="128588" y="104660"/>
                    <a:pt x="125730" y="107488"/>
                  </a:cubicBezTo>
                  <a:cubicBezTo>
                    <a:pt x="121920" y="110317"/>
                    <a:pt x="120015" y="113145"/>
                    <a:pt x="120015" y="117860"/>
                  </a:cubicBezTo>
                  <a:lnTo>
                    <a:pt x="120015" y="123517"/>
                  </a:lnTo>
                  <a:cubicBezTo>
                    <a:pt x="120015" y="131060"/>
                    <a:pt x="124778" y="134832"/>
                    <a:pt x="135255" y="136717"/>
                  </a:cubicBezTo>
                  <a:lnTo>
                    <a:pt x="175260" y="143318"/>
                  </a:lnTo>
                  <a:cubicBezTo>
                    <a:pt x="188595" y="145203"/>
                    <a:pt x="198120" y="149918"/>
                    <a:pt x="205740" y="155575"/>
                  </a:cubicBezTo>
                  <a:cubicBezTo>
                    <a:pt x="212408" y="161232"/>
                    <a:pt x="216217" y="168775"/>
                    <a:pt x="216217" y="178204"/>
                  </a:cubicBezTo>
                  <a:lnTo>
                    <a:pt x="216217" y="193290"/>
                  </a:lnTo>
                  <a:close/>
                </a:path>
              </a:pathLst>
            </a:custGeom>
            <a:solidFill>
              <a:schemeClr val="accent1"/>
            </a:solidFill>
            <a:ln w="9525" cap="flat">
              <a:noFill/>
              <a:prstDash val="solid"/>
              <a:miter/>
            </a:ln>
          </p:spPr>
          <p:txBody>
            <a:bodyPr rtlCol="0" anchor="ctr"/>
            <a:lstStyle/>
            <a:p>
              <a:endParaRPr lang="en-US" dirty="0"/>
            </a:p>
          </p:txBody>
        </p:sp>
        <p:pic>
          <p:nvPicPr>
            <p:cNvPr id="19" name="Graphic 18">
              <a:extLst>
                <a:ext uri="{FF2B5EF4-FFF2-40B4-BE49-F238E27FC236}">
                  <a16:creationId xmlns:a16="http://schemas.microsoft.com/office/drawing/2014/main" id="{75F37252-3144-7906-B436-CA49BE3620BE}"/>
                </a:ext>
              </a:extLst>
            </p:cNvPr>
            <p:cNvPicPr>
              <a:picLocks noChangeAspect="1"/>
            </p:cNvPicPr>
            <p:nvPr/>
          </p:nvPicPr>
          <p:blipFill>
            <a:blip r:embed="rId69">
              <a:extLst>
                <a:ext uri="{96DAC541-7B7A-43D3-8B79-37D633B846F1}">
                  <asvg:svgBlip xmlns:asvg="http://schemas.microsoft.com/office/drawing/2016/SVG/main" r:embed="rId70"/>
                </a:ext>
              </a:extLst>
            </a:blip>
            <a:stretch>
              <a:fillRect/>
            </a:stretch>
          </p:blipFill>
          <p:spPr>
            <a:xfrm>
              <a:off x="7925220" y="3332971"/>
              <a:ext cx="609600" cy="609600"/>
            </a:xfrm>
            <a:prstGeom prst="rect">
              <a:avLst/>
            </a:prstGeom>
          </p:spPr>
        </p:pic>
      </p:grpSp>
      <p:pic>
        <p:nvPicPr>
          <p:cNvPr id="8" name="Graphic 7">
            <a:extLst>
              <a:ext uri="{FF2B5EF4-FFF2-40B4-BE49-F238E27FC236}">
                <a16:creationId xmlns:a16="http://schemas.microsoft.com/office/drawing/2014/main" id="{8E99BB7B-9143-1C7A-6389-A94F078CC4E9}"/>
              </a:ext>
            </a:extLst>
          </p:cNvPr>
          <p:cNvPicPr>
            <a:picLocks noChangeAspect="1"/>
          </p:cNvPicPr>
          <p:nvPr/>
        </p:nvPicPr>
        <p:blipFill>
          <a:blip r:embed="rId71">
            <a:extLst>
              <a:ext uri="{96DAC541-7B7A-43D3-8B79-37D633B846F1}">
                <asvg:svgBlip xmlns:asvg="http://schemas.microsoft.com/office/drawing/2016/SVG/main" r:embed="rId72"/>
              </a:ext>
            </a:extLst>
          </a:blip>
          <a:stretch>
            <a:fillRect/>
          </a:stretch>
        </p:blipFill>
        <p:spPr>
          <a:xfrm>
            <a:off x="3338287" y="1970017"/>
            <a:ext cx="612648" cy="612648"/>
          </a:xfrm>
          <a:prstGeom prst="rect">
            <a:avLst/>
          </a:prstGeom>
        </p:spPr>
      </p:pic>
      <p:sp>
        <p:nvSpPr>
          <p:cNvPr id="32" name="Text Placeholder 81">
            <a:extLst>
              <a:ext uri="{FF2B5EF4-FFF2-40B4-BE49-F238E27FC236}">
                <a16:creationId xmlns:a16="http://schemas.microsoft.com/office/drawing/2014/main" id="{62F5EEE5-E38D-1384-064E-0BAFBFB03852}"/>
              </a:ext>
            </a:extLst>
          </p:cNvPr>
          <p:cNvSpPr txBox="1">
            <a:spLocks/>
          </p:cNvSpPr>
          <p:nvPr/>
        </p:nvSpPr>
        <p:spPr>
          <a:xfrm>
            <a:off x="6281003" y="5428177"/>
            <a:ext cx="149141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ie Chart</a:t>
            </a:r>
          </a:p>
        </p:txBody>
      </p:sp>
      <p:pic>
        <p:nvPicPr>
          <p:cNvPr id="39" name="Graphic 38">
            <a:extLst>
              <a:ext uri="{FF2B5EF4-FFF2-40B4-BE49-F238E27FC236}">
                <a16:creationId xmlns:a16="http://schemas.microsoft.com/office/drawing/2014/main" id="{8DA94C8D-5077-145B-1DAE-3643F16BE637}"/>
              </a:ext>
            </a:extLst>
          </p:cNvPr>
          <p:cNvPicPr>
            <a:picLocks noChangeAspect="1"/>
          </p:cNvPicPr>
          <p:nvPr/>
        </p:nvPicPr>
        <p:blipFill>
          <a:blip r:embed="rId73">
            <a:extLst>
              <a:ext uri="{96DAC541-7B7A-43D3-8B79-37D633B846F1}">
                <asvg:svgBlip xmlns:asvg="http://schemas.microsoft.com/office/drawing/2016/SVG/main" r:embed="rId74"/>
              </a:ext>
            </a:extLst>
          </a:blip>
          <a:stretch>
            <a:fillRect/>
          </a:stretch>
        </p:blipFill>
        <p:spPr>
          <a:xfrm>
            <a:off x="6767319" y="5705488"/>
            <a:ext cx="609600" cy="609600"/>
          </a:xfrm>
          <a:prstGeom prst="rect">
            <a:avLst/>
          </a:prstGeom>
        </p:spPr>
      </p:pic>
      <p:grpSp>
        <p:nvGrpSpPr>
          <p:cNvPr id="42" name="Group 41">
            <a:extLst>
              <a:ext uri="{FF2B5EF4-FFF2-40B4-BE49-F238E27FC236}">
                <a16:creationId xmlns:a16="http://schemas.microsoft.com/office/drawing/2014/main" id="{4C78978A-4766-CDDD-958E-9122CF85A8FE}"/>
              </a:ext>
            </a:extLst>
          </p:cNvPr>
          <p:cNvGrpSpPr/>
          <p:nvPr/>
        </p:nvGrpSpPr>
        <p:grpSpPr>
          <a:xfrm>
            <a:off x="6217960" y="3205970"/>
            <a:ext cx="611042" cy="627014"/>
            <a:chOff x="5548696" y="3248766"/>
            <a:chExt cx="611042" cy="627014"/>
          </a:xfrm>
        </p:grpSpPr>
        <p:grpSp>
          <p:nvGrpSpPr>
            <p:cNvPr id="44" name="Group 43">
              <a:extLst>
                <a:ext uri="{FF2B5EF4-FFF2-40B4-BE49-F238E27FC236}">
                  <a16:creationId xmlns:a16="http://schemas.microsoft.com/office/drawing/2014/main" id="{EA85469E-03E2-616D-00AC-841FFF1DB45E}"/>
                </a:ext>
              </a:extLst>
            </p:cNvPr>
            <p:cNvGrpSpPr/>
            <p:nvPr/>
          </p:nvGrpSpPr>
          <p:grpSpPr>
            <a:xfrm>
              <a:off x="5548696" y="3598173"/>
              <a:ext cx="611042" cy="277607"/>
              <a:chOff x="5548696" y="3598173"/>
              <a:chExt cx="611042" cy="277607"/>
            </a:xfrm>
          </p:grpSpPr>
          <p:sp>
            <p:nvSpPr>
              <p:cNvPr id="113" name="Freeform: Shape 112">
                <a:extLst>
                  <a:ext uri="{FF2B5EF4-FFF2-40B4-BE49-F238E27FC236}">
                    <a16:creationId xmlns:a16="http://schemas.microsoft.com/office/drawing/2014/main" id="{32522AA3-D4E6-EF64-169B-A25335B20B8E}"/>
                  </a:ext>
                </a:extLst>
              </p:cNvPr>
              <p:cNvSpPr/>
              <p:nvPr/>
            </p:nvSpPr>
            <p:spPr>
              <a:xfrm>
                <a:off x="5548696" y="3598173"/>
                <a:ext cx="149295" cy="263063"/>
              </a:xfrm>
              <a:custGeom>
                <a:avLst/>
                <a:gdLst>
                  <a:gd name="connsiteX0" fmla="*/ 0 w 149295"/>
                  <a:gd name="connsiteY0" fmla="*/ 0 h 263063"/>
                  <a:gd name="connsiteX1" fmla="*/ 149295 w 149295"/>
                  <a:gd name="connsiteY1" fmla="*/ 0 h 263063"/>
                  <a:gd name="connsiteX2" fmla="*/ 149295 w 149295"/>
                  <a:gd name="connsiteY2" fmla="*/ 263063 h 263063"/>
                  <a:gd name="connsiteX3" fmla="*/ 0 w 149295"/>
                  <a:gd name="connsiteY3" fmla="*/ 263063 h 263063"/>
                  <a:gd name="connsiteX4" fmla="*/ 0 w 149295"/>
                  <a:gd name="connsiteY4" fmla="*/ 0 h 263063"/>
                  <a:gd name="connsiteX5" fmla="*/ 28575 w 149295"/>
                  <a:gd name="connsiteY5" fmla="*/ 28286 h 263063"/>
                  <a:gd name="connsiteX6" fmla="*/ 28575 w 149295"/>
                  <a:gd name="connsiteY6" fmla="*/ 233834 h 263063"/>
                  <a:gd name="connsiteX7" fmla="*/ 28575 w 149295"/>
                  <a:gd name="connsiteY7" fmla="*/ 234777 h 263063"/>
                  <a:gd name="connsiteX8" fmla="*/ 121920 w 149295"/>
                  <a:gd name="connsiteY8" fmla="*/ 234777 h 263063"/>
                  <a:gd name="connsiteX9" fmla="*/ 121920 w 149295"/>
                  <a:gd name="connsiteY9" fmla="*/ 28286 h 263063"/>
                  <a:gd name="connsiteX10" fmla="*/ 28575 w 149295"/>
                  <a:gd name="connsiteY10" fmla="*/ 28286 h 263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295" h="263063">
                    <a:moveTo>
                      <a:pt x="0" y="0"/>
                    </a:moveTo>
                    <a:lnTo>
                      <a:pt x="149295" y="0"/>
                    </a:lnTo>
                    <a:lnTo>
                      <a:pt x="149295" y="263063"/>
                    </a:lnTo>
                    <a:lnTo>
                      <a:pt x="0" y="263063"/>
                    </a:lnTo>
                    <a:lnTo>
                      <a:pt x="0" y="0"/>
                    </a:lnTo>
                    <a:close/>
                    <a:moveTo>
                      <a:pt x="28575" y="28286"/>
                    </a:moveTo>
                    <a:lnTo>
                      <a:pt x="28575" y="233834"/>
                    </a:lnTo>
                    <a:lnTo>
                      <a:pt x="28575" y="234777"/>
                    </a:lnTo>
                    <a:lnTo>
                      <a:pt x="121920" y="234777"/>
                    </a:lnTo>
                    <a:lnTo>
                      <a:pt x="121920" y="28286"/>
                    </a:lnTo>
                    <a:lnTo>
                      <a:pt x="28575" y="28286"/>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15" name="Freeform: Shape 114">
                <a:extLst>
                  <a:ext uri="{FF2B5EF4-FFF2-40B4-BE49-F238E27FC236}">
                    <a16:creationId xmlns:a16="http://schemas.microsoft.com/office/drawing/2014/main" id="{2AC22585-E70D-4696-1115-DD5FDD288086}"/>
                  </a:ext>
                </a:extLst>
              </p:cNvPr>
              <p:cNvSpPr/>
              <p:nvPr/>
            </p:nvSpPr>
            <p:spPr>
              <a:xfrm>
                <a:off x="5602524" y="3765463"/>
                <a:ext cx="41910" cy="41486"/>
              </a:xfrm>
              <a:custGeom>
                <a:avLst/>
                <a:gdLst>
                  <a:gd name="connsiteX0" fmla="*/ 20955 w 41910"/>
                  <a:gd name="connsiteY0" fmla="*/ 0 h 41486"/>
                  <a:gd name="connsiteX1" fmla="*/ 0 w 41910"/>
                  <a:gd name="connsiteY1" fmla="*/ 20743 h 41486"/>
                  <a:gd name="connsiteX2" fmla="*/ 20955 w 41910"/>
                  <a:gd name="connsiteY2" fmla="*/ 41487 h 41486"/>
                  <a:gd name="connsiteX3" fmla="*/ 41910 w 41910"/>
                  <a:gd name="connsiteY3" fmla="*/ 20743 h 41486"/>
                  <a:gd name="connsiteX4" fmla="*/ 20955 w 41910"/>
                  <a:gd name="connsiteY4" fmla="*/ 0 h 41486"/>
                  <a:gd name="connsiteX5" fmla="*/ 20955 w 41910"/>
                  <a:gd name="connsiteY5" fmla="*/ 0 h 4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10" h="41486">
                    <a:moveTo>
                      <a:pt x="20955" y="0"/>
                    </a:moveTo>
                    <a:cubicBezTo>
                      <a:pt x="9525" y="0"/>
                      <a:pt x="0" y="9429"/>
                      <a:pt x="0" y="20743"/>
                    </a:cubicBezTo>
                    <a:cubicBezTo>
                      <a:pt x="0" y="32058"/>
                      <a:pt x="9525" y="41487"/>
                      <a:pt x="20955" y="41487"/>
                    </a:cubicBezTo>
                    <a:cubicBezTo>
                      <a:pt x="32385" y="41487"/>
                      <a:pt x="41910" y="32058"/>
                      <a:pt x="41910" y="20743"/>
                    </a:cubicBezTo>
                    <a:cubicBezTo>
                      <a:pt x="41910" y="8486"/>
                      <a:pt x="33338" y="0"/>
                      <a:pt x="20955" y="0"/>
                    </a:cubicBezTo>
                    <a:lnTo>
                      <a:pt x="20955" y="0"/>
                    </a:lnTo>
                    <a:close/>
                  </a:path>
                </a:pathLst>
              </a:custGeom>
              <a:solidFill>
                <a:schemeClr val="accent1"/>
              </a:solidFill>
              <a:ln w="9525" cap="flat">
                <a:noFill/>
                <a:prstDash val="solid"/>
                <a:miter/>
              </a:ln>
            </p:spPr>
            <p:txBody>
              <a:bodyPr rtlCol="0" anchor="ctr"/>
              <a:lstStyle/>
              <a:p>
                <a:endParaRPr lang="en-US" dirty="0"/>
              </a:p>
            </p:txBody>
          </p:sp>
          <p:sp>
            <p:nvSpPr>
              <p:cNvPr id="122" name="Freeform: Shape 121">
                <a:extLst>
                  <a:ext uri="{FF2B5EF4-FFF2-40B4-BE49-F238E27FC236}">
                    <a16:creationId xmlns:a16="http://schemas.microsoft.com/office/drawing/2014/main" id="{BE6D8BF0-EC21-2FEA-CB92-F5D01C9CF340}"/>
                  </a:ext>
                </a:extLst>
              </p:cNvPr>
              <p:cNvSpPr/>
              <p:nvPr/>
            </p:nvSpPr>
            <p:spPr>
              <a:xfrm>
                <a:off x="5698392" y="3598574"/>
                <a:ext cx="461346" cy="277206"/>
              </a:xfrm>
              <a:custGeom>
                <a:avLst/>
                <a:gdLst>
                  <a:gd name="connsiteX0" fmla="*/ 0 w 461346"/>
                  <a:gd name="connsiteY0" fmla="*/ 0 h 277206"/>
                  <a:gd name="connsiteX1" fmla="*/ 336 w 461346"/>
                  <a:gd name="connsiteY1" fmla="*/ 0 h 277206"/>
                  <a:gd name="connsiteX2" fmla="*/ 336 w 461346"/>
                  <a:gd name="connsiteY2" fmla="*/ 29229 h 277206"/>
                  <a:gd name="connsiteX3" fmla="*/ 64153 w 461346"/>
                  <a:gd name="connsiteY3" fmla="*/ 33944 h 277206"/>
                  <a:gd name="connsiteX4" fmla="*/ 114636 w 461346"/>
                  <a:gd name="connsiteY4" fmla="*/ 46201 h 277206"/>
                  <a:gd name="connsiteX5" fmla="*/ 146068 w 461346"/>
                  <a:gd name="connsiteY5" fmla="*/ 53744 h 277206"/>
                  <a:gd name="connsiteX6" fmla="*/ 214648 w 461346"/>
                  <a:gd name="connsiteY6" fmla="*/ 54687 h 277206"/>
                  <a:gd name="connsiteX7" fmla="*/ 227983 w 461346"/>
                  <a:gd name="connsiteY7" fmla="*/ 54687 h 277206"/>
                  <a:gd name="connsiteX8" fmla="*/ 288943 w 461346"/>
                  <a:gd name="connsiteY8" fmla="*/ 97117 h 277206"/>
                  <a:gd name="connsiteX9" fmla="*/ 289896 w 461346"/>
                  <a:gd name="connsiteY9" fmla="*/ 112203 h 277206"/>
                  <a:gd name="connsiteX10" fmla="*/ 378478 w 461346"/>
                  <a:gd name="connsiteY10" fmla="*/ 64116 h 277206"/>
                  <a:gd name="connsiteX11" fmla="*/ 402291 w 461346"/>
                  <a:gd name="connsiteY11" fmla="*/ 59401 h 277206"/>
                  <a:gd name="connsiteX12" fmla="*/ 461346 w 461346"/>
                  <a:gd name="connsiteY12" fmla="*/ 116917 h 277206"/>
                  <a:gd name="connsiteX13" fmla="*/ 442296 w 461346"/>
                  <a:gd name="connsiteY13" fmla="*/ 158404 h 277206"/>
                  <a:gd name="connsiteX14" fmla="*/ 257511 w 461346"/>
                  <a:gd name="connsiteY14" fmla="*/ 258349 h 277206"/>
                  <a:gd name="connsiteX15" fmla="*/ 190836 w 461346"/>
                  <a:gd name="connsiteY15" fmla="*/ 277206 h 277206"/>
                  <a:gd name="connsiteX16" fmla="*/ 116541 w 461346"/>
                  <a:gd name="connsiteY16" fmla="*/ 264949 h 277206"/>
                  <a:gd name="connsiteX17" fmla="*/ 115588 w 461346"/>
                  <a:gd name="connsiteY17" fmla="*/ 264949 h 277206"/>
                  <a:gd name="connsiteX18" fmla="*/ 1288 w 461346"/>
                  <a:gd name="connsiteY18" fmla="*/ 224405 h 277206"/>
                  <a:gd name="connsiteX19" fmla="*/ 1288 w 461346"/>
                  <a:gd name="connsiteY19" fmla="*/ 263063 h 277206"/>
                  <a:gd name="connsiteX20" fmla="*/ 0 w 461346"/>
                  <a:gd name="connsiteY20" fmla="*/ 263063 h 277206"/>
                  <a:gd name="connsiteX21" fmla="*/ 0 w 461346"/>
                  <a:gd name="connsiteY21" fmla="*/ 0 h 277206"/>
                  <a:gd name="connsiteX22" fmla="*/ 336 w 461346"/>
                  <a:gd name="connsiteY22" fmla="*/ 57516 h 277206"/>
                  <a:gd name="connsiteX23" fmla="*/ 336 w 461346"/>
                  <a:gd name="connsiteY23" fmla="*/ 195176 h 277206"/>
                  <a:gd name="connsiteX24" fmla="*/ 126066 w 461346"/>
                  <a:gd name="connsiteY24" fmla="*/ 237605 h 277206"/>
                  <a:gd name="connsiteX25" fmla="*/ 189883 w 461346"/>
                  <a:gd name="connsiteY25" fmla="*/ 247977 h 277206"/>
                  <a:gd name="connsiteX26" fmla="*/ 240366 w 461346"/>
                  <a:gd name="connsiteY26" fmla="*/ 234777 h 277206"/>
                  <a:gd name="connsiteX27" fmla="*/ 242271 w 461346"/>
                  <a:gd name="connsiteY27" fmla="*/ 233834 h 277206"/>
                  <a:gd name="connsiteX28" fmla="*/ 423246 w 461346"/>
                  <a:gd name="connsiteY28" fmla="*/ 136717 h 277206"/>
                  <a:gd name="connsiteX29" fmla="*/ 431818 w 461346"/>
                  <a:gd name="connsiteY29" fmla="*/ 117860 h 277206"/>
                  <a:gd name="connsiteX30" fmla="*/ 402291 w 461346"/>
                  <a:gd name="connsiteY30" fmla="*/ 88631 h 277206"/>
                  <a:gd name="connsiteX31" fmla="*/ 389908 w 461346"/>
                  <a:gd name="connsiteY31" fmla="*/ 90516 h 277206"/>
                  <a:gd name="connsiteX32" fmla="*/ 257511 w 461346"/>
                  <a:gd name="connsiteY32" fmla="*/ 162175 h 277206"/>
                  <a:gd name="connsiteX33" fmla="*/ 108921 w 461346"/>
                  <a:gd name="connsiteY33" fmla="*/ 165004 h 277206"/>
                  <a:gd name="connsiteX34" fmla="*/ 107968 w 461346"/>
                  <a:gd name="connsiteY34" fmla="*/ 136717 h 277206"/>
                  <a:gd name="connsiteX35" fmla="*/ 248938 w 461346"/>
                  <a:gd name="connsiteY35" fmla="*/ 133889 h 277206"/>
                  <a:gd name="connsiteX36" fmla="*/ 260368 w 461346"/>
                  <a:gd name="connsiteY36" fmla="*/ 103717 h 277206"/>
                  <a:gd name="connsiteX37" fmla="*/ 227031 w 461346"/>
                  <a:gd name="connsiteY37" fmla="*/ 82973 h 277206"/>
                  <a:gd name="connsiteX38" fmla="*/ 213696 w 461346"/>
                  <a:gd name="connsiteY38" fmla="*/ 82973 h 277206"/>
                  <a:gd name="connsiteX39" fmla="*/ 147021 w 461346"/>
                  <a:gd name="connsiteY39" fmla="*/ 82030 h 277206"/>
                  <a:gd name="connsiteX40" fmla="*/ 107016 w 461346"/>
                  <a:gd name="connsiteY40" fmla="*/ 73545 h 277206"/>
                  <a:gd name="connsiteX41" fmla="*/ 59391 w 461346"/>
                  <a:gd name="connsiteY41" fmla="*/ 62230 h 277206"/>
                  <a:gd name="connsiteX42" fmla="*/ 336 w 461346"/>
                  <a:gd name="connsiteY42" fmla="*/ 57516 h 27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61346" h="277206">
                    <a:moveTo>
                      <a:pt x="0" y="0"/>
                    </a:moveTo>
                    <a:lnTo>
                      <a:pt x="336" y="0"/>
                    </a:lnTo>
                    <a:lnTo>
                      <a:pt x="336" y="29229"/>
                    </a:lnTo>
                    <a:cubicBezTo>
                      <a:pt x="13671" y="29229"/>
                      <a:pt x="39388" y="29229"/>
                      <a:pt x="64153" y="33944"/>
                    </a:cubicBezTo>
                    <a:cubicBezTo>
                      <a:pt x="82251" y="37715"/>
                      <a:pt x="99396" y="42430"/>
                      <a:pt x="114636" y="46201"/>
                    </a:cubicBezTo>
                    <a:cubicBezTo>
                      <a:pt x="127018" y="49973"/>
                      <a:pt x="140353" y="53744"/>
                      <a:pt x="146068" y="53744"/>
                    </a:cubicBezTo>
                    <a:cubicBezTo>
                      <a:pt x="167023" y="53744"/>
                      <a:pt x="196551" y="53744"/>
                      <a:pt x="214648" y="54687"/>
                    </a:cubicBezTo>
                    <a:cubicBezTo>
                      <a:pt x="221316" y="54687"/>
                      <a:pt x="226078" y="54687"/>
                      <a:pt x="227983" y="54687"/>
                    </a:cubicBezTo>
                    <a:cubicBezTo>
                      <a:pt x="265131" y="54687"/>
                      <a:pt x="284181" y="76373"/>
                      <a:pt x="288943" y="97117"/>
                    </a:cubicBezTo>
                    <a:cubicBezTo>
                      <a:pt x="289896" y="101831"/>
                      <a:pt x="289896" y="107488"/>
                      <a:pt x="289896" y="112203"/>
                    </a:cubicBezTo>
                    <a:lnTo>
                      <a:pt x="378478" y="64116"/>
                    </a:lnTo>
                    <a:cubicBezTo>
                      <a:pt x="386098" y="61287"/>
                      <a:pt x="393718" y="59401"/>
                      <a:pt x="402291" y="59401"/>
                    </a:cubicBezTo>
                    <a:cubicBezTo>
                      <a:pt x="436581" y="59401"/>
                      <a:pt x="460393" y="82973"/>
                      <a:pt x="461346" y="116917"/>
                    </a:cubicBezTo>
                    <a:cubicBezTo>
                      <a:pt x="461346" y="132946"/>
                      <a:pt x="453726" y="148975"/>
                      <a:pt x="442296" y="158404"/>
                    </a:cubicBezTo>
                    <a:cubicBezTo>
                      <a:pt x="432771" y="165947"/>
                      <a:pt x="310851" y="230062"/>
                      <a:pt x="257511" y="258349"/>
                    </a:cubicBezTo>
                    <a:cubicBezTo>
                      <a:pt x="251796" y="262120"/>
                      <a:pt x="227983" y="277206"/>
                      <a:pt x="190836" y="277206"/>
                    </a:cubicBezTo>
                    <a:cubicBezTo>
                      <a:pt x="150831" y="277206"/>
                      <a:pt x="117493" y="265892"/>
                      <a:pt x="116541" y="264949"/>
                    </a:cubicBezTo>
                    <a:lnTo>
                      <a:pt x="115588" y="264949"/>
                    </a:lnTo>
                    <a:cubicBezTo>
                      <a:pt x="94633" y="254577"/>
                      <a:pt x="35578" y="231005"/>
                      <a:pt x="1288" y="224405"/>
                    </a:cubicBezTo>
                    <a:lnTo>
                      <a:pt x="1288" y="263063"/>
                    </a:lnTo>
                    <a:lnTo>
                      <a:pt x="0" y="263063"/>
                    </a:lnTo>
                    <a:lnTo>
                      <a:pt x="0" y="0"/>
                    </a:lnTo>
                    <a:close/>
                    <a:moveTo>
                      <a:pt x="336" y="57516"/>
                    </a:moveTo>
                    <a:lnTo>
                      <a:pt x="336" y="195176"/>
                    </a:lnTo>
                    <a:cubicBezTo>
                      <a:pt x="43198" y="200833"/>
                      <a:pt x="117493" y="233834"/>
                      <a:pt x="126066" y="237605"/>
                    </a:cubicBezTo>
                    <a:cubicBezTo>
                      <a:pt x="129876" y="239491"/>
                      <a:pt x="158451" y="247977"/>
                      <a:pt x="189883" y="247977"/>
                    </a:cubicBezTo>
                    <a:cubicBezTo>
                      <a:pt x="222268" y="247977"/>
                      <a:pt x="240366" y="234777"/>
                      <a:pt x="240366" y="234777"/>
                    </a:cubicBezTo>
                    <a:lnTo>
                      <a:pt x="242271" y="233834"/>
                    </a:lnTo>
                    <a:cubicBezTo>
                      <a:pt x="307993" y="199890"/>
                      <a:pt x="413721" y="143318"/>
                      <a:pt x="423246" y="136717"/>
                    </a:cubicBezTo>
                    <a:cubicBezTo>
                      <a:pt x="428008" y="132003"/>
                      <a:pt x="431818" y="124460"/>
                      <a:pt x="431818" y="117860"/>
                    </a:cubicBezTo>
                    <a:cubicBezTo>
                      <a:pt x="431818" y="99002"/>
                      <a:pt x="420388" y="88631"/>
                      <a:pt x="402291" y="88631"/>
                    </a:cubicBezTo>
                    <a:cubicBezTo>
                      <a:pt x="397528" y="88631"/>
                      <a:pt x="393718" y="88631"/>
                      <a:pt x="389908" y="90516"/>
                    </a:cubicBezTo>
                    <a:lnTo>
                      <a:pt x="257511" y="162175"/>
                    </a:lnTo>
                    <a:lnTo>
                      <a:pt x="108921" y="165004"/>
                    </a:lnTo>
                    <a:lnTo>
                      <a:pt x="107968" y="136717"/>
                    </a:lnTo>
                    <a:lnTo>
                      <a:pt x="248938" y="133889"/>
                    </a:lnTo>
                    <a:cubicBezTo>
                      <a:pt x="258463" y="128232"/>
                      <a:pt x="263226" y="115031"/>
                      <a:pt x="260368" y="103717"/>
                    </a:cubicBezTo>
                    <a:cubicBezTo>
                      <a:pt x="256558" y="90516"/>
                      <a:pt x="245128" y="82973"/>
                      <a:pt x="227031" y="82973"/>
                    </a:cubicBezTo>
                    <a:cubicBezTo>
                      <a:pt x="226078" y="82973"/>
                      <a:pt x="220363" y="82973"/>
                      <a:pt x="213696" y="82973"/>
                    </a:cubicBezTo>
                    <a:cubicBezTo>
                      <a:pt x="196551" y="82973"/>
                      <a:pt x="167023" y="82030"/>
                      <a:pt x="147021" y="82030"/>
                    </a:cubicBezTo>
                    <a:cubicBezTo>
                      <a:pt x="137496" y="82030"/>
                      <a:pt x="124161" y="78259"/>
                      <a:pt x="107016" y="73545"/>
                    </a:cubicBezTo>
                    <a:cubicBezTo>
                      <a:pt x="92728" y="69773"/>
                      <a:pt x="76536" y="65059"/>
                      <a:pt x="59391" y="62230"/>
                    </a:cubicBezTo>
                    <a:cubicBezTo>
                      <a:pt x="36531" y="57516"/>
                      <a:pt x="12718" y="57516"/>
                      <a:pt x="336" y="57516"/>
                    </a:cubicBezTo>
                    <a:close/>
                  </a:path>
                </a:pathLst>
              </a:custGeom>
              <a:solidFill>
                <a:srgbClr val="3D4647"/>
              </a:solidFill>
              <a:ln w="9525" cap="flat">
                <a:noFill/>
                <a:prstDash val="solid"/>
                <a:miter/>
              </a:ln>
            </p:spPr>
            <p:txBody>
              <a:bodyPr wrap="square" rtlCol="0" anchor="ctr">
                <a:noAutofit/>
              </a:bodyPr>
              <a:lstStyle/>
              <a:p>
                <a:endParaRPr lang="en-US" dirty="0"/>
              </a:p>
            </p:txBody>
          </p:sp>
        </p:grpSp>
        <p:sp>
          <p:nvSpPr>
            <p:cNvPr id="55" name="Freeform: Shape 54">
              <a:extLst>
                <a:ext uri="{FF2B5EF4-FFF2-40B4-BE49-F238E27FC236}">
                  <a16:creationId xmlns:a16="http://schemas.microsoft.com/office/drawing/2014/main" id="{3444E443-BA57-830E-F3BF-FBBE61B198FA}"/>
                </a:ext>
              </a:extLst>
            </p:cNvPr>
            <p:cNvSpPr/>
            <p:nvPr/>
          </p:nvSpPr>
          <p:spPr>
            <a:xfrm>
              <a:off x="5702537" y="3248766"/>
              <a:ext cx="302895" cy="300778"/>
            </a:xfrm>
            <a:custGeom>
              <a:avLst/>
              <a:gdLst>
                <a:gd name="connsiteX0" fmla="*/ 151448 w 302895"/>
                <a:gd name="connsiteY0" fmla="*/ 0 h 300778"/>
                <a:gd name="connsiteX1" fmla="*/ 0 w 302895"/>
                <a:gd name="connsiteY1" fmla="*/ 149918 h 300778"/>
                <a:gd name="connsiteX2" fmla="*/ 151448 w 302895"/>
                <a:gd name="connsiteY2" fmla="*/ 300778 h 300778"/>
                <a:gd name="connsiteX3" fmla="*/ 302895 w 302895"/>
                <a:gd name="connsiteY3" fmla="*/ 150861 h 300778"/>
                <a:gd name="connsiteX4" fmla="*/ 151448 w 302895"/>
                <a:gd name="connsiteY4" fmla="*/ 0 h 300778"/>
                <a:gd name="connsiteX5" fmla="*/ 216217 w 302895"/>
                <a:gd name="connsiteY5" fmla="*/ 193290 h 300778"/>
                <a:gd name="connsiteX6" fmla="*/ 202883 w 302895"/>
                <a:gd name="connsiteY6" fmla="*/ 220634 h 300778"/>
                <a:gd name="connsiteX7" fmla="*/ 168592 w 302895"/>
                <a:gd name="connsiteY7" fmla="*/ 231948 h 300778"/>
                <a:gd name="connsiteX8" fmla="*/ 168592 w 302895"/>
                <a:gd name="connsiteY8" fmla="*/ 251749 h 300778"/>
                <a:gd name="connsiteX9" fmla="*/ 139065 w 302895"/>
                <a:gd name="connsiteY9" fmla="*/ 251749 h 300778"/>
                <a:gd name="connsiteX10" fmla="*/ 139065 w 302895"/>
                <a:gd name="connsiteY10" fmla="*/ 231948 h 300778"/>
                <a:gd name="connsiteX11" fmla="*/ 102870 w 302895"/>
                <a:gd name="connsiteY11" fmla="*/ 218748 h 300778"/>
                <a:gd name="connsiteX12" fmla="*/ 89535 w 302895"/>
                <a:gd name="connsiteY12" fmla="*/ 181976 h 300778"/>
                <a:gd name="connsiteX13" fmla="*/ 119063 w 302895"/>
                <a:gd name="connsiteY13" fmla="*/ 181976 h 300778"/>
                <a:gd name="connsiteX14" fmla="*/ 124778 w 302895"/>
                <a:gd name="connsiteY14" fmla="*/ 199890 h 300778"/>
                <a:gd name="connsiteX15" fmla="*/ 140970 w 302895"/>
                <a:gd name="connsiteY15" fmla="*/ 206490 h 300778"/>
                <a:gd name="connsiteX16" fmla="*/ 164783 w 302895"/>
                <a:gd name="connsiteY16" fmla="*/ 206490 h 300778"/>
                <a:gd name="connsiteX17" fmla="*/ 180023 w 302895"/>
                <a:gd name="connsiteY17" fmla="*/ 202719 h 300778"/>
                <a:gd name="connsiteX18" fmla="*/ 185737 w 302895"/>
                <a:gd name="connsiteY18" fmla="*/ 192347 h 300778"/>
                <a:gd name="connsiteX19" fmla="*/ 185737 w 302895"/>
                <a:gd name="connsiteY19" fmla="*/ 184804 h 300778"/>
                <a:gd name="connsiteX20" fmla="*/ 170498 w 302895"/>
                <a:gd name="connsiteY20" fmla="*/ 171604 h 300778"/>
                <a:gd name="connsiteX21" fmla="*/ 130492 w 302895"/>
                <a:gd name="connsiteY21" fmla="*/ 165004 h 300778"/>
                <a:gd name="connsiteX22" fmla="*/ 100965 w 302895"/>
                <a:gd name="connsiteY22" fmla="*/ 152746 h 300778"/>
                <a:gd name="connsiteX23" fmla="*/ 90488 w 302895"/>
                <a:gd name="connsiteY23" fmla="*/ 129174 h 300778"/>
                <a:gd name="connsiteX24" fmla="*/ 90488 w 302895"/>
                <a:gd name="connsiteY24" fmla="*/ 116917 h 300778"/>
                <a:gd name="connsiteX25" fmla="*/ 96203 w 302895"/>
                <a:gd name="connsiteY25" fmla="*/ 97117 h 300778"/>
                <a:gd name="connsiteX26" fmla="*/ 113348 w 302895"/>
                <a:gd name="connsiteY26" fmla="*/ 83916 h 300778"/>
                <a:gd name="connsiteX27" fmla="*/ 138113 w 302895"/>
                <a:gd name="connsiteY27" fmla="*/ 79202 h 300778"/>
                <a:gd name="connsiteX28" fmla="*/ 138113 w 302895"/>
                <a:gd name="connsiteY28" fmla="*/ 57516 h 300778"/>
                <a:gd name="connsiteX29" fmla="*/ 167640 w 302895"/>
                <a:gd name="connsiteY29" fmla="*/ 57516 h 300778"/>
                <a:gd name="connsiteX30" fmla="*/ 167640 w 302895"/>
                <a:gd name="connsiteY30" fmla="*/ 77316 h 300778"/>
                <a:gd name="connsiteX31" fmla="*/ 200025 w 302895"/>
                <a:gd name="connsiteY31" fmla="*/ 90516 h 300778"/>
                <a:gd name="connsiteX32" fmla="*/ 212408 w 302895"/>
                <a:gd name="connsiteY32" fmla="*/ 123517 h 300778"/>
                <a:gd name="connsiteX33" fmla="*/ 182880 w 302895"/>
                <a:gd name="connsiteY33" fmla="*/ 123517 h 300778"/>
                <a:gd name="connsiteX34" fmla="*/ 178117 w 302895"/>
                <a:gd name="connsiteY34" fmla="*/ 109374 h 300778"/>
                <a:gd name="connsiteX35" fmla="*/ 164783 w 302895"/>
                <a:gd name="connsiteY35" fmla="*/ 103717 h 300778"/>
                <a:gd name="connsiteX36" fmla="*/ 140017 w 302895"/>
                <a:gd name="connsiteY36" fmla="*/ 103717 h 300778"/>
                <a:gd name="connsiteX37" fmla="*/ 125730 w 302895"/>
                <a:gd name="connsiteY37" fmla="*/ 107488 h 300778"/>
                <a:gd name="connsiteX38" fmla="*/ 120015 w 302895"/>
                <a:gd name="connsiteY38" fmla="*/ 117860 h 300778"/>
                <a:gd name="connsiteX39" fmla="*/ 120015 w 302895"/>
                <a:gd name="connsiteY39" fmla="*/ 123517 h 300778"/>
                <a:gd name="connsiteX40" fmla="*/ 135255 w 302895"/>
                <a:gd name="connsiteY40" fmla="*/ 136717 h 300778"/>
                <a:gd name="connsiteX41" fmla="*/ 175260 w 302895"/>
                <a:gd name="connsiteY41" fmla="*/ 143318 h 300778"/>
                <a:gd name="connsiteX42" fmla="*/ 205740 w 302895"/>
                <a:gd name="connsiteY42" fmla="*/ 155575 h 300778"/>
                <a:gd name="connsiteX43" fmla="*/ 216217 w 302895"/>
                <a:gd name="connsiteY43" fmla="*/ 178204 h 300778"/>
                <a:gd name="connsiteX44" fmla="*/ 216217 w 302895"/>
                <a:gd name="connsiteY44" fmla="*/ 193290 h 300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02895" h="300778">
                  <a:moveTo>
                    <a:pt x="151448" y="0"/>
                  </a:moveTo>
                  <a:cubicBezTo>
                    <a:pt x="67628" y="0"/>
                    <a:pt x="0" y="66944"/>
                    <a:pt x="0" y="149918"/>
                  </a:cubicBezTo>
                  <a:cubicBezTo>
                    <a:pt x="0" y="232891"/>
                    <a:pt x="67628" y="300778"/>
                    <a:pt x="151448" y="300778"/>
                  </a:cubicBezTo>
                  <a:cubicBezTo>
                    <a:pt x="235267" y="300778"/>
                    <a:pt x="302895" y="233834"/>
                    <a:pt x="302895" y="150861"/>
                  </a:cubicBezTo>
                  <a:cubicBezTo>
                    <a:pt x="302895" y="67887"/>
                    <a:pt x="235267" y="0"/>
                    <a:pt x="151448" y="0"/>
                  </a:cubicBezTo>
                  <a:close/>
                  <a:moveTo>
                    <a:pt x="216217" y="193290"/>
                  </a:moveTo>
                  <a:cubicBezTo>
                    <a:pt x="216217" y="204605"/>
                    <a:pt x="211455" y="214033"/>
                    <a:pt x="202883" y="220634"/>
                  </a:cubicBezTo>
                  <a:cubicBezTo>
                    <a:pt x="194310" y="227234"/>
                    <a:pt x="182880" y="231005"/>
                    <a:pt x="168592" y="231948"/>
                  </a:cubicBezTo>
                  <a:lnTo>
                    <a:pt x="168592" y="251749"/>
                  </a:lnTo>
                  <a:lnTo>
                    <a:pt x="139065" y="251749"/>
                  </a:lnTo>
                  <a:lnTo>
                    <a:pt x="139065" y="231948"/>
                  </a:lnTo>
                  <a:cubicBezTo>
                    <a:pt x="123825" y="231948"/>
                    <a:pt x="111442" y="227234"/>
                    <a:pt x="102870" y="218748"/>
                  </a:cubicBezTo>
                  <a:cubicBezTo>
                    <a:pt x="94298" y="210262"/>
                    <a:pt x="89535" y="198005"/>
                    <a:pt x="89535" y="181976"/>
                  </a:cubicBezTo>
                  <a:lnTo>
                    <a:pt x="119063" y="181976"/>
                  </a:lnTo>
                  <a:cubicBezTo>
                    <a:pt x="119063" y="189519"/>
                    <a:pt x="120967" y="195176"/>
                    <a:pt x="124778" y="199890"/>
                  </a:cubicBezTo>
                  <a:cubicBezTo>
                    <a:pt x="128588" y="203662"/>
                    <a:pt x="134303" y="206490"/>
                    <a:pt x="140970" y="206490"/>
                  </a:cubicBezTo>
                  <a:lnTo>
                    <a:pt x="164783" y="206490"/>
                  </a:lnTo>
                  <a:cubicBezTo>
                    <a:pt x="171450" y="206490"/>
                    <a:pt x="176212" y="205548"/>
                    <a:pt x="180023" y="202719"/>
                  </a:cubicBezTo>
                  <a:cubicBezTo>
                    <a:pt x="183833" y="199890"/>
                    <a:pt x="185737" y="196119"/>
                    <a:pt x="185737" y="192347"/>
                  </a:cubicBezTo>
                  <a:lnTo>
                    <a:pt x="185737" y="184804"/>
                  </a:lnTo>
                  <a:cubicBezTo>
                    <a:pt x="185737" y="178204"/>
                    <a:pt x="180975" y="173490"/>
                    <a:pt x="170498" y="171604"/>
                  </a:cubicBezTo>
                  <a:lnTo>
                    <a:pt x="130492" y="165004"/>
                  </a:lnTo>
                  <a:cubicBezTo>
                    <a:pt x="117157" y="163118"/>
                    <a:pt x="107632" y="158404"/>
                    <a:pt x="100965" y="152746"/>
                  </a:cubicBezTo>
                  <a:cubicBezTo>
                    <a:pt x="94298" y="147089"/>
                    <a:pt x="90488" y="138603"/>
                    <a:pt x="90488" y="129174"/>
                  </a:cubicBezTo>
                  <a:lnTo>
                    <a:pt x="90488" y="116917"/>
                  </a:lnTo>
                  <a:cubicBezTo>
                    <a:pt x="90488" y="109374"/>
                    <a:pt x="92392" y="102774"/>
                    <a:pt x="96203" y="97117"/>
                  </a:cubicBezTo>
                  <a:cubicBezTo>
                    <a:pt x="100013" y="91459"/>
                    <a:pt x="105728" y="86745"/>
                    <a:pt x="113348" y="83916"/>
                  </a:cubicBezTo>
                  <a:cubicBezTo>
                    <a:pt x="120967" y="81088"/>
                    <a:pt x="128588" y="79202"/>
                    <a:pt x="138113" y="79202"/>
                  </a:cubicBezTo>
                  <a:lnTo>
                    <a:pt x="138113" y="57516"/>
                  </a:lnTo>
                  <a:lnTo>
                    <a:pt x="167640" y="57516"/>
                  </a:lnTo>
                  <a:lnTo>
                    <a:pt x="167640" y="77316"/>
                  </a:lnTo>
                  <a:cubicBezTo>
                    <a:pt x="180975" y="78259"/>
                    <a:pt x="192405" y="82973"/>
                    <a:pt x="200025" y="90516"/>
                  </a:cubicBezTo>
                  <a:cubicBezTo>
                    <a:pt x="208598" y="99002"/>
                    <a:pt x="212408" y="109374"/>
                    <a:pt x="212408" y="123517"/>
                  </a:cubicBezTo>
                  <a:lnTo>
                    <a:pt x="182880" y="123517"/>
                  </a:lnTo>
                  <a:cubicBezTo>
                    <a:pt x="182880" y="117860"/>
                    <a:pt x="180975" y="112203"/>
                    <a:pt x="178117" y="109374"/>
                  </a:cubicBezTo>
                  <a:cubicBezTo>
                    <a:pt x="175260" y="105602"/>
                    <a:pt x="170498" y="103717"/>
                    <a:pt x="164783" y="103717"/>
                  </a:cubicBezTo>
                  <a:lnTo>
                    <a:pt x="140017" y="103717"/>
                  </a:lnTo>
                  <a:cubicBezTo>
                    <a:pt x="134303" y="103717"/>
                    <a:pt x="128588" y="104660"/>
                    <a:pt x="125730" y="107488"/>
                  </a:cubicBezTo>
                  <a:cubicBezTo>
                    <a:pt x="121920" y="110317"/>
                    <a:pt x="120015" y="113145"/>
                    <a:pt x="120015" y="117860"/>
                  </a:cubicBezTo>
                  <a:lnTo>
                    <a:pt x="120015" y="123517"/>
                  </a:lnTo>
                  <a:cubicBezTo>
                    <a:pt x="120015" y="131060"/>
                    <a:pt x="124778" y="134832"/>
                    <a:pt x="135255" y="136717"/>
                  </a:cubicBezTo>
                  <a:lnTo>
                    <a:pt x="175260" y="143318"/>
                  </a:lnTo>
                  <a:cubicBezTo>
                    <a:pt x="188595" y="145203"/>
                    <a:pt x="198120" y="149918"/>
                    <a:pt x="205740" y="155575"/>
                  </a:cubicBezTo>
                  <a:cubicBezTo>
                    <a:pt x="212408" y="161232"/>
                    <a:pt x="216217" y="168775"/>
                    <a:pt x="216217" y="178204"/>
                  </a:cubicBezTo>
                  <a:lnTo>
                    <a:pt x="216217" y="193290"/>
                  </a:lnTo>
                  <a:close/>
                </a:path>
              </a:pathLst>
            </a:custGeom>
            <a:solidFill>
              <a:schemeClr val="accent1"/>
            </a:solidFill>
            <a:ln w="9525" cap="flat">
              <a:noFill/>
              <a:prstDash val="solid"/>
              <a:miter/>
            </a:ln>
          </p:spPr>
          <p:txBody>
            <a:bodyPr rtlCol="0" anchor="ctr"/>
            <a:lstStyle/>
            <a:p>
              <a:endParaRPr lang="en-US" dirty="0"/>
            </a:p>
          </p:txBody>
        </p:sp>
      </p:grpSp>
      <p:sp>
        <p:nvSpPr>
          <p:cNvPr id="41" name="Text Placeholder 81">
            <a:extLst>
              <a:ext uri="{FF2B5EF4-FFF2-40B4-BE49-F238E27FC236}">
                <a16:creationId xmlns:a16="http://schemas.microsoft.com/office/drawing/2014/main" id="{211CC3D8-B08F-D8E2-0897-A7A7CC9CD2B5}"/>
              </a:ext>
            </a:extLst>
          </p:cNvPr>
          <p:cNvSpPr txBox="1">
            <a:spLocks/>
          </p:cNvSpPr>
          <p:nvPr/>
        </p:nvSpPr>
        <p:spPr>
          <a:xfrm>
            <a:off x="502087" y="1629043"/>
            <a:ext cx="3566160" cy="137160"/>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r Chart, Variable, Growth, Increase, Decrease</a:t>
            </a:r>
          </a:p>
        </p:txBody>
      </p:sp>
    </p:spTree>
    <p:extLst>
      <p:ext uri="{BB962C8B-B14F-4D97-AF65-F5344CB8AC3E}">
        <p14:creationId xmlns:p14="http://schemas.microsoft.com/office/powerpoint/2010/main" val="40295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 name="Graphic 92">
            <a:extLst>
              <a:ext uri="{FF2B5EF4-FFF2-40B4-BE49-F238E27FC236}">
                <a16:creationId xmlns:a16="http://schemas.microsoft.com/office/drawing/2014/main" id="{6D2F0736-F78E-9EC3-4912-55DEDE3925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20605" y="5426058"/>
            <a:ext cx="609600" cy="609600"/>
          </a:xfrm>
          <a:prstGeom prst="rect">
            <a:avLst/>
          </a:prstGeom>
        </p:spPr>
      </p:pic>
      <p:grpSp>
        <p:nvGrpSpPr>
          <p:cNvPr id="68" name="Group 67">
            <a:extLst>
              <a:ext uri="{FF2B5EF4-FFF2-40B4-BE49-F238E27FC236}">
                <a16:creationId xmlns:a16="http://schemas.microsoft.com/office/drawing/2014/main" id="{0DCC6052-435D-9FCB-5D3C-84E61CC7BF06}"/>
              </a:ext>
            </a:extLst>
          </p:cNvPr>
          <p:cNvGrpSpPr/>
          <p:nvPr/>
        </p:nvGrpSpPr>
        <p:grpSpPr>
          <a:xfrm>
            <a:off x="503678" y="5426058"/>
            <a:ext cx="609600" cy="609600"/>
            <a:chOff x="3787020" y="5710343"/>
            <a:chExt cx="609600" cy="609600"/>
          </a:xfrm>
          <a:solidFill>
            <a:schemeClr val="tx1"/>
          </a:solidFill>
        </p:grpSpPr>
        <p:sp>
          <p:nvSpPr>
            <p:cNvPr id="67" name="Graphic 62">
              <a:extLst>
                <a:ext uri="{FF2B5EF4-FFF2-40B4-BE49-F238E27FC236}">
                  <a16:creationId xmlns:a16="http://schemas.microsoft.com/office/drawing/2014/main" id="{D0233E62-6160-DBD4-5543-5B159F911232}"/>
                </a:ext>
              </a:extLst>
            </p:cNvPr>
            <p:cNvSpPr/>
            <p:nvPr/>
          </p:nvSpPr>
          <p:spPr>
            <a:xfrm>
              <a:off x="3922007" y="5755955"/>
              <a:ext cx="373294" cy="485477"/>
            </a:xfrm>
            <a:custGeom>
              <a:avLst/>
              <a:gdLst>
                <a:gd name="connsiteX0" fmla="*/ 437628 w 437628"/>
                <a:gd name="connsiteY0" fmla="*/ 0 h 543204"/>
                <a:gd name="connsiteX1" fmla="*/ 52788 w 437628"/>
                <a:gd name="connsiteY1" fmla="*/ 229883 h 543204"/>
                <a:gd name="connsiteX2" fmla="*/ 195826 w 437628"/>
                <a:gd name="connsiteY2" fmla="*/ 299699 h 543204"/>
                <a:gd name="connsiteX3" fmla="*/ 0 w 437628"/>
                <a:gd name="connsiteY3" fmla="*/ 543204 h 543204"/>
                <a:gd name="connsiteX4" fmla="*/ 384841 w 437628"/>
                <a:gd name="connsiteY4" fmla="*/ 313322 h 543204"/>
                <a:gd name="connsiteX5" fmla="*/ 243505 w 437628"/>
                <a:gd name="connsiteY5" fmla="*/ 243505 h 543204"/>
                <a:gd name="connsiteX6" fmla="*/ 437628 w 437628"/>
                <a:gd name="connsiteY6" fmla="*/ 0 h 543204"/>
                <a:gd name="connsiteX0" fmla="*/ 384840 w 384840"/>
                <a:gd name="connsiteY0" fmla="*/ 0 h 462386"/>
                <a:gd name="connsiteX1" fmla="*/ 0 w 384840"/>
                <a:gd name="connsiteY1" fmla="*/ 229883 h 462386"/>
                <a:gd name="connsiteX2" fmla="*/ 143038 w 384840"/>
                <a:gd name="connsiteY2" fmla="*/ 299699 h 462386"/>
                <a:gd name="connsiteX3" fmla="*/ 60357 w 384840"/>
                <a:gd name="connsiteY3" fmla="*/ 462386 h 462386"/>
                <a:gd name="connsiteX4" fmla="*/ 332053 w 384840"/>
                <a:gd name="connsiteY4" fmla="*/ 313322 h 462386"/>
                <a:gd name="connsiteX5" fmla="*/ 190717 w 384840"/>
                <a:gd name="connsiteY5" fmla="*/ 243505 h 462386"/>
                <a:gd name="connsiteX6" fmla="*/ 384840 w 384840"/>
                <a:gd name="connsiteY6" fmla="*/ 0 h 462386"/>
                <a:gd name="connsiteX0" fmla="*/ 373294 w 373294"/>
                <a:gd name="connsiteY0" fmla="*/ 0 h 462386"/>
                <a:gd name="connsiteX1" fmla="*/ 0 w 373294"/>
                <a:gd name="connsiteY1" fmla="*/ 229883 h 462386"/>
                <a:gd name="connsiteX2" fmla="*/ 131492 w 373294"/>
                <a:gd name="connsiteY2" fmla="*/ 299699 h 462386"/>
                <a:gd name="connsiteX3" fmla="*/ 48811 w 373294"/>
                <a:gd name="connsiteY3" fmla="*/ 462386 h 462386"/>
                <a:gd name="connsiteX4" fmla="*/ 320507 w 373294"/>
                <a:gd name="connsiteY4" fmla="*/ 313322 h 462386"/>
                <a:gd name="connsiteX5" fmla="*/ 179171 w 373294"/>
                <a:gd name="connsiteY5" fmla="*/ 243505 h 462386"/>
                <a:gd name="connsiteX6" fmla="*/ 373294 w 373294"/>
                <a:gd name="connsiteY6" fmla="*/ 0 h 462386"/>
                <a:gd name="connsiteX0" fmla="*/ 373294 w 373294"/>
                <a:gd name="connsiteY0" fmla="*/ 0 h 462386"/>
                <a:gd name="connsiteX1" fmla="*/ 0 w 373294"/>
                <a:gd name="connsiteY1" fmla="*/ 229883 h 462386"/>
                <a:gd name="connsiteX2" fmla="*/ 131492 w 373294"/>
                <a:gd name="connsiteY2" fmla="*/ 299699 h 462386"/>
                <a:gd name="connsiteX3" fmla="*/ 48811 w 373294"/>
                <a:gd name="connsiteY3" fmla="*/ 462386 h 462386"/>
                <a:gd name="connsiteX4" fmla="*/ 320507 w 373294"/>
                <a:gd name="connsiteY4" fmla="*/ 313322 h 462386"/>
                <a:gd name="connsiteX5" fmla="*/ 169934 w 373294"/>
                <a:gd name="connsiteY5" fmla="*/ 220414 h 462386"/>
                <a:gd name="connsiteX6" fmla="*/ 373294 w 373294"/>
                <a:gd name="connsiteY6" fmla="*/ 0 h 462386"/>
                <a:gd name="connsiteX0" fmla="*/ 373294 w 373294"/>
                <a:gd name="connsiteY0" fmla="*/ 0 h 462386"/>
                <a:gd name="connsiteX1" fmla="*/ 0 w 373294"/>
                <a:gd name="connsiteY1" fmla="*/ 229883 h 462386"/>
                <a:gd name="connsiteX2" fmla="*/ 131492 w 373294"/>
                <a:gd name="connsiteY2" fmla="*/ 299699 h 462386"/>
                <a:gd name="connsiteX3" fmla="*/ 48811 w 373294"/>
                <a:gd name="connsiteY3" fmla="*/ 462386 h 462386"/>
                <a:gd name="connsiteX4" fmla="*/ 306653 w 373294"/>
                <a:gd name="connsiteY4" fmla="*/ 294849 h 462386"/>
                <a:gd name="connsiteX5" fmla="*/ 169934 w 373294"/>
                <a:gd name="connsiteY5" fmla="*/ 220414 h 462386"/>
                <a:gd name="connsiteX6" fmla="*/ 373294 w 373294"/>
                <a:gd name="connsiteY6" fmla="*/ 0 h 462386"/>
                <a:gd name="connsiteX0" fmla="*/ 373294 w 373294"/>
                <a:gd name="connsiteY0" fmla="*/ 0 h 485477"/>
                <a:gd name="connsiteX1" fmla="*/ 0 w 373294"/>
                <a:gd name="connsiteY1" fmla="*/ 229883 h 485477"/>
                <a:gd name="connsiteX2" fmla="*/ 131492 w 373294"/>
                <a:gd name="connsiteY2" fmla="*/ 299699 h 485477"/>
                <a:gd name="connsiteX3" fmla="*/ 11866 w 373294"/>
                <a:gd name="connsiteY3" fmla="*/ 485477 h 485477"/>
                <a:gd name="connsiteX4" fmla="*/ 306653 w 373294"/>
                <a:gd name="connsiteY4" fmla="*/ 294849 h 485477"/>
                <a:gd name="connsiteX5" fmla="*/ 169934 w 373294"/>
                <a:gd name="connsiteY5" fmla="*/ 220414 h 485477"/>
                <a:gd name="connsiteX6" fmla="*/ 373294 w 373294"/>
                <a:gd name="connsiteY6" fmla="*/ 0 h 48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294" h="485477">
                  <a:moveTo>
                    <a:pt x="373294" y="0"/>
                  </a:moveTo>
                  <a:lnTo>
                    <a:pt x="0" y="229883"/>
                  </a:lnTo>
                  <a:lnTo>
                    <a:pt x="131492" y="299699"/>
                  </a:lnTo>
                  <a:lnTo>
                    <a:pt x="11866" y="485477"/>
                  </a:lnTo>
                  <a:lnTo>
                    <a:pt x="306653" y="294849"/>
                  </a:lnTo>
                  <a:lnTo>
                    <a:pt x="169934" y="220414"/>
                  </a:lnTo>
                  <a:cubicBezTo>
                    <a:pt x="175043" y="215306"/>
                    <a:pt x="373294" y="0"/>
                    <a:pt x="373294" y="0"/>
                  </a:cubicBezTo>
                  <a:close/>
                </a:path>
              </a:pathLst>
            </a:custGeom>
            <a:grpFill/>
            <a:ln w="16966" cap="flat">
              <a:noFill/>
              <a:prstDash val="solid"/>
              <a:miter/>
            </a:ln>
          </p:spPr>
          <p:txBody>
            <a:bodyPr rtlCol="0" anchor="ctr"/>
            <a:lstStyle/>
            <a:p>
              <a:endParaRPr lang="en-US" dirty="0"/>
            </a:p>
          </p:txBody>
        </p:sp>
        <p:pic>
          <p:nvPicPr>
            <p:cNvPr id="66" name="Graphic 65">
              <a:extLst>
                <a:ext uri="{FF2B5EF4-FFF2-40B4-BE49-F238E27FC236}">
                  <a16:creationId xmlns:a16="http://schemas.microsoft.com/office/drawing/2014/main" id="{29CC5888-A11C-8CB4-AD79-145336E19FB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87020" y="5710343"/>
              <a:ext cx="609600" cy="609600"/>
            </a:xfrm>
            <a:prstGeom prst="rect">
              <a:avLst/>
            </a:prstGeom>
          </p:spPr>
        </p:pic>
      </p:grpSp>
      <p:sp>
        <p:nvSpPr>
          <p:cNvPr id="2" name="Title 1">
            <a:extLst>
              <a:ext uri="{FF2B5EF4-FFF2-40B4-BE49-F238E27FC236}">
                <a16:creationId xmlns:a16="http://schemas.microsoft.com/office/drawing/2014/main" id="{670B42D7-8EC5-5FF2-35CB-F683C524D9F8}"/>
              </a:ext>
            </a:extLst>
          </p:cNvPr>
          <p:cNvSpPr>
            <a:spLocks noGrp="1"/>
          </p:cNvSpPr>
          <p:nvPr>
            <p:ph type="title"/>
          </p:nvPr>
        </p:nvSpPr>
        <p:spPr>
          <a:xfrm>
            <a:off x="490760" y="547539"/>
            <a:ext cx="10789920" cy="369332"/>
          </a:xfrm>
        </p:spPr>
        <p:txBody>
          <a:bodyPr/>
          <a:lstStyle/>
          <a:p>
            <a:r>
              <a:rPr lang="en-US" dirty="0"/>
              <a:t>PTC ICONS  </a:t>
            </a:r>
          </a:p>
        </p:txBody>
      </p:sp>
      <p:sp>
        <p:nvSpPr>
          <p:cNvPr id="3" name="Text Placeholder 81">
            <a:extLst>
              <a:ext uri="{FF2B5EF4-FFF2-40B4-BE49-F238E27FC236}">
                <a16:creationId xmlns:a16="http://schemas.microsoft.com/office/drawing/2014/main" id="{036696FF-1EF3-8858-D3F4-7618CF435986}"/>
              </a:ext>
            </a:extLst>
          </p:cNvPr>
          <p:cNvSpPr txBox="1">
            <a:spLocks/>
          </p:cNvSpPr>
          <p:nvPr/>
        </p:nvSpPr>
        <p:spPr>
          <a:xfrm>
            <a:off x="5812360" y="5162354"/>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nvironment</a:t>
            </a:r>
          </a:p>
        </p:txBody>
      </p:sp>
      <p:pic>
        <p:nvPicPr>
          <p:cNvPr id="4" name="Graphic 3">
            <a:extLst>
              <a:ext uri="{FF2B5EF4-FFF2-40B4-BE49-F238E27FC236}">
                <a16:creationId xmlns:a16="http://schemas.microsoft.com/office/drawing/2014/main" id="{D5ED4039-5F84-6864-4811-FDE26A7CB26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32546" y="5426058"/>
            <a:ext cx="609600" cy="609600"/>
          </a:xfrm>
          <a:prstGeom prst="rect">
            <a:avLst/>
          </a:prstGeom>
        </p:spPr>
      </p:pic>
      <p:pic>
        <p:nvPicPr>
          <p:cNvPr id="5" name="Graphic 4">
            <a:extLst>
              <a:ext uri="{FF2B5EF4-FFF2-40B4-BE49-F238E27FC236}">
                <a16:creationId xmlns:a16="http://schemas.microsoft.com/office/drawing/2014/main" id="{C8267368-9245-E3CE-A634-9DC67F5D630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19587" y="5426058"/>
            <a:ext cx="609600" cy="609600"/>
          </a:xfrm>
          <a:prstGeom prst="rect">
            <a:avLst/>
          </a:prstGeom>
        </p:spPr>
      </p:pic>
      <p:pic>
        <p:nvPicPr>
          <p:cNvPr id="6" name="Graphic 5">
            <a:extLst>
              <a:ext uri="{FF2B5EF4-FFF2-40B4-BE49-F238E27FC236}">
                <a16:creationId xmlns:a16="http://schemas.microsoft.com/office/drawing/2014/main" id="{33D09DBC-2204-ED50-9B47-CDE47F819A4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84116" y="5426058"/>
            <a:ext cx="609600" cy="609600"/>
          </a:xfrm>
          <a:prstGeom prst="rect">
            <a:avLst/>
          </a:prstGeom>
        </p:spPr>
      </p:pic>
      <p:sp>
        <p:nvSpPr>
          <p:cNvPr id="7" name="Text Placeholder 81">
            <a:extLst>
              <a:ext uri="{FF2B5EF4-FFF2-40B4-BE49-F238E27FC236}">
                <a16:creationId xmlns:a16="http://schemas.microsoft.com/office/drawing/2014/main" id="{3AAF56FE-9B64-5016-6947-BD7DE8761060}"/>
              </a:ext>
            </a:extLst>
          </p:cNvPr>
          <p:cNvSpPr txBox="1">
            <a:spLocks/>
          </p:cNvSpPr>
          <p:nvPr/>
        </p:nvSpPr>
        <p:spPr>
          <a:xfrm>
            <a:off x="4292888" y="3985175"/>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in, Map Marker</a:t>
            </a:r>
          </a:p>
        </p:txBody>
      </p:sp>
      <p:pic>
        <p:nvPicPr>
          <p:cNvPr id="8" name="Graphic 104">
            <a:extLst>
              <a:ext uri="{FF2B5EF4-FFF2-40B4-BE49-F238E27FC236}">
                <a16:creationId xmlns:a16="http://schemas.microsoft.com/office/drawing/2014/main" id="{CEDB3E61-F103-FC2F-5E03-F22EB67C55CA}"/>
              </a:ext>
            </a:extLst>
          </p:cNvPr>
          <p:cNvPicPr>
            <a:picLocks noChangeAspect="1"/>
          </p:cNvPicPr>
          <p:nvPr/>
        </p:nvPicPr>
        <p:blipFill rotWithShape="1">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l="14383" t="11298" r="16384" b="6420"/>
          <a:stretch/>
        </p:blipFill>
        <p:spPr>
          <a:xfrm>
            <a:off x="4605768" y="4193020"/>
            <a:ext cx="457644" cy="612648"/>
          </a:xfrm>
          <a:prstGeom prst="rect">
            <a:avLst/>
          </a:prstGeom>
        </p:spPr>
      </p:pic>
      <p:sp>
        <p:nvSpPr>
          <p:cNvPr id="9" name="Text Placeholder 81">
            <a:extLst>
              <a:ext uri="{FF2B5EF4-FFF2-40B4-BE49-F238E27FC236}">
                <a16:creationId xmlns:a16="http://schemas.microsoft.com/office/drawing/2014/main" id="{5FC9DA42-E473-D88B-FE6B-CB5A19F369FA}"/>
              </a:ext>
            </a:extLst>
          </p:cNvPr>
          <p:cNvSpPr txBox="1">
            <a:spLocks/>
          </p:cNvSpPr>
          <p:nvPr/>
        </p:nvSpPr>
        <p:spPr>
          <a:xfrm>
            <a:off x="7017646" y="5093104"/>
            <a:ext cx="141585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aste Management, Trash, Delete </a:t>
            </a:r>
          </a:p>
        </p:txBody>
      </p:sp>
      <p:pic>
        <p:nvPicPr>
          <p:cNvPr id="10" name="Graphic 9">
            <a:extLst>
              <a:ext uri="{FF2B5EF4-FFF2-40B4-BE49-F238E27FC236}">
                <a16:creationId xmlns:a16="http://schemas.microsoft.com/office/drawing/2014/main" id="{AB0AAD4B-6984-6754-26F3-AA60E3B9FA5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419250" y="5424534"/>
            <a:ext cx="612648" cy="612648"/>
          </a:xfrm>
          <a:prstGeom prst="rect">
            <a:avLst/>
          </a:prstGeom>
        </p:spPr>
      </p:pic>
      <p:sp>
        <p:nvSpPr>
          <p:cNvPr id="11" name="Text Placeholder 81">
            <a:extLst>
              <a:ext uri="{FF2B5EF4-FFF2-40B4-BE49-F238E27FC236}">
                <a16:creationId xmlns:a16="http://schemas.microsoft.com/office/drawing/2014/main" id="{145EF056-7138-2F52-1181-3DBFCBA422AB}"/>
              </a:ext>
            </a:extLst>
          </p:cNvPr>
          <p:cNvSpPr txBox="1">
            <a:spLocks/>
          </p:cNvSpPr>
          <p:nvPr/>
        </p:nvSpPr>
        <p:spPr>
          <a:xfrm>
            <a:off x="8827007" y="5162354"/>
            <a:ext cx="118872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Fire </a:t>
            </a:r>
          </a:p>
        </p:txBody>
      </p:sp>
      <p:sp>
        <p:nvSpPr>
          <p:cNvPr id="12" name="object 35">
            <a:extLst>
              <a:ext uri="{FF2B5EF4-FFF2-40B4-BE49-F238E27FC236}">
                <a16:creationId xmlns:a16="http://schemas.microsoft.com/office/drawing/2014/main" id="{7135F510-2DCA-7A6E-6616-3E49D6240B14}"/>
              </a:ext>
            </a:extLst>
          </p:cNvPr>
          <p:cNvSpPr txBox="1"/>
          <p:nvPr/>
        </p:nvSpPr>
        <p:spPr>
          <a:xfrm>
            <a:off x="6734010" y="3985175"/>
            <a:ext cx="76765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Current</a:t>
            </a:r>
          </a:p>
        </p:txBody>
      </p:sp>
      <p:sp>
        <p:nvSpPr>
          <p:cNvPr id="13" name="Text Placeholder 81">
            <a:extLst>
              <a:ext uri="{FF2B5EF4-FFF2-40B4-BE49-F238E27FC236}">
                <a16:creationId xmlns:a16="http://schemas.microsoft.com/office/drawing/2014/main" id="{D2527B6A-6568-A5B2-7953-B3F749ADCF8B}"/>
              </a:ext>
            </a:extLst>
          </p:cNvPr>
          <p:cNvSpPr txBox="1">
            <a:spLocks/>
          </p:cNvSpPr>
          <p:nvPr/>
        </p:nvSpPr>
        <p:spPr>
          <a:xfrm>
            <a:off x="483181" y="3985175"/>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us</a:t>
            </a:r>
          </a:p>
        </p:txBody>
      </p:sp>
      <p:sp>
        <p:nvSpPr>
          <p:cNvPr id="14" name="Text Placeholder 81">
            <a:extLst>
              <a:ext uri="{FF2B5EF4-FFF2-40B4-BE49-F238E27FC236}">
                <a16:creationId xmlns:a16="http://schemas.microsoft.com/office/drawing/2014/main" id="{C7087A5D-933E-5E7B-FD40-369515743F59}"/>
              </a:ext>
            </a:extLst>
          </p:cNvPr>
          <p:cNvSpPr txBox="1">
            <a:spLocks/>
          </p:cNvSpPr>
          <p:nvPr/>
        </p:nvSpPr>
        <p:spPr>
          <a:xfrm>
            <a:off x="2331913" y="5162354"/>
            <a:ext cx="118872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eaf </a:t>
            </a:r>
          </a:p>
        </p:txBody>
      </p:sp>
      <p:pic>
        <p:nvPicPr>
          <p:cNvPr id="16" name="Graphic 15">
            <a:extLst>
              <a:ext uri="{FF2B5EF4-FFF2-40B4-BE49-F238E27FC236}">
                <a16:creationId xmlns:a16="http://schemas.microsoft.com/office/drawing/2014/main" id="{B89368FA-CDF3-58DE-D826-176D6B6E4C2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10592" y="4218251"/>
            <a:ext cx="922561" cy="562186"/>
          </a:xfrm>
          <a:prstGeom prst="rect">
            <a:avLst/>
          </a:prstGeom>
        </p:spPr>
      </p:pic>
      <p:sp>
        <p:nvSpPr>
          <p:cNvPr id="17" name="TextBox 16">
            <a:extLst>
              <a:ext uri="{FF2B5EF4-FFF2-40B4-BE49-F238E27FC236}">
                <a16:creationId xmlns:a16="http://schemas.microsoft.com/office/drawing/2014/main" id="{FE9DAF43-2637-94AF-7C1A-E0659D9E307D}"/>
              </a:ext>
            </a:extLst>
          </p:cNvPr>
          <p:cNvSpPr txBox="1"/>
          <p:nvPr/>
        </p:nvSpPr>
        <p:spPr>
          <a:xfrm>
            <a:off x="5645569" y="3985175"/>
            <a:ext cx="58830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On Track</a:t>
            </a:r>
          </a:p>
        </p:txBody>
      </p:sp>
      <p:pic>
        <p:nvPicPr>
          <p:cNvPr id="18" name="Graphic 17">
            <a:extLst>
              <a:ext uri="{FF2B5EF4-FFF2-40B4-BE49-F238E27FC236}">
                <a16:creationId xmlns:a16="http://schemas.microsoft.com/office/drawing/2014/main" id="{40B18223-5A57-D8C3-CBB2-B259033FA48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636138" y="4194544"/>
            <a:ext cx="609600" cy="609600"/>
          </a:xfrm>
          <a:prstGeom prst="rect">
            <a:avLst/>
          </a:prstGeom>
        </p:spPr>
      </p:pic>
      <p:pic>
        <p:nvPicPr>
          <p:cNvPr id="19" name="Graphic 18">
            <a:extLst>
              <a:ext uri="{FF2B5EF4-FFF2-40B4-BE49-F238E27FC236}">
                <a16:creationId xmlns:a16="http://schemas.microsoft.com/office/drawing/2014/main" id="{F7DCEAD3-C62D-2401-8661-389083BBCC3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818464" y="4186979"/>
            <a:ext cx="624730" cy="624730"/>
          </a:xfrm>
          <a:prstGeom prst="rect">
            <a:avLst/>
          </a:prstGeom>
        </p:spPr>
      </p:pic>
      <p:pic>
        <p:nvPicPr>
          <p:cNvPr id="21" name="Graphic 20">
            <a:extLst>
              <a:ext uri="{FF2B5EF4-FFF2-40B4-BE49-F238E27FC236}">
                <a16:creationId xmlns:a16="http://schemas.microsoft.com/office/drawing/2014/main" id="{058FF753-2D99-9D92-8464-E460D061ECB5}"/>
              </a:ext>
            </a:extLst>
          </p:cNvPr>
          <p:cNvPicPr>
            <a:picLocks noChangeAspect="1"/>
          </p:cNvPicPr>
          <p:nvPr/>
        </p:nvPicPr>
        <p:blipFill rotWithShape="1">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t="17410"/>
          <a:stretch/>
        </p:blipFill>
        <p:spPr>
          <a:xfrm>
            <a:off x="3205060" y="4193020"/>
            <a:ext cx="741789" cy="612648"/>
          </a:xfrm>
          <a:prstGeom prst="rect">
            <a:avLst/>
          </a:prstGeom>
        </p:spPr>
      </p:pic>
      <p:sp>
        <p:nvSpPr>
          <p:cNvPr id="22" name="TextBox 21">
            <a:extLst>
              <a:ext uri="{FF2B5EF4-FFF2-40B4-BE49-F238E27FC236}">
                <a16:creationId xmlns:a16="http://schemas.microsoft.com/office/drawing/2014/main" id="{5F0018B3-7C7F-565E-6CF4-5006EFBACBEF}"/>
              </a:ext>
            </a:extLst>
          </p:cNvPr>
          <p:cNvSpPr txBox="1"/>
          <p:nvPr/>
        </p:nvSpPr>
        <p:spPr>
          <a:xfrm>
            <a:off x="3277315" y="3985175"/>
            <a:ext cx="59727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ike </a:t>
            </a:r>
          </a:p>
        </p:txBody>
      </p:sp>
      <p:sp>
        <p:nvSpPr>
          <p:cNvPr id="23" name="Rectangle 22">
            <a:extLst>
              <a:ext uri="{FF2B5EF4-FFF2-40B4-BE49-F238E27FC236}">
                <a16:creationId xmlns:a16="http://schemas.microsoft.com/office/drawing/2014/main" id="{E4D181B5-7CA0-8A2F-5595-72749682242E}"/>
              </a:ext>
            </a:extLst>
          </p:cNvPr>
          <p:cNvSpPr/>
          <p:nvPr/>
        </p:nvSpPr>
        <p:spPr>
          <a:xfrm>
            <a:off x="503678" y="3610762"/>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Transportation / Environmental </a:t>
            </a:r>
          </a:p>
        </p:txBody>
      </p:sp>
      <p:sp>
        <p:nvSpPr>
          <p:cNvPr id="26" name="Text Placeholder 81">
            <a:extLst>
              <a:ext uri="{FF2B5EF4-FFF2-40B4-BE49-F238E27FC236}">
                <a16:creationId xmlns:a16="http://schemas.microsoft.com/office/drawing/2014/main" id="{9EACC684-AB05-138E-D4AA-1AAE19BF3114}"/>
              </a:ext>
            </a:extLst>
          </p:cNvPr>
          <p:cNvSpPr txBox="1">
            <a:spLocks/>
          </p:cNvSpPr>
          <p:nvPr/>
        </p:nvSpPr>
        <p:spPr>
          <a:xfrm>
            <a:off x="534246" y="5162354"/>
            <a:ext cx="118872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Lightning</a:t>
            </a:r>
          </a:p>
        </p:txBody>
      </p:sp>
      <p:sp>
        <p:nvSpPr>
          <p:cNvPr id="28" name="Text Placeholder 81">
            <a:extLst>
              <a:ext uri="{FF2B5EF4-FFF2-40B4-BE49-F238E27FC236}">
                <a16:creationId xmlns:a16="http://schemas.microsoft.com/office/drawing/2014/main" id="{59BC5BFA-83CD-301F-659E-DF98E40912F7}"/>
              </a:ext>
            </a:extLst>
          </p:cNvPr>
          <p:cNvSpPr txBox="1">
            <a:spLocks/>
          </p:cNvSpPr>
          <p:nvPr/>
        </p:nvSpPr>
        <p:spPr>
          <a:xfrm>
            <a:off x="396544" y="1607423"/>
            <a:ext cx="104997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agnify </a:t>
            </a:r>
            <a:br>
              <a:rPr lang="en-US" dirty="0"/>
            </a:br>
            <a:r>
              <a:rPr lang="en-US" dirty="0"/>
              <a:t>Glass, Search</a:t>
            </a:r>
          </a:p>
        </p:txBody>
      </p:sp>
      <p:sp>
        <p:nvSpPr>
          <p:cNvPr id="29" name="Rectangle 28">
            <a:extLst>
              <a:ext uri="{FF2B5EF4-FFF2-40B4-BE49-F238E27FC236}">
                <a16:creationId xmlns:a16="http://schemas.microsoft.com/office/drawing/2014/main" id="{B2A1700F-67F0-103F-39DA-C753545CE514}"/>
              </a:ext>
            </a:extLst>
          </p:cNvPr>
          <p:cNvSpPr/>
          <p:nvPr/>
        </p:nvSpPr>
        <p:spPr>
          <a:xfrm>
            <a:off x="503678" y="1188197"/>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Devices</a:t>
            </a:r>
            <a:endParaRPr lang="en-US" sz="1400" dirty="0">
              <a:solidFill>
                <a:schemeClr val="bg1"/>
              </a:solidFill>
            </a:endParaRPr>
          </a:p>
        </p:txBody>
      </p:sp>
      <p:sp>
        <p:nvSpPr>
          <p:cNvPr id="30" name="Text Placeholder 81">
            <a:extLst>
              <a:ext uri="{FF2B5EF4-FFF2-40B4-BE49-F238E27FC236}">
                <a16:creationId xmlns:a16="http://schemas.microsoft.com/office/drawing/2014/main" id="{35E431D6-473F-7087-4981-B16B51DA4D55}"/>
              </a:ext>
            </a:extLst>
          </p:cNvPr>
          <p:cNvSpPr txBox="1">
            <a:spLocks/>
          </p:cNvSpPr>
          <p:nvPr/>
        </p:nvSpPr>
        <p:spPr>
          <a:xfrm>
            <a:off x="2169221" y="167667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aptop</a:t>
            </a:r>
          </a:p>
        </p:txBody>
      </p:sp>
      <p:pic>
        <p:nvPicPr>
          <p:cNvPr id="31" name="Graphic 30">
            <a:extLst>
              <a:ext uri="{FF2B5EF4-FFF2-40B4-BE49-F238E27FC236}">
                <a16:creationId xmlns:a16="http://schemas.microsoft.com/office/drawing/2014/main" id="{B94CCA7E-9617-A78B-56A0-2124D00890B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2378641" y="1896006"/>
            <a:ext cx="612648" cy="612648"/>
          </a:xfrm>
          <a:prstGeom prst="rect">
            <a:avLst/>
          </a:prstGeom>
        </p:spPr>
      </p:pic>
      <p:pic>
        <p:nvPicPr>
          <p:cNvPr id="32" name="Graphic 31">
            <a:extLst>
              <a:ext uri="{FF2B5EF4-FFF2-40B4-BE49-F238E27FC236}">
                <a16:creationId xmlns:a16="http://schemas.microsoft.com/office/drawing/2014/main" id="{3E46382D-2731-2C24-4000-44890C0632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96225" y="1897530"/>
            <a:ext cx="609600" cy="609600"/>
          </a:xfrm>
          <a:prstGeom prst="rect">
            <a:avLst/>
          </a:prstGeom>
        </p:spPr>
      </p:pic>
      <p:sp>
        <p:nvSpPr>
          <p:cNvPr id="33" name="Text Placeholder 81">
            <a:extLst>
              <a:ext uri="{FF2B5EF4-FFF2-40B4-BE49-F238E27FC236}">
                <a16:creationId xmlns:a16="http://schemas.microsoft.com/office/drawing/2014/main" id="{D5433539-90DD-CD9D-511F-113634635229}"/>
              </a:ext>
            </a:extLst>
          </p:cNvPr>
          <p:cNvSpPr txBox="1">
            <a:spLocks/>
          </p:cNvSpPr>
          <p:nvPr/>
        </p:nvSpPr>
        <p:spPr>
          <a:xfrm>
            <a:off x="3167004" y="1607423"/>
            <a:ext cx="76780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obile Phone</a:t>
            </a:r>
          </a:p>
        </p:txBody>
      </p:sp>
      <p:pic>
        <p:nvPicPr>
          <p:cNvPr id="34" name="Graphic 33">
            <a:extLst>
              <a:ext uri="{FF2B5EF4-FFF2-40B4-BE49-F238E27FC236}">
                <a16:creationId xmlns:a16="http://schemas.microsoft.com/office/drawing/2014/main" id="{B9BD65C5-6D70-CFF6-2D00-3D4938CFD5C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3246107" y="1897530"/>
            <a:ext cx="609600" cy="609600"/>
          </a:xfrm>
          <a:prstGeom prst="rect">
            <a:avLst/>
          </a:prstGeom>
        </p:spPr>
      </p:pic>
      <p:sp>
        <p:nvSpPr>
          <p:cNvPr id="35" name="TextBox 34">
            <a:extLst>
              <a:ext uri="{FF2B5EF4-FFF2-40B4-BE49-F238E27FC236}">
                <a16:creationId xmlns:a16="http://schemas.microsoft.com/office/drawing/2014/main" id="{85D0CDED-ADBB-DB3B-A1F9-491EDC2E5E5E}"/>
              </a:ext>
            </a:extLst>
          </p:cNvPr>
          <p:cNvSpPr txBox="1"/>
          <p:nvPr/>
        </p:nvSpPr>
        <p:spPr>
          <a:xfrm>
            <a:off x="1702590" y="1676673"/>
            <a:ext cx="29655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rint</a:t>
            </a:r>
          </a:p>
        </p:txBody>
      </p:sp>
      <p:grpSp>
        <p:nvGrpSpPr>
          <p:cNvPr id="36" name="Group 35">
            <a:extLst>
              <a:ext uri="{FF2B5EF4-FFF2-40B4-BE49-F238E27FC236}">
                <a16:creationId xmlns:a16="http://schemas.microsoft.com/office/drawing/2014/main" id="{4F702903-3294-2F31-2E18-32D2BB215FFB}"/>
              </a:ext>
            </a:extLst>
          </p:cNvPr>
          <p:cNvGrpSpPr/>
          <p:nvPr/>
        </p:nvGrpSpPr>
        <p:grpSpPr>
          <a:xfrm>
            <a:off x="1534585" y="1920390"/>
            <a:ext cx="609600" cy="563880"/>
            <a:chOff x="1648885" y="6019275"/>
            <a:chExt cx="609600" cy="563880"/>
          </a:xfrm>
        </p:grpSpPr>
        <p:sp>
          <p:nvSpPr>
            <p:cNvPr id="37" name="Freeform: Shape 36">
              <a:extLst>
                <a:ext uri="{FF2B5EF4-FFF2-40B4-BE49-F238E27FC236}">
                  <a16:creationId xmlns:a16="http://schemas.microsoft.com/office/drawing/2014/main" id="{130AD294-F815-6D81-1DE5-DC99204D42E2}"/>
                </a:ext>
              </a:extLst>
            </p:cNvPr>
            <p:cNvSpPr/>
            <p:nvPr/>
          </p:nvSpPr>
          <p:spPr>
            <a:xfrm>
              <a:off x="1760327" y="6019275"/>
              <a:ext cx="396239" cy="148590"/>
            </a:xfrm>
            <a:custGeom>
              <a:avLst/>
              <a:gdLst>
                <a:gd name="connsiteX0" fmla="*/ 68580 w 396239"/>
                <a:gd name="connsiteY0" fmla="*/ 0 h 148590"/>
                <a:gd name="connsiteX1" fmla="*/ 0 w 396239"/>
                <a:gd name="connsiteY1" fmla="*/ 69533 h 148590"/>
                <a:gd name="connsiteX2" fmla="*/ 0 w 396239"/>
                <a:gd name="connsiteY2" fmla="*/ 148590 h 148590"/>
                <a:gd name="connsiteX3" fmla="*/ 29528 w 396239"/>
                <a:gd name="connsiteY3" fmla="*/ 148590 h 148590"/>
                <a:gd name="connsiteX4" fmla="*/ 29528 w 396239"/>
                <a:gd name="connsiteY4" fmla="*/ 112395 h 148590"/>
                <a:gd name="connsiteX5" fmla="*/ 108585 w 396239"/>
                <a:gd name="connsiteY5" fmla="*/ 112395 h 148590"/>
                <a:gd name="connsiteX6" fmla="*/ 108585 w 396239"/>
                <a:gd name="connsiteY6" fmla="*/ 29528 h 148590"/>
                <a:gd name="connsiteX7" fmla="*/ 366713 w 396239"/>
                <a:gd name="connsiteY7" fmla="*/ 29528 h 148590"/>
                <a:gd name="connsiteX8" fmla="*/ 366713 w 396239"/>
                <a:gd name="connsiteY8" fmla="*/ 148590 h 148590"/>
                <a:gd name="connsiteX9" fmla="*/ 396240 w 396239"/>
                <a:gd name="connsiteY9" fmla="*/ 148590 h 148590"/>
                <a:gd name="connsiteX10" fmla="*/ 396240 w 396239"/>
                <a:gd name="connsiteY10" fmla="*/ 0 h 1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239" h="148590">
                  <a:moveTo>
                    <a:pt x="68580" y="0"/>
                  </a:moveTo>
                  <a:lnTo>
                    <a:pt x="0" y="69533"/>
                  </a:lnTo>
                  <a:lnTo>
                    <a:pt x="0" y="148590"/>
                  </a:lnTo>
                  <a:lnTo>
                    <a:pt x="29528" y="148590"/>
                  </a:lnTo>
                  <a:lnTo>
                    <a:pt x="29528" y="112395"/>
                  </a:lnTo>
                  <a:lnTo>
                    <a:pt x="108585" y="112395"/>
                  </a:lnTo>
                  <a:lnTo>
                    <a:pt x="108585" y="29528"/>
                  </a:lnTo>
                  <a:lnTo>
                    <a:pt x="366713" y="29528"/>
                  </a:lnTo>
                  <a:lnTo>
                    <a:pt x="366713" y="148590"/>
                  </a:lnTo>
                  <a:lnTo>
                    <a:pt x="396240" y="148590"/>
                  </a:lnTo>
                  <a:lnTo>
                    <a:pt x="396240" y="0"/>
                  </a:lnTo>
                  <a:close/>
                </a:path>
              </a:pathLst>
            </a:custGeom>
            <a:solidFill>
              <a:srgbClr val="40AA1D"/>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12179970-C39C-3F37-1EDA-86E44172A558}"/>
                </a:ext>
              </a:extLst>
            </p:cNvPr>
            <p:cNvSpPr/>
            <p:nvPr/>
          </p:nvSpPr>
          <p:spPr>
            <a:xfrm>
              <a:off x="1826050" y="6460283"/>
              <a:ext cx="271462" cy="18097"/>
            </a:xfrm>
            <a:custGeom>
              <a:avLst/>
              <a:gdLst>
                <a:gd name="connsiteX0" fmla="*/ 0 w 271462"/>
                <a:gd name="connsiteY0" fmla="*/ 0 h 18097"/>
                <a:gd name="connsiteX1" fmla="*/ 271463 w 271462"/>
                <a:gd name="connsiteY1" fmla="*/ 0 h 18097"/>
                <a:gd name="connsiteX2" fmla="*/ 271463 w 271462"/>
                <a:gd name="connsiteY2" fmla="*/ 18098 h 18097"/>
                <a:gd name="connsiteX3" fmla="*/ 0 w 271462"/>
                <a:gd name="connsiteY3" fmla="*/ 18098 h 18097"/>
              </a:gdLst>
              <a:ahLst/>
              <a:cxnLst>
                <a:cxn ang="0">
                  <a:pos x="connsiteX0" y="connsiteY0"/>
                </a:cxn>
                <a:cxn ang="0">
                  <a:pos x="connsiteX1" y="connsiteY1"/>
                </a:cxn>
                <a:cxn ang="0">
                  <a:pos x="connsiteX2" y="connsiteY2"/>
                </a:cxn>
                <a:cxn ang="0">
                  <a:pos x="connsiteX3" y="connsiteY3"/>
                </a:cxn>
              </a:cxnLst>
              <a:rect l="l" t="t" r="r" b="b"/>
              <a:pathLst>
                <a:path w="271462" h="18097">
                  <a:moveTo>
                    <a:pt x="0" y="0"/>
                  </a:moveTo>
                  <a:lnTo>
                    <a:pt x="271463" y="0"/>
                  </a:lnTo>
                  <a:lnTo>
                    <a:pt x="271463" y="18098"/>
                  </a:lnTo>
                  <a:lnTo>
                    <a:pt x="0" y="18098"/>
                  </a:lnTo>
                  <a:close/>
                </a:path>
              </a:pathLst>
            </a:custGeom>
            <a:solidFill>
              <a:srgbClr val="40AA1D"/>
            </a:solidFill>
            <a:ln w="9525" cap="flat">
              <a:noFill/>
              <a:prstDash val="solid"/>
              <a:miter/>
            </a:ln>
          </p:spPr>
          <p:txBody>
            <a:bodyPr rtlCol="0" anchor="ctr"/>
            <a:lstStyle/>
            <a:p>
              <a:endParaRPr lang="en-US" dirty="0"/>
            </a:p>
          </p:txBody>
        </p:sp>
        <p:grpSp>
          <p:nvGrpSpPr>
            <p:cNvPr id="39" name="Graphic 23">
              <a:extLst>
                <a:ext uri="{FF2B5EF4-FFF2-40B4-BE49-F238E27FC236}">
                  <a16:creationId xmlns:a16="http://schemas.microsoft.com/office/drawing/2014/main" id="{1D0C7337-5E17-6493-F9A2-C020FD8B0AD0}"/>
                </a:ext>
              </a:extLst>
            </p:cNvPr>
            <p:cNvGrpSpPr/>
            <p:nvPr/>
          </p:nvGrpSpPr>
          <p:grpSpPr>
            <a:xfrm>
              <a:off x="1648885" y="6186915"/>
              <a:ext cx="609600" cy="396240"/>
              <a:chOff x="1648885" y="6186915"/>
              <a:chExt cx="609600" cy="396240"/>
            </a:xfrm>
            <a:solidFill>
              <a:srgbClr val="3D4647"/>
            </a:solidFill>
          </p:grpSpPr>
          <p:sp>
            <p:nvSpPr>
              <p:cNvPr id="42" name="Freeform: Shape 41">
                <a:extLst>
                  <a:ext uri="{FF2B5EF4-FFF2-40B4-BE49-F238E27FC236}">
                    <a16:creationId xmlns:a16="http://schemas.microsoft.com/office/drawing/2014/main" id="{A49FFB60-2F37-F71A-7E7B-D05A3D376842}"/>
                  </a:ext>
                </a:extLst>
              </p:cNvPr>
              <p:cNvSpPr/>
              <p:nvPr/>
            </p:nvSpPr>
            <p:spPr>
              <a:xfrm>
                <a:off x="1663172" y="6201203"/>
                <a:ext cx="581025" cy="219074"/>
              </a:xfrm>
              <a:custGeom>
                <a:avLst/>
                <a:gdLst>
                  <a:gd name="connsiteX0" fmla="*/ 497205 w 581025"/>
                  <a:gd name="connsiteY0" fmla="*/ 219075 h 219074"/>
                  <a:gd name="connsiteX1" fmla="*/ 494348 w 581025"/>
                  <a:gd name="connsiteY1" fmla="*/ 200025 h 219074"/>
                  <a:gd name="connsiteX2" fmla="*/ 534353 w 581025"/>
                  <a:gd name="connsiteY2" fmla="*/ 200025 h 219074"/>
                  <a:gd name="connsiteX3" fmla="*/ 534353 w 581025"/>
                  <a:gd name="connsiteY3" fmla="*/ 132398 h 219074"/>
                  <a:gd name="connsiteX4" fmla="*/ 496253 w 581025"/>
                  <a:gd name="connsiteY4" fmla="*/ 114300 h 219074"/>
                  <a:gd name="connsiteX5" fmla="*/ 100965 w 581025"/>
                  <a:gd name="connsiteY5" fmla="*/ 114300 h 219074"/>
                  <a:gd name="connsiteX6" fmla="*/ 59055 w 581025"/>
                  <a:gd name="connsiteY6" fmla="*/ 133350 h 219074"/>
                  <a:gd name="connsiteX7" fmla="*/ 59055 w 581025"/>
                  <a:gd name="connsiteY7" fmla="*/ 200025 h 219074"/>
                  <a:gd name="connsiteX8" fmla="*/ 101918 w 581025"/>
                  <a:gd name="connsiteY8" fmla="*/ 200025 h 219074"/>
                  <a:gd name="connsiteX9" fmla="*/ 99060 w 581025"/>
                  <a:gd name="connsiteY9" fmla="*/ 219075 h 219074"/>
                  <a:gd name="connsiteX10" fmla="*/ 0 w 581025"/>
                  <a:gd name="connsiteY10" fmla="*/ 219075 h 219074"/>
                  <a:gd name="connsiteX11" fmla="*/ 0 w 581025"/>
                  <a:gd name="connsiteY11" fmla="*/ 0 h 219074"/>
                  <a:gd name="connsiteX12" fmla="*/ 581025 w 581025"/>
                  <a:gd name="connsiteY12" fmla="*/ 0 h 219074"/>
                  <a:gd name="connsiteX13" fmla="*/ 581025 w 581025"/>
                  <a:gd name="connsiteY13" fmla="*/ 219075 h 219074"/>
                  <a:gd name="connsiteX14" fmla="*/ 497205 w 581025"/>
                  <a:gd name="connsiteY14" fmla="*/ 219075 h 219074"/>
                  <a:gd name="connsiteX15" fmla="*/ 22860 w 581025"/>
                  <a:gd name="connsiteY15" fmla="*/ 33338 h 219074"/>
                  <a:gd name="connsiteX16" fmla="*/ 22860 w 581025"/>
                  <a:gd name="connsiteY16" fmla="*/ 75248 h 219074"/>
                  <a:gd name="connsiteX17" fmla="*/ 59055 w 581025"/>
                  <a:gd name="connsiteY17" fmla="*/ 96203 h 219074"/>
                  <a:gd name="connsiteX18" fmla="*/ 95250 w 581025"/>
                  <a:gd name="connsiteY18" fmla="*/ 75248 h 219074"/>
                  <a:gd name="connsiteX19" fmla="*/ 95250 w 581025"/>
                  <a:gd name="connsiteY19" fmla="*/ 33338 h 219074"/>
                  <a:gd name="connsiteX20" fmla="*/ 59055 w 581025"/>
                  <a:gd name="connsiteY20" fmla="*/ 12382 h 219074"/>
                  <a:gd name="connsiteX21" fmla="*/ 22860 w 581025"/>
                  <a:gd name="connsiteY21" fmla="*/ 33338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1025" h="219074">
                    <a:moveTo>
                      <a:pt x="497205" y="219075"/>
                    </a:moveTo>
                    <a:lnTo>
                      <a:pt x="494348" y="200025"/>
                    </a:lnTo>
                    <a:lnTo>
                      <a:pt x="534353" y="200025"/>
                    </a:lnTo>
                    <a:lnTo>
                      <a:pt x="534353" y="132398"/>
                    </a:lnTo>
                    <a:lnTo>
                      <a:pt x="496253" y="114300"/>
                    </a:lnTo>
                    <a:lnTo>
                      <a:pt x="100965" y="114300"/>
                    </a:lnTo>
                    <a:lnTo>
                      <a:pt x="59055" y="133350"/>
                    </a:lnTo>
                    <a:lnTo>
                      <a:pt x="59055" y="200025"/>
                    </a:lnTo>
                    <a:lnTo>
                      <a:pt x="101918" y="200025"/>
                    </a:lnTo>
                    <a:lnTo>
                      <a:pt x="99060" y="219075"/>
                    </a:lnTo>
                    <a:lnTo>
                      <a:pt x="0" y="219075"/>
                    </a:lnTo>
                    <a:lnTo>
                      <a:pt x="0" y="0"/>
                    </a:lnTo>
                    <a:lnTo>
                      <a:pt x="581025" y="0"/>
                    </a:lnTo>
                    <a:lnTo>
                      <a:pt x="581025" y="219075"/>
                    </a:lnTo>
                    <a:lnTo>
                      <a:pt x="497205" y="219075"/>
                    </a:lnTo>
                    <a:close/>
                    <a:moveTo>
                      <a:pt x="22860" y="33338"/>
                    </a:moveTo>
                    <a:lnTo>
                      <a:pt x="22860" y="75248"/>
                    </a:lnTo>
                    <a:lnTo>
                      <a:pt x="59055" y="96203"/>
                    </a:lnTo>
                    <a:lnTo>
                      <a:pt x="95250" y="75248"/>
                    </a:lnTo>
                    <a:lnTo>
                      <a:pt x="95250" y="33338"/>
                    </a:lnTo>
                    <a:lnTo>
                      <a:pt x="59055" y="12382"/>
                    </a:lnTo>
                    <a:lnTo>
                      <a:pt x="22860" y="33338"/>
                    </a:lnTo>
                    <a:close/>
                  </a:path>
                </a:pathLst>
              </a:custGeom>
              <a:solidFill>
                <a:srgbClr val="3D4647"/>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F338B84-14DB-0A37-E2FA-7DB1A6FC83AD}"/>
                  </a:ext>
                </a:extLst>
              </p:cNvPr>
              <p:cNvSpPr/>
              <p:nvPr/>
            </p:nvSpPr>
            <p:spPr>
              <a:xfrm>
                <a:off x="1648885" y="6186915"/>
                <a:ext cx="609600" cy="396240"/>
              </a:xfrm>
              <a:custGeom>
                <a:avLst/>
                <a:gdLst>
                  <a:gd name="connsiteX0" fmla="*/ 581025 w 609600"/>
                  <a:gd name="connsiteY0" fmla="*/ 28575 h 396240"/>
                  <a:gd name="connsiteX1" fmla="*/ 581025 w 609600"/>
                  <a:gd name="connsiteY1" fmla="*/ 219075 h 396240"/>
                  <a:gd name="connsiteX2" fmla="*/ 562928 w 609600"/>
                  <a:gd name="connsiteY2" fmla="*/ 219075 h 396240"/>
                  <a:gd name="connsiteX3" fmla="*/ 562928 w 609600"/>
                  <a:gd name="connsiteY3" fmla="*/ 200025 h 396240"/>
                  <a:gd name="connsiteX4" fmla="*/ 562928 w 609600"/>
                  <a:gd name="connsiteY4" fmla="*/ 155258 h 396240"/>
                  <a:gd name="connsiteX5" fmla="*/ 562928 w 609600"/>
                  <a:gd name="connsiteY5" fmla="*/ 137160 h 396240"/>
                  <a:gd name="connsiteX6" fmla="*/ 546735 w 609600"/>
                  <a:gd name="connsiteY6" fmla="*/ 129540 h 396240"/>
                  <a:gd name="connsiteX7" fmla="*/ 520065 w 609600"/>
                  <a:gd name="connsiteY7" fmla="*/ 117157 h 396240"/>
                  <a:gd name="connsiteX8" fmla="*/ 514350 w 609600"/>
                  <a:gd name="connsiteY8" fmla="*/ 115253 h 396240"/>
                  <a:gd name="connsiteX9" fmla="*/ 507683 w 609600"/>
                  <a:gd name="connsiteY9" fmla="*/ 115253 h 396240"/>
                  <a:gd name="connsiteX10" fmla="*/ 119063 w 609600"/>
                  <a:gd name="connsiteY10" fmla="*/ 115253 h 396240"/>
                  <a:gd name="connsiteX11" fmla="*/ 112395 w 609600"/>
                  <a:gd name="connsiteY11" fmla="*/ 115253 h 396240"/>
                  <a:gd name="connsiteX12" fmla="*/ 106680 w 609600"/>
                  <a:gd name="connsiteY12" fmla="*/ 118110 h 396240"/>
                  <a:gd name="connsiteX13" fmla="*/ 76200 w 609600"/>
                  <a:gd name="connsiteY13" fmla="*/ 131445 h 396240"/>
                  <a:gd name="connsiteX14" fmla="*/ 59055 w 609600"/>
                  <a:gd name="connsiteY14" fmla="*/ 139065 h 396240"/>
                  <a:gd name="connsiteX15" fmla="*/ 59055 w 609600"/>
                  <a:gd name="connsiteY15" fmla="*/ 157162 h 396240"/>
                  <a:gd name="connsiteX16" fmla="*/ 59055 w 609600"/>
                  <a:gd name="connsiteY16" fmla="*/ 200025 h 396240"/>
                  <a:gd name="connsiteX17" fmla="*/ 59055 w 609600"/>
                  <a:gd name="connsiteY17" fmla="*/ 219075 h 396240"/>
                  <a:gd name="connsiteX18" fmla="*/ 28575 w 609600"/>
                  <a:gd name="connsiteY18" fmla="*/ 219075 h 396240"/>
                  <a:gd name="connsiteX19" fmla="*/ 28575 w 609600"/>
                  <a:gd name="connsiteY19" fmla="*/ 100965 h 396240"/>
                  <a:gd name="connsiteX20" fmla="*/ 37148 w 609600"/>
                  <a:gd name="connsiteY20" fmla="*/ 105728 h 396240"/>
                  <a:gd name="connsiteX21" fmla="*/ 59055 w 609600"/>
                  <a:gd name="connsiteY21" fmla="*/ 118110 h 396240"/>
                  <a:gd name="connsiteX22" fmla="*/ 73343 w 609600"/>
                  <a:gd name="connsiteY22" fmla="*/ 126683 h 396240"/>
                  <a:gd name="connsiteX23" fmla="*/ 87630 w 609600"/>
                  <a:gd name="connsiteY23" fmla="*/ 118110 h 396240"/>
                  <a:gd name="connsiteX24" fmla="*/ 109538 w 609600"/>
                  <a:gd name="connsiteY24" fmla="*/ 105728 h 396240"/>
                  <a:gd name="connsiteX25" fmla="*/ 123825 w 609600"/>
                  <a:gd name="connsiteY25" fmla="*/ 97155 h 396240"/>
                  <a:gd name="connsiteX26" fmla="*/ 123825 w 609600"/>
                  <a:gd name="connsiteY26" fmla="*/ 80963 h 396240"/>
                  <a:gd name="connsiteX27" fmla="*/ 123825 w 609600"/>
                  <a:gd name="connsiteY27" fmla="*/ 56197 h 396240"/>
                  <a:gd name="connsiteX28" fmla="*/ 123825 w 609600"/>
                  <a:gd name="connsiteY28" fmla="*/ 40005 h 396240"/>
                  <a:gd name="connsiteX29" fmla="*/ 109538 w 609600"/>
                  <a:gd name="connsiteY29" fmla="*/ 31432 h 396240"/>
                  <a:gd name="connsiteX30" fmla="*/ 105728 w 609600"/>
                  <a:gd name="connsiteY30" fmla="*/ 29528 h 396240"/>
                  <a:gd name="connsiteX31" fmla="*/ 581025 w 609600"/>
                  <a:gd name="connsiteY31" fmla="*/ 29528 h 396240"/>
                  <a:gd name="connsiteX32" fmla="*/ 40958 w 609600"/>
                  <a:gd name="connsiteY32" fmla="*/ 28575 h 396240"/>
                  <a:gd name="connsiteX33" fmla="*/ 37148 w 609600"/>
                  <a:gd name="connsiteY33" fmla="*/ 30480 h 396240"/>
                  <a:gd name="connsiteX34" fmla="*/ 28575 w 609600"/>
                  <a:gd name="connsiteY34" fmla="*/ 36195 h 396240"/>
                  <a:gd name="connsiteX35" fmla="*/ 28575 w 609600"/>
                  <a:gd name="connsiteY35" fmla="*/ 28575 h 396240"/>
                  <a:gd name="connsiteX36" fmla="*/ 40958 w 609600"/>
                  <a:gd name="connsiteY36" fmla="*/ 28575 h 396240"/>
                  <a:gd name="connsiteX37" fmla="*/ 609600 w 609600"/>
                  <a:gd name="connsiteY37" fmla="*/ 0 h 396240"/>
                  <a:gd name="connsiteX38" fmla="*/ 0 w 609600"/>
                  <a:gd name="connsiteY38" fmla="*/ 0 h 396240"/>
                  <a:gd name="connsiteX39" fmla="*/ 0 w 609600"/>
                  <a:gd name="connsiteY39" fmla="*/ 247650 h 396240"/>
                  <a:gd name="connsiteX40" fmla="*/ 104775 w 609600"/>
                  <a:gd name="connsiteY40" fmla="*/ 247650 h 396240"/>
                  <a:gd name="connsiteX41" fmla="*/ 82868 w 609600"/>
                  <a:gd name="connsiteY41" fmla="*/ 396240 h 396240"/>
                  <a:gd name="connsiteX42" fmla="*/ 538163 w 609600"/>
                  <a:gd name="connsiteY42" fmla="*/ 396240 h 396240"/>
                  <a:gd name="connsiteX43" fmla="*/ 538163 w 609600"/>
                  <a:gd name="connsiteY43" fmla="*/ 395287 h 396240"/>
                  <a:gd name="connsiteX44" fmla="*/ 543878 w 609600"/>
                  <a:gd name="connsiteY44" fmla="*/ 396240 h 396240"/>
                  <a:gd name="connsiteX45" fmla="*/ 540068 w 609600"/>
                  <a:gd name="connsiteY45" fmla="*/ 373380 h 396240"/>
                  <a:gd name="connsiteX46" fmla="*/ 521018 w 609600"/>
                  <a:gd name="connsiteY46" fmla="*/ 247650 h 396240"/>
                  <a:gd name="connsiteX47" fmla="*/ 609600 w 609600"/>
                  <a:gd name="connsiteY47" fmla="*/ 247650 h 396240"/>
                  <a:gd name="connsiteX48" fmla="*/ 609600 w 609600"/>
                  <a:gd name="connsiteY48" fmla="*/ 0 h 396240"/>
                  <a:gd name="connsiteX49" fmla="*/ 609600 w 609600"/>
                  <a:gd name="connsiteY49" fmla="*/ 0 h 396240"/>
                  <a:gd name="connsiteX50" fmla="*/ 73343 w 609600"/>
                  <a:gd name="connsiteY50" fmla="*/ 94298 h 396240"/>
                  <a:gd name="connsiteX51" fmla="*/ 51435 w 609600"/>
                  <a:gd name="connsiteY51" fmla="*/ 81915 h 396240"/>
                  <a:gd name="connsiteX52" fmla="*/ 51435 w 609600"/>
                  <a:gd name="connsiteY52" fmla="*/ 56197 h 396240"/>
                  <a:gd name="connsiteX53" fmla="*/ 73343 w 609600"/>
                  <a:gd name="connsiteY53" fmla="*/ 43815 h 396240"/>
                  <a:gd name="connsiteX54" fmla="*/ 95250 w 609600"/>
                  <a:gd name="connsiteY54" fmla="*/ 56197 h 396240"/>
                  <a:gd name="connsiteX55" fmla="*/ 95250 w 609600"/>
                  <a:gd name="connsiteY55" fmla="*/ 81915 h 396240"/>
                  <a:gd name="connsiteX56" fmla="*/ 73343 w 609600"/>
                  <a:gd name="connsiteY56" fmla="*/ 94298 h 396240"/>
                  <a:gd name="connsiteX57" fmla="*/ 73343 w 609600"/>
                  <a:gd name="connsiteY57" fmla="*/ 94298 h 396240"/>
                  <a:gd name="connsiteX58" fmla="*/ 87630 w 609600"/>
                  <a:gd name="connsiteY58" fmla="*/ 200978 h 396240"/>
                  <a:gd name="connsiteX59" fmla="*/ 87630 w 609600"/>
                  <a:gd name="connsiteY59" fmla="*/ 158115 h 396240"/>
                  <a:gd name="connsiteX60" fmla="*/ 118110 w 609600"/>
                  <a:gd name="connsiteY60" fmla="*/ 143828 h 396240"/>
                  <a:gd name="connsiteX61" fmla="*/ 507683 w 609600"/>
                  <a:gd name="connsiteY61" fmla="*/ 143828 h 396240"/>
                  <a:gd name="connsiteX62" fmla="*/ 534353 w 609600"/>
                  <a:gd name="connsiteY62" fmla="*/ 156210 h 396240"/>
                  <a:gd name="connsiteX63" fmla="*/ 534353 w 609600"/>
                  <a:gd name="connsiteY63" fmla="*/ 200978 h 396240"/>
                  <a:gd name="connsiteX64" fmla="*/ 512445 w 609600"/>
                  <a:gd name="connsiteY64" fmla="*/ 200978 h 396240"/>
                  <a:gd name="connsiteX65" fmla="*/ 507683 w 609600"/>
                  <a:gd name="connsiteY65" fmla="*/ 164783 h 396240"/>
                  <a:gd name="connsiteX66" fmla="*/ 118110 w 609600"/>
                  <a:gd name="connsiteY66" fmla="*/ 164783 h 396240"/>
                  <a:gd name="connsiteX67" fmla="*/ 112395 w 609600"/>
                  <a:gd name="connsiteY67" fmla="*/ 200978 h 396240"/>
                  <a:gd name="connsiteX68" fmla="*/ 87630 w 609600"/>
                  <a:gd name="connsiteY68" fmla="*/ 200978 h 396240"/>
                  <a:gd name="connsiteX69" fmla="*/ 87630 w 609600"/>
                  <a:gd name="connsiteY69" fmla="*/ 200978 h 396240"/>
                  <a:gd name="connsiteX70" fmla="*/ 107633 w 609600"/>
                  <a:gd name="connsiteY70" fmla="*/ 373380 h 396240"/>
                  <a:gd name="connsiteX71" fmla="*/ 111443 w 609600"/>
                  <a:gd name="connsiteY71" fmla="*/ 345758 h 396240"/>
                  <a:gd name="connsiteX72" fmla="*/ 135255 w 609600"/>
                  <a:gd name="connsiteY72" fmla="*/ 187642 h 396240"/>
                  <a:gd name="connsiteX73" fmla="*/ 490538 w 609600"/>
                  <a:gd name="connsiteY73" fmla="*/ 187642 h 396240"/>
                  <a:gd name="connsiteX74" fmla="*/ 518160 w 609600"/>
                  <a:gd name="connsiteY74" fmla="*/ 373380 h 396240"/>
                  <a:gd name="connsiteX75" fmla="*/ 107633 w 609600"/>
                  <a:gd name="connsiteY75" fmla="*/ 373380 h 396240"/>
                  <a:gd name="connsiteX76" fmla="*/ 107633 w 609600"/>
                  <a:gd name="connsiteY76" fmla="*/ 373380 h 3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09600" h="396240">
                    <a:moveTo>
                      <a:pt x="581025" y="28575"/>
                    </a:moveTo>
                    <a:lnTo>
                      <a:pt x="581025" y="219075"/>
                    </a:lnTo>
                    <a:lnTo>
                      <a:pt x="562928" y="219075"/>
                    </a:lnTo>
                    <a:lnTo>
                      <a:pt x="562928" y="200025"/>
                    </a:lnTo>
                    <a:lnTo>
                      <a:pt x="562928" y="155258"/>
                    </a:lnTo>
                    <a:lnTo>
                      <a:pt x="562928" y="137160"/>
                    </a:lnTo>
                    <a:lnTo>
                      <a:pt x="546735" y="129540"/>
                    </a:lnTo>
                    <a:lnTo>
                      <a:pt x="520065" y="117157"/>
                    </a:lnTo>
                    <a:lnTo>
                      <a:pt x="514350" y="115253"/>
                    </a:lnTo>
                    <a:lnTo>
                      <a:pt x="507683" y="115253"/>
                    </a:lnTo>
                    <a:lnTo>
                      <a:pt x="119063" y="115253"/>
                    </a:lnTo>
                    <a:lnTo>
                      <a:pt x="112395" y="115253"/>
                    </a:lnTo>
                    <a:lnTo>
                      <a:pt x="106680" y="118110"/>
                    </a:lnTo>
                    <a:lnTo>
                      <a:pt x="76200" y="131445"/>
                    </a:lnTo>
                    <a:lnTo>
                      <a:pt x="59055" y="139065"/>
                    </a:lnTo>
                    <a:lnTo>
                      <a:pt x="59055" y="157162"/>
                    </a:lnTo>
                    <a:lnTo>
                      <a:pt x="59055" y="200025"/>
                    </a:lnTo>
                    <a:lnTo>
                      <a:pt x="59055" y="219075"/>
                    </a:lnTo>
                    <a:lnTo>
                      <a:pt x="28575" y="219075"/>
                    </a:lnTo>
                    <a:lnTo>
                      <a:pt x="28575" y="100965"/>
                    </a:lnTo>
                    <a:lnTo>
                      <a:pt x="37148" y="105728"/>
                    </a:lnTo>
                    <a:lnTo>
                      <a:pt x="59055" y="118110"/>
                    </a:lnTo>
                    <a:lnTo>
                      <a:pt x="73343" y="126683"/>
                    </a:lnTo>
                    <a:lnTo>
                      <a:pt x="87630" y="118110"/>
                    </a:lnTo>
                    <a:lnTo>
                      <a:pt x="109538" y="105728"/>
                    </a:lnTo>
                    <a:lnTo>
                      <a:pt x="123825" y="97155"/>
                    </a:lnTo>
                    <a:lnTo>
                      <a:pt x="123825" y="80963"/>
                    </a:lnTo>
                    <a:lnTo>
                      <a:pt x="123825" y="56197"/>
                    </a:lnTo>
                    <a:lnTo>
                      <a:pt x="123825" y="40005"/>
                    </a:lnTo>
                    <a:lnTo>
                      <a:pt x="109538" y="31432"/>
                    </a:lnTo>
                    <a:lnTo>
                      <a:pt x="105728" y="29528"/>
                    </a:lnTo>
                    <a:lnTo>
                      <a:pt x="581025" y="29528"/>
                    </a:lnTo>
                    <a:moveTo>
                      <a:pt x="40958" y="28575"/>
                    </a:moveTo>
                    <a:lnTo>
                      <a:pt x="37148" y="30480"/>
                    </a:lnTo>
                    <a:lnTo>
                      <a:pt x="28575" y="36195"/>
                    </a:lnTo>
                    <a:lnTo>
                      <a:pt x="28575" y="28575"/>
                    </a:lnTo>
                    <a:lnTo>
                      <a:pt x="40958" y="28575"/>
                    </a:lnTo>
                    <a:moveTo>
                      <a:pt x="609600" y="0"/>
                    </a:moveTo>
                    <a:lnTo>
                      <a:pt x="0" y="0"/>
                    </a:lnTo>
                    <a:lnTo>
                      <a:pt x="0" y="247650"/>
                    </a:lnTo>
                    <a:lnTo>
                      <a:pt x="104775" y="247650"/>
                    </a:lnTo>
                    <a:lnTo>
                      <a:pt x="82868" y="396240"/>
                    </a:lnTo>
                    <a:lnTo>
                      <a:pt x="538163" y="396240"/>
                    </a:lnTo>
                    <a:lnTo>
                      <a:pt x="538163" y="395287"/>
                    </a:lnTo>
                    <a:lnTo>
                      <a:pt x="543878" y="396240"/>
                    </a:lnTo>
                    <a:lnTo>
                      <a:pt x="540068" y="373380"/>
                    </a:lnTo>
                    <a:lnTo>
                      <a:pt x="521018" y="247650"/>
                    </a:lnTo>
                    <a:lnTo>
                      <a:pt x="609600" y="247650"/>
                    </a:lnTo>
                    <a:lnTo>
                      <a:pt x="609600" y="0"/>
                    </a:lnTo>
                    <a:lnTo>
                      <a:pt x="609600" y="0"/>
                    </a:lnTo>
                    <a:close/>
                    <a:moveTo>
                      <a:pt x="73343" y="94298"/>
                    </a:moveTo>
                    <a:lnTo>
                      <a:pt x="51435" y="81915"/>
                    </a:lnTo>
                    <a:lnTo>
                      <a:pt x="51435" y="56197"/>
                    </a:lnTo>
                    <a:lnTo>
                      <a:pt x="73343" y="43815"/>
                    </a:lnTo>
                    <a:lnTo>
                      <a:pt x="95250" y="56197"/>
                    </a:lnTo>
                    <a:lnTo>
                      <a:pt x="95250" y="81915"/>
                    </a:lnTo>
                    <a:lnTo>
                      <a:pt x="73343" y="94298"/>
                    </a:lnTo>
                    <a:lnTo>
                      <a:pt x="73343" y="94298"/>
                    </a:lnTo>
                    <a:close/>
                    <a:moveTo>
                      <a:pt x="87630" y="200978"/>
                    </a:moveTo>
                    <a:lnTo>
                      <a:pt x="87630" y="158115"/>
                    </a:lnTo>
                    <a:lnTo>
                      <a:pt x="118110" y="143828"/>
                    </a:lnTo>
                    <a:lnTo>
                      <a:pt x="507683" y="143828"/>
                    </a:lnTo>
                    <a:lnTo>
                      <a:pt x="534353" y="156210"/>
                    </a:lnTo>
                    <a:lnTo>
                      <a:pt x="534353" y="200978"/>
                    </a:lnTo>
                    <a:lnTo>
                      <a:pt x="512445" y="200978"/>
                    </a:lnTo>
                    <a:lnTo>
                      <a:pt x="507683" y="164783"/>
                    </a:lnTo>
                    <a:lnTo>
                      <a:pt x="118110" y="164783"/>
                    </a:lnTo>
                    <a:lnTo>
                      <a:pt x="112395" y="200978"/>
                    </a:lnTo>
                    <a:lnTo>
                      <a:pt x="87630" y="200978"/>
                    </a:lnTo>
                    <a:lnTo>
                      <a:pt x="87630" y="200978"/>
                    </a:lnTo>
                    <a:close/>
                    <a:moveTo>
                      <a:pt x="107633" y="373380"/>
                    </a:moveTo>
                    <a:lnTo>
                      <a:pt x="111443" y="345758"/>
                    </a:lnTo>
                    <a:lnTo>
                      <a:pt x="135255" y="187642"/>
                    </a:lnTo>
                    <a:lnTo>
                      <a:pt x="490538" y="187642"/>
                    </a:lnTo>
                    <a:lnTo>
                      <a:pt x="518160" y="373380"/>
                    </a:lnTo>
                    <a:lnTo>
                      <a:pt x="107633" y="373380"/>
                    </a:lnTo>
                    <a:lnTo>
                      <a:pt x="107633" y="373380"/>
                    </a:lnTo>
                    <a:close/>
                  </a:path>
                </a:pathLst>
              </a:custGeom>
              <a:solidFill>
                <a:srgbClr val="3D4647"/>
              </a:solidFill>
              <a:ln w="9525" cap="flat">
                <a:noFill/>
                <a:prstDash val="solid"/>
                <a:miter/>
              </a:ln>
            </p:spPr>
            <p:txBody>
              <a:bodyPr rtlCol="0" anchor="ctr"/>
              <a:lstStyle/>
              <a:p>
                <a:endParaRPr lang="en-US" dirty="0"/>
              </a:p>
            </p:txBody>
          </p:sp>
        </p:grpSp>
        <p:sp>
          <p:nvSpPr>
            <p:cNvPr id="40" name="Freeform: Shape 39">
              <a:extLst>
                <a:ext uri="{FF2B5EF4-FFF2-40B4-BE49-F238E27FC236}">
                  <a16:creationId xmlns:a16="http://schemas.microsoft.com/office/drawing/2014/main" id="{64B757E8-BFBD-656E-F12B-3602838EED5E}"/>
                </a:ext>
              </a:extLst>
            </p:cNvPr>
            <p:cNvSpPr/>
            <p:nvPr/>
          </p:nvSpPr>
          <p:spPr>
            <a:xfrm>
              <a:off x="1833670" y="6408848"/>
              <a:ext cx="256222" cy="18097"/>
            </a:xfrm>
            <a:custGeom>
              <a:avLst/>
              <a:gdLst>
                <a:gd name="connsiteX0" fmla="*/ 0 w 256222"/>
                <a:gd name="connsiteY0" fmla="*/ 0 h 18097"/>
                <a:gd name="connsiteX1" fmla="*/ 256223 w 256222"/>
                <a:gd name="connsiteY1" fmla="*/ 0 h 18097"/>
                <a:gd name="connsiteX2" fmla="*/ 256223 w 256222"/>
                <a:gd name="connsiteY2" fmla="*/ 18098 h 18097"/>
                <a:gd name="connsiteX3" fmla="*/ 0 w 256222"/>
                <a:gd name="connsiteY3" fmla="*/ 18098 h 18097"/>
              </a:gdLst>
              <a:ahLst/>
              <a:cxnLst>
                <a:cxn ang="0">
                  <a:pos x="connsiteX0" y="connsiteY0"/>
                </a:cxn>
                <a:cxn ang="0">
                  <a:pos x="connsiteX1" y="connsiteY1"/>
                </a:cxn>
                <a:cxn ang="0">
                  <a:pos x="connsiteX2" y="connsiteY2"/>
                </a:cxn>
                <a:cxn ang="0">
                  <a:pos x="connsiteX3" y="connsiteY3"/>
                </a:cxn>
              </a:cxnLst>
              <a:rect l="l" t="t" r="r" b="b"/>
              <a:pathLst>
                <a:path w="256222" h="18097">
                  <a:moveTo>
                    <a:pt x="0" y="0"/>
                  </a:moveTo>
                  <a:lnTo>
                    <a:pt x="256223" y="0"/>
                  </a:lnTo>
                  <a:lnTo>
                    <a:pt x="256223" y="18098"/>
                  </a:lnTo>
                  <a:lnTo>
                    <a:pt x="0" y="18098"/>
                  </a:lnTo>
                  <a:close/>
                </a:path>
              </a:pathLst>
            </a:custGeom>
            <a:solidFill>
              <a:srgbClr val="40AA1D"/>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007AB507-1EAB-824A-A8A2-0C3A73791FCA}"/>
                </a:ext>
              </a:extLst>
            </p:cNvPr>
            <p:cNvSpPr/>
            <p:nvPr/>
          </p:nvSpPr>
          <p:spPr>
            <a:xfrm>
              <a:off x="1812715" y="6511718"/>
              <a:ext cx="294322" cy="18097"/>
            </a:xfrm>
            <a:custGeom>
              <a:avLst/>
              <a:gdLst>
                <a:gd name="connsiteX0" fmla="*/ 0 w 294322"/>
                <a:gd name="connsiteY0" fmla="*/ 0 h 18097"/>
                <a:gd name="connsiteX1" fmla="*/ 294323 w 294322"/>
                <a:gd name="connsiteY1" fmla="*/ 0 h 18097"/>
                <a:gd name="connsiteX2" fmla="*/ 294323 w 294322"/>
                <a:gd name="connsiteY2" fmla="*/ 18098 h 18097"/>
                <a:gd name="connsiteX3" fmla="*/ 0 w 294322"/>
                <a:gd name="connsiteY3" fmla="*/ 18098 h 18097"/>
              </a:gdLst>
              <a:ahLst/>
              <a:cxnLst>
                <a:cxn ang="0">
                  <a:pos x="connsiteX0" y="connsiteY0"/>
                </a:cxn>
                <a:cxn ang="0">
                  <a:pos x="connsiteX1" y="connsiteY1"/>
                </a:cxn>
                <a:cxn ang="0">
                  <a:pos x="connsiteX2" y="connsiteY2"/>
                </a:cxn>
                <a:cxn ang="0">
                  <a:pos x="connsiteX3" y="connsiteY3"/>
                </a:cxn>
              </a:cxnLst>
              <a:rect l="l" t="t" r="r" b="b"/>
              <a:pathLst>
                <a:path w="294322" h="18097">
                  <a:moveTo>
                    <a:pt x="0" y="0"/>
                  </a:moveTo>
                  <a:lnTo>
                    <a:pt x="294323" y="0"/>
                  </a:lnTo>
                  <a:lnTo>
                    <a:pt x="294323" y="18098"/>
                  </a:lnTo>
                  <a:lnTo>
                    <a:pt x="0" y="18098"/>
                  </a:lnTo>
                  <a:close/>
                </a:path>
              </a:pathLst>
            </a:custGeom>
            <a:solidFill>
              <a:srgbClr val="40AA1D"/>
            </a:solidFill>
            <a:ln w="9525" cap="flat">
              <a:noFill/>
              <a:prstDash val="solid"/>
              <a:miter/>
            </a:ln>
          </p:spPr>
          <p:txBody>
            <a:bodyPr rtlCol="0" anchor="ctr"/>
            <a:lstStyle/>
            <a:p>
              <a:endParaRPr lang="en-US" dirty="0"/>
            </a:p>
          </p:txBody>
        </p:sp>
      </p:grpSp>
      <p:sp>
        <p:nvSpPr>
          <p:cNvPr id="44" name="object 3">
            <a:extLst>
              <a:ext uri="{FF2B5EF4-FFF2-40B4-BE49-F238E27FC236}">
                <a16:creationId xmlns:a16="http://schemas.microsoft.com/office/drawing/2014/main" id="{84750A5A-1F2F-9BD8-6950-7DB0F7D2435D}"/>
              </a:ext>
            </a:extLst>
          </p:cNvPr>
          <p:cNvSpPr txBox="1"/>
          <p:nvPr/>
        </p:nvSpPr>
        <p:spPr>
          <a:xfrm>
            <a:off x="1614000" y="2743449"/>
            <a:ext cx="70285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Camera</a:t>
            </a:r>
          </a:p>
        </p:txBody>
      </p:sp>
      <p:sp>
        <p:nvSpPr>
          <p:cNvPr id="45" name="object 17">
            <a:extLst>
              <a:ext uri="{FF2B5EF4-FFF2-40B4-BE49-F238E27FC236}">
                <a16:creationId xmlns:a16="http://schemas.microsoft.com/office/drawing/2014/main" id="{6BCB9853-1E3B-0B3C-5F4A-C0E3E3FE70EC}"/>
              </a:ext>
            </a:extLst>
          </p:cNvPr>
          <p:cNvSpPr txBox="1"/>
          <p:nvPr/>
        </p:nvSpPr>
        <p:spPr>
          <a:xfrm>
            <a:off x="6185025" y="1607423"/>
            <a:ext cx="2535216" cy="2769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Desktop</a:t>
            </a:r>
            <a:r>
              <a:rPr lang="en-US" dirty="0"/>
              <a:t>, On-Premise Applications, Variations</a:t>
            </a:r>
            <a:endParaRPr dirty="0"/>
          </a:p>
        </p:txBody>
      </p:sp>
      <p:sp>
        <p:nvSpPr>
          <p:cNvPr id="46" name="object 21">
            <a:extLst>
              <a:ext uri="{FF2B5EF4-FFF2-40B4-BE49-F238E27FC236}">
                <a16:creationId xmlns:a16="http://schemas.microsoft.com/office/drawing/2014/main" id="{B61DEF50-F69B-88B3-27D6-BC373A7830C0}"/>
              </a:ext>
            </a:extLst>
          </p:cNvPr>
          <p:cNvSpPr txBox="1"/>
          <p:nvPr/>
        </p:nvSpPr>
        <p:spPr>
          <a:xfrm>
            <a:off x="9147527" y="1607423"/>
            <a:ext cx="73881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Gaming Console</a:t>
            </a:r>
          </a:p>
        </p:txBody>
      </p:sp>
      <p:sp>
        <p:nvSpPr>
          <p:cNvPr id="47" name="object 13">
            <a:extLst>
              <a:ext uri="{FF2B5EF4-FFF2-40B4-BE49-F238E27FC236}">
                <a16:creationId xmlns:a16="http://schemas.microsoft.com/office/drawing/2014/main" id="{CAC4C494-A245-C5CA-8BF7-96E5A1DBE90A}"/>
              </a:ext>
            </a:extLst>
          </p:cNvPr>
          <p:cNvSpPr txBox="1"/>
          <p:nvPr/>
        </p:nvSpPr>
        <p:spPr>
          <a:xfrm>
            <a:off x="9984218" y="1676673"/>
            <a:ext cx="11353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USB</a:t>
            </a:r>
          </a:p>
        </p:txBody>
      </p:sp>
      <p:sp>
        <p:nvSpPr>
          <p:cNvPr id="48" name="Text Placeholder 81">
            <a:extLst>
              <a:ext uri="{FF2B5EF4-FFF2-40B4-BE49-F238E27FC236}">
                <a16:creationId xmlns:a16="http://schemas.microsoft.com/office/drawing/2014/main" id="{259DC8F2-7FC6-DEF0-71CC-81D12A210899}"/>
              </a:ext>
            </a:extLst>
          </p:cNvPr>
          <p:cNvSpPr txBox="1">
            <a:spLocks/>
          </p:cNvSpPr>
          <p:nvPr/>
        </p:nvSpPr>
        <p:spPr>
          <a:xfrm>
            <a:off x="4051918" y="1607423"/>
            <a:ext cx="57176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ablet, iPad</a:t>
            </a:r>
          </a:p>
        </p:txBody>
      </p:sp>
      <p:sp>
        <p:nvSpPr>
          <p:cNvPr id="49" name="Text Placeholder 81">
            <a:extLst>
              <a:ext uri="{FF2B5EF4-FFF2-40B4-BE49-F238E27FC236}">
                <a16:creationId xmlns:a16="http://schemas.microsoft.com/office/drawing/2014/main" id="{E641D0F8-ECE4-2F1E-ADDB-0CB1CC1B0E31}"/>
              </a:ext>
            </a:extLst>
          </p:cNvPr>
          <p:cNvSpPr txBox="1">
            <a:spLocks/>
          </p:cNvSpPr>
          <p:nvPr/>
        </p:nvSpPr>
        <p:spPr>
          <a:xfrm>
            <a:off x="4848801" y="1607423"/>
            <a:ext cx="104997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ablet, iPad, User Placement</a:t>
            </a:r>
          </a:p>
        </p:txBody>
      </p:sp>
      <p:pic>
        <p:nvPicPr>
          <p:cNvPr id="50" name="Graphic 49">
            <a:extLst>
              <a:ext uri="{FF2B5EF4-FFF2-40B4-BE49-F238E27FC236}">
                <a16:creationId xmlns:a16="http://schemas.microsoft.com/office/drawing/2014/main" id="{73C65DE1-D74E-DA29-115E-6735C22A89EA}"/>
              </a:ext>
            </a:extLst>
          </p:cNvPr>
          <p:cNvPicPr>
            <a:picLocks noChangeAspect="1"/>
          </p:cNvPicPr>
          <p:nvPr/>
        </p:nvPicPr>
        <p:blipFill rotWithShape="1">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rcRect t="10879" b="10381"/>
          <a:stretch/>
        </p:blipFill>
        <p:spPr>
          <a:xfrm>
            <a:off x="1660628" y="2895833"/>
            <a:ext cx="609600" cy="479995"/>
          </a:xfrm>
          <a:prstGeom prst="rect">
            <a:avLst/>
          </a:prstGeom>
        </p:spPr>
      </p:pic>
      <p:pic>
        <p:nvPicPr>
          <p:cNvPr id="51" name="Graphic 50">
            <a:extLst>
              <a:ext uri="{FF2B5EF4-FFF2-40B4-BE49-F238E27FC236}">
                <a16:creationId xmlns:a16="http://schemas.microsoft.com/office/drawing/2014/main" id="{6B31323E-268D-F292-5CA6-02C83C682B08}"/>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9226586" y="1897530"/>
            <a:ext cx="609600" cy="609600"/>
          </a:xfrm>
          <a:prstGeom prst="rect">
            <a:avLst/>
          </a:prstGeom>
        </p:spPr>
      </p:pic>
      <p:pic>
        <p:nvPicPr>
          <p:cNvPr id="52" name="Graphic 51">
            <a:extLst>
              <a:ext uri="{FF2B5EF4-FFF2-40B4-BE49-F238E27FC236}">
                <a16:creationId xmlns:a16="http://schemas.microsoft.com/office/drawing/2014/main" id="{9DA1A8E3-AA8C-079F-9831-78466FC90C8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0268229" y="1897530"/>
            <a:ext cx="609600" cy="609600"/>
          </a:xfrm>
          <a:prstGeom prst="rect">
            <a:avLst/>
          </a:prstGeom>
        </p:spPr>
      </p:pic>
      <p:pic>
        <p:nvPicPr>
          <p:cNvPr id="53" name="Graphic 52">
            <a:extLst>
              <a:ext uri="{FF2B5EF4-FFF2-40B4-BE49-F238E27FC236}">
                <a16:creationId xmlns:a16="http://schemas.microsoft.com/office/drawing/2014/main" id="{065AF50E-F0B2-3328-53EA-33A54F98721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032999" y="1897530"/>
            <a:ext cx="609600" cy="609600"/>
          </a:xfrm>
          <a:prstGeom prst="rect">
            <a:avLst/>
          </a:prstGeom>
        </p:spPr>
      </p:pic>
      <p:pic>
        <p:nvPicPr>
          <p:cNvPr id="54" name="Graphic 53">
            <a:extLst>
              <a:ext uri="{FF2B5EF4-FFF2-40B4-BE49-F238E27FC236}">
                <a16:creationId xmlns:a16="http://schemas.microsoft.com/office/drawing/2014/main" id="{26FBE952-56B1-70A3-9617-E252C616951A}"/>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5067463" y="1933515"/>
            <a:ext cx="612648" cy="537630"/>
          </a:xfrm>
          <a:prstGeom prst="rect">
            <a:avLst/>
          </a:prstGeom>
        </p:spPr>
      </p:pic>
      <p:sp>
        <p:nvSpPr>
          <p:cNvPr id="58" name="Text Placeholder 81">
            <a:extLst>
              <a:ext uri="{FF2B5EF4-FFF2-40B4-BE49-F238E27FC236}">
                <a16:creationId xmlns:a16="http://schemas.microsoft.com/office/drawing/2014/main" id="{57B6BF76-CF96-9F87-45E9-FC2AC420D8FE}"/>
              </a:ext>
            </a:extLst>
          </p:cNvPr>
          <p:cNvSpPr txBox="1">
            <a:spLocks/>
          </p:cNvSpPr>
          <p:nvPr/>
        </p:nvSpPr>
        <p:spPr>
          <a:xfrm>
            <a:off x="2106028" y="3978282"/>
            <a:ext cx="776344" cy="152284"/>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100" dirty="0">
                <a:ea typeface="+mn-lt"/>
                <a:cs typeface="+mn-lt"/>
              </a:rPr>
              <a:t>Airplane</a:t>
            </a:r>
          </a:p>
        </p:txBody>
      </p:sp>
      <p:pic>
        <p:nvPicPr>
          <p:cNvPr id="59" name="Graphic 58">
            <a:extLst>
              <a:ext uri="{FF2B5EF4-FFF2-40B4-BE49-F238E27FC236}">
                <a16:creationId xmlns:a16="http://schemas.microsoft.com/office/drawing/2014/main" id="{99960A4F-47AC-B19E-4FC1-835951373F9F}"/>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2105879" y="4193020"/>
            <a:ext cx="612648" cy="612648"/>
          </a:xfrm>
          <a:prstGeom prst="rect">
            <a:avLst/>
          </a:prstGeom>
        </p:spPr>
      </p:pic>
      <p:pic>
        <p:nvPicPr>
          <p:cNvPr id="61" name="Graphic 60">
            <a:extLst>
              <a:ext uri="{FF2B5EF4-FFF2-40B4-BE49-F238E27FC236}">
                <a16:creationId xmlns:a16="http://schemas.microsoft.com/office/drawing/2014/main" id="{59078B43-1B91-59CB-B77A-D9551B39542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149265" y="5426058"/>
            <a:ext cx="609600" cy="609600"/>
          </a:xfrm>
          <a:prstGeom prst="rect">
            <a:avLst/>
          </a:prstGeom>
        </p:spPr>
      </p:pic>
      <p:pic>
        <p:nvPicPr>
          <p:cNvPr id="62" name="Graphic 61">
            <a:extLst>
              <a:ext uri="{FF2B5EF4-FFF2-40B4-BE49-F238E27FC236}">
                <a16:creationId xmlns:a16="http://schemas.microsoft.com/office/drawing/2014/main" id="{3861F030-6444-8C53-6EC3-39D8BF079155}"/>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6356003" y="1897530"/>
            <a:ext cx="609600" cy="609600"/>
          </a:xfrm>
          <a:prstGeom prst="rect">
            <a:avLst/>
          </a:prstGeom>
        </p:spPr>
      </p:pic>
      <p:sp>
        <p:nvSpPr>
          <p:cNvPr id="25" name="object 26">
            <a:extLst>
              <a:ext uri="{FF2B5EF4-FFF2-40B4-BE49-F238E27FC236}">
                <a16:creationId xmlns:a16="http://schemas.microsoft.com/office/drawing/2014/main" id="{ED1C2D92-8DCB-A655-196F-9CAB8167CA3C}"/>
              </a:ext>
            </a:extLst>
          </p:cNvPr>
          <p:cNvSpPr txBox="1"/>
          <p:nvPr/>
        </p:nvSpPr>
        <p:spPr>
          <a:xfrm>
            <a:off x="7939456" y="3985175"/>
            <a:ext cx="76765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Boat</a:t>
            </a:r>
          </a:p>
        </p:txBody>
      </p:sp>
      <p:sp>
        <p:nvSpPr>
          <p:cNvPr id="60" name="Freeform: Shape 59">
            <a:extLst>
              <a:ext uri="{FF2B5EF4-FFF2-40B4-BE49-F238E27FC236}">
                <a16:creationId xmlns:a16="http://schemas.microsoft.com/office/drawing/2014/main" id="{EC9E1A5B-5444-CF2E-5A90-6B6597AA9A84}"/>
              </a:ext>
            </a:extLst>
          </p:cNvPr>
          <p:cNvSpPr/>
          <p:nvPr/>
        </p:nvSpPr>
        <p:spPr>
          <a:xfrm>
            <a:off x="8737291" y="5425963"/>
            <a:ext cx="609603" cy="609790"/>
          </a:xfrm>
          <a:custGeom>
            <a:avLst/>
            <a:gdLst>
              <a:gd name="connsiteX0" fmla="*/ 535210 w 609603"/>
              <a:gd name="connsiteY0" fmla="*/ 220313 h 609790"/>
              <a:gd name="connsiteX1" fmla="*/ 455676 w 609603"/>
              <a:gd name="connsiteY1" fmla="*/ 312420 h 609790"/>
              <a:gd name="connsiteX2" fmla="*/ 236601 w 609603"/>
              <a:gd name="connsiteY2" fmla="*/ 0 h 609790"/>
              <a:gd name="connsiteX3" fmla="*/ 0 w 609603"/>
              <a:gd name="connsiteY3" fmla="*/ 396050 h 609790"/>
              <a:gd name="connsiteX4" fmla="*/ 173545 w 609603"/>
              <a:gd name="connsiteY4" fmla="*/ 600170 h 609790"/>
              <a:gd name="connsiteX5" fmla="*/ 157925 w 609603"/>
              <a:gd name="connsiteY5" fmla="*/ 416814 h 609790"/>
              <a:gd name="connsiteX6" fmla="*/ 250508 w 609603"/>
              <a:gd name="connsiteY6" fmla="*/ 459296 h 609790"/>
              <a:gd name="connsiteX7" fmla="*/ 317373 w 609603"/>
              <a:gd name="connsiteY7" fmla="*/ 278797 h 609790"/>
              <a:gd name="connsiteX8" fmla="*/ 443579 w 609603"/>
              <a:gd name="connsiteY8" fmla="*/ 491585 h 609790"/>
              <a:gd name="connsiteX9" fmla="*/ 382048 w 609603"/>
              <a:gd name="connsiteY9" fmla="*/ 609790 h 609790"/>
              <a:gd name="connsiteX10" fmla="*/ 535115 w 609603"/>
              <a:gd name="connsiteY10" fmla="*/ 220218 h 60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3" h="609790">
                <a:moveTo>
                  <a:pt x="535210" y="220313"/>
                </a:moveTo>
                <a:cubicBezTo>
                  <a:pt x="550545" y="295466"/>
                  <a:pt x="498062" y="334423"/>
                  <a:pt x="455676" y="312420"/>
                </a:cubicBezTo>
                <a:cubicBezTo>
                  <a:pt x="343376" y="254127"/>
                  <a:pt x="575596" y="169736"/>
                  <a:pt x="236601" y="0"/>
                </a:cubicBezTo>
                <a:cubicBezTo>
                  <a:pt x="348234" y="141256"/>
                  <a:pt x="0" y="247650"/>
                  <a:pt x="0" y="396050"/>
                </a:cubicBezTo>
                <a:cubicBezTo>
                  <a:pt x="0" y="495586"/>
                  <a:pt x="91154" y="568166"/>
                  <a:pt x="173545" y="600170"/>
                </a:cubicBezTo>
                <a:cubicBezTo>
                  <a:pt x="104680" y="542354"/>
                  <a:pt x="108109" y="463487"/>
                  <a:pt x="157925" y="416814"/>
                </a:cubicBezTo>
                <a:cubicBezTo>
                  <a:pt x="165354" y="449771"/>
                  <a:pt x="208407" y="486347"/>
                  <a:pt x="250508" y="459296"/>
                </a:cubicBezTo>
                <a:cubicBezTo>
                  <a:pt x="320516" y="414433"/>
                  <a:pt x="152591" y="373951"/>
                  <a:pt x="317373" y="278797"/>
                </a:cubicBezTo>
                <a:cubicBezTo>
                  <a:pt x="288989" y="396716"/>
                  <a:pt x="443579" y="398240"/>
                  <a:pt x="443579" y="491585"/>
                </a:cubicBezTo>
                <a:cubicBezTo>
                  <a:pt x="443579" y="532543"/>
                  <a:pt x="425577" y="580168"/>
                  <a:pt x="382048" y="609790"/>
                </a:cubicBezTo>
                <a:cubicBezTo>
                  <a:pt x="586645" y="556165"/>
                  <a:pt x="689705" y="355473"/>
                  <a:pt x="535115" y="220218"/>
                </a:cubicBezTo>
                <a:close/>
              </a:path>
            </a:pathLst>
          </a:custGeom>
          <a:solidFill>
            <a:schemeClr val="bg2"/>
          </a:solidFill>
          <a:ln w="9525" cap="flat">
            <a:noFill/>
            <a:prstDash val="solid"/>
            <a:miter/>
          </a:ln>
        </p:spPr>
        <p:txBody>
          <a:bodyPr rtlCol="0" anchor="ctr"/>
          <a:lstStyle/>
          <a:p>
            <a:endParaRPr lang="en-US" dirty="0"/>
          </a:p>
        </p:txBody>
      </p:sp>
      <p:sp>
        <p:nvSpPr>
          <p:cNvPr id="73" name="Text Placeholder 81">
            <a:extLst>
              <a:ext uri="{FF2B5EF4-FFF2-40B4-BE49-F238E27FC236}">
                <a16:creationId xmlns:a16="http://schemas.microsoft.com/office/drawing/2014/main" id="{E63760DF-E371-5A80-4BF2-486494761578}"/>
              </a:ext>
            </a:extLst>
          </p:cNvPr>
          <p:cNvSpPr txBox="1">
            <a:spLocks/>
          </p:cNvSpPr>
          <p:nvPr/>
        </p:nvSpPr>
        <p:spPr>
          <a:xfrm>
            <a:off x="10358583" y="5162354"/>
            <a:ext cx="97701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lower</a:t>
            </a:r>
          </a:p>
        </p:txBody>
      </p:sp>
      <p:sp>
        <p:nvSpPr>
          <p:cNvPr id="75" name="object 47">
            <a:extLst>
              <a:ext uri="{FF2B5EF4-FFF2-40B4-BE49-F238E27FC236}">
                <a16:creationId xmlns:a16="http://schemas.microsoft.com/office/drawing/2014/main" id="{2FF28B24-65A4-0990-A6E1-51F3D2189503}"/>
              </a:ext>
            </a:extLst>
          </p:cNvPr>
          <p:cNvSpPr txBox="1"/>
          <p:nvPr/>
        </p:nvSpPr>
        <p:spPr>
          <a:xfrm>
            <a:off x="10866532" y="1676673"/>
            <a:ext cx="139001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t>
            </a:r>
            <a:r>
              <a:rPr dirty="0"/>
              <a:t>inoculars</a:t>
            </a:r>
            <a:r>
              <a:rPr lang="en-US" dirty="0"/>
              <a:t> </a:t>
            </a:r>
            <a:endParaRPr dirty="0"/>
          </a:p>
        </p:txBody>
      </p:sp>
      <p:sp>
        <p:nvSpPr>
          <p:cNvPr id="80" name="object 67">
            <a:extLst>
              <a:ext uri="{FF2B5EF4-FFF2-40B4-BE49-F238E27FC236}">
                <a16:creationId xmlns:a16="http://schemas.microsoft.com/office/drawing/2014/main" id="{916BC64B-7BCD-6FEB-7B9E-B1B70BFD28E8}"/>
              </a:ext>
            </a:extLst>
          </p:cNvPr>
          <p:cNvSpPr txBox="1"/>
          <p:nvPr/>
        </p:nvSpPr>
        <p:spPr>
          <a:xfrm>
            <a:off x="305792" y="2743449"/>
            <a:ext cx="134683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ideo camera</a:t>
            </a:r>
          </a:p>
        </p:txBody>
      </p:sp>
      <p:pic>
        <p:nvPicPr>
          <p:cNvPr id="82" name="Graphic 81">
            <a:extLst>
              <a:ext uri="{FF2B5EF4-FFF2-40B4-BE49-F238E27FC236}">
                <a16:creationId xmlns:a16="http://schemas.microsoft.com/office/drawing/2014/main" id="{8BB5A5F1-B3DC-43AF-4F60-CA71ADD84164}"/>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4481430" y="5364146"/>
            <a:ext cx="695325" cy="733425"/>
          </a:xfrm>
          <a:prstGeom prst="rect">
            <a:avLst/>
          </a:prstGeom>
        </p:spPr>
      </p:pic>
      <p:sp>
        <p:nvSpPr>
          <p:cNvPr id="84" name="Text Placeholder 81">
            <a:extLst>
              <a:ext uri="{FF2B5EF4-FFF2-40B4-BE49-F238E27FC236}">
                <a16:creationId xmlns:a16="http://schemas.microsoft.com/office/drawing/2014/main" id="{A9C61887-159B-79BB-0CC9-412B70282FFF}"/>
              </a:ext>
            </a:extLst>
          </p:cNvPr>
          <p:cNvSpPr txBox="1">
            <a:spLocks/>
          </p:cNvSpPr>
          <p:nvPr/>
        </p:nvSpPr>
        <p:spPr>
          <a:xfrm>
            <a:off x="4065650" y="5093104"/>
            <a:ext cx="1396568"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eaf Reduce Energy Consumption</a:t>
            </a:r>
          </a:p>
        </p:txBody>
      </p:sp>
      <p:pic>
        <p:nvPicPr>
          <p:cNvPr id="65" name="Graphic 64">
            <a:extLst>
              <a:ext uri="{FF2B5EF4-FFF2-40B4-BE49-F238E27FC236}">
                <a16:creationId xmlns:a16="http://schemas.microsoft.com/office/drawing/2014/main" id="{BA639F2F-36D3-1320-78D3-8FC072C523AE}"/>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7152265" y="1897530"/>
            <a:ext cx="609600" cy="609600"/>
          </a:xfrm>
          <a:prstGeom prst="rect">
            <a:avLst/>
          </a:prstGeom>
        </p:spPr>
      </p:pic>
      <p:pic>
        <p:nvPicPr>
          <p:cNvPr id="55" name="Graphic 54">
            <a:extLst>
              <a:ext uri="{FF2B5EF4-FFF2-40B4-BE49-F238E27FC236}">
                <a16:creationId xmlns:a16="http://schemas.microsoft.com/office/drawing/2014/main" id="{0CC85C02-CD8D-5E7C-FA0E-2825D160D843}"/>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674409" y="2831030"/>
            <a:ext cx="609600" cy="609600"/>
          </a:xfrm>
          <a:prstGeom prst="rect">
            <a:avLst/>
          </a:prstGeom>
        </p:spPr>
      </p:pic>
      <p:pic>
        <p:nvPicPr>
          <p:cNvPr id="87" name="Graphic 86">
            <a:extLst>
              <a:ext uri="{FF2B5EF4-FFF2-40B4-BE49-F238E27FC236}">
                <a16:creationId xmlns:a16="http://schemas.microsoft.com/office/drawing/2014/main" id="{5FA109DA-6963-8E6D-DA80-9BE157DA203D}"/>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8061016" y="1897530"/>
            <a:ext cx="609600" cy="609600"/>
          </a:xfrm>
          <a:prstGeom prst="rect">
            <a:avLst/>
          </a:prstGeom>
        </p:spPr>
      </p:pic>
      <p:pic>
        <p:nvPicPr>
          <p:cNvPr id="89" name="Graphic 88">
            <a:extLst>
              <a:ext uri="{FF2B5EF4-FFF2-40B4-BE49-F238E27FC236}">
                <a16:creationId xmlns:a16="http://schemas.microsoft.com/office/drawing/2014/main" id="{E9EC0595-3087-5BBD-D0F1-1E1B276ECD84}"/>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8015918" y="4194544"/>
            <a:ext cx="609600" cy="609600"/>
          </a:xfrm>
          <a:prstGeom prst="rect">
            <a:avLst/>
          </a:prstGeom>
        </p:spPr>
      </p:pic>
      <p:grpSp>
        <p:nvGrpSpPr>
          <p:cNvPr id="71" name="Group 70">
            <a:extLst>
              <a:ext uri="{FF2B5EF4-FFF2-40B4-BE49-F238E27FC236}">
                <a16:creationId xmlns:a16="http://schemas.microsoft.com/office/drawing/2014/main" id="{C17B3896-F2AD-CD29-5FF1-40E350769FE9}"/>
              </a:ext>
            </a:extLst>
          </p:cNvPr>
          <p:cNvGrpSpPr/>
          <p:nvPr/>
        </p:nvGrpSpPr>
        <p:grpSpPr>
          <a:xfrm>
            <a:off x="9528410" y="5425963"/>
            <a:ext cx="609603" cy="609790"/>
            <a:chOff x="9614135" y="5425963"/>
            <a:chExt cx="609603" cy="609790"/>
          </a:xfrm>
        </p:grpSpPr>
        <p:sp>
          <p:nvSpPr>
            <p:cNvPr id="27" name="Freeform: Shape 26">
              <a:extLst>
                <a:ext uri="{FF2B5EF4-FFF2-40B4-BE49-F238E27FC236}">
                  <a16:creationId xmlns:a16="http://schemas.microsoft.com/office/drawing/2014/main" id="{2C9207AA-B962-F8AE-BA8E-57B8BA1640D3}"/>
                </a:ext>
              </a:extLst>
            </p:cNvPr>
            <p:cNvSpPr/>
            <p:nvPr/>
          </p:nvSpPr>
          <p:spPr>
            <a:xfrm>
              <a:off x="9867586" y="5995748"/>
              <a:ext cx="2285" cy="6381"/>
            </a:xfrm>
            <a:custGeom>
              <a:avLst/>
              <a:gdLst>
                <a:gd name="connsiteX0" fmla="*/ 2286 w 2285"/>
                <a:gd name="connsiteY0" fmla="*/ 6382 h 6381"/>
                <a:gd name="connsiteX1" fmla="*/ 2286 w 2285"/>
                <a:gd name="connsiteY1" fmla="*/ 6382 h 6381"/>
                <a:gd name="connsiteX2" fmla="*/ 0 w 2285"/>
                <a:gd name="connsiteY2" fmla="*/ 0 h 6381"/>
                <a:gd name="connsiteX3" fmla="*/ 2286 w 2285"/>
                <a:gd name="connsiteY3" fmla="*/ 6382 h 6381"/>
              </a:gdLst>
              <a:ahLst/>
              <a:cxnLst>
                <a:cxn ang="0">
                  <a:pos x="connsiteX0" y="connsiteY0"/>
                </a:cxn>
                <a:cxn ang="0">
                  <a:pos x="connsiteX1" y="connsiteY1"/>
                </a:cxn>
                <a:cxn ang="0">
                  <a:pos x="connsiteX2" y="connsiteY2"/>
                </a:cxn>
                <a:cxn ang="0">
                  <a:pos x="connsiteX3" y="connsiteY3"/>
                </a:cxn>
              </a:cxnLst>
              <a:rect l="l" t="t" r="r" b="b"/>
              <a:pathLst>
                <a:path w="2285" h="6381">
                  <a:moveTo>
                    <a:pt x="2286" y="6382"/>
                  </a:moveTo>
                  <a:cubicBezTo>
                    <a:pt x="2286" y="6382"/>
                    <a:pt x="2286" y="6382"/>
                    <a:pt x="2286" y="6382"/>
                  </a:cubicBezTo>
                  <a:cubicBezTo>
                    <a:pt x="1619" y="4191"/>
                    <a:pt x="857" y="2095"/>
                    <a:pt x="0" y="0"/>
                  </a:cubicBezTo>
                  <a:cubicBezTo>
                    <a:pt x="857" y="2095"/>
                    <a:pt x="1619" y="4191"/>
                    <a:pt x="2286" y="6382"/>
                  </a:cubicBezTo>
                  <a:close/>
                </a:path>
              </a:pathLst>
            </a:custGeom>
            <a:solidFill>
              <a:srgbClr val="3D4647"/>
            </a:solidFill>
            <a:ln w="9525"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35B9BDB9-DC19-0534-A68B-2FD2E2BFE9F7}"/>
                </a:ext>
              </a:extLst>
            </p:cNvPr>
            <p:cNvSpPr/>
            <p:nvPr/>
          </p:nvSpPr>
          <p:spPr>
            <a:xfrm>
              <a:off x="9904448" y="5963553"/>
              <a:ext cx="94107" cy="64579"/>
            </a:xfrm>
            <a:custGeom>
              <a:avLst/>
              <a:gdLst>
                <a:gd name="connsiteX0" fmla="*/ 67437 w 94107"/>
                <a:gd name="connsiteY0" fmla="*/ 0 h 64579"/>
                <a:gd name="connsiteX1" fmla="*/ 94107 w 94107"/>
                <a:gd name="connsiteY1" fmla="*/ 24194 h 64579"/>
                <a:gd name="connsiteX2" fmla="*/ 67437 w 94107"/>
                <a:gd name="connsiteY2" fmla="*/ 64579 h 64579"/>
                <a:gd name="connsiteX3" fmla="*/ 0 w 94107"/>
                <a:gd name="connsiteY3" fmla="*/ 48387 h 64579"/>
                <a:gd name="connsiteX4" fmla="*/ 13145 w 94107"/>
                <a:gd name="connsiteY4" fmla="*/ 0 h 64579"/>
                <a:gd name="connsiteX5" fmla="*/ 67437 w 94107"/>
                <a:gd name="connsiteY5" fmla="*/ 0 h 6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107" h="64579">
                  <a:moveTo>
                    <a:pt x="67437" y="0"/>
                  </a:moveTo>
                  <a:lnTo>
                    <a:pt x="94107" y="24194"/>
                  </a:lnTo>
                  <a:lnTo>
                    <a:pt x="67437" y="64579"/>
                  </a:lnTo>
                  <a:lnTo>
                    <a:pt x="0" y="48387"/>
                  </a:lnTo>
                  <a:lnTo>
                    <a:pt x="13145" y="0"/>
                  </a:lnTo>
                  <a:lnTo>
                    <a:pt x="67437" y="0"/>
                  </a:lnTo>
                  <a:close/>
                </a:path>
              </a:pathLst>
            </a:custGeom>
            <a:solidFill>
              <a:srgbClr val="3D4647"/>
            </a:solidFill>
            <a:ln w="9525"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879B071F-83DB-660D-F309-2EA2C207707A}"/>
                </a:ext>
              </a:extLst>
            </p:cNvPr>
            <p:cNvSpPr/>
            <p:nvPr/>
          </p:nvSpPr>
          <p:spPr>
            <a:xfrm>
              <a:off x="9896638" y="5865541"/>
              <a:ext cx="61055" cy="59626"/>
            </a:xfrm>
            <a:custGeom>
              <a:avLst/>
              <a:gdLst>
                <a:gd name="connsiteX0" fmla="*/ 34290 w 61055"/>
                <a:gd name="connsiteY0" fmla="*/ 0 h 59626"/>
                <a:gd name="connsiteX1" fmla="*/ 61055 w 61055"/>
                <a:gd name="connsiteY1" fmla="*/ 9525 h 59626"/>
                <a:gd name="connsiteX2" fmla="*/ 60484 w 61055"/>
                <a:gd name="connsiteY2" fmla="*/ 49244 h 59626"/>
                <a:gd name="connsiteX3" fmla="*/ 11335 w 61055"/>
                <a:gd name="connsiteY3" fmla="*/ 59627 h 59626"/>
                <a:gd name="connsiteX4" fmla="*/ 0 w 61055"/>
                <a:gd name="connsiteY4" fmla="*/ 18288 h 59626"/>
                <a:gd name="connsiteX5" fmla="*/ 34290 w 61055"/>
                <a:gd name="connsiteY5" fmla="*/ 0 h 5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055" h="59626">
                  <a:moveTo>
                    <a:pt x="34290" y="0"/>
                  </a:moveTo>
                  <a:lnTo>
                    <a:pt x="61055" y="9525"/>
                  </a:lnTo>
                  <a:lnTo>
                    <a:pt x="60484" y="49244"/>
                  </a:lnTo>
                  <a:lnTo>
                    <a:pt x="11335" y="59627"/>
                  </a:lnTo>
                  <a:lnTo>
                    <a:pt x="0" y="18288"/>
                  </a:lnTo>
                  <a:lnTo>
                    <a:pt x="34290" y="0"/>
                  </a:lnTo>
                  <a:close/>
                </a:path>
              </a:pathLst>
            </a:custGeom>
            <a:solidFill>
              <a:srgbClr val="3D4647"/>
            </a:solidFill>
            <a:ln w="9525"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8B0BFACF-C3FE-C96F-4924-82E3EDA9AEBB}"/>
                </a:ext>
              </a:extLst>
            </p:cNvPr>
            <p:cNvSpPr/>
            <p:nvPr/>
          </p:nvSpPr>
          <p:spPr>
            <a:xfrm>
              <a:off x="9776242" y="5926787"/>
              <a:ext cx="107537" cy="101345"/>
            </a:xfrm>
            <a:custGeom>
              <a:avLst/>
              <a:gdLst>
                <a:gd name="connsiteX0" fmla="*/ 12954 w 107537"/>
                <a:gd name="connsiteY0" fmla="*/ 75152 h 101345"/>
                <a:gd name="connsiteX1" fmla="*/ 0 w 107537"/>
                <a:gd name="connsiteY1" fmla="*/ 34100 h 101345"/>
                <a:gd name="connsiteX2" fmla="*/ 49340 w 107537"/>
                <a:gd name="connsiteY2" fmla="*/ 0 h 101345"/>
                <a:gd name="connsiteX3" fmla="*/ 107537 w 107537"/>
                <a:gd name="connsiteY3" fmla="*/ 51435 h 101345"/>
                <a:gd name="connsiteX4" fmla="*/ 67056 w 107537"/>
                <a:gd name="connsiteY4" fmla="*/ 101346 h 101345"/>
                <a:gd name="connsiteX5" fmla="*/ 12954 w 107537"/>
                <a:gd name="connsiteY5" fmla="*/ 75152 h 10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537" h="101345">
                  <a:moveTo>
                    <a:pt x="12954" y="75152"/>
                  </a:moveTo>
                  <a:lnTo>
                    <a:pt x="0" y="34100"/>
                  </a:lnTo>
                  <a:lnTo>
                    <a:pt x="49340" y="0"/>
                  </a:lnTo>
                  <a:lnTo>
                    <a:pt x="107537" y="51435"/>
                  </a:lnTo>
                  <a:lnTo>
                    <a:pt x="67056" y="101346"/>
                  </a:lnTo>
                  <a:lnTo>
                    <a:pt x="12954" y="75152"/>
                  </a:lnTo>
                  <a:close/>
                </a:path>
              </a:pathLst>
            </a:custGeom>
            <a:solidFill>
              <a:srgbClr val="3D4647"/>
            </a:solidFill>
            <a:ln w="9525"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32E65540-4A15-8E3E-4E06-847366A243B7}"/>
                </a:ext>
              </a:extLst>
            </p:cNvPr>
            <p:cNvSpPr/>
            <p:nvPr/>
          </p:nvSpPr>
          <p:spPr>
            <a:xfrm>
              <a:off x="9614135" y="5425963"/>
              <a:ext cx="609603" cy="609790"/>
            </a:xfrm>
            <a:custGeom>
              <a:avLst/>
              <a:gdLst>
                <a:gd name="connsiteX0" fmla="*/ 535210 w 609603"/>
                <a:gd name="connsiteY0" fmla="*/ 220313 h 609790"/>
                <a:gd name="connsiteX1" fmla="*/ 455676 w 609603"/>
                <a:gd name="connsiteY1" fmla="*/ 312420 h 609790"/>
                <a:gd name="connsiteX2" fmla="*/ 236601 w 609603"/>
                <a:gd name="connsiteY2" fmla="*/ 0 h 609790"/>
                <a:gd name="connsiteX3" fmla="*/ 0 w 609603"/>
                <a:gd name="connsiteY3" fmla="*/ 396050 h 609790"/>
                <a:gd name="connsiteX4" fmla="*/ 173545 w 609603"/>
                <a:gd name="connsiteY4" fmla="*/ 600170 h 609790"/>
                <a:gd name="connsiteX5" fmla="*/ 157925 w 609603"/>
                <a:gd name="connsiteY5" fmla="*/ 416814 h 609790"/>
                <a:gd name="connsiteX6" fmla="*/ 250508 w 609603"/>
                <a:gd name="connsiteY6" fmla="*/ 459296 h 609790"/>
                <a:gd name="connsiteX7" fmla="*/ 317373 w 609603"/>
                <a:gd name="connsiteY7" fmla="*/ 278797 h 609790"/>
                <a:gd name="connsiteX8" fmla="*/ 443579 w 609603"/>
                <a:gd name="connsiteY8" fmla="*/ 491585 h 609790"/>
                <a:gd name="connsiteX9" fmla="*/ 382048 w 609603"/>
                <a:gd name="connsiteY9" fmla="*/ 609790 h 609790"/>
                <a:gd name="connsiteX10" fmla="*/ 535115 w 609603"/>
                <a:gd name="connsiteY10" fmla="*/ 220218 h 60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3" h="609790">
                  <a:moveTo>
                    <a:pt x="535210" y="220313"/>
                  </a:moveTo>
                  <a:cubicBezTo>
                    <a:pt x="550545" y="295466"/>
                    <a:pt x="498062" y="334423"/>
                    <a:pt x="455676" y="312420"/>
                  </a:cubicBezTo>
                  <a:cubicBezTo>
                    <a:pt x="343376" y="254127"/>
                    <a:pt x="575596" y="169736"/>
                    <a:pt x="236601" y="0"/>
                  </a:cubicBezTo>
                  <a:cubicBezTo>
                    <a:pt x="348234" y="141256"/>
                    <a:pt x="0" y="247650"/>
                    <a:pt x="0" y="396050"/>
                  </a:cubicBezTo>
                  <a:cubicBezTo>
                    <a:pt x="0" y="495586"/>
                    <a:pt x="91154" y="568166"/>
                    <a:pt x="173545" y="600170"/>
                  </a:cubicBezTo>
                  <a:cubicBezTo>
                    <a:pt x="104680" y="542354"/>
                    <a:pt x="108109" y="463487"/>
                    <a:pt x="157925" y="416814"/>
                  </a:cubicBezTo>
                  <a:cubicBezTo>
                    <a:pt x="165354" y="449771"/>
                    <a:pt x="208407" y="486347"/>
                    <a:pt x="250508" y="459296"/>
                  </a:cubicBezTo>
                  <a:cubicBezTo>
                    <a:pt x="320516" y="414433"/>
                    <a:pt x="152591" y="373951"/>
                    <a:pt x="317373" y="278797"/>
                  </a:cubicBezTo>
                  <a:cubicBezTo>
                    <a:pt x="288989" y="396716"/>
                    <a:pt x="443579" y="398240"/>
                    <a:pt x="443579" y="491585"/>
                  </a:cubicBezTo>
                  <a:cubicBezTo>
                    <a:pt x="443579" y="532543"/>
                    <a:pt x="425577" y="580168"/>
                    <a:pt x="382048" y="609790"/>
                  </a:cubicBezTo>
                  <a:cubicBezTo>
                    <a:pt x="586645" y="556165"/>
                    <a:pt x="689705" y="355473"/>
                    <a:pt x="535115" y="220218"/>
                  </a:cubicBezTo>
                  <a:close/>
                </a:path>
              </a:pathLst>
            </a:custGeom>
            <a:solidFill>
              <a:schemeClr val="bg2"/>
            </a:solidFill>
            <a:ln w="9525" cap="flat">
              <a:noFill/>
              <a:prstDash val="solid"/>
              <a:miter/>
            </a:ln>
          </p:spPr>
          <p:txBody>
            <a:bodyPr rtlCol="0" anchor="ctr"/>
            <a:lstStyle/>
            <a:p>
              <a:endParaRPr lang="en-US" dirty="0"/>
            </a:p>
          </p:txBody>
        </p:sp>
      </p:grpSp>
      <p:grpSp>
        <p:nvGrpSpPr>
          <p:cNvPr id="127" name="Group 126">
            <a:extLst>
              <a:ext uri="{FF2B5EF4-FFF2-40B4-BE49-F238E27FC236}">
                <a16:creationId xmlns:a16="http://schemas.microsoft.com/office/drawing/2014/main" id="{33CA6219-B8F7-12BE-FE8C-FE2C5DAB2CF1}"/>
              </a:ext>
            </a:extLst>
          </p:cNvPr>
          <p:cNvGrpSpPr/>
          <p:nvPr/>
        </p:nvGrpSpPr>
        <p:grpSpPr>
          <a:xfrm>
            <a:off x="11246570" y="2028879"/>
            <a:ext cx="608549" cy="333832"/>
            <a:chOff x="11246570" y="2028879"/>
            <a:chExt cx="608549" cy="333832"/>
          </a:xfrm>
        </p:grpSpPr>
        <p:sp>
          <p:nvSpPr>
            <p:cNvPr id="115" name="Freeform: Shape 114">
              <a:extLst>
                <a:ext uri="{FF2B5EF4-FFF2-40B4-BE49-F238E27FC236}">
                  <a16:creationId xmlns:a16="http://schemas.microsoft.com/office/drawing/2014/main" id="{463A6764-7340-EBC2-E68C-B5310C9A12E2}"/>
                </a:ext>
              </a:extLst>
            </p:cNvPr>
            <p:cNvSpPr/>
            <p:nvPr/>
          </p:nvSpPr>
          <p:spPr>
            <a:xfrm>
              <a:off x="11246570" y="2078550"/>
              <a:ext cx="271881" cy="284107"/>
            </a:xfrm>
            <a:custGeom>
              <a:avLst/>
              <a:gdLst>
                <a:gd name="connsiteX0" fmla="*/ 55291 w 271881"/>
                <a:gd name="connsiteY0" fmla="*/ 259797 h 284107"/>
                <a:gd name="connsiteX1" fmla="*/ 24240 w 271881"/>
                <a:gd name="connsiteY1" fmla="*/ 75298 h 284107"/>
                <a:gd name="connsiteX2" fmla="*/ 229218 w 271881"/>
                <a:gd name="connsiteY2" fmla="*/ 17386 h 284107"/>
                <a:gd name="connsiteX3" fmla="*/ 238743 w 271881"/>
                <a:gd name="connsiteY3" fmla="*/ 228460 h 284107"/>
                <a:gd name="connsiteX4" fmla="*/ 55387 w 271881"/>
                <a:gd name="connsiteY4" fmla="*/ 259702 h 284107"/>
                <a:gd name="connsiteX5" fmla="*/ 191118 w 271881"/>
                <a:gd name="connsiteY5" fmla="*/ 67392 h 284107"/>
                <a:gd name="connsiteX6" fmla="*/ 47386 w 271881"/>
                <a:gd name="connsiteY6" fmla="*/ 91871 h 284107"/>
                <a:gd name="connsiteX7" fmla="*/ 71770 w 271881"/>
                <a:gd name="connsiteY7" fmla="*/ 236556 h 284107"/>
                <a:gd name="connsiteX8" fmla="*/ 215597 w 271881"/>
                <a:gd name="connsiteY8" fmla="*/ 212077 h 284107"/>
                <a:gd name="connsiteX9" fmla="*/ 191213 w 271881"/>
                <a:gd name="connsiteY9" fmla="*/ 67392 h 28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881" h="284107">
                  <a:moveTo>
                    <a:pt x="55291" y="259797"/>
                  </a:moveTo>
                  <a:cubicBezTo>
                    <a:pt x="-3764" y="217601"/>
                    <a:pt x="-17765" y="134829"/>
                    <a:pt x="24240" y="75298"/>
                  </a:cubicBezTo>
                  <a:cubicBezTo>
                    <a:pt x="66245" y="15766"/>
                    <a:pt x="170068" y="-24810"/>
                    <a:pt x="229218" y="17386"/>
                  </a:cubicBezTo>
                  <a:cubicBezTo>
                    <a:pt x="288368" y="59581"/>
                    <a:pt x="280653" y="169024"/>
                    <a:pt x="238743" y="228460"/>
                  </a:cubicBezTo>
                  <a:cubicBezTo>
                    <a:pt x="196833" y="287896"/>
                    <a:pt x="114442" y="301993"/>
                    <a:pt x="55387" y="259702"/>
                  </a:cubicBezTo>
                  <a:close/>
                  <a:moveTo>
                    <a:pt x="191118" y="67392"/>
                  </a:moveTo>
                  <a:cubicBezTo>
                    <a:pt x="144731" y="34245"/>
                    <a:pt x="80247" y="45294"/>
                    <a:pt x="47386" y="91871"/>
                  </a:cubicBezTo>
                  <a:cubicBezTo>
                    <a:pt x="14429" y="138544"/>
                    <a:pt x="25383" y="203409"/>
                    <a:pt x="71770" y="236556"/>
                  </a:cubicBezTo>
                  <a:cubicBezTo>
                    <a:pt x="118156" y="269703"/>
                    <a:pt x="182641" y="258654"/>
                    <a:pt x="215597" y="212077"/>
                  </a:cubicBezTo>
                  <a:cubicBezTo>
                    <a:pt x="248554" y="165404"/>
                    <a:pt x="237600" y="100539"/>
                    <a:pt x="191213" y="67392"/>
                  </a:cubicBezTo>
                  <a:close/>
                </a:path>
              </a:pathLst>
            </a:custGeom>
            <a:solidFill>
              <a:srgbClr val="3D4647"/>
            </a:solidFill>
            <a:ln w="9525" cap="flat">
              <a:noFill/>
              <a:prstDash val="solid"/>
              <a:miter/>
            </a:ln>
          </p:spPr>
          <p:txBody>
            <a:bodyPr rtlCol="0" anchor="ctr"/>
            <a:lstStyle/>
            <a:p>
              <a:endParaRPr lang="en-US" dirty="0"/>
            </a:p>
          </p:txBody>
        </p:sp>
        <p:sp>
          <p:nvSpPr>
            <p:cNvPr id="126" name="Freeform: Shape 125">
              <a:extLst>
                <a:ext uri="{FF2B5EF4-FFF2-40B4-BE49-F238E27FC236}">
                  <a16:creationId xmlns:a16="http://schemas.microsoft.com/office/drawing/2014/main" id="{50AD6F2D-76B5-7399-0EC7-3B1023C3DD49}"/>
                </a:ext>
              </a:extLst>
            </p:cNvPr>
            <p:cNvSpPr/>
            <p:nvPr/>
          </p:nvSpPr>
          <p:spPr>
            <a:xfrm>
              <a:off x="11510935" y="2058026"/>
              <a:ext cx="37576" cy="75438"/>
            </a:xfrm>
            <a:custGeom>
              <a:avLst/>
              <a:gdLst>
                <a:gd name="connsiteX0" fmla="*/ 37528 w 37576"/>
                <a:gd name="connsiteY0" fmla="*/ 0 h 75438"/>
                <a:gd name="connsiteX1" fmla="*/ 37576 w 37576"/>
                <a:gd name="connsiteY1" fmla="*/ 20 h 75438"/>
                <a:gd name="connsiteX2" fmla="*/ 11073 w 37576"/>
                <a:gd name="connsiteY2" fmla="*/ 11037 h 75438"/>
                <a:gd name="connsiteX3" fmla="*/ 95 w 37576"/>
                <a:gd name="connsiteY3" fmla="*/ 37718 h 75438"/>
                <a:gd name="connsiteX4" fmla="*/ 11108 w 37576"/>
                <a:gd name="connsiteY4" fmla="*/ 64401 h 75438"/>
                <a:gd name="connsiteX5" fmla="*/ 37576 w 37576"/>
                <a:gd name="connsiteY5" fmla="*/ 75418 h 75438"/>
                <a:gd name="connsiteX6" fmla="*/ 37528 w 37576"/>
                <a:gd name="connsiteY6" fmla="*/ 75438 h 75438"/>
                <a:gd name="connsiteX7" fmla="*/ 0 w 37576"/>
                <a:gd name="connsiteY7" fmla="*/ 37719 h 75438"/>
                <a:gd name="connsiteX8" fmla="*/ 37528 w 37576"/>
                <a:gd name="connsiteY8" fmla="*/ 0 h 7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76" h="75438">
                  <a:moveTo>
                    <a:pt x="37528" y="0"/>
                  </a:moveTo>
                  <a:lnTo>
                    <a:pt x="37576" y="20"/>
                  </a:lnTo>
                  <a:lnTo>
                    <a:pt x="11073" y="11037"/>
                  </a:lnTo>
                  <a:cubicBezTo>
                    <a:pt x="4286" y="17859"/>
                    <a:pt x="95" y="27289"/>
                    <a:pt x="95" y="37718"/>
                  </a:cubicBezTo>
                  <a:cubicBezTo>
                    <a:pt x="95" y="48148"/>
                    <a:pt x="4310" y="57578"/>
                    <a:pt x="11108" y="64401"/>
                  </a:cubicBezTo>
                  <a:lnTo>
                    <a:pt x="37576" y="75418"/>
                  </a:lnTo>
                  <a:lnTo>
                    <a:pt x="37528" y="75438"/>
                  </a:lnTo>
                  <a:cubicBezTo>
                    <a:pt x="16802" y="75438"/>
                    <a:pt x="0" y="58551"/>
                    <a:pt x="0" y="37719"/>
                  </a:cubicBezTo>
                  <a:cubicBezTo>
                    <a:pt x="0" y="16887"/>
                    <a:pt x="16802" y="0"/>
                    <a:pt x="37528" y="0"/>
                  </a:cubicBezTo>
                  <a:close/>
                </a:path>
              </a:pathLst>
            </a:custGeom>
            <a:solidFill>
              <a:schemeClr val="tx1"/>
            </a:solidFill>
            <a:ln w="9525" cap="flat">
              <a:noFill/>
              <a:prstDash val="solid"/>
              <a:miter/>
            </a:ln>
          </p:spPr>
          <p:txBody>
            <a:bodyPr rtlCol="0" anchor="ctr"/>
            <a:lstStyle/>
            <a:p>
              <a:endParaRPr lang="en-US" dirty="0"/>
            </a:p>
          </p:txBody>
        </p:sp>
        <p:sp>
          <p:nvSpPr>
            <p:cNvPr id="125" name="Freeform: Shape 124">
              <a:extLst>
                <a:ext uri="{FF2B5EF4-FFF2-40B4-BE49-F238E27FC236}">
                  <a16:creationId xmlns:a16="http://schemas.microsoft.com/office/drawing/2014/main" id="{B4B16926-376C-5E6D-C053-D9096A0616D9}"/>
                </a:ext>
              </a:extLst>
            </p:cNvPr>
            <p:cNvSpPr/>
            <p:nvPr/>
          </p:nvSpPr>
          <p:spPr>
            <a:xfrm>
              <a:off x="11548511" y="2058026"/>
              <a:ext cx="37576" cy="75438"/>
            </a:xfrm>
            <a:custGeom>
              <a:avLst/>
              <a:gdLst>
                <a:gd name="connsiteX0" fmla="*/ 48 w 37576"/>
                <a:gd name="connsiteY0" fmla="*/ 0 h 75438"/>
                <a:gd name="connsiteX1" fmla="*/ 37576 w 37576"/>
                <a:gd name="connsiteY1" fmla="*/ 37718 h 75438"/>
                <a:gd name="connsiteX2" fmla="*/ 48 w 37576"/>
                <a:gd name="connsiteY2" fmla="*/ 75438 h 75438"/>
                <a:gd name="connsiteX3" fmla="*/ 0 w 37576"/>
                <a:gd name="connsiteY3" fmla="*/ 75418 h 75438"/>
                <a:gd name="connsiteX4" fmla="*/ 26489 w 37576"/>
                <a:gd name="connsiteY4" fmla="*/ 64391 h 75438"/>
                <a:gd name="connsiteX5" fmla="*/ 37481 w 37576"/>
                <a:gd name="connsiteY5" fmla="*/ 37719 h 75438"/>
                <a:gd name="connsiteX6" fmla="*/ 26489 w 37576"/>
                <a:gd name="connsiteY6" fmla="*/ 11048 h 75438"/>
                <a:gd name="connsiteX7" fmla="*/ 0 w 37576"/>
                <a:gd name="connsiteY7" fmla="*/ 20 h 75438"/>
                <a:gd name="connsiteX8" fmla="*/ 48 w 37576"/>
                <a:gd name="connsiteY8" fmla="*/ 0 h 7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76" h="75438">
                  <a:moveTo>
                    <a:pt x="48" y="0"/>
                  </a:moveTo>
                  <a:cubicBezTo>
                    <a:pt x="20812" y="0"/>
                    <a:pt x="37576" y="16859"/>
                    <a:pt x="37576" y="37718"/>
                  </a:cubicBezTo>
                  <a:cubicBezTo>
                    <a:pt x="37576" y="58578"/>
                    <a:pt x="20812" y="75438"/>
                    <a:pt x="48" y="75438"/>
                  </a:cubicBezTo>
                  <a:lnTo>
                    <a:pt x="0" y="75418"/>
                  </a:lnTo>
                  <a:lnTo>
                    <a:pt x="26489" y="64391"/>
                  </a:lnTo>
                  <a:cubicBezTo>
                    <a:pt x="33281" y="57565"/>
                    <a:pt x="37481" y="48135"/>
                    <a:pt x="37481" y="37719"/>
                  </a:cubicBezTo>
                  <a:cubicBezTo>
                    <a:pt x="37481" y="27303"/>
                    <a:pt x="33281" y="17873"/>
                    <a:pt x="26489" y="11048"/>
                  </a:cubicBezTo>
                  <a:lnTo>
                    <a:pt x="0" y="20"/>
                  </a:lnTo>
                  <a:lnTo>
                    <a:pt x="48" y="0"/>
                  </a:lnTo>
                  <a:close/>
                </a:path>
              </a:pathLst>
            </a:custGeom>
            <a:solidFill>
              <a:schemeClr val="tx1"/>
            </a:solidFill>
            <a:ln w="9525"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39B22558-A82F-7C6C-DD10-0E2F2BA5E608}"/>
                </a:ext>
              </a:extLst>
            </p:cNvPr>
            <p:cNvSpPr/>
            <p:nvPr/>
          </p:nvSpPr>
          <p:spPr>
            <a:xfrm>
              <a:off x="11417304" y="2028879"/>
              <a:ext cx="263652" cy="218313"/>
            </a:xfrm>
            <a:custGeom>
              <a:avLst/>
              <a:gdLst>
                <a:gd name="connsiteX0" fmla="*/ 131255 w 263652"/>
                <a:gd name="connsiteY0" fmla="*/ 0 h 218313"/>
                <a:gd name="connsiteX1" fmla="*/ 187643 w 263652"/>
                <a:gd name="connsiteY1" fmla="*/ 31623 h 218313"/>
                <a:gd name="connsiteX2" fmla="*/ 243269 w 263652"/>
                <a:gd name="connsiteY2" fmla="*/ 31623 h 218313"/>
                <a:gd name="connsiteX3" fmla="*/ 263652 w 263652"/>
                <a:gd name="connsiteY3" fmla="*/ 72866 h 218313"/>
                <a:gd name="connsiteX4" fmla="*/ 263557 w 263652"/>
                <a:gd name="connsiteY4" fmla="*/ 72866 h 218313"/>
                <a:gd name="connsiteX5" fmla="*/ 182975 w 263652"/>
                <a:gd name="connsiteY5" fmla="*/ 184880 h 218313"/>
                <a:gd name="connsiteX6" fmla="*/ 187833 w 263652"/>
                <a:gd name="connsiteY6" fmla="*/ 218313 h 218313"/>
                <a:gd name="connsiteX7" fmla="*/ 74390 w 263652"/>
                <a:gd name="connsiteY7" fmla="*/ 218313 h 218313"/>
                <a:gd name="connsiteX8" fmla="*/ 79248 w 263652"/>
                <a:gd name="connsiteY8" fmla="*/ 184880 h 218313"/>
                <a:gd name="connsiteX9" fmla="*/ 0 w 263652"/>
                <a:gd name="connsiteY9" fmla="*/ 73343 h 218313"/>
                <a:gd name="connsiteX10" fmla="*/ 18383 w 263652"/>
                <a:gd name="connsiteY10" fmla="*/ 31623 h 218313"/>
                <a:gd name="connsiteX11" fmla="*/ 74867 w 263652"/>
                <a:gd name="connsiteY11" fmla="*/ 31623 h 218313"/>
                <a:gd name="connsiteX12" fmla="*/ 131255 w 263652"/>
                <a:gd name="connsiteY12" fmla="*/ 0 h 218313"/>
                <a:gd name="connsiteX13" fmla="*/ 131159 w 263652"/>
                <a:gd name="connsiteY13" fmla="*/ 29147 h 218313"/>
                <a:gd name="connsiteX14" fmla="*/ 93631 w 263652"/>
                <a:gd name="connsiteY14" fmla="*/ 66866 h 218313"/>
                <a:gd name="connsiteX15" fmla="*/ 131159 w 263652"/>
                <a:gd name="connsiteY15" fmla="*/ 104585 h 218313"/>
                <a:gd name="connsiteX16" fmla="*/ 131207 w 263652"/>
                <a:gd name="connsiteY16" fmla="*/ 104565 h 218313"/>
                <a:gd name="connsiteX17" fmla="*/ 131255 w 263652"/>
                <a:gd name="connsiteY17" fmla="*/ 104585 h 218313"/>
                <a:gd name="connsiteX18" fmla="*/ 168783 w 263652"/>
                <a:gd name="connsiteY18" fmla="*/ 66865 h 218313"/>
                <a:gd name="connsiteX19" fmla="*/ 131255 w 263652"/>
                <a:gd name="connsiteY19" fmla="*/ 29147 h 218313"/>
                <a:gd name="connsiteX20" fmla="*/ 131207 w 263652"/>
                <a:gd name="connsiteY20" fmla="*/ 29167 h 218313"/>
                <a:gd name="connsiteX21" fmla="*/ 131159 w 263652"/>
                <a:gd name="connsiteY21" fmla="*/ 29147 h 21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3652" h="218313">
                  <a:moveTo>
                    <a:pt x="131255" y="0"/>
                  </a:moveTo>
                  <a:cubicBezTo>
                    <a:pt x="155067" y="0"/>
                    <a:pt x="175927" y="12668"/>
                    <a:pt x="187643" y="31623"/>
                  </a:cubicBezTo>
                  <a:lnTo>
                    <a:pt x="243269" y="31623"/>
                  </a:lnTo>
                  <a:lnTo>
                    <a:pt x="263652" y="72866"/>
                  </a:lnTo>
                  <a:lnTo>
                    <a:pt x="263557" y="72866"/>
                  </a:lnTo>
                  <a:cubicBezTo>
                    <a:pt x="216789" y="88392"/>
                    <a:pt x="182975" y="132588"/>
                    <a:pt x="182975" y="184880"/>
                  </a:cubicBezTo>
                  <a:cubicBezTo>
                    <a:pt x="182975" y="196501"/>
                    <a:pt x="184690" y="207740"/>
                    <a:pt x="187833" y="218313"/>
                  </a:cubicBezTo>
                  <a:lnTo>
                    <a:pt x="74390" y="218313"/>
                  </a:lnTo>
                  <a:cubicBezTo>
                    <a:pt x="77534" y="207740"/>
                    <a:pt x="79248" y="196501"/>
                    <a:pt x="79248" y="184880"/>
                  </a:cubicBezTo>
                  <a:cubicBezTo>
                    <a:pt x="79248" y="133160"/>
                    <a:pt x="46101" y="89249"/>
                    <a:pt x="0" y="73343"/>
                  </a:cubicBezTo>
                  <a:lnTo>
                    <a:pt x="18383" y="31623"/>
                  </a:lnTo>
                  <a:lnTo>
                    <a:pt x="74867" y="31623"/>
                  </a:lnTo>
                  <a:cubicBezTo>
                    <a:pt x="86582" y="12668"/>
                    <a:pt x="107442" y="0"/>
                    <a:pt x="131255" y="0"/>
                  </a:cubicBezTo>
                  <a:close/>
                  <a:moveTo>
                    <a:pt x="131159" y="29147"/>
                  </a:moveTo>
                  <a:cubicBezTo>
                    <a:pt x="110433" y="29147"/>
                    <a:pt x="93631" y="46034"/>
                    <a:pt x="93631" y="66866"/>
                  </a:cubicBezTo>
                  <a:cubicBezTo>
                    <a:pt x="93631" y="87698"/>
                    <a:pt x="110433" y="104585"/>
                    <a:pt x="131159" y="104585"/>
                  </a:cubicBezTo>
                  <a:lnTo>
                    <a:pt x="131207" y="104565"/>
                  </a:lnTo>
                  <a:lnTo>
                    <a:pt x="131255" y="104585"/>
                  </a:lnTo>
                  <a:cubicBezTo>
                    <a:pt x="152019" y="104585"/>
                    <a:pt x="168783" y="87725"/>
                    <a:pt x="168783" y="66865"/>
                  </a:cubicBezTo>
                  <a:cubicBezTo>
                    <a:pt x="168783" y="46006"/>
                    <a:pt x="152019" y="29147"/>
                    <a:pt x="131255" y="29147"/>
                  </a:cubicBezTo>
                  <a:lnTo>
                    <a:pt x="131207" y="29167"/>
                  </a:lnTo>
                  <a:lnTo>
                    <a:pt x="131159" y="29147"/>
                  </a:lnTo>
                  <a:close/>
                </a:path>
              </a:pathLst>
            </a:custGeom>
            <a:solidFill>
              <a:schemeClr val="tx1"/>
            </a:solidFill>
            <a:ln w="9525"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C0E400A7-BE1B-E1A0-5C4A-4C8C50F05E32}"/>
                </a:ext>
              </a:extLst>
            </p:cNvPr>
            <p:cNvSpPr/>
            <p:nvPr/>
          </p:nvSpPr>
          <p:spPr>
            <a:xfrm>
              <a:off x="11583202" y="2078645"/>
              <a:ext cx="271917" cy="284066"/>
            </a:xfrm>
            <a:custGeom>
              <a:avLst/>
              <a:gdLst>
                <a:gd name="connsiteX0" fmla="*/ 216530 w 271917"/>
                <a:gd name="connsiteY0" fmla="*/ 259702 h 284066"/>
                <a:gd name="connsiteX1" fmla="*/ 33174 w 271917"/>
                <a:gd name="connsiteY1" fmla="*/ 228460 h 284066"/>
                <a:gd name="connsiteX2" fmla="*/ 42699 w 271917"/>
                <a:gd name="connsiteY2" fmla="*/ 17386 h 284066"/>
                <a:gd name="connsiteX3" fmla="*/ 247677 w 271917"/>
                <a:gd name="connsiteY3" fmla="*/ 75298 h 284066"/>
                <a:gd name="connsiteX4" fmla="*/ 216626 w 271917"/>
                <a:gd name="connsiteY4" fmla="*/ 259797 h 284066"/>
                <a:gd name="connsiteX5" fmla="*/ 80704 w 271917"/>
                <a:gd name="connsiteY5" fmla="*/ 67201 h 284066"/>
                <a:gd name="connsiteX6" fmla="*/ 56320 w 271917"/>
                <a:gd name="connsiteY6" fmla="*/ 211791 h 284066"/>
                <a:gd name="connsiteX7" fmla="*/ 200052 w 271917"/>
                <a:gd name="connsiteY7" fmla="*/ 236365 h 284066"/>
                <a:gd name="connsiteX8" fmla="*/ 224436 w 271917"/>
                <a:gd name="connsiteY8" fmla="*/ 91681 h 284066"/>
                <a:gd name="connsiteX9" fmla="*/ 80609 w 271917"/>
                <a:gd name="connsiteY9" fmla="*/ 67201 h 28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917" h="284066">
                  <a:moveTo>
                    <a:pt x="216530" y="259702"/>
                  </a:moveTo>
                  <a:cubicBezTo>
                    <a:pt x="157380" y="301897"/>
                    <a:pt x="75179" y="287896"/>
                    <a:pt x="33174" y="228460"/>
                  </a:cubicBezTo>
                  <a:cubicBezTo>
                    <a:pt x="-8831" y="169024"/>
                    <a:pt x="-16451" y="59581"/>
                    <a:pt x="42699" y="17386"/>
                  </a:cubicBezTo>
                  <a:cubicBezTo>
                    <a:pt x="101849" y="-24810"/>
                    <a:pt x="205672" y="15766"/>
                    <a:pt x="247677" y="75298"/>
                  </a:cubicBezTo>
                  <a:cubicBezTo>
                    <a:pt x="289682" y="134829"/>
                    <a:pt x="275681" y="217506"/>
                    <a:pt x="216626" y="259797"/>
                  </a:cubicBezTo>
                  <a:close/>
                  <a:moveTo>
                    <a:pt x="80704" y="67201"/>
                  </a:moveTo>
                  <a:cubicBezTo>
                    <a:pt x="34317" y="100348"/>
                    <a:pt x="23459" y="165214"/>
                    <a:pt x="56320" y="211791"/>
                  </a:cubicBezTo>
                  <a:cubicBezTo>
                    <a:pt x="89181" y="258368"/>
                    <a:pt x="153761" y="269417"/>
                    <a:pt x="200052" y="236365"/>
                  </a:cubicBezTo>
                  <a:cubicBezTo>
                    <a:pt x="246344" y="203314"/>
                    <a:pt x="257393" y="138353"/>
                    <a:pt x="224436" y="91681"/>
                  </a:cubicBezTo>
                  <a:cubicBezTo>
                    <a:pt x="191480" y="45008"/>
                    <a:pt x="126995" y="34054"/>
                    <a:pt x="80609" y="67201"/>
                  </a:cubicBezTo>
                  <a:close/>
                </a:path>
              </a:pathLst>
            </a:custGeom>
            <a:solidFill>
              <a:srgbClr val="3D4647"/>
            </a:solidFill>
            <a:ln w="9525" cap="flat">
              <a:noFill/>
              <a:prstDash val="solid"/>
              <a:miter/>
            </a:ln>
          </p:spPr>
          <p:txBody>
            <a:bodyPr rtlCol="0" anchor="ctr"/>
            <a:lstStyle/>
            <a:p>
              <a:endParaRPr lang="en-US" dirty="0"/>
            </a:p>
          </p:txBody>
        </p:sp>
        <p:sp>
          <p:nvSpPr>
            <p:cNvPr id="113" name="Freeform: Shape 112">
              <a:extLst>
                <a:ext uri="{FF2B5EF4-FFF2-40B4-BE49-F238E27FC236}">
                  <a16:creationId xmlns:a16="http://schemas.microsoft.com/office/drawing/2014/main" id="{C8C146AA-BD7E-5EED-CE0E-38852C384B5E}"/>
                </a:ext>
              </a:extLst>
            </p:cNvPr>
            <p:cNvSpPr/>
            <p:nvPr/>
          </p:nvSpPr>
          <p:spPr>
            <a:xfrm flipH="1">
              <a:off x="11656852" y="2221904"/>
              <a:ext cx="78454" cy="84532"/>
            </a:xfrm>
            <a:custGeom>
              <a:avLst/>
              <a:gdLst>
                <a:gd name="connsiteX0" fmla="*/ 51298 w 78454"/>
                <a:gd name="connsiteY0" fmla="*/ 0 h 84532"/>
                <a:gd name="connsiteX1" fmla="*/ 77227 w 78454"/>
                <a:gd name="connsiteY1" fmla="*/ 0 h 84532"/>
                <a:gd name="connsiteX2" fmla="*/ 78454 w 78454"/>
                <a:gd name="connsiteY2" fmla="*/ 6078 h 84532"/>
                <a:gd name="connsiteX3" fmla="*/ 0 w 78454"/>
                <a:gd name="connsiteY3" fmla="*/ 84532 h 84532"/>
                <a:gd name="connsiteX4" fmla="*/ 0 w 78454"/>
                <a:gd name="connsiteY4" fmla="*/ 58603 h 84532"/>
                <a:gd name="connsiteX5" fmla="*/ 1 w 78454"/>
                <a:gd name="connsiteY5" fmla="*/ 58603 h 84532"/>
                <a:gd name="connsiteX6" fmla="*/ 52525 w 78454"/>
                <a:gd name="connsiteY6" fmla="*/ 6079 h 8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454" h="84532">
                  <a:moveTo>
                    <a:pt x="51298" y="0"/>
                  </a:moveTo>
                  <a:lnTo>
                    <a:pt x="77227" y="0"/>
                  </a:lnTo>
                  <a:lnTo>
                    <a:pt x="78454" y="6078"/>
                  </a:lnTo>
                  <a:cubicBezTo>
                    <a:pt x="78454" y="49407"/>
                    <a:pt x="43329" y="84532"/>
                    <a:pt x="0" y="84532"/>
                  </a:cubicBezTo>
                  <a:lnTo>
                    <a:pt x="0" y="58603"/>
                  </a:lnTo>
                  <a:lnTo>
                    <a:pt x="1" y="58603"/>
                  </a:lnTo>
                  <a:cubicBezTo>
                    <a:pt x="29009" y="58603"/>
                    <a:pt x="52525" y="35087"/>
                    <a:pt x="52525" y="6079"/>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21" name="Freeform: Shape 120">
              <a:extLst>
                <a:ext uri="{FF2B5EF4-FFF2-40B4-BE49-F238E27FC236}">
                  <a16:creationId xmlns:a16="http://schemas.microsoft.com/office/drawing/2014/main" id="{2B8AB5A2-FEAA-BB47-A46B-FE9EF41596F2}"/>
                </a:ext>
              </a:extLst>
            </p:cNvPr>
            <p:cNvSpPr/>
            <p:nvPr/>
          </p:nvSpPr>
          <p:spPr>
            <a:xfrm flipH="1">
              <a:off x="11299293" y="2221904"/>
              <a:ext cx="78454" cy="84532"/>
            </a:xfrm>
            <a:custGeom>
              <a:avLst/>
              <a:gdLst>
                <a:gd name="connsiteX0" fmla="*/ 51298 w 78454"/>
                <a:gd name="connsiteY0" fmla="*/ 0 h 84532"/>
                <a:gd name="connsiteX1" fmla="*/ 77227 w 78454"/>
                <a:gd name="connsiteY1" fmla="*/ 0 h 84532"/>
                <a:gd name="connsiteX2" fmla="*/ 78454 w 78454"/>
                <a:gd name="connsiteY2" fmla="*/ 6078 h 84532"/>
                <a:gd name="connsiteX3" fmla="*/ 0 w 78454"/>
                <a:gd name="connsiteY3" fmla="*/ 84532 h 84532"/>
                <a:gd name="connsiteX4" fmla="*/ 0 w 78454"/>
                <a:gd name="connsiteY4" fmla="*/ 58603 h 84532"/>
                <a:gd name="connsiteX5" fmla="*/ 1 w 78454"/>
                <a:gd name="connsiteY5" fmla="*/ 58603 h 84532"/>
                <a:gd name="connsiteX6" fmla="*/ 52525 w 78454"/>
                <a:gd name="connsiteY6" fmla="*/ 6079 h 8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454" h="84532">
                  <a:moveTo>
                    <a:pt x="51298" y="0"/>
                  </a:moveTo>
                  <a:lnTo>
                    <a:pt x="77227" y="0"/>
                  </a:lnTo>
                  <a:lnTo>
                    <a:pt x="78454" y="6078"/>
                  </a:lnTo>
                  <a:cubicBezTo>
                    <a:pt x="78454" y="49407"/>
                    <a:pt x="43329" y="84532"/>
                    <a:pt x="0" y="84532"/>
                  </a:cubicBezTo>
                  <a:lnTo>
                    <a:pt x="0" y="58603"/>
                  </a:lnTo>
                  <a:lnTo>
                    <a:pt x="1" y="58603"/>
                  </a:lnTo>
                  <a:cubicBezTo>
                    <a:pt x="29009" y="58603"/>
                    <a:pt x="52525" y="35087"/>
                    <a:pt x="52525" y="6079"/>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spTree>
    <p:extLst>
      <p:ext uri="{BB962C8B-B14F-4D97-AF65-F5344CB8AC3E}">
        <p14:creationId xmlns:p14="http://schemas.microsoft.com/office/powerpoint/2010/main" val="28096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9" name="Group 108">
            <a:extLst>
              <a:ext uri="{FF2B5EF4-FFF2-40B4-BE49-F238E27FC236}">
                <a16:creationId xmlns:a16="http://schemas.microsoft.com/office/drawing/2014/main" id="{2F332D65-957B-10CD-DD1D-92CF646380F9}"/>
              </a:ext>
            </a:extLst>
          </p:cNvPr>
          <p:cNvGrpSpPr/>
          <p:nvPr/>
        </p:nvGrpSpPr>
        <p:grpSpPr>
          <a:xfrm>
            <a:off x="7705436" y="2839746"/>
            <a:ext cx="640080" cy="640080"/>
            <a:chOff x="5996155" y="2884492"/>
            <a:chExt cx="640080" cy="640080"/>
          </a:xfrm>
        </p:grpSpPr>
        <p:sp>
          <p:nvSpPr>
            <p:cNvPr id="107" name="Freeform: Shape 106">
              <a:extLst>
                <a:ext uri="{FF2B5EF4-FFF2-40B4-BE49-F238E27FC236}">
                  <a16:creationId xmlns:a16="http://schemas.microsoft.com/office/drawing/2014/main" id="{FEDBAD1E-EDFC-FD7F-703A-1856DA74C131}"/>
                </a:ext>
              </a:extLst>
            </p:cNvPr>
            <p:cNvSpPr/>
            <p:nvPr/>
          </p:nvSpPr>
          <p:spPr>
            <a:xfrm>
              <a:off x="5996155" y="2884492"/>
              <a:ext cx="640080" cy="640080"/>
            </a:xfrm>
            <a:custGeom>
              <a:avLst/>
              <a:gdLst>
                <a:gd name="connsiteX0" fmla="*/ 320040 w 640080"/>
                <a:gd name="connsiteY0" fmla="*/ 30004 h 640080"/>
                <a:gd name="connsiteX1" fmla="*/ 610076 w 640080"/>
                <a:gd name="connsiteY1" fmla="*/ 320040 h 640080"/>
                <a:gd name="connsiteX2" fmla="*/ 320040 w 640080"/>
                <a:gd name="connsiteY2" fmla="*/ 610076 h 640080"/>
                <a:gd name="connsiteX3" fmla="*/ 30004 w 640080"/>
                <a:gd name="connsiteY3" fmla="*/ 320040 h 640080"/>
                <a:gd name="connsiteX4" fmla="*/ 320040 w 640080"/>
                <a:gd name="connsiteY4" fmla="*/ 30004 h 640080"/>
                <a:gd name="connsiteX5" fmla="*/ 320040 w 640080"/>
                <a:gd name="connsiteY5" fmla="*/ 0 h 640080"/>
                <a:gd name="connsiteX6" fmla="*/ 0 w 640080"/>
                <a:gd name="connsiteY6" fmla="*/ 320040 h 640080"/>
                <a:gd name="connsiteX7" fmla="*/ 320040 w 640080"/>
                <a:gd name="connsiteY7" fmla="*/ 640080 h 640080"/>
                <a:gd name="connsiteX8" fmla="*/ 640080 w 640080"/>
                <a:gd name="connsiteY8" fmla="*/ 320040 h 640080"/>
                <a:gd name="connsiteX9" fmla="*/ 320040 w 640080"/>
                <a:gd name="connsiteY9" fmla="*/ 0 h 640080"/>
                <a:gd name="connsiteX10" fmla="*/ 320040 w 640080"/>
                <a:gd name="connsiteY10"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0080" h="640080">
                  <a:moveTo>
                    <a:pt x="320040" y="30004"/>
                  </a:moveTo>
                  <a:cubicBezTo>
                    <a:pt x="480060" y="30004"/>
                    <a:pt x="610076" y="160020"/>
                    <a:pt x="610076" y="320040"/>
                  </a:cubicBezTo>
                  <a:cubicBezTo>
                    <a:pt x="610076" y="480060"/>
                    <a:pt x="480060" y="610076"/>
                    <a:pt x="320040" y="610076"/>
                  </a:cubicBezTo>
                  <a:cubicBezTo>
                    <a:pt x="160020" y="610076"/>
                    <a:pt x="30004" y="480060"/>
                    <a:pt x="30004" y="320040"/>
                  </a:cubicBezTo>
                  <a:cubicBezTo>
                    <a:pt x="30004" y="160020"/>
                    <a:pt x="160020" y="30004"/>
                    <a:pt x="320040" y="30004"/>
                  </a:cubicBezTo>
                  <a:moveTo>
                    <a:pt x="320040" y="0"/>
                  </a:moveTo>
                  <a:cubicBezTo>
                    <a:pt x="143018" y="0"/>
                    <a:pt x="0" y="143018"/>
                    <a:pt x="0" y="320040"/>
                  </a:cubicBezTo>
                  <a:cubicBezTo>
                    <a:pt x="0" y="497062"/>
                    <a:pt x="143018" y="640080"/>
                    <a:pt x="320040" y="640080"/>
                  </a:cubicBezTo>
                  <a:cubicBezTo>
                    <a:pt x="497062" y="640080"/>
                    <a:pt x="640080" y="497062"/>
                    <a:pt x="640080" y="320040"/>
                  </a:cubicBezTo>
                  <a:cubicBezTo>
                    <a:pt x="640080" y="143018"/>
                    <a:pt x="497062" y="0"/>
                    <a:pt x="320040" y="0"/>
                  </a:cubicBezTo>
                  <a:lnTo>
                    <a:pt x="320040" y="0"/>
                  </a:lnTo>
                  <a:close/>
                </a:path>
              </a:pathLst>
            </a:custGeom>
            <a:solidFill>
              <a:srgbClr val="3D4647"/>
            </a:solidFill>
            <a:ln w="9971" cap="flat">
              <a:noFill/>
              <a:prstDash val="solid"/>
              <a:miter/>
            </a:ln>
          </p:spPr>
          <p:txBody>
            <a:bodyPr rtlCol="0" anchor="ctr"/>
            <a:lstStyle/>
            <a:p>
              <a:endParaRPr lang="en-US" dirty="0"/>
            </a:p>
          </p:txBody>
        </p:sp>
        <p:sp>
          <p:nvSpPr>
            <p:cNvPr id="108" name="Freeform: Shape 107">
              <a:extLst>
                <a:ext uri="{FF2B5EF4-FFF2-40B4-BE49-F238E27FC236}">
                  <a16:creationId xmlns:a16="http://schemas.microsoft.com/office/drawing/2014/main" id="{F5855399-BA28-EE89-2E01-06E64241B0A4}"/>
                </a:ext>
              </a:extLst>
            </p:cNvPr>
            <p:cNvSpPr/>
            <p:nvPr/>
          </p:nvSpPr>
          <p:spPr>
            <a:xfrm>
              <a:off x="6286191" y="3019508"/>
              <a:ext cx="69008" cy="374046"/>
            </a:xfrm>
            <a:custGeom>
              <a:avLst/>
              <a:gdLst>
                <a:gd name="connsiteX0" fmla="*/ 0 w 69008"/>
                <a:gd name="connsiteY0" fmla="*/ 34004 h 374046"/>
                <a:gd name="connsiteX1" fmla="*/ 0 w 69008"/>
                <a:gd name="connsiteY1" fmla="*/ 34004 h 374046"/>
                <a:gd name="connsiteX2" fmla="*/ 34004 w 69008"/>
                <a:gd name="connsiteY2" fmla="*/ 0 h 374046"/>
                <a:gd name="connsiteX3" fmla="*/ 35004 w 69008"/>
                <a:gd name="connsiteY3" fmla="*/ 0 h 374046"/>
                <a:gd name="connsiteX4" fmla="*/ 69009 w 69008"/>
                <a:gd name="connsiteY4" fmla="*/ 34004 h 374046"/>
                <a:gd name="connsiteX5" fmla="*/ 69009 w 69008"/>
                <a:gd name="connsiteY5" fmla="*/ 34004 h 374046"/>
                <a:gd name="connsiteX6" fmla="*/ 35004 w 69008"/>
                <a:gd name="connsiteY6" fmla="*/ 68008 h 374046"/>
                <a:gd name="connsiteX7" fmla="*/ 34004 w 69008"/>
                <a:gd name="connsiteY7" fmla="*/ 68008 h 374046"/>
                <a:gd name="connsiteX8" fmla="*/ 0 w 69008"/>
                <a:gd name="connsiteY8" fmla="*/ 34004 h 374046"/>
                <a:gd name="connsiteX9" fmla="*/ 0 w 69008"/>
                <a:gd name="connsiteY9" fmla="*/ 374047 h 374046"/>
                <a:gd name="connsiteX10" fmla="*/ 0 w 69008"/>
                <a:gd name="connsiteY10" fmla="*/ 105013 h 374046"/>
                <a:gd name="connsiteX11" fmla="*/ 69009 w 69008"/>
                <a:gd name="connsiteY11" fmla="*/ 105013 h 374046"/>
                <a:gd name="connsiteX12" fmla="*/ 69009 w 69008"/>
                <a:gd name="connsiteY12" fmla="*/ 373047 h 374046"/>
                <a:gd name="connsiteX13" fmla="*/ 0 w 69008"/>
                <a:gd name="connsiteY13" fmla="*/ 373047 h 374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08" h="374046">
                  <a:moveTo>
                    <a:pt x="0" y="34004"/>
                  </a:moveTo>
                  <a:lnTo>
                    <a:pt x="0" y="34004"/>
                  </a:lnTo>
                  <a:cubicBezTo>
                    <a:pt x="0" y="15002"/>
                    <a:pt x="15002" y="0"/>
                    <a:pt x="34004" y="0"/>
                  </a:cubicBezTo>
                  <a:lnTo>
                    <a:pt x="35004" y="0"/>
                  </a:lnTo>
                  <a:cubicBezTo>
                    <a:pt x="54007" y="0"/>
                    <a:pt x="69009" y="15002"/>
                    <a:pt x="69009" y="34004"/>
                  </a:cubicBezTo>
                  <a:lnTo>
                    <a:pt x="69009" y="34004"/>
                  </a:lnTo>
                  <a:cubicBezTo>
                    <a:pt x="69009" y="53007"/>
                    <a:pt x="54007" y="68008"/>
                    <a:pt x="35004" y="68008"/>
                  </a:cubicBezTo>
                  <a:lnTo>
                    <a:pt x="34004" y="68008"/>
                  </a:lnTo>
                  <a:cubicBezTo>
                    <a:pt x="16002" y="68008"/>
                    <a:pt x="0" y="53007"/>
                    <a:pt x="0" y="34004"/>
                  </a:cubicBezTo>
                  <a:close/>
                  <a:moveTo>
                    <a:pt x="0" y="374047"/>
                  </a:moveTo>
                  <a:lnTo>
                    <a:pt x="0" y="105013"/>
                  </a:lnTo>
                  <a:lnTo>
                    <a:pt x="69009" y="105013"/>
                  </a:lnTo>
                  <a:lnTo>
                    <a:pt x="69009" y="373047"/>
                  </a:lnTo>
                  <a:lnTo>
                    <a:pt x="0" y="373047"/>
                  </a:lnTo>
                  <a:close/>
                </a:path>
              </a:pathLst>
            </a:custGeom>
            <a:solidFill>
              <a:srgbClr val="40AA1D"/>
            </a:solidFill>
            <a:ln w="9971" cap="flat">
              <a:noFill/>
              <a:prstDash val="solid"/>
              <a:miter/>
            </a:ln>
          </p:spPr>
          <p:txBody>
            <a:bodyPr rtlCol="0" anchor="ctr"/>
            <a:lstStyle/>
            <a:p>
              <a:endParaRPr lang="en-US" dirty="0"/>
            </a:p>
          </p:txBody>
        </p:sp>
      </p:grpSp>
      <p:grpSp>
        <p:nvGrpSpPr>
          <p:cNvPr id="95" name="Group 94">
            <a:extLst>
              <a:ext uri="{FF2B5EF4-FFF2-40B4-BE49-F238E27FC236}">
                <a16:creationId xmlns:a16="http://schemas.microsoft.com/office/drawing/2014/main" id="{8AC27A46-F0AE-84E8-DD7C-1A8CE08AC25A}"/>
              </a:ext>
            </a:extLst>
          </p:cNvPr>
          <p:cNvGrpSpPr/>
          <p:nvPr/>
        </p:nvGrpSpPr>
        <p:grpSpPr>
          <a:xfrm>
            <a:off x="8540087" y="2816886"/>
            <a:ext cx="594717" cy="685800"/>
            <a:chOff x="10137469" y="223107"/>
            <a:chExt cx="594717" cy="685800"/>
          </a:xfrm>
        </p:grpSpPr>
        <p:sp>
          <p:nvSpPr>
            <p:cNvPr id="85" name="Freeform: Shape 84">
              <a:extLst>
                <a:ext uri="{FF2B5EF4-FFF2-40B4-BE49-F238E27FC236}">
                  <a16:creationId xmlns:a16="http://schemas.microsoft.com/office/drawing/2014/main" id="{34E3BB3B-6B01-7267-264E-5E79081A9484}"/>
                </a:ext>
              </a:extLst>
            </p:cNvPr>
            <p:cNvSpPr/>
            <p:nvPr/>
          </p:nvSpPr>
          <p:spPr>
            <a:xfrm>
              <a:off x="10137469" y="223107"/>
              <a:ext cx="594717" cy="685800"/>
            </a:xfrm>
            <a:custGeom>
              <a:avLst/>
              <a:gdLst>
                <a:gd name="connsiteX0" fmla="*/ 296823 w 594717"/>
                <a:gd name="connsiteY0" fmla="*/ 37505 h 685800"/>
                <a:gd name="connsiteX1" fmla="*/ 562570 w 594717"/>
                <a:gd name="connsiteY1" fmla="*/ 189667 h 685800"/>
                <a:gd name="connsiteX2" fmla="*/ 563642 w 594717"/>
                <a:gd name="connsiteY2" fmla="*/ 495062 h 685800"/>
                <a:gd name="connsiteX3" fmla="*/ 298966 w 594717"/>
                <a:gd name="connsiteY3" fmla="*/ 648295 h 685800"/>
                <a:gd name="connsiteX4" fmla="*/ 33218 w 594717"/>
                <a:gd name="connsiteY4" fmla="*/ 497205 h 685800"/>
                <a:gd name="connsiteX5" fmla="*/ 32147 w 594717"/>
                <a:gd name="connsiteY5" fmla="*/ 190738 h 685800"/>
                <a:gd name="connsiteX6" fmla="*/ 296823 w 594717"/>
                <a:gd name="connsiteY6" fmla="*/ 37505 h 685800"/>
                <a:gd name="connsiteX7" fmla="*/ 296823 w 594717"/>
                <a:gd name="connsiteY7" fmla="*/ 0 h 685800"/>
                <a:gd name="connsiteX8" fmla="*/ 0 w 594717"/>
                <a:gd name="connsiteY8" fmla="*/ 172522 h 685800"/>
                <a:gd name="connsiteX9" fmla="*/ 1072 w 594717"/>
                <a:gd name="connsiteY9" fmla="*/ 515422 h 685800"/>
                <a:gd name="connsiteX10" fmla="*/ 298966 w 594717"/>
                <a:gd name="connsiteY10" fmla="*/ 685800 h 685800"/>
                <a:gd name="connsiteX11" fmla="*/ 594717 w 594717"/>
                <a:gd name="connsiteY11" fmla="*/ 513278 h 685800"/>
                <a:gd name="connsiteX12" fmla="*/ 593646 w 594717"/>
                <a:gd name="connsiteY12" fmla="*/ 170378 h 685800"/>
                <a:gd name="connsiteX13" fmla="*/ 296823 w 594717"/>
                <a:gd name="connsiteY13" fmla="*/ 0 h 685800"/>
                <a:gd name="connsiteX14" fmla="*/ 296823 w 594717"/>
                <a:gd name="connsiteY14"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4717" h="685800">
                  <a:moveTo>
                    <a:pt x="296823" y="37505"/>
                  </a:moveTo>
                  <a:lnTo>
                    <a:pt x="562570" y="189667"/>
                  </a:lnTo>
                  <a:lnTo>
                    <a:pt x="563642" y="495062"/>
                  </a:lnTo>
                  <a:lnTo>
                    <a:pt x="298966" y="648295"/>
                  </a:lnTo>
                  <a:lnTo>
                    <a:pt x="33218" y="497205"/>
                  </a:lnTo>
                  <a:lnTo>
                    <a:pt x="32147" y="190738"/>
                  </a:lnTo>
                  <a:lnTo>
                    <a:pt x="296823" y="37505"/>
                  </a:lnTo>
                  <a:moveTo>
                    <a:pt x="296823" y="0"/>
                  </a:moveTo>
                  <a:lnTo>
                    <a:pt x="0" y="172522"/>
                  </a:lnTo>
                  <a:lnTo>
                    <a:pt x="1072" y="515422"/>
                  </a:lnTo>
                  <a:lnTo>
                    <a:pt x="298966" y="685800"/>
                  </a:lnTo>
                  <a:lnTo>
                    <a:pt x="594717" y="513278"/>
                  </a:lnTo>
                  <a:lnTo>
                    <a:pt x="593646" y="170378"/>
                  </a:lnTo>
                  <a:lnTo>
                    <a:pt x="296823" y="0"/>
                  </a:lnTo>
                  <a:lnTo>
                    <a:pt x="296823" y="0"/>
                  </a:lnTo>
                  <a:close/>
                </a:path>
              </a:pathLst>
            </a:custGeom>
            <a:solidFill>
              <a:srgbClr val="3D4647"/>
            </a:solidFill>
            <a:ln w="10716"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79502BC5-2870-BAD5-86E0-EDCC1916AEB9}"/>
                </a:ext>
              </a:extLst>
            </p:cNvPr>
            <p:cNvSpPr/>
            <p:nvPr/>
          </p:nvSpPr>
          <p:spPr>
            <a:xfrm>
              <a:off x="10408184" y="379903"/>
              <a:ext cx="69008" cy="374046"/>
            </a:xfrm>
            <a:custGeom>
              <a:avLst/>
              <a:gdLst>
                <a:gd name="connsiteX0" fmla="*/ 0 w 69008"/>
                <a:gd name="connsiteY0" fmla="*/ 34004 h 374046"/>
                <a:gd name="connsiteX1" fmla="*/ 0 w 69008"/>
                <a:gd name="connsiteY1" fmla="*/ 34004 h 374046"/>
                <a:gd name="connsiteX2" fmla="*/ 34004 w 69008"/>
                <a:gd name="connsiteY2" fmla="*/ 0 h 374046"/>
                <a:gd name="connsiteX3" fmla="*/ 35004 w 69008"/>
                <a:gd name="connsiteY3" fmla="*/ 0 h 374046"/>
                <a:gd name="connsiteX4" fmla="*/ 69009 w 69008"/>
                <a:gd name="connsiteY4" fmla="*/ 34004 h 374046"/>
                <a:gd name="connsiteX5" fmla="*/ 69009 w 69008"/>
                <a:gd name="connsiteY5" fmla="*/ 34004 h 374046"/>
                <a:gd name="connsiteX6" fmla="*/ 35004 w 69008"/>
                <a:gd name="connsiteY6" fmla="*/ 68008 h 374046"/>
                <a:gd name="connsiteX7" fmla="*/ 34004 w 69008"/>
                <a:gd name="connsiteY7" fmla="*/ 68008 h 374046"/>
                <a:gd name="connsiteX8" fmla="*/ 0 w 69008"/>
                <a:gd name="connsiteY8" fmla="*/ 34004 h 374046"/>
                <a:gd name="connsiteX9" fmla="*/ 0 w 69008"/>
                <a:gd name="connsiteY9" fmla="*/ 374047 h 374046"/>
                <a:gd name="connsiteX10" fmla="*/ 0 w 69008"/>
                <a:gd name="connsiteY10" fmla="*/ 105013 h 374046"/>
                <a:gd name="connsiteX11" fmla="*/ 69009 w 69008"/>
                <a:gd name="connsiteY11" fmla="*/ 105013 h 374046"/>
                <a:gd name="connsiteX12" fmla="*/ 69009 w 69008"/>
                <a:gd name="connsiteY12" fmla="*/ 373047 h 374046"/>
                <a:gd name="connsiteX13" fmla="*/ 0 w 69008"/>
                <a:gd name="connsiteY13" fmla="*/ 373047 h 374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08" h="374046">
                  <a:moveTo>
                    <a:pt x="0" y="34004"/>
                  </a:moveTo>
                  <a:lnTo>
                    <a:pt x="0" y="34004"/>
                  </a:lnTo>
                  <a:cubicBezTo>
                    <a:pt x="0" y="15002"/>
                    <a:pt x="15002" y="0"/>
                    <a:pt x="34004" y="0"/>
                  </a:cubicBezTo>
                  <a:lnTo>
                    <a:pt x="35004" y="0"/>
                  </a:lnTo>
                  <a:cubicBezTo>
                    <a:pt x="54007" y="0"/>
                    <a:pt x="69009" y="15002"/>
                    <a:pt x="69009" y="34004"/>
                  </a:cubicBezTo>
                  <a:lnTo>
                    <a:pt x="69009" y="34004"/>
                  </a:lnTo>
                  <a:cubicBezTo>
                    <a:pt x="69009" y="53007"/>
                    <a:pt x="54007" y="68008"/>
                    <a:pt x="35004" y="68008"/>
                  </a:cubicBezTo>
                  <a:lnTo>
                    <a:pt x="34004" y="68008"/>
                  </a:lnTo>
                  <a:cubicBezTo>
                    <a:pt x="16002" y="68008"/>
                    <a:pt x="0" y="53007"/>
                    <a:pt x="0" y="34004"/>
                  </a:cubicBezTo>
                  <a:close/>
                  <a:moveTo>
                    <a:pt x="0" y="374047"/>
                  </a:moveTo>
                  <a:lnTo>
                    <a:pt x="0" y="105013"/>
                  </a:lnTo>
                  <a:lnTo>
                    <a:pt x="69009" y="105013"/>
                  </a:lnTo>
                  <a:lnTo>
                    <a:pt x="69009" y="373047"/>
                  </a:lnTo>
                  <a:lnTo>
                    <a:pt x="0" y="373047"/>
                  </a:lnTo>
                  <a:close/>
                </a:path>
              </a:pathLst>
            </a:custGeom>
            <a:solidFill>
              <a:srgbClr val="40AA1D"/>
            </a:solidFill>
            <a:ln w="9971" cap="flat">
              <a:noFill/>
              <a:prstDash val="solid"/>
              <a:miter/>
            </a:ln>
          </p:spPr>
          <p:txBody>
            <a:bodyPr rtlCol="0" anchor="ctr"/>
            <a:lstStyle/>
            <a:p>
              <a:endParaRPr lang="en-US" dirty="0"/>
            </a:p>
          </p:txBody>
        </p:sp>
      </p:grpSp>
      <p:grpSp>
        <p:nvGrpSpPr>
          <p:cNvPr id="88" name="Group 87">
            <a:extLst>
              <a:ext uri="{FF2B5EF4-FFF2-40B4-BE49-F238E27FC236}">
                <a16:creationId xmlns:a16="http://schemas.microsoft.com/office/drawing/2014/main" id="{7836E72C-22B7-B321-1299-198D7EE43340}"/>
              </a:ext>
            </a:extLst>
          </p:cNvPr>
          <p:cNvGrpSpPr/>
          <p:nvPr/>
        </p:nvGrpSpPr>
        <p:grpSpPr>
          <a:xfrm>
            <a:off x="11051197" y="2806420"/>
            <a:ext cx="594717" cy="685800"/>
            <a:chOff x="8695979" y="277324"/>
            <a:chExt cx="594717" cy="685800"/>
          </a:xfrm>
        </p:grpSpPr>
        <p:sp>
          <p:nvSpPr>
            <p:cNvPr id="83" name="Freeform: Shape 82">
              <a:extLst>
                <a:ext uri="{FF2B5EF4-FFF2-40B4-BE49-F238E27FC236}">
                  <a16:creationId xmlns:a16="http://schemas.microsoft.com/office/drawing/2014/main" id="{A65654F7-DD6C-DA28-0F8C-0CCDB1146B28}"/>
                </a:ext>
              </a:extLst>
            </p:cNvPr>
            <p:cNvSpPr/>
            <p:nvPr/>
          </p:nvSpPr>
          <p:spPr>
            <a:xfrm>
              <a:off x="8695979" y="277324"/>
              <a:ext cx="594717" cy="685800"/>
            </a:xfrm>
            <a:custGeom>
              <a:avLst/>
              <a:gdLst>
                <a:gd name="connsiteX0" fmla="*/ 296823 w 594717"/>
                <a:gd name="connsiteY0" fmla="*/ 37505 h 685800"/>
                <a:gd name="connsiteX1" fmla="*/ 562570 w 594717"/>
                <a:gd name="connsiteY1" fmla="*/ 189667 h 685800"/>
                <a:gd name="connsiteX2" fmla="*/ 563642 w 594717"/>
                <a:gd name="connsiteY2" fmla="*/ 495062 h 685800"/>
                <a:gd name="connsiteX3" fmla="*/ 298966 w 594717"/>
                <a:gd name="connsiteY3" fmla="*/ 648295 h 685800"/>
                <a:gd name="connsiteX4" fmla="*/ 33218 w 594717"/>
                <a:gd name="connsiteY4" fmla="*/ 497205 h 685800"/>
                <a:gd name="connsiteX5" fmla="*/ 32147 w 594717"/>
                <a:gd name="connsiteY5" fmla="*/ 190738 h 685800"/>
                <a:gd name="connsiteX6" fmla="*/ 296823 w 594717"/>
                <a:gd name="connsiteY6" fmla="*/ 37505 h 685800"/>
                <a:gd name="connsiteX7" fmla="*/ 296823 w 594717"/>
                <a:gd name="connsiteY7" fmla="*/ 0 h 685800"/>
                <a:gd name="connsiteX8" fmla="*/ 0 w 594717"/>
                <a:gd name="connsiteY8" fmla="*/ 172522 h 685800"/>
                <a:gd name="connsiteX9" fmla="*/ 1072 w 594717"/>
                <a:gd name="connsiteY9" fmla="*/ 515422 h 685800"/>
                <a:gd name="connsiteX10" fmla="*/ 298966 w 594717"/>
                <a:gd name="connsiteY10" fmla="*/ 685800 h 685800"/>
                <a:gd name="connsiteX11" fmla="*/ 594717 w 594717"/>
                <a:gd name="connsiteY11" fmla="*/ 513278 h 685800"/>
                <a:gd name="connsiteX12" fmla="*/ 593646 w 594717"/>
                <a:gd name="connsiteY12" fmla="*/ 170378 h 685800"/>
                <a:gd name="connsiteX13" fmla="*/ 296823 w 594717"/>
                <a:gd name="connsiteY13" fmla="*/ 0 h 685800"/>
                <a:gd name="connsiteX14" fmla="*/ 296823 w 594717"/>
                <a:gd name="connsiteY14"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4717" h="685800">
                  <a:moveTo>
                    <a:pt x="296823" y="37505"/>
                  </a:moveTo>
                  <a:lnTo>
                    <a:pt x="562570" y="189667"/>
                  </a:lnTo>
                  <a:lnTo>
                    <a:pt x="563642" y="495062"/>
                  </a:lnTo>
                  <a:lnTo>
                    <a:pt x="298966" y="648295"/>
                  </a:lnTo>
                  <a:lnTo>
                    <a:pt x="33218" y="497205"/>
                  </a:lnTo>
                  <a:lnTo>
                    <a:pt x="32147" y="190738"/>
                  </a:lnTo>
                  <a:lnTo>
                    <a:pt x="296823" y="37505"/>
                  </a:lnTo>
                  <a:moveTo>
                    <a:pt x="296823" y="0"/>
                  </a:moveTo>
                  <a:lnTo>
                    <a:pt x="0" y="172522"/>
                  </a:lnTo>
                  <a:lnTo>
                    <a:pt x="1072" y="515422"/>
                  </a:lnTo>
                  <a:lnTo>
                    <a:pt x="298966" y="685800"/>
                  </a:lnTo>
                  <a:lnTo>
                    <a:pt x="594717" y="513278"/>
                  </a:lnTo>
                  <a:lnTo>
                    <a:pt x="593646" y="170378"/>
                  </a:lnTo>
                  <a:lnTo>
                    <a:pt x="296823" y="0"/>
                  </a:lnTo>
                  <a:lnTo>
                    <a:pt x="296823" y="0"/>
                  </a:lnTo>
                  <a:close/>
                </a:path>
              </a:pathLst>
            </a:custGeom>
            <a:solidFill>
              <a:srgbClr val="3D4647"/>
            </a:solidFill>
            <a:ln w="10716" cap="flat">
              <a:noFill/>
              <a:prstDash val="solid"/>
              <a:miter/>
            </a:ln>
          </p:spPr>
          <p:txBody>
            <a:bodyPr rtlCol="0" anchor="ctr"/>
            <a:lstStyle/>
            <a:p>
              <a:endParaRPr lang="en-US" dirty="0"/>
            </a:p>
          </p:txBody>
        </p:sp>
        <p:pic>
          <p:nvPicPr>
            <p:cNvPr id="80" name="Graphic 79">
              <a:extLst>
                <a:ext uri="{FF2B5EF4-FFF2-40B4-BE49-F238E27FC236}">
                  <a16:creationId xmlns:a16="http://schemas.microsoft.com/office/drawing/2014/main" id="{D7107A89-D4D9-7BC1-90A0-7D48791470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06422" y="426641"/>
              <a:ext cx="374904" cy="374904"/>
            </a:xfrm>
            <a:prstGeom prst="rect">
              <a:avLst/>
            </a:prstGeom>
          </p:spPr>
        </p:pic>
      </p:grpSp>
      <p:pic>
        <p:nvPicPr>
          <p:cNvPr id="55" name="Graphic 54">
            <a:extLst>
              <a:ext uri="{FF2B5EF4-FFF2-40B4-BE49-F238E27FC236}">
                <a16:creationId xmlns:a16="http://schemas.microsoft.com/office/drawing/2014/main" id="{E16B5760-A26F-842C-3872-7160F9FB226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14489" y="3969258"/>
            <a:ext cx="609600" cy="609600"/>
          </a:xfrm>
          <a:prstGeom prst="rect">
            <a:avLst/>
          </a:prstGeom>
        </p:spPr>
      </p:pic>
      <p:sp>
        <p:nvSpPr>
          <p:cNvPr id="2" name="Title 1">
            <a:extLst>
              <a:ext uri="{FF2B5EF4-FFF2-40B4-BE49-F238E27FC236}">
                <a16:creationId xmlns:a16="http://schemas.microsoft.com/office/drawing/2014/main" id="{2086D4DC-3B3B-4C01-A598-B5CD4BF27413}"/>
              </a:ext>
            </a:extLst>
          </p:cNvPr>
          <p:cNvSpPr>
            <a:spLocks noGrp="1"/>
          </p:cNvSpPr>
          <p:nvPr>
            <p:ph type="title"/>
          </p:nvPr>
        </p:nvSpPr>
        <p:spPr>
          <a:xfrm>
            <a:off x="490760" y="547539"/>
            <a:ext cx="10789920" cy="369332"/>
          </a:xfrm>
        </p:spPr>
        <p:txBody>
          <a:bodyPr/>
          <a:lstStyle/>
          <a:p>
            <a:r>
              <a:rPr lang="en-US" dirty="0"/>
              <a:t>PTC ICONS</a:t>
            </a:r>
          </a:p>
        </p:txBody>
      </p:sp>
      <p:sp>
        <p:nvSpPr>
          <p:cNvPr id="204" name="TextBox 203">
            <a:extLst>
              <a:ext uri="{FF2B5EF4-FFF2-40B4-BE49-F238E27FC236}">
                <a16:creationId xmlns:a16="http://schemas.microsoft.com/office/drawing/2014/main" id="{A82222C5-2E86-4C93-B54E-D7082612C036}"/>
              </a:ext>
            </a:extLst>
          </p:cNvPr>
          <p:cNvSpPr txBox="1"/>
          <p:nvPr/>
        </p:nvSpPr>
        <p:spPr>
          <a:xfrm>
            <a:off x="5818802" y="3745861"/>
            <a:ext cx="66204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ore, Etc.</a:t>
            </a:r>
          </a:p>
        </p:txBody>
      </p:sp>
      <p:pic>
        <p:nvPicPr>
          <p:cNvPr id="210" name="Graphic 209">
            <a:extLst>
              <a:ext uri="{FF2B5EF4-FFF2-40B4-BE49-F238E27FC236}">
                <a16:creationId xmlns:a16="http://schemas.microsoft.com/office/drawing/2014/main" id="{7B320E98-DA8B-49B5-8956-B203EF4CAF2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20540" y="4207050"/>
            <a:ext cx="612648" cy="134017"/>
          </a:xfrm>
          <a:prstGeom prst="rect">
            <a:avLst/>
          </a:prstGeom>
        </p:spPr>
      </p:pic>
      <p:sp>
        <p:nvSpPr>
          <p:cNvPr id="215" name="TextBox 214">
            <a:extLst>
              <a:ext uri="{FF2B5EF4-FFF2-40B4-BE49-F238E27FC236}">
                <a16:creationId xmlns:a16="http://schemas.microsoft.com/office/drawing/2014/main" id="{F3555A4C-BE6F-4F0D-A053-6D795CB2ABC5}"/>
              </a:ext>
            </a:extLst>
          </p:cNvPr>
          <p:cNvSpPr txBox="1"/>
          <p:nvPr/>
        </p:nvSpPr>
        <p:spPr>
          <a:xfrm>
            <a:off x="1571117" y="2612893"/>
            <a:ext cx="274320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Help, Questions, Request</a:t>
            </a:r>
          </a:p>
        </p:txBody>
      </p:sp>
      <p:grpSp>
        <p:nvGrpSpPr>
          <p:cNvPr id="13" name="Group 12">
            <a:extLst>
              <a:ext uri="{FF2B5EF4-FFF2-40B4-BE49-F238E27FC236}">
                <a16:creationId xmlns:a16="http://schemas.microsoft.com/office/drawing/2014/main" id="{C039DA64-6DB9-4F12-386F-DD6C49D5E1DA}"/>
              </a:ext>
            </a:extLst>
          </p:cNvPr>
          <p:cNvGrpSpPr/>
          <p:nvPr/>
        </p:nvGrpSpPr>
        <p:grpSpPr>
          <a:xfrm>
            <a:off x="2958206" y="2846569"/>
            <a:ext cx="640080" cy="640080"/>
            <a:chOff x="4267430" y="2893849"/>
            <a:chExt cx="640080" cy="640080"/>
          </a:xfrm>
        </p:grpSpPr>
        <p:sp>
          <p:nvSpPr>
            <p:cNvPr id="221" name="Freeform: Shape 220">
              <a:extLst>
                <a:ext uri="{FF2B5EF4-FFF2-40B4-BE49-F238E27FC236}">
                  <a16:creationId xmlns:a16="http://schemas.microsoft.com/office/drawing/2014/main" id="{B4D765A7-7134-4991-B3F1-AE4CDC97AF3C}"/>
                </a:ext>
              </a:extLst>
            </p:cNvPr>
            <p:cNvSpPr/>
            <p:nvPr/>
          </p:nvSpPr>
          <p:spPr>
            <a:xfrm>
              <a:off x="4267430" y="2893849"/>
              <a:ext cx="640080" cy="640080"/>
            </a:xfrm>
            <a:custGeom>
              <a:avLst/>
              <a:gdLst>
                <a:gd name="connsiteX0" fmla="*/ 303848 w 607695"/>
                <a:gd name="connsiteY0" fmla="*/ 28575 h 607695"/>
                <a:gd name="connsiteX1" fmla="*/ 579120 w 607695"/>
                <a:gd name="connsiteY1" fmla="*/ 303848 h 607695"/>
                <a:gd name="connsiteX2" fmla="*/ 303848 w 607695"/>
                <a:gd name="connsiteY2" fmla="*/ 579120 h 607695"/>
                <a:gd name="connsiteX3" fmla="*/ 28575 w 607695"/>
                <a:gd name="connsiteY3" fmla="*/ 303848 h 607695"/>
                <a:gd name="connsiteX4" fmla="*/ 303848 w 607695"/>
                <a:gd name="connsiteY4" fmla="*/ 28575 h 607695"/>
                <a:gd name="connsiteX5" fmla="*/ 303848 w 607695"/>
                <a:gd name="connsiteY5" fmla="*/ 0 h 607695"/>
                <a:gd name="connsiteX6" fmla="*/ 0 w 607695"/>
                <a:gd name="connsiteY6" fmla="*/ 303848 h 607695"/>
                <a:gd name="connsiteX7" fmla="*/ 303848 w 607695"/>
                <a:gd name="connsiteY7" fmla="*/ 607695 h 607695"/>
                <a:gd name="connsiteX8" fmla="*/ 607695 w 607695"/>
                <a:gd name="connsiteY8" fmla="*/ 303848 h 607695"/>
                <a:gd name="connsiteX9" fmla="*/ 303848 w 607695"/>
                <a:gd name="connsiteY9" fmla="*/ 0 h 607695"/>
                <a:gd name="connsiteX10" fmla="*/ 303848 w 607695"/>
                <a:gd name="connsiteY10" fmla="*/ 0 h 60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7695" h="607695">
                  <a:moveTo>
                    <a:pt x="303848" y="28575"/>
                  </a:moveTo>
                  <a:cubicBezTo>
                    <a:pt x="455295" y="28575"/>
                    <a:pt x="579120" y="152400"/>
                    <a:pt x="579120" y="303848"/>
                  </a:cubicBezTo>
                  <a:cubicBezTo>
                    <a:pt x="579120" y="455295"/>
                    <a:pt x="455295" y="579120"/>
                    <a:pt x="303848" y="579120"/>
                  </a:cubicBezTo>
                  <a:cubicBezTo>
                    <a:pt x="152400" y="579120"/>
                    <a:pt x="28575" y="455295"/>
                    <a:pt x="28575" y="303848"/>
                  </a:cubicBezTo>
                  <a:cubicBezTo>
                    <a:pt x="28575" y="152400"/>
                    <a:pt x="152400" y="28575"/>
                    <a:pt x="303848" y="28575"/>
                  </a:cubicBezTo>
                  <a:moveTo>
                    <a:pt x="303848" y="0"/>
                  </a:moveTo>
                  <a:cubicBezTo>
                    <a:pt x="136208" y="0"/>
                    <a:pt x="0" y="136208"/>
                    <a:pt x="0" y="303848"/>
                  </a:cubicBezTo>
                  <a:cubicBezTo>
                    <a:pt x="0" y="471488"/>
                    <a:pt x="136208" y="607695"/>
                    <a:pt x="303848" y="607695"/>
                  </a:cubicBezTo>
                  <a:cubicBezTo>
                    <a:pt x="471488" y="607695"/>
                    <a:pt x="607695" y="471488"/>
                    <a:pt x="607695" y="303848"/>
                  </a:cubicBezTo>
                  <a:cubicBezTo>
                    <a:pt x="607695" y="136208"/>
                    <a:pt x="471488" y="0"/>
                    <a:pt x="303848" y="0"/>
                  </a:cubicBezTo>
                  <a:lnTo>
                    <a:pt x="303848" y="0"/>
                  </a:lnTo>
                  <a:close/>
                </a:path>
              </a:pathLst>
            </a:custGeom>
            <a:solidFill>
              <a:srgbClr val="3D4647"/>
            </a:solidFill>
            <a:ln w="9525" cap="flat">
              <a:noFill/>
              <a:prstDash val="solid"/>
              <a:miter/>
            </a:ln>
          </p:spPr>
          <p:txBody>
            <a:bodyPr rtlCol="0" anchor="ctr"/>
            <a:lstStyle/>
            <a:p>
              <a:endParaRPr lang="en-US" dirty="0"/>
            </a:p>
          </p:txBody>
        </p:sp>
        <p:grpSp>
          <p:nvGrpSpPr>
            <p:cNvPr id="222" name="Group 221">
              <a:extLst>
                <a:ext uri="{FF2B5EF4-FFF2-40B4-BE49-F238E27FC236}">
                  <a16:creationId xmlns:a16="http://schemas.microsoft.com/office/drawing/2014/main" id="{4E98F605-ECFA-44F0-BDE9-208733D8BDCE}"/>
                </a:ext>
              </a:extLst>
            </p:cNvPr>
            <p:cNvGrpSpPr>
              <a:grpSpLocks noChangeAspect="1"/>
            </p:cNvGrpSpPr>
            <p:nvPr/>
          </p:nvGrpSpPr>
          <p:grpSpPr>
            <a:xfrm>
              <a:off x="4464085" y="3021865"/>
              <a:ext cx="246770" cy="384048"/>
              <a:chOff x="10195343" y="5869689"/>
              <a:chExt cx="262568" cy="408636"/>
            </a:xfrm>
          </p:grpSpPr>
          <p:sp>
            <p:nvSpPr>
              <p:cNvPr id="223" name="Freeform: Shape 222">
                <a:extLst>
                  <a:ext uri="{FF2B5EF4-FFF2-40B4-BE49-F238E27FC236}">
                    <a16:creationId xmlns:a16="http://schemas.microsoft.com/office/drawing/2014/main" id="{7A0CF803-DC93-4482-AD3A-22B0C09FAD23}"/>
                  </a:ext>
                </a:extLst>
              </p:cNvPr>
              <p:cNvSpPr/>
              <p:nvPr/>
            </p:nvSpPr>
            <p:spPr>
              <a:xfrm>
                <a:off x="10291180" y="6212683"/>
                <a:ext cx="72206" cy="65642"/>
              </a:xfrm>
              <a:custGeom>
                <a:avLst/>
                <a:gdLst>
                  <a:gd name="connsiteX0" fmla="*/ 72206 w 72206"/>
                  <a:gd name="connsiteY0" fmla="*/ 65642 h 65642"/>
                  <a:gd name="connsiteX1" fmla="*/ 0 w 72206"/>
                  <a:gd name="connsiteY1" fmla="*/ 65642 h 65642"/>
                  <a:gd name="connsiteX2" fmla="*/ 0 w 72206"/>
                  <a:gd name="connsiteY2" fmla="*/ 0 h 65642"/>
                  <a:gd name="connsiteX3" fmla="*/ 72206 w 72206"/>
                  <a:gd name="connsiteY3" fmla="*/ 0 h 65642"/>
                  <a:gd name="connsiteX4" fmla="*/ 72206 w 72206"/>
                  <a:gd name="connsiteY4" fmla="*/ 65642 h 65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6" h="65642">
                    <a:moveTo>
                      <a:pt x="72206" y="65642"/>
                    </a:moveTo>
                    <a:lnTo>
                      <a:pt x="0" y="65642"/>
                    </a:lnTo>
                    <a:lnTo>
                      <a:pt x="0" y="0"/>
                    </a:lnTo>
                    <a:lnTo>
                      <a:pt x="72206" y="0"/>
                    </a:lnTo>
                    <a:lnTo>
                      <a:pt x="72206" y="65642"/>
                    </a:lnTo>
                    <a:close/>
                  </a:path>
                </a:pathLst>
              </a:custGeom>
              <a:solidFill>
                <a:schemeClr val="accent1"/>
              </a:solidFill>
              <a:ln w="6548" cap="flat">
                <a:noFill/>
                <a:prstDash val="solid"/>
                <a:miter/>
              </a:ln>
            </p:spPr>
            <p:txBody>
              <a:bodyPr rtlCol="0" anchor="ctr"/>
              <a:lstStyle/>
              <a:p>
                <a:endParaRPr lang="en-US" dirty="0"/>
              </a:p>
            </p:txBody>
          </p:sp>
          <p:sp>
            <p:nvSpPr>
              <p:cNvPr id="224" name="Freeform: Shape 223">
                <a:extLst>
                  <a:ext uri="{FF2B5EF4-FFF2-40B4-BE49-F238E27FC236}">
                    <a16:creationId xmlns:a16="http://schemas.microsoft.com/office/drawing/2014/main" id="{C5B3994C-DEA4-4BBD-9403-92C99E5D8968}"/>
                  </a:ext>
                </a:extLst>
              </p:cNvPr>
              <p:cNvSpPr>
                <a:spLocks noChangeAspect="1"/>
              </p:cNvSpPr>
              <p:nvPr/>
            </p:nvSpPr>
            <p:spPr>
              <a:xfrm>
                <a:off x="10195343" y="5869689"/>
                <a:ext cx="262568" cy="308517"/>
              </a:xfrm>
              <a:custGeom>
                <a:avLst/>
                <a:gdLst>
                  <a:gd name="connsiteX0" fmla="*/ 202177 w 262568"/>
                  <a:gd name="connsiteY0" fmla="*/ 229747 h 308517"/>
                  <a:gd name="connsiteX1" fmla="*/ 173951 w 262568"/>
                  <a:gd name="connsiteY1" fmla="*/ 264537 h 308517"/>
                  <a:gd name="connsiteX2" fmla="*/ 168044 w 262568"/>
                  <a:gd name="connsiteY2" fmla="*/ 308518 h 308517"/>
                  <a:gd name="connsiteX3" fmla="*/ 98463 w 262568"/>
                  <a:gd name="connsiteY3" fmla="*/ 308518 h 308517"/>
                  <a:gd name="connsiteX4" fmla="*/ 98463 w 262568"/>
                  <a:gd name="connsiteY4" fmla="*/ 304579 h 308517"/>
                  <a:gd name="connsiteX5" fmla="*/ 137192 w 262568"/>
                  <a:gd name="connsiteY5" fmla="*/ 213993 h 308517"/>
                  <a:gd name="connsiteX6" fmla="*/ 177890 w 262568"/>
                  <a:gd name="connsiteY6" fmla="*/ 173295 h 308517"/>
                  <a:gd name="connsiteX7" fmla="*/ 192331 w 262568"/>
                  <a:gd name="connsiteY7" fmla="*/ 152290 h 308517"/>
                  <a:gd name="connsiteX8" fmla="*/ 196926 w 262568"/>
                  <a:gd name="connsiteY8" fmla="*/ 128002 h 308517"/>
                  <a:gd name="connsiteX9" fmla="*/ 192331 w 262568"/>
                  <a:gd name="connsiteY9" fmla="*/ 103714 h 308517"/>
                  <a:gd name="connsiteX10" fmla="*/ 178546 w 262568"/>
                  <a:gd name="connsiteY10" fmla="*/ 82709 h 308517"/>
                  <a:gd name="connsiteX11" fmla="*/ 157541 w 262568"/>
                  <a:gd name="connsiteY11" fmla="*/ 68924 h 308517"/>
                  <a:gd name="connsiteX12" fmla="*/ 131284 w 262568"/>
                  <a:gd name="connsiteY12" fmla="*/ 64329 h 308517"/>
                  <a:gd name="connsiteX13" fmla="*/ 84678 w 262568"/>
                  <a:gd name="connsiteY13" fmla="*/ 83365 h 308517"/>
                  <a:gd name="connsiteX14" fmla="*/ 65642 w 262568"/>
                  <a:gd name="connsiteY14" fmla="*/ 128002 h 308517"/>
                  <a:gd name="connsiteX15" fmla="*/ 0 w 262568"/>
                  <a:gd name="connsiteY15" fmla="*/ 128002 h 308517"/>
                  <a:gd name="connsiteX16" fmla="*/ 9846 w 262568"/>
                  <a:gd name="connsiteY16" fmla="*/ 78770 h 308517"/>
                  <a:gd name="connsiteX17" fmla="*/ 38072 w 262568"/>
                  <a:gd name="connsiteY17" fmla="*/ 37416 h 308517"/>
                  <a:gd name="connsiteX18" fmla="*/ 80740 w 262568"/>
                  <a:gd name="connsiteY18" fmla="*/ 9846 h 308517"/>
                  <a:gd name="connsiteX19" fmla="*/ 131284 w 262568"/>
                  <a:gd name="connsiteY19" fmla="*/ 0 h 308517"/>
                  <a:gd name="connsiteX20" fmla="*/ 181828 w 262568"/>
                  <a:gd name="connsiteY20" fmla="*/ 9846 h 308517"/>
                  <a:gd name="connsiteX21" fmla="*/ 224496 w 262568"/>
                  <a:gd name="connsiteY21" fmla="*/ 37416 h 308517"/>
                  <a:gd name="connsiteX22" fmla="*/ 252722 w 262568"/>
                  <a:gd name="connsiteY22" fmla="*/ 78770 h 308517"/>
                  <a:gd name="connsiteX23" fmla="*/ 262568 w 262568"/>
                  <a:gd name="connsiteY23" fmla="*/ 127346 h 308517"/>
                  <a:gd name="connsiteX24" fmla="*/ 232373 w 262568"/>
                  <a:gd name="connsiteY24" fmla="*/ 199552 h 308517"/>
                  <a:gd name="connsiteX25" fmla="*/ 202177 w 262568"/>
                  <a:gd name="connsiteY25" fmla="*/ 229747 h 30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2568" h="308517">
                    <a:moveTo>
                      <a:pt x="202177" y="229747"/>
                    </a:moveTo>
                    <a:cubicBezTo>
                      <a:pt x="189705" y="238937"/>
                      <a:pt x="179859" y="250753"/>
                      <a:pt x="173951" y="264537"/>
                    </a:cubicBezTo>
                    <a:cubicBezTo>
                      <a:pt x="168044" y="278322"/>
                      <a:pt x="166074" y="293420"/>
                      <a:pt x="168044" y="308518"/>
                    </a:cubicBezTo>
                    <a:lnTo>
                      <a:pt x="98463" y="308518"/>
                    </a:lnTo>
                    <a:lnTo>
                      <a:pt x="98463" y="304579"/>
                    </a:lnTo>
                    <a:cubicBezTo>
                      <a:pt x="98463" y="270445"/>
                      <a:pt x="112248" y="238281"/>
                      <a:pt x="137192" y="213993"/>
                    </a:cubicBezTo>
                    <a:lnTo>
                      <a:pt x="177890" y="173295"/>
                    </a:lnTo>
                    <a:cubicBezTo>
                      <a:pt x="183798" y="167387"/>
                      <a:pt x="189049" y="160167"/>
                      <a:pt x="192331" y="152290"/>
                    </a:cubicBezTo>
                    <a:cubicBezTo>
                      <a:pt x="195613" y="144412"/>
                      <a:pt x="197583" y="136535"/>
                      <a:pt x="196926" y="128002"/>
                    </a:cubicBezTo>
                    <a:cubicBezTo>
                      <a:pt x="196926" y="119469"/>
                      <a:pt x="195613" y="111591"/>
                      <a:pt x="192331" y="103714"/>
                    </a:cubicBezTo>
                    <a:cubicBezTo>
                      <a:pt x="189049" y="95837"/>
                      <a:pt x="184454" y="88617"/>
                      <a:pt x="178546" y="82709"/>
                    </a:cubicBezTo>
                    <a:cubicBezTo>
                      <a:pt x="172639" y="76801"/>
                      <a:pt x="165418" y="72206"/>
                      <a:pt x="157541" y="68924"/>
                    </a:cubicBezTo>
                    <a:cubicBezTo>
                      <a:pt x="148351" y="65642"/>
                      <a:pt x="139818" y="64329"/>
                      <a:pt x="131284" y="64329"/>
                    </a:cubicBezTo>
                    <a:cubicBezTo>
                      <a:pt x="113561" y="64329"/>
                      <a:pt x="97150" y="71550"/>
                      <a:pt x="84678" y="83365"/>
                    </a:cubicBezTo>
                    <a:cubicBezTo>
                      <a:pt x="72863" y="95181"/>
                      <a:pt x="65642" y="111591"/>
                      <a:pt x="65642" y="128002"/>
                    </a:cubicBezTo>
                    <a:lnTo>
                      <a:pt x="0" y="128002"/>
                    </a:lnTo>
                    <a:cubicBezTo>
                      <a:pt x="0" y="110935"/>
                      <a:pt x="3282" y="94525"/>
                      <a:pt x="9846" y="78770"/>
                    </a:cubicBezTo>
                    <a:cubicBezTo>
                      <a:pt x="16411" y="63016"/>
                      <a:pt x="26257" y="49232"/>
                      <a:pt x="38072" y="37416"/>
                    </a:cubicBezTo>
                    <a:cubicBezTo>
                      <a:pt x="50544" y="25600"/>
                      <a:pt x="64986" y="15754"/>
                      <a:pt x="80740" y="9846"/>
                    </a:cubicBezTo>
                    <a:cubicBezTo>
                      <a:pt x="96494" y="3282"/>
                      <a:pt x="113561" y="0"/>
                      <a:pt x="131284" y="0"/>
                    </a:cubicBezTo>
                    <a:cubicBezTo>
                      <a:pt x="148351" y="0"/>
                      <a:pt x="165418" y="3282"/>
                      <a:pt x="181828" y="9846"/>
                    </a:cubicBezTo>
                    <a:cubicBezTo>
                      <a:pt x="197583" y="16411"/>
                      <a:pt x="212024" y="25600"/>
                      <a:pt x="224496" y="37416"/>
                    </a:cubicBezTo>
                    <a:cubicBezTo>
                      <a:pt x="236968" y="49232"/>
                      <a:pt x="246158" y="63673"/>
                      <a:pt x="252722" y="78770"/>
                    </a:cubicBezTo>
                    <a:cubicBezTo>
                      <a:pt x="259286" y="94525"/>
                      <a:pt x="262568" y="110935"/>
                      <a:pt x="262568" y="127346"/>
                    </a:cubicBezTo>
                    <a:cubicBezTo>
                      <a:pt x="262568" y="154259"/>
                      <a:pt x="251409" y="179859"/>
                      <a:pt x="232373" y="199552"/>
                    </a:cubicBezTo>
                    <a:lnTo>
                      <a:pt x="202177" y="229747"/>
                    </a:lnTo>
                    <a:close/>
                  </a:path>
                </a:pathLst>
              </a:custGeom>
              <a:solidFill>
                <a:schemeClr val="accent1"/>
              </a:solidFill>
              <a:ln w="6548" cap="flat">
                <a:noFill/>
                <a:prstDash val="solid"/>
                <a:miter/>
              </a:ln>
            </p:spPr>
            <p:txBody>
              <a:bodyPr rtlCol="0" anchor="ctr"/>
              <a:lstStyle/>
              <a:p>
                <a:endParaRPr lang="en-US" dirty="0"/>
              </a:p>
            </p:txBody>
          </p:sp>
        </p:grpSp>
      </p:grpSp>
      <p:sp>
        <p:nvSpPr>
          <p:cNvPr id="244" name="Text Placeholder 81">
            <a:extLst>
              <a:ext uri="{FF2B5EF4-FFF2-40B4-BE49-F238E27FC236}">
                <a16:creationId xmlns:a16="http://schemas.microsoft.com/office/drawing/2014/main" id="{6C663352-280D-437F-860E-F0AC1D0E31EB}"/>
              </a:ext>
            </a:extLst>
          </p:cNvPr>
          <p:cNvSpPr txBox="1">
            <a:spLocks/>
          </p:cNvSpPr>
          <p:nvPr/>
        </p:nvSpPr>
        <p:spPr>
          <a:xfrm>
            <a:off x="7219643" y="2612893"/>
            <a:ext cx="201168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nfo</a:t>
            </a:r>
          </a:p>
        </p:txBody>
      </p:sp>
      <p:pic>
        <p:nvPicPr>
          <p:cNvPr id="249" name="Graphic 248">
            <a:extLst>
              <a:ext uri="{FF2B5EF4-FFF2-40B4-BE49-F238E27FC236}">
                <a16:creationId xmlns:a16="http://schemas.microsoft.com/office/drawing/2014/main" id="{9EFFEC27-2FBC-49C2-B09A-5A8E3D71FD6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03108" y="2837425"/>
            <a:ext cx="658368" cy="658368"/>
          </a:xfrm>
          <a:prstGeom prst="rect">
            <a:avLst/>
          </a:prstGeom>
        </p:spPr>
      </p:pic>
      <p:sp>
        <p:nvSpPr>
          <p:cNvPr id="90" name="Text Placeholder 81">
            <a:extLst>
              <a:ext uri="{FF2B5EF4-FFF2-40B4-BE49-F238E27FC236}">
                <a16:creationId xmlns:a16="http://schemas.microsoft.com/office/drawing/2014/main" id="{DCF35A2F-A3D9-4A7C-B0E9-E252474F34D6}"/>
              </a:ext>
            </a:extLst>
          </p:cNvPr>
          <p:cNvSpPr txBox="1">
            <a:spLocks/>
          </p:cNvSpPr>
          <p:nvPr/>
        </p:nvSpPr>
        <p:spPr>
          <a:xfrm>
            <a:off x="5713542" y="478534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ownload</a:t>
            </a:r>
          </a:p>
        </p:txBody>
      </p:sp>
      <p:sp>
        <p:nvSpPr>
          <p:cNvPr id="187" name="TextBox 186">
            <a:extLst>
              <a:ext uri="{FF2B5EF4-FFF2-40B4-BE49-F238E27FC236}">
                <a16:creationId xmlns:a16="http://schemas.microsoft.com/office/drawing/2014/main" id="{3A1712E1-8125-4470-947E-8E005390E693}"/>
              </a:ext>
            </a:extLst>
          </p:cNvPr>
          <p:cNvSpPr txBox="1"/>
          <p:nvPr/>
        </p:nvSpPr>
        <p:spPr>
          <a:xfrm>
            <a:off x="7943815" y="4785343"/>
            <a:ext cx="7446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xport</a:t>
            </a:r>
          </a:p>
        </p:txBody>
      </p:sp>
      <p:sp>
        <p:nvSpPr>
          <p:cNvPr id="197" name="TextBox 196">
            <a:extLst>
              <a:ext uri="{FF2B5EF4-FFF2-40B4-BE49-F238E27FC236}">
                <a16:creationId xmlns:a16="http://schemas.microsoft.com/office/drawing/2014/main" id="{B5027BA9-5CFC-4B06-A390-786E1E04D044}"/>
              </a:ext>
            </a:extLst>
          </p:cNvPr>
          <p:cNvSpPr txBox="1"/>
          <p:nvPr/>
        </p:nvSpPr>
        <p:spPr>
          <a:xfrm>
            <a:off x="8911490" y="4785343"/>
            <a:ext cx="46487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ogout</a:t>
            </a:r>
          </a:p>
        </p:txBody>
      </p:sp>
      <p:sp>
        <p:nvSpPr>
          <p:cNvPr id="114" name="Text Placeholder 81">
            <a:extLst>
              <a:ext uri="{FF2B5EF4-FFF2-40B4-BE49-F238E27FC236}">
                <a16:creationId xmlns:a16="http://schemas.microsoft.com/office/drawing/2014/main" id="{EB89C275-5DE4-41C1-B755-39F5F231682C}"/>
              </a:ext>
            </a:extLst>
          </p:cNvPr>
          <p:cNvSpPr txBox="1">
            <a:spLocks/>
          </p:cNvSpPr>
          <p:nvPr/>
        </p:nvSpPr>
        <p:spPr>
          <a:xfrm>
            <a:off x="6762791" y="478534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pload</a:t>
            </a:r>
          </a:p>
        </p:txBody>
      </p:sp>
      <p:pic>
        <p:nvPicPr>
          <p:cNvPr id="198" name="Graphic 197">
            <a:extLst>
              <a:ext uri="{FF2B5EF4-FFF2-40B4-BE49-F238E27FC236}">
                <a16:creationId xmlns:a16="http://schemas.microsoft.com/office/drawing/2014/main" id="{C6F5F788-985B-4317-9F10-748EC877306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3596" y="5000487"/>
            <a:ext cx="612648" cy="612648"/>
          </a:xfrm>
          <a:prstGeom prst="rect">
            <a:avLst/>
          </a:prstGeom>
        </p:spPr>
      </p:pic>
      <p:pic>
        <p:nvPicPr>
          <p:cNvPr id="199" name="Graphic 198">
            <a:extLst>
              <a:ext uri="{FF2B5EF4-FFF2-40B4-BE49-F238E27FC236}">
                <a16:creationId xmlns:a16="http://schemas.microsoft.com/office/drawing/2014/main" id="{0D5267A8-3CCE-4B1A-B38F-06280127709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6200000">
            <a:off x="8070083" y="5000488"/>
            <a:ext cx="612648" cy="612648"/>
          </a:xfrm>
          <a:prstGeom prst="rect">
            <a:avLst/>
          </a:prstGeom>
        </p:spPr>
      </p:pic>
      <p:grpSp>
        <p:nvGrpSpPr>
          <p:cNvPr id="29" name="Group 28">
            <a:extLst>
              <a:ext uri="{FF2B5EF4-FFF2-40B4-BE49-F238E27FC236}">
                <a16:creationId xmlns:a16="http://schemas.microsoft.com/office/drawing/2014/main" id="{FBFFE680-D7FF-4DFB-8D5D-1379FF17EF0D}"/>
              </a:ext>
            </a:extLst>
          </p:cNvPr>
          <p:cNvGrpSpPr>
            <a:grpSpLocks noChangeAspect="1"/>
          </p:cNvGrpSpPr>
          <p:nvPr/>
        </p:nvGrpSpPr>
        <p:grpSpPr>
          <a:xfrm>
            <a:off x="5895137" y="5000487"/>
            <a:ext cx="650302" cy="612648"/>
            <a:chOff x="6371603" y="3324506"/>
            <a:chExt cx="608647" cy="573405"/>
          </a:xfrm>
        </p:grpSpPr>
        <p:sp>
          <p:nvSpPr>
            <p:cNvPr id="14" name="Freeform: Shape 13">
              <a:extLst>
                <a:ext uri="{FF2B5EF4-FFF2-40B4-BE49-F238E27FC236}">
                  <a16:creationId xmlns:a16="http://schemas.microsoft.com/office/drawing/2014/main" id="{F9B1A39B-3742-46DE-AEC8-D55DCA022722}"/>
                </a:ext>
              </a:extLst>
            </p:cNvPr>
            <p:cNvSpPr/>
            <p:nvPr/>
          </p:nvSpPr>
          <p:spPr>
            <a:xfrm>
              <a:off x="6371603" y="3821711"/>
              <a:ext cx="608647" cy="76200"/>
            </a:xfrm>
            <a:custGeom>
              <a:avLst/>
              <a:gdLst>
                <a:gd name="connsiteX0" fmla="*/ 0 w 608647"/>
                <a:gd name="connsiteY0" fmla="*/ 0 h 76200"/>
                <a:gd name="connsiteX1" fmla="*/ 608648 w 608647"/>
                <a:gd name="connsiteY1" fmla="*/ 0 h 76200"/>
                <a:gd name="connsiteX2" fmla="*/ 608648 w 608647"/>
                <a:gd name="connsiteY2" fmla="*/ 76200 h 76200"/>
                <a:gd name="connsiteX3" fmla="*/ 0 w 608647"/>
                <a:gd name="connsiteY3" fmla="*/ 76200 h 76200"/>
              </a:gdLst>
              <a:ahLst/>
              <a:cxnLst>
                <a:cxn ang="0">
                  <a:pos x="connsiteX0" y="connsiteY0"/>
                </a:cxn>
                <a:cxn ang="0">
                  <a:pos x="connsiteX1" y="connsiteY1"/>
                </a:cxn>
                <a:cxn ang="0">
                  <a:pos x="connsiteX2" y="connsiteY2"/>
                </a:cxn>
                <a:cxn ang="0">
                  <a:pos x="connsiteX3" y="connsiteY3"/>
                </a:cxn>
              </a:cxnLst>
              <a:rect l="l" t="t" r="r" b="b"/>
              <a:pathLst>
                <a:path w="608647" h="76200">
                  <a:moveTo>
                    <a:pt x="0" y="0"/>
                  </a:moveTo>
                  <a:lnTo>
                    <a:pt x="608648" y="0"/>
                  </a:lnTo>
                  <a:lnTo>
                    <a:pt x="608648" y="76200"/>
                  </a:lnTo>
                  <a:lnTo>
                    <a:pt x="0" y="76200"/>
                  </a:lnTo>
                  <a:close/>
                </a:path>
              </a:pathLst>
            </a:custGeom>
            <a:solidFill>
              <a:srgbClr val="40AA1D"/>
            </a:solid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7BFEF096-A2C4-47BB-91EB-536464656CAB}"/>
                </a:ext>
              </a:extLst>
            </p:cNvPr>
            <p:cNvSpPr/>
            <p:nvPr/>
          </p:nvSpPr>
          <p:spPr>
            <a:xfrm rot="5400000">
              <a:off x="6465424" y="3372131"/>
              <a:ext cx="421004" cy="325754"/>
            </a:xfrm>
            <a:custGeom>
              <a:avLst/>
              <a:gdLst>
                <a:gd name="connsiteX0" fmla="*/ 421005 w 421004"/>
                <a:gd name="connsiteY0" fmla="*/ 162878 h 325754"/>
                <a:gd name="connsiteX1" fmla="*/ 199073 w 421004"/>
                <a:gd name="connsiteY1" fmla="*/ 0 h 325754"/>
                <a:gd name="connsiteX2" fmla="*/ 199073 w 421004"/>
                <a:gd name="connsiteY2" fmla="*/ 89535 h 325754"/>
                <a:gd name="connsiteX3" fmla="*/ 0 w 421004"/>
                <a:gd name="connsiteY3" fmla="*/ 89535 h 325754"/>
                <a:gd name="connsiteX4" fmla="*/ 0 w 421004"/>
                <a:gd name="connsiteY4" fmla="*/ 240983 h 325754"/>
                <a:gd name="connsiteX5" fmla="*/ 199073 w 421004"/>
                <a:gd name="connsiteY5" fmla="*/ 240983 h 325754"/>
                <a:gd name="connsiteX6" fmla="*/ 199073 w 421004"/>
                <a:gd name="connsiteY6" fmla="*/ 325755 h 32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004" h="325754">
                  <a:moveTo>
                    <a:pt x="421005" y="162878"/>
                  </a:moveTo>
                  <a:lnTo>
                    <a:pt x="199073" y="0"/>
                  </a:lnTo>
                  <a:lnTo>
                    <a:pt x="199073" y="89535"/>
                  </a:lnTo>
                  <a:lnTo>
                    <a:pt x="0" y="89535"/>
                  </a:lnTo>
                  <a:lnTo>
                    <a:pt x="0" y="240983"/>
                  </a:lnTo>
                  <a:lnTo>
                    <a:pt x="199073" y="240983"/>
                  </a:lnTo>
                  <a:lnTo>
                    <a:pt x="199073" y="325755"/>
                  </a:lnTo>
                  <a:close/>
                </a:path>
              </a:pathLst>
            </a:custGeom>
            <a:solidFill>
              <a:srgbClr val="3D4647"/>
            </a:solidFill>
            <a:ln w="9525" cap="flat">
              <a:noFill/>
              <a:prstDash val="solid"/>
              <a:miter/>
            </a:ln>
          </p:spPr>
          <p:txBody>
            <a:bodyPr rtlCol="0" anchor="ctr"/>
            <a:lstStyle/>
            <a:p>
              <a:endParaRPr lang="en-US" dirty="0"/>
            </a:p>
          </p:txBody>
        </p:sp>
      </p:grpSp>
      <p:sp>
        <p:nvSpPr>
          <p:cNvPr id="129" name="Text Placeholder 81">
            <a:extLst>
              <a:ext uri="{FF2B5EF4-FFF2-40B4-BE49-F238E27FC236}">
                <a16:creationId xmlns:a16="http://schemas.microsoft.com/office/drawing/2014/main" id="{E8C23634-DD0A-4701-A753-0350BFF6411A}"/>
              </a:ext>
            </a:extLst>
          </p:cNvPr>
          <p:cNvSpPr txBox="1">
            <a:spLocks/>
          </p:cNvSpPr>
          <p:nvPr/>
        </p:nvSpPr>
        <p:spPr>
          <a:xfrm>
            <a:off x="351071" y="261289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orld, Globe</a:t>
            </a:r>
          </a:p>
        </p:txBody>
      </p:sp>
      <p:sp>
        <p:nvSpPr>
          <p:cNvPr id="130" name="Text Placeholder 81">
            <a:extLst>
              <a:ext uri="{FF2B5EF4-FFF2-40B4-BE49-F238E27FC236}">
                <a16:creationId xmlns:a16="http://schemas.microsoft.com/office/drawing/2014/main" id="{5D2779D8-C759-400A-BA3D-09E01C8721B6}"/>
              </a:ext>
            </a:extLst>
          </p:cNvPr>
          <p:cNvSpPr txBox="1">
            <a:spLocks/>
          </p:cNvSpPr>
          <p:nvPr/>
        </p:nvSpPr>
        <p:spPr>
          <a:xfrm>
            <a:off x="9652617" y="1595856"/>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ye, View</a:t>
            </a:r>
          </a:p>
        </p:txBody>
      </p:sp>
      <p:pic>
        <p:nvPicPr>
          <p:cNvPr id="136" name="Graphic 135">
            <a:extLst>
              <a:ext uri="{FF2B5EF4-FFF2-40B4-BE49-F238E27FC236}">
                <a16:creationId xmlns:a16="http://schemas.microsoft.com/office/drawing/2014/main" id="{202F95DA-D1E8-49EA-9FE5-112D3E5973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740749" y="1972263"/>
            <a:ext cx="780288" cy="365760"/>
          </a:xfrm>
          <a:prstGeom prst="rect">
            <a:avLst/>
          </a:prstGeom>
        </p:spPr>
      </p:pic>
      <p:pic>
        <p:nvPicPr>
          <p:cNvPr id="138" name="Graphic 137">
            <a:extLst>
              <a:ext uri="{FF2B5EF4-FFF2-40B4-BE49-F238E27FC236}">
                <a16:creationId xmlns:a16="http://schemas.microsoft.com/office/drawing/2014/main" id="{FD3172D5-4CC0-4180-B6E1-7BD0F9B7CF2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44514" y="2865856"/>
            <a:ext cx="612648" cy="612648"/>
          </a:xfrm>
          <a:prstGeom prst="rect">
            <a:avLst/>
          </a:prstGeom>
        </p:spPr>
      </p:pic>
      <p:sp>
        <p:nvSpPr>
          <p:cNvPr id="147" name="TextBox 146">
            <a:extLst>
              <a:ext uri="{FF2B5EF4-FFF2-40B4-BE49-F238E27FC236}">
                <a16:creationId xmlns:a16="http://schemas.microsoft.com/office/drawing/2014/main" id="{8A00AF4C-BAC0-4D84-A250-F5896B4A0977}"/>
              </a:ext>
            </a:extLst>
          </p:cNvPr>
          <p:cNvSpPr txBox="1"/>
          <p:nvPr/>
        </p:nvSpPr>
        <p:spPr>
          <a:xfrm>
            <a:off x="11083259" y="1595856"/>
            <a:ext cx="53059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nvisible</a:t>
            </a:r>
          </a:p>
        </p:txBody>
      </p:sp>
      <p:pic>
        <p:nvPicPr>
          <p:cNvPr id="148" name="Graphic 147">
            <a:extLst>
              <a:ext uri="{FF2B5EF4-FFF2-40B4-BE49-F238E27FC236}">
                <a16:creationId xmlns:a16="http://schemas.microsoft.com/office/drawing/2014/main" id="{589BE133-47FD-4714-9D71-3899309A09F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1028515" y="1835103"/>
            <a:ext cx="640080" cy="640080"/>
          </a:xfrm>
          <a:prstGeom prst="rect">
            <a:avLst/>
          </a:prstGeom>
        </p:spPr>
      </p:pic>
      <p:sp>
        <p:nvSpPr>
          <p:cNvPr id="151" name="Text Placeholder 81">
            <a:extLst>
              <a:ext uri="{FF2B5EF4-FFF2-40B4-BE49-F238E27FC236}">
                <a16:creationId xmlns:a16="http://schemas.microsoft.com/office/drawing/2014/main" id="{FE8A1501-FEC2-4266-9345-10B6620D0E9E}"/>
              </a:ext>
            </a:extLst>
          </p:cNvPr>
          <p:cNvSpPr txBox="1">
            <a:spLocks/>
          </p:cNvSpPr>
          <p:nvPr/>
        </p:nvSpPr>
        <p:spPr>
          <a:xfrm>
            <a:off x="9515330" y="2604418"/>
            <a:ext cx="2011680" cy="137160"/>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rror, Alert, Warning </a:t>
            </a:r>
          </a:p>
          <a:p>
            <a:endParaRPr lang="en-US" dirty="0"/>
          </a:p>
        </p:txBody>
      </p:sp>
      <p:sp>
        <p:nvSpPr>
          <p:cNvPr id="162" name="Text Placeholder 81">
            <a:extLst>
              <a:ext uri="{FF2B5EF4-FFF2-40B4-BE49-F238E27FC236}">
                <a16:creationId xmlns:a16="http://schemas.microsoft.com/office/drawing/2014/main" id="{4918928B-165B-4F42-8849-97F06037608B}"/>
              </a:ext>
            </a:extLst>
          </p:cNvPr>
          <p:cNvSpPr txBox="1">
            <a:spLocks/>
          </p:cNvSpPr>
          <p:nvPr/>
        </p:nvSpPr>
        <p:spPr>
          <a:xfrm>
            <a:off x="1525541" y="478534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mage </a:t>
            </a:r>
          </a:p>
        </p:txBody>
      </p:sp>
      <p:pic>
        <p:nvPicPr>
          <p:cNvPr id="254" name="Graphic 253">
            <a:extLst>
              <a:ext uri="{FF2B5EF4-FFF2-40B4-BE49-F238E27FC236}">
                <a16:creationId xmlns:a16="http://schemas.microsoft.com/office/drawing/2014/main" id="{54637F0F-FA59-4C7B-870B-4DE1004E12C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730487" y="4986771"/>
            <a:ext cx="640080" cy="640080"/>
          </a:xfrm>
          <a:prstGeom prst="rect">
            <a:avLst/>
          </a:prstGeom>
        </p:spPr>
      </p:pic>
      <p:sp>
        <p:nvSpPr>
          <p:cNvPr id="126" name="Text Placeholder 81">
            <a:extLst>
              <a:ext uri="{FF2B5EF4-FFF2-40B4-BE49-F238E27FC236}">
                <a16:creationId xmlns:a16="http://schemas.microsoft.com/office/drawing/2014/main" id="{2EDAB517-6F77-4AC5-97FE-026B28FD9BD8}"/>
              </a:ext>
            </a:extLst>
          </p:cNvPr>
          <p:cNvSpPr txBox="1">
            <a:spLocks/>
          </p:cNvSpPr>
          <p:nvPr/>
        </p:nvSpPr>
        <p:spPr>
          <a:xfrm>
            <a:off x="4120501" y="3745861"/>
            <a:ext cx="118872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and, Pointing</a:t>
            </a:r>
          </a:p>
        </p:txBody>
      </p:sp>
      <p:pic>
        <p:nvPicPr>
          <p:cNvPr id="140" name="Graphic 139">
            <a:extLst>
              <a:ext uri="{FF2B5EF4-FFF2-40B4-BE49-F238E27FC236}">
                <a16:creationId xmlns:a16="http://schemas.microsoft.com/office/drawing/2014/main" id="{0B910D34-A93D-4DEC-904A-2086C5A45CF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5400000">
            <a:off x="4049452" y="3967734"/>
            <a:ext cx="612648" cy="612649"/>
          </a:xfrm>
          <a:prstGeom prst="rect">
            <a:avLst/>
          </a:prstGeom>
        </p:spPr>
      </p:pic>
      <p:pic>
        <p:nvPicPr>
          <p:cNvPr id="141" name="Graphic 140">
            <a:extLst>
              <a:ext uri="{FF2B5EF4-FFF2-40B4-BE49-F238E27FC236}">
                <a16:creationId xmlns:a16="http://schemas.microsoft.com/office/drawing/2014/main" id="{F869F4A5-6064-4298-99E8-C2CEEF3A846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16200000" flipH="1">
            <a:off x="4854086" y="3967734"/>
            <a:ext cx="612648" cy="612649"/>
          </a:xfrm>
          <a:prstGeom prst="rect">
            <a:avLst/>
          </a:prstGeom>
        </p:spPr>
      </p:pic>
      <p:sp>
        <p:nvSpPr>
          <p:cNvPr id="163" name="Text Placeholder 81">
            <a:extLst>
              <a:ext uri="{FF2B5EF4-FFF2-40B4-BE49-F238E27FC236}">
                <a16:creationId xmlns:a16="http://schemas.microsoft.com/office/drawing/2014/main" id="{A23D1CE3-7477-4D87-8C2B-26353AC6BB46}"/>
              </a:ext>
            </a:extLst>
          </p:cNvPr>
          <p:cNvSpPr txBox="1">
            <a:spLocks/>
          </p:cNvSpPr>
          <p:nvPr/>
        </p:nvSpPr>
        <p:spPr>
          <a:xfrm>
            <a:off x="1539268" y="374586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humbs Up, Like</a:t>
            </a:r>
          </a:p>
        </p:txBody>
      </p:sp>
      <p:sp>
        <p:nvSpPr>
          <p:cNvPr id="258" name="TextBox 257">
            <a:extLst>
              <a:ext uri="{FF2B5EF4-FFF2-40B4-BE49-F238E27FC236}">
                <a16:creationId xmlns:a16="http://schemas.microsoft.com/office/drawing/2014/main" id="{F80CD6ED-18E9-4C5A-BE90-AD67C2B1B436}"/>
              </a:ext>
            </a:extLst>
          </p:cNvPr>
          <p:cNvSpPr txBox="1"/>
          <p:nvPr/>
        </p:nvSpPr>
        <p:spPr>
          <a:xfrm>
            <a:off x="2663269" y="4785343"/>
            <a:ext cx="136499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ownload Image</a:t>
            </a:r>
          </a:p>
        </p:txBody>
      </p:sp>
      <p:pic>
        <p:nvPicPr>
          <p:cNvPr id="259" name="Graphic 258">
            <a:extLst>
              <a:ext uri="{FF2B5EF4-FFF2-40B4-BE49-F238E27FC236}">
                <a16:creationId xmlns:a16="http://schemas.microsoft.com/office/drawing/2014/main" id="{269FDA67-036C-430E-A9B1-748C24B3601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039444" y="5000487"/>
            <a:ext cx="612648" cy="612648"/>
          </a:xfrm>
          <a:prstGeom prst="rect">
            <a:avLst/>
          </a:prstGeom>
        </p:spPr>
      </p:pic>
      <p:sp>
        <p:nvSpPr>
          <p:cNvPr id="260" name="TextBox 259">
            <a:extLst>
              <a:ext uri="{FF2B5EF4-FFF2-40B4-BE49-F238E27FC236}">
                <a16:creationId xmlns:a16="http://schemas.microsoft.com/office/drawing/2014/main" id="{B7C2C644-BBB2-4C93-BDBD-61078455BBFA}"/>
              </a:ext>
            </a:extLst>
          </p:cNvPr>
          <p:cNvSpPr txBox="1"/>
          <p:nvPr/>
        </p:nvSpPr>
        <p:spPr>
          <a:xfrm>
            <a:off x="4187039" y="478534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pload Image</a:t>
            </a:r>
          </a:p>
        </p:txBody>
      </p:sp>
      <p:pic>
        <p:nvPicPr>
          <p:cNvPr id="261" name="Graphic 260">
            <a:extLst>
              <a:ext uri="{FF2B5EF4-FFF2-40B4-BE49-F238E27FC236}">
                <a16:creationId xmlns:a16="http://schemas.microsoft.com/office/drawing/2014/main" id="{A6F5E9E8-572B-4901-B728-77FDE5E10EE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405701" y="5000487"/>
            <a:ext cx="612648" cy="612648"/>
          </a:xfrm>
          <a:prstGeom prst="rect">
            <a:avLst/>
          </a:prstGeom>
        </p:spPr>
      </p:pic>
      <p:sp>
        <p:nvSpPr>
          <p:cNvPr id="262" name="TextBox 261">
            <a:extLst>
              <a:ext uri="{FF2B5EF4-FFF2-40B4-BE49-F238E27FC236}">
                <a16:creationId xmlns:a16="http://schemas.microsoft.com/office/drawing/2014/main" id="{ED9734AA-3754-44F2-A961-D055DD2655CA}"/>
              </a:ext>
            </a:extLst>
          </p:cNvPr>
          <p:cNvSpPr txBox="1"/>
          <p:nvPr/>
        </p:nvSpPr>
        <p:spPr>
          <a:xfrm>
            <a:off x="8950093" y="3745861"/>
            <a:ext cx="10972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Notification Bell</a:t>
            </a:r>
          </a:p>
        </p:txBody>
      </p:sp>
      <p:pic>
        <p:nvPicPr>
          <p:cNvPr id="263" name="Graphic 262">
            <a:extLst>
              <a:ext uri="{FF2B5EF4-FFF2-40B4-BE49-F238E27FC236}">
                <a16:creationId xmlns:a16="http://schemas.microsoft.com/office/drawing/2014/main" id="{D4C198D7-79DF-4456-BDE6-D10548658E3B}"/>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264090" y="3917459"/>
            <a:ext cx="609600" cy="609600"/>
          </a:xfrm>
          <a:prstGeom prst="rect">
            <a:avLst/>
          </a:prstGeom>
        </p:spPr>
      </p:pic>
      <p:grpSp>
        <p:nvGrpSpPr>
          <p:cNvPr id="6" name="Graphic 149">
            <a:extLst>
              <a:ext uri="{FF2B5EF4-FFF2-40B4-BE49-F238E27FC236}">
                <a16:creationId xmlns:a16="http://schemas.microsoft.com/office/drawing/2014/main" id="{E2BD8E44-52FA-D753-272E-4F8F0129A528}"/>
              </a:ext>
            </a:extLst>
          </p:cNvPr>
          <p:cNvGrpSpPr/>
          <p:nvPr/>
        </p:nvGrpSpPr>
        <p:grpSpPr>
          <a:xfrm>
            <a:off x="5459432" y="2856499"/>
            <a:ext cx="640080" cy="640080"/>
            <a:chOff x="5277655" y="2893849"/>
            <a:chExt cx="640080" cy="640080"/>
          </a:xfrm>
        </p:grpSpPr>
        <p:sp>
          <p:nvSpPr>
            <p:cNvPr id="9" name="Freeform: Shape 8">
              <a:extLst>
                <a:ext uri="{FF2B5EF4-FFF2-40B4-BE49-F238E27FC236}">
                  <a16:creationId xmlns:a16="http://schemas.microsoft.com/office/drawing/2014/main" id="{9F6AB3D7-4619-001D-F318-C98BB886E76E}"/>
                </a:ext>
              </a:extLst>
            </p:cNvPr>
            <p:cNvSpPr>
              <a:spLocks noChangeAspect="1"/>
            </p:cNvSpPr>
            <p:nvPr/>
          </p:nvSpPr>
          <p:spPr>
            <a:xfrm>
              <a:off x="5427827" y="3044725"/>
              <a:ext cx="339737" cy="338328"/>
            </a:xfrm>
            <a:custGeom>
              <a:avLst/>
              <a:gdLst>
                <a:gd name="connsiteX0" fmla="*/ 203025 w 241030"/>
                <a:gd name="connsiteY0" fmla="*/ 0 h 240030"/>
                <a:gd name="connsiteX1" fmla="*/ 241030 w 241030"/>
                <a:gd name="connsiteY1" fmla="*/ 38005 h 240030"/>
                <a:gd name="connsiteX2" fmla="*/ 159020 w 241030"/>
                <a:gd name="connsiteY2" fmla="*/ 120015 h 240030"/>
                <a:gd name="connsiteX3" fmla="*/ 241030 w 241030"/>
                <a:gd name="connsiteY3" fmla="*/ 203025 h 240030"/>
                <a:gd name="connsiteX4" fmla="*/ 203025 w 241030"/>
                <a:gd name="connsiteY4" fmla="*/ 240030 h 240030"/>
                <a:gd name="connsiteX5" fmla="*/ 121015 w 241030"/>
                <a:gd name="connsiteY5" fmla="*/ 158020 h 240030"/>
                <a:gd name="connsiteX6" fmla="*/ 38005 w 241030"/>
                <a:gd name="connsiteY6" fmla="*/ 240030 h 240030"/>
                <a:gd name="connsiteX7" fmla="*/ 1000 w 241030"/>
                <a:gd name="connsiteY7" fmla="*/ 202025 h 240030"/>
                <a:gd name="connsiteX8" fmla="*/ 83010 w 241030"/>
                <a:gd name="connsiteY8" fmla="*/ 120015 h 240030"/>
                <a:gd name="connsiteX9" fmla="*/ 0 w 241030"/>
                <a:gd name="connsiteY9" fmla="*/ 38005 h 240030"/>
                <a:gd name="connsiteX10" fmla="*/ 38005 w 241030"/>
                <a:gd name="connsiteY10" fmla="*/ 0 h 240030"/>
                <a:gd name="connsiteX11" fmla="*/ 121015 w 241030"/>
                <a:gd name="connsiteY11" fmla="*/ 82010 h 24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030" h="240030">
                  <a:moveTo>
                    <a:pt x="203025" y="0"/>
                  </a:moveTo>
                  <a:lnTo>
                    <a:pt x="241030" y="38005"/>
                  </a:lnTo>
                  <a:lnTo>
                    <a:pt x="159020" y="120015"/>
                  </a:lnTo>
                  <a:lnTo>
                    <a:pt x="241030" y="203025"/>
                  </a:lnTo>
                  <a:lnTo>
                    <a:pt x="203025" y="240030"/>
                  </a:lnTo>
                  <a:lnTo>
                    <a:pt x="121015" y="158020"/>
                  </a:lnTo>
                  <a:lnTo>
                    <a:pt x="38005" y="240030"/>
                  </a:lnTo>
                  <a:lnTo>
                    <a:pt x="1000" y="202025"/>
                  </a:lnTo>
                  <a:lnTo>
                    <a:pt x="83010" y="120015"/>
                  </a:lnTo>
                  <a:lnTo>
                    <a:pt x="0" y="38005"/>
                  </a:lnTo>
                  <a:lnTo>
                    <a:pt x="38005" y="0"/>
                  </a:lnTo>
                  <a:lnTo>
                    <a:pt x="121015" y="82010"/>
                  </a:lnTo>
                  <a:close/>
                </a:path>
              </a:pathLst>
            </a:custGeom>
            <a:solidFill>
              <a:srgbClr val="40AA1D"/>
            </a:solidFill>
            <a:ln w="9971"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ED845248-70FD-188B-A68F-7D0B462B9EC2}"/>
                </a:ext>
              </a:extLst>
            </p:cNvPr>
            <p:cNvSpPr/>
            <p:nvPr/>
          </p:nvSpPr>
          <p:spPr>
            <a:xfrm>
              <a:off x="5277655" y="2893849"/>
              <a:ext cx="640080" cy="640080"/>
            </a:xfrm>
            <a:custGeom>
              <a:avLst/>
              <a:gdLst>
                <a:gd name="connsiteX0" fmla="*/ 320040 w 640080"/>
                <a:gd name="connsiteY0" fmla="*/ 30004 h 640080"/>
                <a:gd name="connsiteX1" fmla="*/ 610076 w 640080"/>
                <a:gd name="connsiteY1" fmla="*/ 320040 h 640080"/>
                <a:gd name="connsiteX2" fmla="*/ 320040 w 640080"/>
                <a:gd name="connsiteY2" fmla="*/ 610076 h 640080"/>
                <a:gd name="connsiteX3" fmla="*/ 30004 w 640080"/>
                <a:gd name="connsiteY3" fmla="*/ 320040 h 640080"/>
                <a:gd name="connsiteX4" fmla="*/ 320040 w 640080"/>
                <a:gd name="connsiteY4" fmla="*/ 30004 h 640080"/>
                <a:gd name="connsiteX5" fmla="*/ 320040 w 640080"/>
                <a:gd name="connsiteY5" fmla="*/ 0 h 640080"/>
                <a:gd name="connsiteX6" fmla="*/ 0 w 640080"/>
                <a:gd name="connsiteY6" fmla="*/ 320040 h 640080"/>
                <a:gd name="connsiteX7" fmla="*/ 320040 w 640080"/>
                <a:gd name="connsiteY7" fmla="*/ 640080 h 640080"/>
                <a:gd name="connsiteX8" fmla="*/ 640080 w 640080"/>
                <a:gd name="connsiteY8" fmla="*/ 320040 h 640080"/>
                <a:gd name="connsiteX9" fmla="*/ 320040 w 640080"/>
                <a:gd name="connsiteY9" fmla="*/ 0 h 640080"/>
                <a:gd name="connsiteX10" fmla="*/ 320040 w 640080"/>
                <a:gd name="connsiteY10"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0080" h="640080">
                  <a:moveTo>
                    <a:pt x="320040" y="30004"/>
                  </a:moveTo>
                  <a:cubicBezTo>
                    <a:pt x="480060" y="30004"/>
                    <a:pt x="610076" y="160020"/>
                    <a:pt x="610076" y="320040"/>
                  </a:cubicBezTo>
                  <a:cubicBezTo>
                    <a:pt x="610076" y="480060"/>
                    <a:pt x="480060" y="610076"/>
                    <a:pt x="320040" y="610076"/>
                  </a:cubicBezTo>
                  <a:cubicBezTo>
                    <a:pt x="160020" y="610076"/>
                    <a:pt x="30004" y="480060"/>
                    <a:pt x="30004" y="320040"/>
                  </a:cubicBezTo>
                  <a:cubicBezTo>
                    <a:pt x="30004" y="160020"/>
                    <a:pt x="160020" y="30004"/>
                    <a:pt x="320040" y="30004"/>
                  </a:cubicBezTo>
                  <a:moveTo>
                    <a:pt x="320040" y="0"/>
                  </a:moveTo>
                  <a:cubicBezTo>
                    <a:pt x="143018" y="0"/>
                    <a:pt x="0" y="143018"/>
                    <a:pt x="0" y="320040"/>
                  </a:cubicBezTo>
                  <a:cubicBezTo>
                    <a:pt x="0" y="497062"/>
                    <a:pt x="143018" y="640080"/>
                    <a:pt x="320040" y="640080"/>
                  </a:cubicBezTo>
                  <a:cubicBezTo>
                    <a:pt x="497062" y="640080"/>
                    <a:pt x="640080" y="497062"/>
                    <a:pt x="640080" y="320040"/>
                  </a:cubicBezTo>
                  <a:cubicBezTo>
                    <a:pt x="640080" y="143018"/>
                    <a:pt x="497062" y="0"/>
                    <a:pt x="320040" y="0"/>
                  </a:cubicBezTo>
                  <a:lnTo>
                    <a:pt x="320040" y="0"/>
                  </a:lnTo>
                  <a:close/>
                </a:path>
              </a:pathLst>
            </a:custGeom>
            <a:solidFill>
              <a:srgbClr val="3D4647"/>
            </a:solidFill>
            <a:ln w="9971" cap="flat">
              <a:noFill/>
              <a:prstDash val="solid"/>
              <a:miter/>
            </a:ln>
          </p:spPr>
          <p:txBody>
            <a:bodyPr rtlCol="0" anchor="ctr"/>
            <a:lstStyle/>
            <a:p>
              <a:endParaRPr lang="en-US" dirty="0"/>
            </a:p>
          </p:txBody>
        </p:sp>
      </p:grpSp>
      <p:sp>
        <p:nvSpPr>
          <p:cNvPr id="161" name="Text Placeholder 81">
            <a:extLst>
              <a:ext uri="{FF2B5EF4-FFF2-40B4-BE49-F238E27FC236}">
                <a16:creationId xmlns:a16="http://schemas.microsoft.com/office/drawing/2014/main" id="{1F28F2B3-E822-4F48-8A3C-9EA66C20AA1B}"/>
              </a:ext>
            </a:extLst>
          </p:cNvPr>
          <p:cNvSpPr txBox="1">
            <a:spLocks/>
          </p:cNvSpPr>
          <p:nvPr/>
        </p:nvSpPr>
        <p:spPr>
          <a:xfrm>
            <a:off x="4656752" y="2612893"/>
            <a:ext cx="228600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move, Close</a:t>
            </a:r>
          </a:p>
        </p:txBody>
      </p:sp>
      <p:sp>
        <p:nvSpPr>
          <p:cNvPr id="47" name="Text Placeholder 81">
            <a:extLst>
              <a:ext uri="{FF2B5EF4-FFF2-40B4-BE49-F238E27FC236}">
                <a16:creationId xmlns:a16="http://schemas.microsoft.com/office/drawing/2014/main" id="{3D020271-DF13-4E90-B015-01610C678013}"/>
              </a:ext>
            </a:extLst>
          </p:cNvPr>
          <p:cNvSpPr txBox="1">
            <a:spLocks/>
          </p:cNvSpPr>
          <p:nvPr/>
        </p:nvSpPr>
        <p:spPr>
          <a:xfrm>
            <a:off x="5951576" y="5860776"/>
            <a:ext cx="1463040"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rows, Pointer</a:t>
            </a:r>
          </a:p>
        </p:txBody>
      </p:sp>
      <p:sp>
        <p:nvSpPr>
          <p:cNvPr id="152" name="TextBox 151">
            <a:extLst>
              <a:ext uri="{FF2B5EF4-FFF2-40B4-BE49-F238E27FC236}">
                <a16:creationId xmlns:a16="http://schemas.microsoft.com/office/drawing/2014/main" id="{E66BA060-B452-40A8-B9CF-5ADC73801253}"/>
              </a:ext>
            </a:extLst>
          </p:cNvPr>
          <p:cNvSpPr txBox="1">
            <a:spLocks/>
          </p:cNvSpPr>
          <p:nvPr/>
        </p:nvSpPr>
        <p:spPr>
          <a:xfrm>
            <a:off x="7538393" y="5860776"/>
            <a:ext cx="1280160" cy="137160"/>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hevrons</a:t>
            </a:r>
          </a:p>
        </p:txBody>
      </p:sp>
      <p:pic>
        <p:nvPicPr>
          <p:cNvPr id="167" name="Graphic 166">
            <a:extLst>
              <a:ext uri="{FF2B5EF4-FFF2-40B4-BE49-F238E27FC236}">
                <a16:creationId xmlns:a16="http://schemas.microsoft.com/office/drawing/2014/main" id="{3999594C-72F8-4ACA-B352-4668FA8E958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flipV="1">
            <a:off x="7561105" y="6191607"/>
            <a:ext cx="612648" cy="382906"/>
          </a:xfrm>
          <a:prstGeom prst="rect">
            <a:avLst/>
          </a:prstGeom>
        </p:spPr>
      </p:pic>
      <p:pic>
        <p:nvPicPr>
          <p:cNvPr id="171" name="Graphic 170">
            <a:extLst>
              <a:ext uri="{FF2B5EF4-FFF2-40B4-BE49-F238E27FC236}">
                <a16:creationId xmlns:a16="http://schemas.microsoft.com/office/drawing/2014/main" id="{117021BC-C21F-41CD-9076-9BF0398A11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8329839" y="6191607"/>
            <a:ext cx="612648" cy="382906"/>
          </a:xfrm>
          <a:prstGeom prst="rect">
            <a:avLst/>
          </a:prstGeom>
        </p:spPr>
      </p:pic>
      <p:sp>
        <p:nvSpPr>
          <p:cNvPr id="172" name="TextBox 171">
            <a:extLst>
              <a:ext uri="{FF2B5EF4-FFF2-40B4-BE49-F238E27FC236}">
                <a16:creationId xmlns:a16="http://schemas.microsoft.com/office/drawing/2014/main" id="{21938F7F-A9C9-4937-94C3-D6A7DE0A5AD7}"/>
              </a:ext>
            </a:extLst>
          </p:cNvPr>
          <p:cNvSpPr txBox="1"/>
          <p:nvPr/>
        </p:nvSpPr>
        <p:spPr>
          <a:xfrm>
            <a:off x="9194851" y="5860776"/>
            <a:ext cx="457200" cy="15234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rag</a:t>
            </a:r>
          </a:p>
        </p:txBody>
      </p:sp>
      <p:pic>
        <p:nvPicPr>
          <p:cNvPr id="175" name="Graphic 174">
            <a:extLst>
              <a:ext uri="{FF2B5EF4-FFF2-40B4-BE49-F238E27FC236}">
                <a16:creationId xmlns:a16="http://schemas.microsoft.com/office/drawing/2014/main" id="{B1157605-BA0E-45CA-8ADB-5805BE82DFD2}"/>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9118651" y="6078260"/>
            <a:ext cx="609600" cy="609600"/>
          </a:xfrm>
          <a:prstGeom prst="rect">
            <a:avLst/>
          </a:prstGeom>
        </p:spPr>
      </p:pic>
      <p:pic>
        <p:nvPicPr>
          <p:cNvPr id="12" name="Graphic 11">
            <a:extLst>
              <a:ext uri="{FF2B5EF4-FFF2-40B4-BE49-F238E27FC236}">
                <a16:creationId xmlns:a16="http://schemas.microsoft.com/office/drawing/2014/main" id="{6ED572CE-3055-575B-4F3A-C2ACFDCACCD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flipH="1">
            <a:off x="6458964" y="6078260"/>
            <a:ext cx="609600" cy="609600"/>
          </a:xfrm>
          <a:prstGeom prst="rect">
            <a:avLst/>
          </a:prstGeom>
        </p:spPr>
      </p:pic>
      <p:sp>
        <p:nvSpPr>
          <p:cNvPr id="17" name="Text Placeholder 81">
            <a:extLst>
              <a:ext uri="{FF2B5EF4-FFF2-40B4-BE49-F238E27FC236}">
                <a16:creationId xmlns:a16="http://schemas.microsoft.com/office/drawing/2014/main" id="{AE1C7DA7-5F09-EA66-EE09-066D551ED361}"/>
              </a:ext>
            </a:extLst>
          </p:cNvPr>
          <p:cNvSpPr txBox="1">
            <a:spLocks/>
          </p:cNvSpPr>
          <p:nvPr/>
        </p:nvSpPr>
        <p:spPr>
          <a:xfrm>
            <a:off x="502478" y="5860776"/>
            <a:ext cx="5212080" cy="15234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rows, Pointer</a:t>
            </a:r>
          </a:p>
        </p:txBody>
      </p:sp>
      <p:sp>
        <p:nvSpPr>
          <p:cNvPr id="18" name="Text Placeholder 81">
            <a:extLst>
              <a:ext uri="{FF2B5EF4-FFF2-40B4-BE49-F238E27FC236}">
                <a16:creationId xmlns:a16="http://schemas.microsoft.com/office/drawing/2014/main" id="{15791D4E-A8FB-FED1-801A-0D7FA39817B8}"/>
              </a:ext>
            </a:extLst>
          </p:cNvPr>
          <p:cNvSpPr txBox="1">
            <a:spLocks/>
          </p:cNvSpPr>
          <p:nvPr/>
        </p:nvSpPr>
        <p:spPr>
          <a:xfrm>
            <a:off x="6639590" y="374586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dd, Plus Sign </a:t>
            </a:r>
          </a:p>
        </p:txBody>
      </p:sp>
      <p:pic>
        <p:nvPicPr>
          <p:cNvPr id="19" name="Graphic 18">
            <a:extLst>
              <a:ext uri="{FF2B5EF4-FFF2-40B4-BE49-F238E27FC236}">
                <a16:creationId xmlns:a16="http://schemas.microsoft.com/office/drawing/2014/main" id="{D8F80714-C2F4-ADE4-1687-6040089BEE5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8058284" y="4207050"/>
            <a:ext cx="612648" cy="134017"/>
          </a:xfrm>
          <a:prstGeom prst="rect">
            <a:avLst/>
          </a:prstGeom>
        </p:spPr>
      </p:pic>
      <p:pic>
        <p:nvPicPr>
          <p:cNvPr id="20" name="Graphic 19">
            <a:extLst>
              <a:ext uri="{FF2B5EF4-FFF2-40B4-BE49-F238E27FC236}">
                <a16:creationId xmlns:a16="http://schemas.microsoft.com/office/drawing/2014/main" id="{86AF6CAE-A1F7-4518-C721-BE975F1A2027}"/>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6852478" y="3967734"/>
            <a:ext cx="612648" cy="612648"/>
          </a:xfrm>
          <a:prstGeom prst="rect">
            <a:avLst/>
          </a:prstGeom>
        </p:spPr>
      </p:pic>
      <p:sp>
        <p:nvSpPr>
          <p:cNvPr id="22" name="Text Placeholder 81">
            <a:extLst>
              <a:ext uri="{FF2B5EF4-FFF2-40B4-BE49-F238E27FC236}">
                <a16:creationId xmlns:a16="http://schemas.microsoft.com/office/drawing/2014/main" id="{E210939B-5921-2432-1F31-C8FA2C7192CA}"/>
              </a:ext>
            </a:extLst>
          </p:cNvPr>
          <p:cNvSpPr txBox="1">
            <a:spLocks/>
          </p:cNvSpPr>
          <p:nvPr/>
        </p:nvSpPr>
        <p:spPr>
          <a:xfrm>
            <a:off x="7856240" y="3745861"/>
            <a:ext cx="74013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inus</a:t>
            </a:r>
          </a:p>
        </p:txBody>
      </p:sp>
      <p:sp>
        <p:nvSpPr>
          <p:cNvPr id="23" name="TextBox 22">
            <a:extLst>
              <a:ext uri="{FF2B5EF4-FFF2-40B4-BE49-F238E27FC236}">
                <a16:creationId xmlns:a16="http://schemas.microsoft.com/office/drawing/2014/main" id="{0BA24E5B-A62B-B98C-E1F2-E158BE1D8C40}"/>
              </a:ext>
            </a:extLst>
          </p:cNvPr>
          <p:cNvSpPr txBox="1"/>
          <p:nvPr/>
        </p:nvSpPr>
        <p:spPr>
          <a:xfrm>
            <a:off x="10923641" y="5731065"/>
            <a:ext cx="84982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enu, </a:t>
            </a:r>
            <a:br>
              <a:rPr lang="en-US" dirty="0"/>
            </a:br>
            <a:r>
              <a:rPr lang="en-US" dirty="0"/>
              <a:t>Hamburger</a:t>
            </a:r>
          </a:p>
        </p:txBody>
      </p:sp>
      <p:pic>
        <p:nvPicPr>
          <p:cNvPr id="24" name="Graphic 23">
            <a:extLst>
              <a:ext uri="{FF2B5EF4-FFF2-40B4-BE49-F238E27FC236}">
                <a16:creationId xmlns:a16="http://schemas.microsoft.com/office/drawing/2014/main" id="{6882E9DA-5B9A-0537-B5FE-7E557AC28DF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11042231" y="6028768"/>
            <a:ext cx="612648" cy="612648"/>
          </a:xfrm>
          <a:prstGeom prst="rect">
            <a:avLst/>
          </a:prstGeom>
        </p:spPr>
      </p:pic>
      <p:sp>
        <p:nvSpPr>
          <p:cNvPr id="27" name="Text Placeholder 81">
            <a:extLst>
              <a:ext uri="{FF2B5EF4-FFF2-40B4-BE49-F238E27FC236}">
                <a16:creationId xmlns:a16="http://schemas.microsoft.com/office/drawing/2014/main" id="{507E8CA7-843E-0683-C9AA-A97DFF14711D}"/>
              </a:ext>
            </a:extLst>
          </p:cNvPr>
          <p:cNvSpPr txBox="1">
            <a:spLocks/>
          </p:cNvSpPr>
          <p:nvPr/>
        </p:nvSpPr>
        <p:spPr>
          <a:xfrm>
            <a:off x="147469" y="4785343"/>
            <a:ext cx="130215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lag</a:t>
            </a:r>
          </a:p>
        </p:txBody>
      </p:sp>
      <p:pic>
        <p:nvPicPr>
          <p:cNvPr id="28" name="Graphic 27">
            <a:extLst>
              <a:ext uri="{FF2B5EF4-FFF2-40B4-BE49-F238E27FC236}">
                <a16:creationId xmlns:a16="http://schemas.microsoft.com/office/drawing/2014/main" id="{07C8323C-E310-03B6-46B3-9565924F3AF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546038" y="5012905"/>
            <a:ext cx="609600" cy="609600"/>
          </a:xfrm>
          <a:prstGeom prst="rect">
            <a:avLst/>
          </a:prstGeom>
        </p:spPr>
      </p:pic>
      <p:sp>
        <p:nvSpPr>
          <p:cNvPr id="32" name="Text Placeholder 81">
            <a:extLst>
              <a:ext uri="{FF2B5EF4-FFF2-40B4-BE49-F238E27FC236}">
                <a16:creationId xmlns:a16="http://schemas.microsoft.com/office/drawing/2014/main" id="{916FB371-925B-B9E2-B115-DF34E1C2FCCF}"/>
              </a:ext>
            </a:extLst>
          </p:cNvPr>
          <p:cNvSpPr txBox="1">
            <a:spLocks/>
          </p:cNvSpPr>
          <p:nvPr/>
        </p:nvSpPr>
        <p:spPr>
          <a:xfrm>
            <a:off x="1357903" y="154104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ock </a:t>
            </a:r>
          </a:p>
        </p:txBody>
      </p:sp>
      <p:pic>
        <p:nvPicPr>
          <p:cNvPr id="33" name="Graphic 32">
            <a:extLst>
              <a:ext uri="{FF2B5EF4-FFF2-40B4-BE49-F238E27FC236}">
                <a16:creationId xmlns:a16="http://schemas.microsoft.com/office/drawing/2014/main" id="{22375DAA-473B-C96A-56D0-9A77BAA0C00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555181" y="1774435"/>
            <a:ext cx="609600" cy="609600"/>
          </a:xfrm>
          <a:prstGeom prst="rect">
            <a:avLst/>
          </a:prstGeom>
        </p:spPr>
      </p:pic>
      <p:pic>
        <p:nvPicPr>
          <p:cNvPr id="34" name="Graphic 33">
            <a:extLst>
              <a:ext uri="{FF2B5EF4-FFF2-40B4-BE49-F238E27FC236}">
                <a16:creationId xmlns:a16="http://schemas.microsoft.com/office/drawing/2014/main" id="{E98DC9B2-683F-C0BA-3EBC-3354FB87C8C0}"/>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546038" y="1774435"/>
            <a:ext cx="609600" cy="609600"/>
          </a:xfrm>
          <a:prstGeom prst="rect">
            <a:avLst/>
          </a:prstGeom>
        </p:spPr>
      </p:pic>
      <p:sp>
        <p:nvSpPr>
          <p:cNvPr id="35" name="Text Placeholder 81">
            <a:extLst>
              <a:ext uri="{FF2B5EF4-FFF2-40B4-BE49-F238E27FC236}">
                <a16:creationId xmlns:a16="http://schemas.microsoft.com/office/drawing/2014/main" id="{D7F97BC6-8ACB-CB6F-050F-BACAD45A6409}"/>
              </a:ext>
            </a:extLst>
          </p:cNvPr>
          <p:cNvSpPr txBox="1">
            <a:spLocks/>
          </p:cNvSpPr>
          <p:nvPr/>
        </p:nvSpPr>
        <p:spPr>
          <a:xfrm>
            <a:off x="325852" y="154104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nlock </a:t>
            </a:r>
          </a:p>
        </p:txBody>
      </p:sp>
      <p:pic>
        <p:nvPicPr>
          <p:cNvPr id="36" name="Graphic 35">
            <a:extLst>
              <a:ext uri="{FF2B5EF4-FFF2-40B4-BE49-F238E27FC236}">
                <a16:creationId xmlns:a16="http://schemas.microsoft.com/office/drawing/2014/main" id="{B19D0924-6EDC-0363-72F6-D59F306F0BA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4628579" y="1774435"/>
            <a:ext cx="609600" cy="609600"/>
          </a:xfrm>
          <a:prstGeom prst="rect">
            <a:avLst/>
          </a:prstGeom>
        </p:spPr>
      </p:pic>
      <p:sp>
        <p:nvSpPr>
          <p:cNvPr id="37" name="Text Placeholder 81">
            <a:extLst>
              <a:ext uri="{FF2B5EF4-FFF2-40B4-BE49-F238E27FC236}">
                <a16:creationId xmlns:a16="http://schemas.microsoft.com/office/drawing/2014/main" id="{A4871316-36C1-3480-4550-2B5EDE2BCD04}"/>
              </a:ext>
            </a:extLst>
          </p:cNvPr>
          <p:cNvSpPr txBox="1">
            <a:spLocks/>
          </p:cNvSpPr>
          <p:nvPr/>
        </p:nvSpPr>
        <p:spPr>
          <a:xfrm>
            <a:off x="4422706" y="154104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ync</a:t>
            </a:r>
          </a:p>
        </p:txBody>
      </p:sp>
      <p:sp>
        <p:nvSpPr>
          <p:cNvPr id="38" name="Text Placeholder 81">
            <a:extLst>
              <a:ext uri="{FF2B5EF4-FFF2-40B4-BE49-F238E27FC236}">
                <a16:creationId xmlns:a16="http://schemas.microsoft.com/office/drawing/2014/main" id="{066D83EE-C729-6A99-C7B7-07CCE4E08AC9}"/>
              </a:ext>
            </a:extLst>
          </p:cNvPr>
          <p:cNvSpPr txBox="1">
            <a:spLocks/>
          </p:cNvSpPr>
          <p:nvPr/>
        </p:nvSpPr>
        <p:spPr>
          <a:xfrm>
            <a:off x="7711695" y="1541043"/>
            <a:ext cx="7315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fresh</a:t>
            </a:r>
          </a:p>
        </p:txBody>
      </p:sp>
      <p:sp>
        <p:nvSpPr>
          <p:cNvPr id="39" name="Text Placeholder 81">
            <a:extLst>
              <a:ext uri="{FF2B5EF4-FFF2-40B4-BE49-F238E27FC236}">
                <a16:creationId xmlns:a16="http://schemas.microsoft.com/office/drawing/2014/main" id="{15934514-A0AA-6016-FF6B-8C7B7973FE8B}"/>
              </a:ext>
            </a:extLst>
          </p:cNvPr>
          <p:cNvSpPr txBox="1">
            <a:spLocks/>
          </p:cNvSpPr>
          <p:nvPr/>
        </p:nvSpPr>
        <p:spPr>
          <a:xfrm>
            <a:off x="5646741" y="1541043"/>
            <a:ext cx="1666959"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cent, Update</a:t>
            </a:r>
          </a:p>
        </p:txBody>
      </p:sp>
      <p:grpSp>
        <p:nvGrpSpPr>
          <p:cNvPr id="40" name="Group 39">
            <a:extLst>
              <a:ext uri="{FF2B5EF4-FFF2-40B4-BE49-F238E27FC236}">
                <a16:creationId xmlns:a16="http://schemas.microsoft.com/office/drawing/2014/main" id="{5AE70DD1-AB96-6BC1-A23D-B2461746548E}"/>
              </a:ext>
            </a:extLst>
          </p:cNvPr>
          <p:cNvGrpSpPr/>
          <p:nvPr/>
        </p:nvGrpSpPr>
        <p:grpSpPr>
          <a:xfrm>
            <a:off x="6673447" y="1774435"/>
            <a:ext cx="609600" cy="609600"/>
            <a:chOff x="5791200" y="3124200"/>
            <a:chExt cx="609600" cy="609600"/>
          </a:xfrm>
        </p:grpSpPr>
        <p:pic>
          <p:nvPicPr>
            <p:cNvPr id="41" name="Graphic 40">
              <a:extLst>
                <a:ext uri="{FF2B5EF4-FFF2-40B4-BE49-F238E27FC236}">
                  <a16:creationId xmlns:a16="http://schemas.microsoft.com/office/drawing/2014/main" id="{C67CF86E-9CE9-710D-9C06-BFABF5080595}"/>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5791200" y="3124200"/>
              <a:ext cx="609600" cy="609600"/>
            </a:xfrm>
            <a:prstGeom prst="rect">
              <a:avLst/>
            </a:prstGeom>
          </p:spPr>
        </p:pic>
        <p:pic>
          <p:nvPicPr>
            <p:cNvPr id="42" name="Graphic 41">
              <a:extLst>
                <a:ext uri="{FF2B5EF4-FFF2-40B4-BE49-F238E27FC236}">
                  <a16:creationId xmlns:a16="http://schemas.microsoft.com/office/drawing/2014/main" id="{103C0E69-F677-0FB4-1291-61099322ABE8}"/>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6002054" y="3335054"/>
              <a:ext cx="187893" cy="187893"/>
            </a:xfrm>
            <a:prstGeom prst="rect">
              <a:avLst/>
            </a:prstGeom>
          </p:spPr>
        </p:pic>
      </p:grpSp>
      <p:pic>
        <p:nvPicPr>
          <p:cNvPr id="44" name="Graphic 43">
            <a:extLst>
              <a:ext uri="{FF2B5EF4-FFF2-40B4-BE49-F238E27FC236}">
                <a16:creationId xmlns:a16="http://schemas.microsoft.com/office/drawing/2014/main" id="{C2395446-4F16-5C2A-7A88-BF1202F94F34}"/>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7695881" y="1774435"/>
            <a:ext cx="609600" cy="609600"/>
          </a:xfrm>
          <a:prstGeom prst="rect">
            <a:avLst/>
          </a:prstGeom>
        </p:spPr>
      </p:pic>
      <p:sp>
        <p:nvSpPr>
          <p:cNvPr id="45" name="TextBox 44">
            <a:extLst>
              <a:ext uri="{FF2B5EF4-FFF2-40B4-BE49-F238E27FC236}">
                <a16:creationId xmlns:a16="http://schemas.microsoft.com/office/drawing/2014/main" id="{424636EE-045A-49C0-27B5-01BB85F9397D}"/>
              </a:ext>
            </a:extLst>
          </p:cNvPr>
          <p:cNvSpPr txBox="1"/>
          <p:nvPr/>
        </p:nvSpPr>
        <p:spPr>
          <a:xfrm>
            <a:off x="8729244" y="1541043"/>
            <a:ext cx="46006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istory</a:t>
            </a:r>
          </a:p>
        </p:txBody>
      </p:sp>
      <p:pic>
        <p:nvPicPr>
          <p:cNvPr id="46" name="Graphic 45">
            <a:extLst>
              <a:ext uri="{FF2B5EF4-FFF2-40B4-BE49-F238E27FC236}">
                <a16:creationId xmlns:a16="http://schemas.microsoft.com/office/drawing/2014/main" id="{8E7D0A7B-E374-7FEC-FE6B-C982A5D3754F}"/>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8718315" y="1774435"/>
            <a:ext cx="609600" cy="609600"/>
          </a:xfrm>
          <a:prstGeom prst="rect">
            <a:avLst/>
          </a:prstGeom>
        </p:spPr>
      </p:pic>
      <p:pic>
        <p:nvPicPr>
          <p:cNvPr id="48" name="Graphic 47">
            <a:extLst>
              <a:ext uri="{FF2B5EF4-FFF2-40B4-BE49-F238E27FC236}">
                <a16:creationId xmlns:a16="http://schemas.microsoft.com/office/drawing/2014/main" id="{A1C75089-146A-2FFE-AE5E-9283942C0722}"/>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flipH="1">
            <a:off x="5651013" y="1774435"/>
            <a:ext cx="609600" cy="609600"/>
          </a:xfrm>
          <a:prstGeom prst="rect">
            <a:avLst/>
          </a:prstGeom>
        </p:spPr>
      </p:pic>
      <p:sp>
        <p:nvSpPr>
          <p:cNvPr id="50" name="TextBox 49">
            <a:extLst>
              <a:ext uri="{FF2B5EF4-FFF2-40B4-BE49-F238E27FC236}">
                <a16:creationId xmlns:a16="http://schemas.microsoft.com/office/drawing/2014/main" id="{EE67F25E-3570-A51D-9C77-5352CBF3E0C7}"/>
              </a:ext>
            </a:extLst>
          </p:cNvPr>
          <p:cNvSpPr txBox="1"/>
          <p:nvPr/>
        </p:nvSpPr>
        <p:spPr>
          <a:xfrm>
            <a:off x="2787210" y="1541043"/>
            <a:ext cx="37670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nlink</a:t>
            </a:r>
          </a:p>
        </p:txBody>
      </p:sp>
      <p:pic>
        <p:nvPicPr>
          <p:cNvPr id="51" name="Graphic 50">
            <a:extLst>
              <a:ext uri="{FF2B5EF4-FFF2-40B4-BE49-F238E27FC236}">
                <a16:creationId xmlns:a16="http://schemas.microsoft.com/office/drawing/2014/main" id="{452696CA-CE5E-DF06-E5F5-2FE1E1D0A995}"/>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2577615" y="1772911"/>
            <a:ext cx="612648" cy="612648"/>
          </a:xfrm>
          <a:prstGeom prst="rect">
            <a:avLst/>
          </a:prstGeom>
        </p:spPr>
      </p:pic>
      <p:sp>
        <p:nvSpPr>
          <p:cNvPr id="52" name="Text Placeholder 81">
            <a:extLst>
              <a:ext uri="{FF2B5EF4-FFF2-40B4-BE49-F238E27FC236}">
                <a16:creationId xmlns:a16="http://schemas.microsoft.com/office/drawing/2014/main" id="{0831F5BA-6C45-9A25-1C34-C7B20970252D}"/>
              </a:ext>
            </a:extLst>
          </p:cNvPr>
          <p:cNvSpPr txBox="1">
            <a:spLocks/>
          </p:cNvSpPr>
          <p:nvPr/>
        </p:nvSpPr>
        <p:spPr>
          <a:xfrm>
            <a:off x="3767187" y="1541043"/>
            <a:ext cx="6400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ink </a:t>
            </a:r>
          </a:p>
        </p:txBody>
      </p:sp>
      <p:pic>
        <p:nvPicPr>
          <p:cNvPr id="53" name="Graphic 52">
            <a:extLst>
              <a:ext uri="{FF2B5EF4-FFF2-40B4-BE49-F238E27FC236}">
                <a16:creationId xmlns:a16="http://schemas.microsoft.com/office/drawing/2014/main" id="{73398D6A-7CC6-5099-D69E-10A46195019F}"/>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3603097" y="1772911"/>
            <a:ext cx="612648" cy="612648"/>
          </a:xfrm>
          <a:prstGeom prst="rect">
            <a:avLst/>
          </a:prstGeom>
        </p:spPr>
      </p:pic>
      <p:sp>
        <p:nvSpPr>
          <p:cNvPr id="7" name="Rectangle 6">
            <a:extLst>
              <a:ext uri="{FF2B5EF4-FFF2-40B4-BE49-F238E27FC236}">
                <a16:creationId xmlns:a16="http://schemas.microsoft.com/office/drawing/2014/main" id="{A1B288FA-B7EC-E4FA-A0D7-033D397CF057}"/>
              </a:ext>
            </a:extLst>
          </p:cNvPr>
          <p:cNvSpPr/>
          <p:nvPr/>
        </p:nvSpPr>
        <p:spPr>
          <a:xfrm>
            <a:off x="502478" y="1190356"/>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Symbols</a:t>
            </a:r>
          </a:p>
        </p:txBody>
      </p:sp>
      <p:pic>
        <p:nvPicPr>
          <p:cNvPr id="182" name="Graphic 181">
            <a:extLst>
              <a:ext uri="{FF2B5EF4-FFF2-40B4-BE49-F238E27FC236}">
                <a16:creationId xmlns:a16="http://schemas.microsoft.com/office/drawing/2014/main" id="{CCAD2DD5-A91E-44C4-89A3-D5282417C610}"/>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flipV="1">
            <a:off x="544514" y="6108740"/>
            <a:ext cx="612648" cy="548640"/>
          </a:xfrm>
          <a:prstGeom prst="rect">
            <a:avLst/>
          </a:prstGeom>
        </p:spPr>
      </p:pic>
      <p:pic>
        <p:nvPicPr>
          <p:cNvPr id="183" name="Graphic 182">
            <a:extLst>
              <a:ext uri="{FF2B5EF4-FFF2-40B4-BE49-F238E27FC236}">
                <a16:creationId xmlns:a16="http://schemas.microsoft.com/office/drawing/2014/main" id="{D748A895-9FE8-431B-A85D-146050873099}"/>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1414285" y="6108740"/>
            <a:ext cx="612648" cy="548640"/>
          </a:xfrm>
          <a:prstGeom prst="rect">
            <a:avLst/>
          </a:prstGeom>
        </p:spPr>
      </p:pic>
      <p:pic>
        <p:nvPicPr>
          <p:cNvPr id="185" name="Graphic 184">
            <a:extLst>
              <a:ext uri="{FF2B5EF4-FFF2-40B4-BE49-F238E27FC236}">
                <a16:creationId xmlns:a16="http://schemas.microsoft.com/office/drawing/2014/main" id="{ADE65E78-88F4-46B5-AF21-AC96B45D7FE8}"/>
              </a:ext>
            </a:extLst>
          </p:cNvPr>
          <p:cNvPicPr>
            <a:picLocks noChangeAspect="1"/>
          </p:cNvPicPr>
          <p:nvPr/>
        </p:nvPicPr>
        <p:blipFill>
          <a:blip r:embed="rId61">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flipH="1">
            <a:off x="2382130" y="6108740"/>
            <a:ext cx="612648" cy="548640"/>
          </a:xfrm>
          <a:prstGeom prst="rect">
            <a:avLst/>
          </a:prstGeom>
        </p:spPr>
      </p:pic>
      <p:pic>
        <p:nvPicPr>
          <p:cNvPr id="186" name="Graphic 185">
            <a:extLst>
              <a:ext uri="{FF2B5EF4-FFF2-40B4-BE49-F238E27FC236}">
                <a16:creationId xmlns:a16="http://schemas.microsoft.com/office/drawing/2014/main" id="{21DF2732-62B8-40D9-9A54-B851B0198557}"/>
              </a:ext>
            </a:extLst>
          </p:cNvPr>
          <p:cNvPicPr>
            <a:picLocks noChangeAspect="1"/>
          </p:cNvPicPr>
          <p:nvPr/>
        </p:nvPicPr>
        <p:blipFill rotWithShape="1">
          <a:blip r:embed="rId63" cstate="print">
            <a:extLst>
              <a:ext uri="{28A0092B-C50C-407E-A947-70E740481C1C}">
                <a14:useLocalDpi xmlns:a14="http://schemas.microsoft.com/office/drawing/2010/main" val="0"/>
              </a:ext>
              <a:ext uri="{96DAC541-7B7A-43D3-8B79-37D633B846F1}">
                <asvg:svgBlip xmlns:asvg="http://schemas.microsoft.com/office/drawing/2016/SVG/main" r:embed="rId64"/>
              </a:ext>
            </a:extLst>
          </a:blip>
          <a:srcRect l="23569" t="22936" r="13309" b="13541"/>
          <a:stretch/>
        </p:blipFill>
        <p:spPr>
          <a:xfrm>
            <a:off x="3349975" y="6137401"/>
            <a:ext cx="484003" cy="491319"/>
          </a:xfrm>
          <a:prstGeom prst="rect">
            <a:avLst/>
          </a:prstGeom>
        </p:spPr>
      </p:pic>
      <p:pic>
        <p:nvPicPr>
          <p:cNvPr id="5" name="Graphic 4">
            <a:extLst>
              <a:ext uri="{FF2B5EF4-FFF2-40B4-BE49-F238E27FC236}">
                <a16:creationId xmlns:a16="http://schemas.microsoft.com/office/drawing/2014/main" id="{D55A8719-4288-946B-D84A-89EC2ED38BB9}"/>
              </a:ext>
            </a:extLst>
          </p:cNvPr>
          <p:cNvPicPr>
            <a:picLocks noChangeAspect="1"/>
          </p:cNvPicPr>
          <p:nvPr/>
        </p:nvPicPr>
        <p:blipFill rotWithShape="1">
          <a:blip r:embed="rId63" cstate="print">
            <a:extLst>
              <a:ext uri="{28A0092B-C50C-407E-A947-70E740481C1C}">
                <a14:useLocalDpi xmlns:a14="http://schemas.microsoft.com/office/drawing/2010/main" val="0"/>
              </a:ext>
              <a:ext uri="{96DAC541-7B7A-43D3-8B79-37D633B846F1}">
                <asvg:svgBlip xmlns:asvg="http://schemas.microsoft.com/office/drawing/2016/SVG/main" r:embed="rId64"/>
              </a:ext>
            </a:extLst>
          </a:blip>
          <a:srcRect l="23569" t="22936" r="13309" b="13541"/>
          <a:stretch/>
        </p:blipFill>
        <p:spPr>
          <a:xfrm rot="5400000">
            <a:off x="4253497" y="6076736"/>
            <a:ext cx="484003" cy="612648"/>
          </a:xfrm>
          <a:prstGeom prst="rect">
            <a:avLst/>
          </a:prstGeom>
        </p:spPr>
      </p:pic>
      <p:pic>
        <p:nvPicPr>
          <p:cNvPr id="8" name="Graphic 7">
            <a:extLst>
              <a:ext uri="{FF2B5EF4-FFF2-40B4-BE49-F238E27FC236}">
                <a16:creationId xmlns:a16="http://schemas.microsoft.com/office/drawing/2014/main" id="{A81BE7C8-DC1D-8778-46F3-9C1F01EF47EE}"/>
              </a:ext>
            </a:extLst>
          </p:cNvPr>
          <p:cNvPicPr>
            <a:picLocks noChangeAspect="1"/>
          </p:cNvPicPr>
          <p:nvPr/>
        </p:nvPicPr>
        <p:blipFill rotWithShape="1">
          <a:blip r:embed="rId63" cstate="print">
            <a:extLst>
              <a:ext uri="{28A0092B-C50C-407E-A947-70E740481C1C}">
                <a14:useLocalDpi xmlns:a14="http://schemas.microsoft.com/office/drawing/2010/main" val="0"/>
              </a:ext>
              <a:ext uri="{96DAC541-7B7A-43D3-8B79-37D633B846F1}">
                <asvg:svgBlip xmlns:asvg="http://schemas.microsoft.com/office/drawing/2016/SVG/main" r:embed="rId64"/>
              </a:ext>
            </a:extLst>
          </a:blip>
          <a:srcRect l="23569" t="22936" r="13309" b="13541"/>
          <a:stretch/>
        </p:blipFill>
        <p:spPr>
          <a:xfrm rot="16200000" flipV="1">
            <a:off x="5221344" y="6076736"/>
            <a:ext cx="484003" cy="612648"/>
          </a:xfrm>
          <a:prstGeom prst="rect">
            <a:avLst/>
          </a:prstGeom>
        </p:spPr>
      </p:pic>
      <p:grpSp>
        <p:nvGrpSpPr>
          <p:cNvPr id="15" name="Group 14">
            <a:extLst>
              <a:ext uri="{FF2B5EF4-FFF2-40B4-BE49-F238E27FC236}">
                <a16:creationId xmlns:a16="http://schemas.microsoft.com/office/drawing/2014/main" id="{228226E3-5623-7C22-F031-500B6B9A4CF8}"/>
              </a:ext>
            </a:extLst>
          </p:cNvPr>
          <p:cNvGrpSpPr>
            <a:grpSpLocks noChangeAspect="1"/>
          </p:cNvGrpSpPr>
          <p:nvPr/>
        </p:nvGrpSpPr>
        <p:grpSpPr>
          <a:xfrm>
            <a:off x="536789" y="4091178"/>
            <a:ext cx="805076" cy="365760"/>
            <a:chOff x="5548696" y="3598173"/>
            <a:chExt cx="611042" cy="277607"/>
          </a:xfrm>
        </p:grpSpPr>
        <p:sp>
          <p:nvSpPr>
            <p:cNvPr id="21" name="Freeform: Shape 20">
              <a:extLst>
                <a:ext uri="{FF2B5EF4-FFF2-40B4-BE49-F238E27FC236}">
                  <a16:creationId xmlns:a16="http://schemas.microsoft.com/office/drawing/2014/main" id="{3B260253-8658-39E5-5665-E94E99553DFF}"/>
                </a:ext>
              </a:extLst>
            </p:cNvPr>
            <p:cNvSpPr/>
            <p:nvPr/>
          </p:nvSpPr>
          <p:spPr>
            <a:xfrm>
              <a:off x="5548696" y="3598173"/>
              <a:ext cx="149295" cy="263063"/>
            </a:xfrm>
            <a:custGeom>
              <a:avLst/>
              <a:gdLst>
                <a:gd name="connsiteX0" fmla="*/ 0 w 149295"/>
                <a:gd name="connsiteY0" fmla="*/ 0 h 263063"/>
                <a:gd name="connsiteX1" fmla="*/ 149295 w 149295"/>
                <a:gd name="connsiteY1" fmla="*/ 0 h 263063"/>
                <a:gd name="connsiteX2" fmla="*/ 149295 w 149295"/>
                <a:gd name="connsiteY2" fmla="*/ 263063 h 263063"/>
                <a:gd name="connsiteX3" fmla="*/ 0 w 149295"/>
                <a:gd name="connsiteY3" fmla="*/ 263063 h 263063"/>
                <a:gd name="connsiteX4" fmla="*/ 0 w 149295"/>
                <a:gd name="connsiteY4" fmla="*/ 0 h 263063"/>
                <a:gd name="connsiteX5" fmla="*/ 28575 w 149295"/>
                <a:gd name="connsiteY5" fmla="*/ 28286 h 263063"/>
                <a:gd name="connsiteX6" fmla="*/ 28575 w 149295"/>
                <a:gd name="connsiteY6" fmla="*/ 233834 h 263063"/>
                <a:gd name="connsiteX7" fmla="*/ 28575 w 149295"/>
                <a:gd name="connsiteY7" fmla="*/ 234777 h 263063"/>
                <a:gd name="connsiteX8" fmla="*/ 121920 w 149295"/>
                <a:gd name="connsiteY8" fmla="*/ 234777 h 263063"/>
                <a:gd name="connsiteX9" fmla="*/ 121920 w 149295"/>
                <a:gd name="connsiteY9" fmla="*/ 28286 h 263063"/>
                <a:gd name="connsiteX10" fmla="*/ 28575 w 149295"/>
                <a:gd name="connsiteY10" fmla="*/ 28286 h 263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295" h="263063">
                  <a:moveTo>
                    <a:pt x="0" y="0"/>
                  </a:moveTo>
                  <a:lnTo>
                    <a:pt x="149295" y="0"/>
                  </a:lnTo>
                  <a:lnTo>
                    <a:pt x="149295" y="263063"/>
                  </a:lnTo>
                  <a:lnTo>
                    <a:pt x="0" y="263063"/>
                  </a:lnTo>
                  <a:lnTo>
                    <a:pt x="0" y="0"/>
                  </a:lnTo>
                  <a:close/>
                  <a:moveTo>
                    <a:pt x="28575" y="28286"/>
                  </a:moveTo>
                  <a:lnTo>
                    <a:pt x="28575" y="233834"/>
                  </a:lnTo>
                  <a:lnTo>
                    <a:pt x="28575" y="234777"/>
                  </a:lnTo>
                  <a:lnTo>
                    <a:pt x="121920" y="234777"/>
                  </a:lnTo>
                  <a:lnTo>
                    <a:pt x="121920" y="28286"/>
                  </a:lnTo>
                  <a:lnTo>
                    <a:pt x="28575" y="28286"/>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5" name="Freeform: Shape 24">
              <a:extLst>
                <a:ext uri="{FF2B5EF4-FFF2-40B4-BE49-F238E27FC236}">
                  <a16:creationId xmlns:a16="http://schemas.microsoft.com/office/drawing/2014/main" id="{E4B1DC85-556E-FC59-CF71-BC689C0C8045}"/>
                </a:ext>
              </a:extLst>
            </p:cNvPr>
            <p:cNvSpPr/>
            <p:nvPr/>
          </p:nvSpPr>
          <p:spPr>
            <a:xfrm>
              <a:off x="5602524" y="3765463"/>
              <a:ext cx="41910" cy="41486"/>
            </a:xfrm>
            <a:custGeom>
              <a:avLst/>
              <a:gdLst>
                <a:gd name="connsiteX0" fmla="*/ 20955 w 41910"/>
                <a:gd name="connsiteY0" fmla="*/ 0 h 41486"/>
                <a:gd name="connsiteX1" fmla="*/ 0 w 41910"/>
                <a:gd name="connsiteY1" fmla="*/ 20743 h 41486"/>
                <a:gd name="connsiteX2" fmla="*/ 20955 w 41910"/>
                <a:gd name="connsiteY2" fmla="*/ 41487 h 41486"/>
                <a:gd name="connsiteX3" fmla="*/ 41910 w 41910"/>
                <a:gd name="connsiteY3" fmla="*/ 20743 h 41486"/>
                <a:gd name="connsiteX4" fmla="*/ 20955 w 41910"/>
                <a:gd name="connsiteY4" fmla="*/ 0 h 41486"/>
                <a:gd name="connsiteX5" fmla="*/ 20955 w 41910"/>
                <a:gd name="connsiteY5" fmla="*/ 0 h 4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10" h="41486">
                  <a:moveTo>
                    <a:pt x="20955" y="0"/>
                  </a:moveTo>
                  <a:cubicBezTo>
                    <a:pt x="9525" y="0"/>
                    <a:pt x="0" y="9429"/>
                    <a:pt x="0" y="20743"/>
                  </a:cubicBezTo>
                  <a:cubicBezTo>
                    <a:pt x="0" y="32058"/>
                    <a:pt x="9525" y="41487"/>
                    <a:pt x="20955" y="41487"/>
                  </a:cubicBezTo>
                  <a:cubicBezTo>
                    <a:pt x="32385" y="41487"/>
                    <a:pt x="41910" y="32058"/>
                    <a:pt x="41910" y="20743"/>
                  </a:cubicBezTo>
                  <a:cubicBezTo>
                    <a:pt x="41910" y="8486"/>
                    <a:pt x="33338" y="0"/>
                    <a:pt x="20955" y="0"/>
                  </a:cubicBezTo>
                  <a:lnTo>
                    <a:pt x="20955" y="0"/>
                  </a:lnTo>
                  <a:close/>
                </a:path>
              </a:pathLst>
            </a:custGeom>
            <a:solidFill>
              <a:schemeClr val="accent1"/>
            </a:solid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009A1650-23D0-2EAD-9C70-A758367209EA}"/>
                </a:ext>
              </a:extLst>
            </p:cNvPr>
            <p:cNvSpPr/>
            <p:nvPr/>
          </p:nvSpPr>
          <p:spPr>
            <a:xfrm>
              <a:off x="5698392" y="3598574"/>
              <a:ext cx="461346" cy="277206"/>
            </a:xfrm>
            <a:custGeom>
              <a:avLst/>
              <a:gdLst>
                <a:gd name="connsiteX0" fmla="*/ 0 w 461346"/>
                <a:gd name="connsiteY0" fmla="*/ 0 h 277206"/>
                <a:gd name="connsiteX1" fmla="*/ 336 w 461346"/>
                <a:gd name="connsiteY1" fmla="*/ 0 h 277206"/>
                <a:gd name="connsiteX2" fmla="*/ 336 w 461346"/>
                <a:gd name="connsiteY2" fmla="*/ 29229 h 277206"/>
                <a:gd name="connsiteX3" fmla="*/ 64153 w 461346"/>
                <a:gd name="connsiteY3" fmla="*/ 33944 h 277206"/>
                <a:gd name="connsiteX4" fmla="*/ 114636 w 461346"/>
                <a:gd name="connsiteY4" fmla="*/ 46201 h 277206"/>
                <a:gd name="connsiteX5" fmla="*/ 146068 w 461346"/>
                <a:gd name="connsiteY5" fmla="*/ 53744 h 277206"/>
                <a:gd name="connsiteX6" fmla="*/ 214648 w 461346"/>
                <a:gd name="connsiteY6" fmla="*/ 54687 h 277206"/>
                <a:gd name="connsiteX7" fmla="*/ 227983 w 461346"/>
                <a:gd name="connsiteY7" fmla="*/ 54687 h 277206"/>
                <a:gd name="connsiteX8" fmla="*/ 288943 w 461346"/>
                <a:gd name="connsiteY8" fmla="*/ 97117 h 277206"/>
                <a:gd name="connsiteX9" fmla="*/ 289896 w 461346"/>
                <a:gd name="connsiteY9" fmla="*/ 112203 h 277206"/>
                <a:gd name="connsiteX10" fmla="*/ 378478 w 461346"/>
                <a:gd name="connsiteY10" fmla="*/ 64116 h 277206"/>
                <a:gd name="connsiteX11" fmla="*/ 402291 w 461346"/>
                <a:gd name="connsiteY11" fmla="*/ 59401 h 277206"/>
                <a:gd name="connsiteX12" fmla="*/ 461346 w 461346"/>
                <a:gd name="connsiteY12" fmla="*/ 116917 h 277206"/>
                <a:gd name="connsiteX13" fmla="*/ 442296 w 461346"/>
                <a:gd name="connsiteY13" fmla="*/ 158404 h 277206"/>
                <a:gd name="connsiteX14" fmla="*/ 257511 w 461346"/>
                <a:gd name="connsiteY14" fmla="*/ 258349 h 277206"/>
                <a:gd name="connsiteX15" fmla="*/ 190836 w 461346"/>
                <a:gd name="connsiteY15" fmla="*/ 277206 h 277206"/>
                <a:gd name="connsiteX16" fmla="*/ 116541 w 461346"/>
                <a:gd name="connsiteY16" fmla="*/ 264949 h 277206"/>
                <a:gd name="connsiteX17" fmla="*/ 115588 w 461346"/>
                <a:gd name="connsiteY17" fmla="*/ 264949 h 277206"/>
                <a:gd name="connsiteX18" fmla="*/ 1288 w 461346"/>
                <a:gd name="connsiteY18" fmla="*/ 224405 h 277206"/>
                <a:gd name="connsiteX19" fmla="*/ 1288 w 461346"/>
                <a:gd name="connsiteY19" fmla="*/ 263063 h 277206"/>
                <a:gd name="connsiteX20" fmla="*/ 0 w 461346"/>
                <a:gd name="connsiteY20" fmla="*/ 263063 h 277206"/>
                <a:gd name="connsiteX21" fmla="*/ 0 w 461346"/>
                <a:gd name="connsiteY21" fmla="*/ 0 h 277206"/>
                <a:gd name="connsiteX22" fmla="*/ 336 w 461346"/>
                <a:gd name="connsiteY22" fmla="*/ 57516 h 277206"/>
                <a:gd name="connsiteX23" fmla="*/ 336 w 461346"/>
                <a:gd name="connsiteY23" fmla="*/ 195176 h 277206"/>
                <a:gd name="connsiteX24" fmla="*/ 126066 w 461346"/>
                <a:gd name="connsiteY24" fmla="*/ 237605 h 277206"/>
                <a:gd name="connsiteX25" fmla="*/ 189883 w 461346"/>
                <a:gd name="connsiteY25" fmla="*/ 247977 h 277206"/>
                <a:gd name="connsiteX26" fmla="*/ 240366 w 461346"/>
                <a:gd name="connsiteY26" fmla="*/ 234777 h 277206"/>
                <a:gd name="connsiteX27" fmla="*/ 242271 w 461346"/>
                <a:gd name="connsiteY27" fmla="*/ 233834 h 277206"/>
                <a:gd name="connsiteX28" fmla="*/ 423246 w 461346"/>
                <a:gd name="connsiteY28" fmla="*/ 136717 h 277206"/>
                <a:gd name="connsiteX29" fmla="*/ 431818 w 461346"/>
                <a:gd name="connsiteY29" fmla="*/ 117860 h 277206"/>
                <a:gd name="connsiteX30" fmla="*/ 402291 w 461346"/>
                <a:gd name="connsiteY30" fmla="*/ 88631 h 277206"/>
                <a:gd name="connsiteX31" fmla="*/ 389908 w 461346"/>
                <a:gd name="connsiteY31" fmla="*/ 90516 h 277206"/>
                <a:gd name="connsiteX32" fmla="*/ 257511 w 461346"/>
                <a:gd name="connsiteY32" fmla="*/ 162175 h 277206"/>
                <a:gd name="connsiteX33" fmla="*/ 108921 w 461346"/>
                <a:gd name="connsiteY33" fmla="*/ 165004 h 277206"/>
                <a:gd name="connsiteX34" fmla="*/ 107968 w 461346"/>
                <a:gd name="connsiteY34" fmla="*/ 136717 h 277206"/>
                <a:gd name="connsiteX35" fmla="*/ 248938 w 461346"/>
                <a:gd name="connsiteY35" fmla="*/ 133889 h 277206"/>
                <a:gd name="connsiteX36" fmla="*/ 260368 w 461346"/>
                <a:gd name="connsiteY36" fmla="*/ 103717 h 277206"/>
                <a:gd name="connsiteX37" fmla="*/ 227031 w 461346"/>
                <a:gd name="connsiteY37" fmla="*/ 82973 h 277206"/>
                <a:gd name="connsiteX38" fmla="*/ 213696 w 461346"/>
                <a:gd name="connsiteY38" fmla="*/ 82973 h 277206"/>
                <a:gd name="connsiteX39" fmla="*/ 147021 w 461346"/>
                <a:gd name="connsiteY39" fmla="*/ 82030 h 277206"/>
                <a:gd name="connsiteX40" fmla="*/ 107016 w 461346"/>
                <a:gd name="connsiteY40" fmla="*/ 73545 h 277206"/>
                <a:gd name="connsiteX41" fmla="*/ 59391 w 461346"/>
                <a:gd name="connsiteY41" fmla="*/ 62230 h 277206"/>
                <a:gd name="connsiteX42" fmla="*/ 336 w 461346"/>
                <a:gd name="connsiteY42" fmla="*/ 57516 h 27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61346" h="277206">
                  <a:moveTo>
                    <a:pt x="0" y="0"/>
                  </a:moveTo>
                  <a:lnTo>
                    <a:pt x="336" y="0"/>
                  </a:lnTo>
                  <a:lnTo>
                    <a:pt x="336" y="29229"/>
                  </a:lnTo>
                  <a:cubicBezTo>
                    <a:pt x="13671" y="29229"/>
                    <a:pt x="39388" y="29229"/>
                    <a:pt x="64153" y="33944"/>
                  </a:cubicBezTo>
                  <a:cubicBezTo>
                    <a:pt x="82251" y="37715"/>
                    <a:pt x="99396" y="42430"/>
                    <a:pt x="114636" y="46201"/>
                  </a:cubicBezTo>
                  <a:cubicBezTo>
                    <a:pt x="127018" y="49973"/>
                    <a:pt x="140353" y="53744"/>
                    <a:pt x="146068" y="53744"/>
                  </a:cubicBezTo>
                  <a:cubicBezTo>
                    <a:pt x="167023" y="53744"/>
                    <a:pt x="196551" y="53744"/>
                    <a:pt x="214648" y="54687"/>
                  </a:cubicBezTo>
                  <a:cubicBezTo>
                    <a:pt x="221316" y="54687"/>
                    <a:pt x="226078" y="54687"/>
                    <a:pt x="227983" y="54687"/>
                  </a:cubicBezTo>
                  <a:cubicBezTo>
                    <a:pt x="265131" y="54687"/>
                    <a:pt x="284181" y="76373"/>
                    <a:pt x="288943" y="97117"/>
                  </a:cubicBezTo>
                  <a:cubicBezTo>
                    <a:pt x="289896" y="101831"/>
                    <a:pt x="289896" y="107488"/>
                    <a:pt x="289896" y="112203"/>
                  </a:cubicBezTo>
                  <a:lnTo>
                    <a:pt x="378478" y="64116"/>
                  </a:lnTo>
                  <a:cubicBezTo>
                    <a:pt x="386098" y="61287"/>
                    <a:pt x="393718" y="59401"/>
                    <a:pt x="402291" y="59401"/>
                  </a:cubicBezTo>
                  <a:cubicBezTo>
                    <a:pt x="436581" y="59401"/>
                    <a:pt x="460393" y="82973"/>
                    <a:pt x="461346" y="116917"/>
                  </a:cubicBezTo>
                  <a:cubicBezTo>
                    <a:pt x="461346" y="132946"/>
                    <a:pt x="453726" y="148975"/>
                    <a:pt x="442296" y="158404"/>
                  </a:cubicBezTo>
                  <a:cubicBezTo>
                    <a:pt x="432771" y="165947"/>
                    <a:pt x="310851" y="230062"/>
                    <a:pt x="257511" y="258349"/>
                  </a:cubicBezTo>
                  <a:cubicBezTo>
                    <a:pt x="251796" y="262120"/>
                    <a:pt x="227983" y="277206"/>
                    <a:pt x="190836" y="277206"/>
                  </a:cubicBezTo>
                  <a:cubicBezTo>
                    <a:pt x="150831" y="277206"/>
                    <a:pt x="117493" y="265892"/>
                    <a:pt x="116541" y="264949"/>
                  </a:cubicBezTo>
                  <a:lnTo>
                    <a:pt x="115588" y="264949"/>
                  </a:lnTo>
                  <a:cubicBezTo>
                    <a:pt x="94633" y="254577"/>
                    <a:pt x="35578" y="231005"/>
                    <a:pt x="1288" y="224405"/>
                  </a:cubicBezTo>
                  <a:lnTo>
                    <a:pt x="1288" y="263063"/>
                  </a:lnTo>
                  <a:lnTo>
                    <a:pt x="0" y="263063"/>
                  </a:lnTo>
                  <a:lnTo>
                    <a:pt x="0" y="0"/>
                  </a:lnTo>
                  <a:close/>
                  <a:moveTo>
                    <a:pt x="336" y="57516"/>
                  </a:moveTo>
                  <a:lnTo>
                    <a:pt x="336" y="195176"/>
                  </a:lnTo>
                  <a:cubicBezTo>
                    <a:pt x="43198" y="200833"/>
                    <a:pt x="117493" y="233834"/>
                    <a:pt x="126066" y="237605"/>
                  </a:cubicBezTo>
                  <a:cubicBezTo>
                    <a:pt x="129876" y="239491"/>
                    <a:pt x="158451" y="247977"/>
                    <a:pt x="189883" y="247977"/>
                  </a:cubicBezTo>
                  <a:cubicBezTo>
                    <a:pt x="222268" y="247977"/>
                    <a:pt x="240366" y="234777"/>
                    <a:pt x="240366" y="234777"/>
                  </a:cubicBezTo>
                  <a:lnTo>
                    <a:pt x="242271" y="233834"/>
                  </a:lnTo>
                  <a:cubicBezTo>
                    <a:pt x="307993" y="199890"/>
                    <a:pt x="413721" y="143318"/>
                    <a:pt x="423246" y="136717"/>
                  </a:cubicBezTo>
                  <a:cubicBezTo>
                    <a:pt x="428008" y="132003"/>
                    <a:pt x="431818" y="124460"/>
                    <a:pt x="431818" y="117860"/>
                  </a:cubicBezTo>
                  <a:cubicBezTo>
                    <a:pt x="431818" y="99002"/>
                    <a:pt x="420388" y="88631"/>
                    <a:pt x="402291" y="88631"/>
                  </a:cubicBezTo>
                  <a:cubicBezTo>
                    <a:pt x="397528" y="88631"/>
                    <a:pt x="393718" y="88631"/>
                    <a:pt x="389908" y="90516"/>
                  </a:cubicBezTo>
                  <a:lnTo>
                    <a:pt x="257511" y="162175"/>
                  </a:lnTo>
                  <a:lnTo>
                    <a:pt x="108921" y="165004"/>
                  </a:lnTo>
                  <a:lnTo>
                    <a:pt x="107968" y="136717"/>
                  </a:lnTo>
                  <a:lnTo>
                    <a:pt x="248938" y="133889"/>
                  </a:lnTo>
                  <a:cubicBezTo>
                    <a:pt x="258463" y="128232"/>
                    <a:pt x="263226" y="115031"/>
                    <a:pt x="260368" y="103717"/>
                  </a:cubicBezTo>
                  <a:cubicBezTo>
                    <a:pt x="256558" y="90516"/>
                    <a:pt x="245128" y="82973"/>
                    <a:pt x="227031" y="82973"/>
                  </a:cubicBezTo>
                  <a:cubicBezTo>
                    <a:pt x="226078" y="82973"/>
                    <a:pt x="220363" y="82973"/>
                    <a:pt x="213696" y="82973"/>
                  </a:cubicBezTo>
                  <a:cubicBezTo>
                    <a:pt x="196551" y="82973"/>
                    <a:pt x="167023" y="82030"/>
                    <a:pt x="147021" y="82030"/>
                  </a:cubicBezTo>
                  <a:cubicBezTo>
                    <a:pt x="137496" y="82030"/>
                    <a:pt x="124161" y="78259"/>
                    <a:pt x="107016" y="73545"/>
                  </a:cubicBezTo>
                  <a:cubicBezTo>
                    <a:pt x="92728" y="69773"/>
                    <a:pt x="76536" y="65059"/>
                    <a:pt x="59391" y="62230"/>
                  </a:cubicBezTo>
                  <a:cubicBezTo>
                    <a:pt x="36531" y="57516"/>
                    <a:pt x="12718" y="57516"/>
                    <a:pt x="336" y="57516"/>
                  </a:cubicBezTo>
                  <a:close/>
                </a:path>
              </a:pathLst>
            </a:custGeom>
            <a:solidFill>
              <a:srgbClr val="3D4647"/>
            </a:solidFill>
            <a:ln w="9525" cap="flat">
              <a:noFill/>
              <a:prstDash val="solid"/>
              <a:miter/>
            </a:ln>
          </p:spPr>
          <p:txBody>
            <a:bodyPr wrap="square" rtlCol="0" anchor="ctr">
              <a:noAutofit/>
            </a:bodyPr>
            <a:lstStyle/>
            <a:p>
              <a:endParaRPr lang="en-US" dirty="0"/>
            </a:p>
          </p:txBody>
        </p:sp>
      </p:grpSp>
      <p:sp>
        <p:nvSpPr>
          <p:cNvPr id="54" name="Text Placeholder 81">
            <a:extLst>
              <a:ext uri="{FF2B5EF4-FFF2-40B4-BE49-F238E27FC236}">
                <a16:creationId xmlns:a16="http://schemas.microsoft.com/office/drawing/2014/main" id="{35011194-B0F1-D472-934D-343ADA1A5168}"/>
              </a:ext>
            </a:extLst>
          </p:cNvPr>
          <p:cNvSpPr txBox="1">
            <a:spLocks/>
          </p:cNvSpPr>
          <p:nvPr/>
        </p:nvSpPr>
        <p:spPr>
          <a:xfrm>
            <a:off x="414341" y="374586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and, Show</a:t>
            </a:r>
          </a:p>
        </p:txBody>
      </p:sp>
      <p:sp>
        <p:nvSpPr>
          <p:cNvPr id="75" name="Text Placeholder 81">
            <a:extLst>
              <a:ext uri="{FF2B5EF4-FFF2-40B4-BE49-F238E27FC236}">
                <a16:creationId xmlns:a16="http://schemas.microsoft.com/office/drawing/2014/main" id="{185764CE-79CF-F43F-11F4-6912B1659273}"/>
              </a:ext>
            </a:extLst>
          </p:cNvPr>
          <p:cNvSpPr txBox="1">
            <a:spLocks/>
          </p:cNvSpPr>
          <p:nvPr/>
        </p:nvSpPr>
        <p:spPr>
          <a:xfrm>
            <a:off x="2716813" y="374586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humbs Down</a:t>
            </a:r>
          </a:p>
        </p:txBody>
      </p:sp>
      <p:pic>
        <p:nvPicPr>
          <p:cNvPr id="16" name="Graphic 15">
            <a:extLst>
              <a:ext uri="{FF2B5EF4-FFF2-40B4-BE49-F238E27FC236}">
                <a16:creationId xmlns:a16="http://schemas.microsoft.com/office/drawing/2014/main" id="{1D7D28FD-0F8B-B1EB-55C1-1AD445E4BD34}"/>
              </a:ext>
            </a:extLst>
          </p:cNvPr>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2305511" y="2860285"/>
            <a:ext cx="612648" cy="612648"/>
          </a:xfrm>
          <a:prstGeom prst="rect">
            <a:avLst/>
          </a:prstGeom>
        </p:spPr>
      </p:pic>
      <p:sp>
        <p:nvSpPr>
          <p:cNvPr id="4" name="TextBox 3">
            <a:extLst>
              <a:ext uri="{FF2B5EF4-FFF2-40B4-BE49-F238E27FC236}">
                <a16:creationId xmlns:a16="http://schemas.microsoft.com/office/drawing/2014/main" id="{09E835B8-3EB2-F804-8ACA-9807C6067470}"/>
              </a:ext>
            </a:extLst>
          </p:cNvPr>
          <p:cNvSpPr txBox="1"/>
          <p:nvPr/>
        </p:nvSpPr>
        <p:spPr>
          <a:xfrm>
            <a:off x="10189885" y="3745861"/>
            <a:ext cx="105880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uzzle</a:t>
            </a:r>
          </a:p>
        </p:txBody>
      </p:sp>
      <p:sp>
        <p:nvSpPr>
          <p:cNvPr id="11" name="object 27">
            <a:extLst>
              <a:ext uri="{FF2B5EF4-FFF2-40B4-BE49-F238E27FC236}">
                <a16:creationId xmlns:a16="http://schemas.microsoft.com/office/drawing/2014/main" id="{172783A3-9E8E-B4D7-5733-FE810E9DD7EA}"/>
              </a:ext>
            </a:extLst>
          </p:cNvPr>
          <p:cNvSpPr txBox="1"/>
          <p:nvPr/>
        </p:nvSpPr>
        <p:spPr>
          <a:xfrm>
            <a:off x="10637910" y="4785343"/>
            <a:ext cx="13303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Closed </a:t>
            </a:r>
            <a:r>
              <a:rPr lang="en-US" dirty="0"/>
              <a:t>Caption</a:t>
            </a:r>
            <a:endParaRPr dirty="0"/>
          </a:p>
        </p:txBody>
      </p:sp>
      <p:pic>
        <p:nvPicPr>
          <p:cNvPr id="57" name="Graphic 56">
            <a:extLst>
              <a:ext uri="{FF2B5EF4-FFF2-40B4-BE49-F238E27FC236}">
                <a16:creationId xmlns:a16="http://schemas.microsoft.com/office/drawing/2014/main" id="{81012F3C-8994-D664-736D-3FF61D944730}"/>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11043755" y="5002011"/>
            <a:ext cx="609600" cy="609600"/>
          </a:xfrm>
          <a:prstGeom prst="rect">
            <a:avLst/>
          </a:prstGeom>
        </p:spPr>
      </p:pic>
      <p:pic>
        <p:nvPicPr>
          <p:cNvPr id="59" name="Graphic 58">
            <a:extLst>
              <a:ext uri="{FF2B5EF4-FFF2-40B4-BE49-F238E27FC236}">
                <a16:creationId xmlns:a16="http://schemas.microsoft.com/office/drawing/2014/main" id="{8AF6AA5C-5290-9749-FC35-C2301B12E638}"/>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4691909" y="2878325"/>
            <a:ext cx="612648" cy="612648"/>
          </a:xfrm>
          <a:prstGeom prst="rect">
            <a:avLst/>
          </a:prstGeom>
        </p:spPr>
      </p:pic>
      <p:pic>
        <p:nvPicPr>
          <p:cNvPr id="64" name="Graphic 63">
            <a:extLst>
              <a:ext uri="{FF2B5EF4-FFF2-40B4-BE49-F238E27FC236}">
                <a16:creationId xmlns:a16="http://schemas.microsoft.com/office/drawing/2014/main" id="{4DDE02F9-5A09-3844-08A4-B70089B73238}"/>
              </a:ext>
            </a:extLst>
          </p:cNvPr>
          <p:cNvPicPr>
            <a:picLocks noChangeAspect="1"/>
          </p:cNvPicPr>
          <p:nvPr/>
        </p:nvPicPr>
        <p:blipFill>
          <a:blip r:embed="rId71">
            <a:extLst>
              <a:ext uri="{28A0092B-C50C-407E-A947-70E740481C1C}">
                <a14:useLocalDpi xmlns:a14="http://schemas.microsoft.com/office/drawing/2010/main" val="0"/>
              </a:ext>
              <a:ext uri="{96DAC541-7B7A-43D3-8B79-37D633B846F1}">
                <asvg:svgBlip xmlns:asvg="http://schemas.microsoft.com/office/drawing/2016/SVG/main" r:embed="rId72"/>
              </a:ext>
            </a:extLst>
          </a:blip>
          <a:stretch>
            <a:fillRect/>
          </a:stretch>
        </p:blipFill>
        <p:spPr>
          <a:xfrm>
            <a:off x="7047605" y="5002011"/>
            <a:ext cx="609600" cy="609600"/>
          </a:xfrm>
          <a:prstGeom prst="rect">
            <a:avLst/>
          </a:prstGeom>
        </p:spPr>
      </p:pic>
      <p:grpSp>
        <p:nvGrpSpPr>
          <p:cNvPr id="60" name="Group 59">
            <a:extLst>
              <a:ext uri="{FF2B5EF4-FFF2-40B4-BE49-F238E27FC236}">
                <a16:creationId xmlns:a16="http://schemas.microsoft.com/office/drawing/2014/main" id="{B7DE49E0-FDF8-1426-B707-5EB38926BAA1}"/>
              </a:ext>
            </a:extLst>
          </p:cNvPr>
          <p:cNvGrpSpPr/>
          <p:nvPr/>
        </p:nvGrpSpPr>
        <p:grpSpPr>
          <a:xfrm>
            <a:off x="10131895" y="2846806"/>
            <a:ext cx="640080" cy="640080"/>
            <a:chOff x="9170152" y="2874799"/>
            <a:chExt cx="640080" cy="640080"/>
          </a:xfrm>
        </p:grpSpPr>
        <p:pic>
          <p:nvPicPr>
            <p:cNvPr id="61" name="Graphic 60">
              <a:extLst>
                <a:ext uri="{FF2B5EF4-FFF2-40B4-BE49-F238E27FC236}">
                  <a16:creationId xmlns:a16="http://schemas.microsoft.com/office/drawing/2014/main" id="{7CD30E48-811E-AEF7-1A7F-06066EC83FC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02740" y="3007387"/>
              <a:ext cx="374904" cy="374904"/>
            </a:xfrm>
            <a:prstGeom prst="rect">
              <a:avLst/>
            </a:prstGeom>
          </p:spPr>
        </p:pic>
        <p:sp>
          <p:nvSpPr>
            <p:cNvPr id="56" name="Freeform: Shape 55">
              <a:extLst>
                <a:ext uri="{FF2B5EF4-FFF2-40B4-BE49-F238E27FC236}">
                  <a16:creationId xmlns:a16="http://schemas.microsoft.com/office/drawing/2014/main" id="{F4872248-84C5-9A75-5D6B-8B72878CF647}"/>
                </a:ext>
              </a:extLst>
            </p:cNvPr>
            <p:cNvSpPr/>
            <p:nvPr/>
          </p:nvSpPr>
          <p:spPr>
            <a:xfrm>
              <a:off x="9170152" y="2874799"/>
              <a:ext cx="640080" cy="640080"/>
            </a:xfrm>
            <a:custGeom>
              <a:avLst/>
              <a:gdLst>
                <a:gd name="connsiteX0" fmla="*/ 320040 w 640080"/>
                <a:gd name="connsiteY0" fmla="*/ 30004 h 640080"/>
                <a:gd name="connsiteX1" fmla="*/ 610076 w 640080"/>
                <a:gd name="connsiteY1" fmla="*/ 320040 h 640080"/>
                <a:gd name="connsiteX2" fmla="*/ 320040 w 640080"/>
                <a:gd name="connsiteY2" fmla="*/ 610076 h 640080"/>
                <a:gd name="connsiteX3" fmla="*/ 30004 w 640080"/>
                <a:gd name="connsiteY3" fmla="*/ 320040 h 640080"/>
                <a:gd name="connsiteX4" fmla="*/ 320040 w 640080"/>
                <a:gd name="connsiteY4" fmla="*/ 30004 h 640080"/>
                <a:gd name="connsiteX5" fmla="*/ 320040 w 640080"/>
                <a:gd name="connsiteY5" fmla="*/ 0 h 640080"/>
                <a:gd name="connsiteX6" fmla="*/ 0 w 640080"/>
                <a:gd name="connsiteY6" fmla="*/ 320040 h 640080"/>
                <a:gd name="connsiteX7" fmla="*/ 320040 w 640080"/>
                <a:gd name="connsiteY7" fmla="*/ 640080 h 640080"/>
                <a:gd name="connsiteX8" fmla="*/ 640080 w 640080"/>
                <a:gd name="connsiteY8" fmla="*/ 320040 h 640080"/>
                <a:gd name="connsiteX9" fmla="*/ 320040 w 640080"/>
                <a:gd name="connsiteY9" fmla="*/ 0 h 640080"/>
                <a:gd name="connsiteX10" fmla="*/ 320040 w 640080"/>
                <a:gd name="connsiteY10"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0080" h="640080">
                  <a:moveTo>
                    <a:pt x="320040" y="30004"/>
                  </a:moveTo>
                  <a:cubicBezTo>
                    <a:pt x="480060" y="30004"/>
                    <a:pt x="610076" y="160020"/>
                    <a:pt x="610076" y="320040"/>
                  </a:cubicBezTo>
                  <a:cubicBezTo>
                    <a:pt x="610076" y="480060"/>
                    <a:pt x="480060" y="610076"/>
                    <a:pt x="320040" y="610076"/>
                  </a:cubicBezTo>
                  <a:cubicBezTo>
                    <a:pt x="160020" y="610076"/>
                    <a:pt x="30004" y="480060"/>
                    <a:pt x="30004" y="320040"/>
                  </a:cubicBezTo>
                  <a:cubicBezTo>
                    <a:pt x="30004" y="160020"/>
                    <a:pt x="160020" y="30004"/>
                    <a:pt x="320040" y="30004"/>
                  </a:cubicBezTo>
                  <a:moveTo>
                    <a:pt x="320040" y="0"/>
                  </a:moveTo>
                  <a:cubicBezTo>
                    <a:pt x="143018" y="0"/>
                    <a:pt x="0" y="143018"/>
                    <a:pt x="0" y="320040"/>
                  </a:cubicBezTo>
                  <a:cubicBezTo>
                    <a:pt x="0" y="497062"/>
                    <a:pt x="143018" y="640080"/>
                    <a:pt x="320040" y="640080"/>
                  </a:cubicBezTo>
                  <a:cubicBezTo>
                    <a:pt x="497062" y="640080"/>
                    <a:pt x="640080" y="497062"/>
                    <a:pt x="640080" y="320040"/>
                  </a:cubicBezTo>
                  <a:cubicBezTo>
                    <a:pt x="640080" y="143018"/>
                    <a:pt x="497062" y="0"/>
                    <a:pt x="320040" y="0"/>
                  </a:cubicBezTo>
                  <a:lnTo>
                    <a:pt x="320040" y="0"/>
                  </a:lnTo>
                  <a:close/>
                </a:path>
              </a:pathLst>
            </a:custGeom>
            <a:solidFill>
              <a:srgbClr val="3D4647"/>
            </a:solidFill>
            <a:ln w="9971" cap="flat">
              <a:noFill/>
              <a:prstDash val="solid"/>
              <a:miter/>
            </a:ln>
          </p:spPr>
          <p:txBody>
            <a:bodyPr rtlCol="0" anchor="ctr"/>
            <a:lstStyle/>
            <a:p>
              <a:endParaRPr lang="en-US" dirty="0"/>
            </a:p>
          </p:txBody>
        </p:sp>
      </p:grpSp>
      <p:pic>
        <p:nvPicPr>
          <p:cNvPr id="66" name="Graphic 65">
            <a:extLst>
              <a:ext uri="{FF2B5EF4-FFF2-40B4-BE49-F238E27FC236}">
                <a16:creationId xmlns:a16="http://schemas.microsoft.com/office/drawing/2014/main" id="{B08D88FC-8415-8498-C014-4084B069FF4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85834" y="2862974"/>
            <a:ext cx="612648" cy="612648"/>
          </a:xfrm>
          <a:prstGeom prst="rect">
            <a:avLst/>
          </a:prstGeom>
        </p:spPr>
      </p:pic>
      <p:grpSp>
        <p:nvGrpSpPr>
          <p:cNvPr id="68" name="Graphic 66">
            <a:extLst>
              <a:ext uri="{FF2B5EF4-FFF2-40B4-BE49-F238E27FC236}">
                <a16:creationId xmlns:a16="http://schemas.microsoft.com/office/drawing/2014/main" id="{50359623-5ECB-88BD-D922-4109E07A6AC6}"/>
              </a:ext>
            </a:extLst>
          </p:cNvPr>
          <p:cNvGrpSpPr>
            <a:grpSpLocks noChangeAspect="1"/>
          </p:cNvGrpSpPr>
          <p:nvPr/>
        </p:nvGrpSpPr>
        <p:grpSpPr>
          <a:xfrm>
            <a:off x="7397837" y="2853462"/>
            <a:ext cx="113028" cy="612648"/>
            <a:chOff x="6853963" y="2999981"/>
            <a:chExt cx="69008" cy="374046"/>
          </a:xfrm>
        </p:grpSpPr>
        <p:sp>
          <p:nvSpPr>
            <p:cNvPr id="69" name="Freeform: Shape 68">
              <a:extLst>
                <a:ext uri="{FF2B5EF4-FFF2-40B4-BE49-F238E27FC236}">
                  <a16:creationId xmlns:a16="http://schemas.microsoft.com/office/drawing/2014/main" id="{CEEC442F-1DAE-37A4-C052-E011D31A3500}"/>
                </a:ext>
              </a:extLst>
            </p:cNvPr>
            <p:cNvSpPr/>
            <p:nvPr/>
          </p:nvSpPr>
          <p:spPr>
            <a:xfrm>
              <a:off x="6853963" y="2999981"/>
              <a:ext cx="69008" cy="374046"/>
            </a:xfrm>
            <a:custGeom>
              <a:avLst/>
              <a:gdLst>
                <a:gd name="connsiteX0" fmla="*/ 0 w 69008"/>
                <a:gd name="connsiteY0" fmla="*/ 34004 h 374046"/>
                <a:gd name="connsiteX1" fmla="*/ 0 w 69008"/>
                <a:gd name="connsiteY1" fmla="*/ 34004 h 374046"/>
                <a:gd name="connsiteX2" fmla="*/ 34004 w 69008"/>
                <a:gd name="connsiteY2" fmla="*/ 0 h 374046"/>
                <a:gd name="connsiteX3" fmla="*/ 35004 w 69008"/>
                <a:gd name="connsiteY3" fmla="*/ 0 h 374046"/>
                <a:gd name="connsiteX4" fmla="*/ 69009 w 69008"/>
                <a:gd name="connsiteY4" fmla="*/ 34004 h 374046"/>
                <a:gd name="connsiteX5" fmla="*/ 69009 w 69008"/>
                <a:gd name="connsiteY5" fmla="*/ 34004 h 374046"/>
                <a:gd name="connsiteX6" fmla="*/ 35004 w 69008"/>
                <a:gd name="connsiteY6" fmla="*/ 68008 h 374046"/>
                <a:gd name="connsiteX7" fmla="*/ 34004 w 69008"/>
                <a:gd name="connsiteY7" fmla="*/ 68008 h 374046"/>
                <a:gd name="connsiteX8" fmla="*/ 0 w 69008"/>
                <a:gd name="connsiteY8" fmla="*/ 34004 h 374046"/>
                <a:gd name="connsiteX9" fmla="*/ 0 w 69008"/>
                <a:gd name="connsiteY9" fmla="*/ 374047 h 374046"/>
                <a:gd name="connsiteX10" fmla="*/ 0 w 69008"/>
                <a:gd name="connsiteY10" fmla="*/ 105013 h 374046"/>
                <a:gd name="connsiteX11" fmla="*/ 69009 w 69008"/>
                <a:gd name="connsiteY11" fmla="*/ 105013 h 374046"/>
                <a:gd name="connsiteX12" fmla="*/ 69009 w 69008"/>
                <a:gd name="connsiteY12" fmla="*/ 373047 h 374046"/>
                <a:gd name="connsiteX13" fmla="*/ 0 w 69008"/>
                <a:gd name="connsiteY13" fmla="*/ 373047 h 374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08" h="374046">
                  <a:moveTo>
                    <a:pt x="0" y="34004"/>
                  </a:moveTo>
                  <a:lnTo>
                    <a:pt x="0" y="34004"/>
                  </a:lnTo>
                  <a:cubicBezTo>
                    <a:pt x="0" y="15002"/>
                    <a:pt x="15002" y="0"/>
                    <a:pt x="34004" y="0"/>
                  </a:cubicBezTo>
                  <a:lnTo>
                    <a:pt x="35004" y="0"/>
                  </a:lnTo>
                  <a:cubicBezTo>
                    <a:pt x="54007" y="0"/>
                    <a:pt x="69009" y="15002"/>
                    <a:pt x="69009" y="34004"/>
                  </a:cubicBezTo>
                  <a:lnTo>
                    <a:pt x="69009" y="34004"/>
                  </a:lnTo>
                  <a:cubicBezTo>
                    <a:pt x="69009" y="53007"/>
                    <a:pt x="54007" y="68008"/>
                    <a:pt x="35004" y="68008"/>
                  </a:cubicBezTo>
                  <a:lnTo>
                    <a:pt x="34004" y="68008"/>
                  </a:lnTo>
                  <a:cubicBezTo>
                    <a:pt x="16002" y="68008"/>
                    <a:pt x="0" y="53007"/>
                    <a:pt x="0" y="34004"/>
                  </a:cubicBezTo>
                  <a:close/>
                  <a:moveTo>
                    <a:pt x="0" y="374047"/>
                  </a:moveTo>
                  <a:lnTo>
                    <a:pt x="0" y="105013"/>
                  </a:lnTo>
                  <a:lnTo>
                    <a:pt x="69009" y="105013"/>
                  </a:lnTo>
                  <a:lnTo>
                    <a:pt x="69009" y="373047"/>
                  </a:lnTo>
                  <a:lnTo>
                    <a:pt x="0" y="373047"/>
                  </a:lnTo>
                  <a:close/>
                </a:path>
              </a:pathLst>
            </a:custGeom>
            <a:solidFill>
              <a:srgbClr val="3D4647"/>
            </a:solidFill>
            <a:ln w="9971"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DCC4968F-C86D-1E7C-3377-3F3164CA1A22}"/>
                </a:ext>
              </a:extLst>
            </p:cNvPr>
            <p:cNvSpPr/>
            <p:nvPr/>
          </p:nvSpPr>
          <p:spPr>
            <a:xfrm>
              <a:off x="6853963" y="2999981"/>
              <a:ext cx="69008" cy="374046"/>
            </a:xfrm>
            <a:custGeom>
              <a:avLst/>
              <a:gdLst>
                <a:gd name="connsiteX0" fmla="*/ 0 w 69008"/>
                <a:gd name="connsiteY0" fmla="*/ 34004 h 374046"/>
                <a:gd name="connsiteX1" fmla="*/ 0 w 69008"/>
                <a:gd name="connsiteY1" fmla="*/ 34004 h 374046"/>
                <a:gd name="connsiteX2" fmla="*/ 34004 w 69008"/>
                <a:gd name="connsiteY2" fmla="*/ 0 h 374046"/>
                <a:gd name="connsiteX3" fmla="*/ 35004 w 69008"/>
                <a:gd name="connsiteY3" fmla="*/ 0 h 374046"/>
                <a:gd name="connsiteX4" fmla="*/ 69009 w 69008"/>
                <a:gd name="connsiteY4" fmla="*/ 34004 h 374046"/>
                <a:gd name="connsiteX5" fmla="*/ 69009 w 69008"/>
                <a:gd name="connsiteY5" fmla="*/ 34004 h 374046"/>
                <a:gd name="connsiteX6" fmla="*/ 35004 w 69008"/>
                <a:gd name="connsiteY6" fmla="*/ 68008 h 374046"/>
                <a:gd name="connsiteX7" fmla="*/ 34004 w 69008"/>
                <a:gd name="connsiteY7" fmla="*/ 68008 h 374046"/>
                <a:gd name="connsiteX8" fmla="*/ 0 w 69008"/>
                <a:gd name="connsiteY8" fmla="*/ 34004 h 374046"/>
                <a:gd name="connsiteX9" fmla="*/ 0 w 69008"/>
                <a:gd name="connsiteY9" fmla="*/ 374047 h 374046"/>
                <a:gd name="connsiteX10" fmla="*/ 0 w 69008"/>
                <a:gd name="connsiteY10" fmla="*/ 105013 h 374046"/>
                <a:gd name="connsiteX11" fmla="*/ 69009 w 69008"/>
                <a:gd name="connsiteY11" fmla="*/ 105013 h 374046"/>
                <a:gd name="connsiteX12" fmla="*/ 69009 w 69008"/>
                <a:gd name="connsiteY12" fmla="*/ 373047 h 374046"/>
                <a:gd name="connsiteX13" fmla="*/ 0 w 69008"/>
                <a:gd name="connsiteY13" fmla="*/ 373047 h 374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08" h="374046">
                  <a:moveTo>
                    <a:pt x="0" y="34004"/>
                  </a:moveTo>
                  <a:lnTo>
                    <a:pt x="0" y="34004"/>
                  </a:lnTo>
                  <a:cubicBezTo>
                    <a:pt x="0" y="15002"/>
                    <a:pt x="15002" y="0"/>
                    <a:pt x="34004" y="0"/>
                  </a:cubicBezTo>
                  <a:lnTo>
                    <a:pt x="35004" y="0"/>
                  </a:lnTo>
                  <a:cubicBezTo>
                    <a:pt x="54007" y="0"/>
                    <a:pt x="69009" y="15002"/>
                    <a:pt x="69009" y="34004"/>
                  </a:cubicBezTo>
                  <a:lnTo>
                    <a:pt x="69009" y="34004"/>
                  </a:lnTo>
                  <a:cubicBezTo>
                    <a:pt x="69009" y="53007"/>
                    <a:pt x="54007" y="68008"/>
                    <a:pt x="35004" y="68008"/>
                  </a:cubicBezTo>
                  <a:lnTo>
                    <a:pt x="34004" y="68008"/>
                  </a:lnTo>
                  <a:cubicBezTo>
                    <a:pt x="16002" y="68008"/>
                    <a:pt x="0" y="53007"/>
                    <a:pt x="0" y="34004"/>
                  </a:cubicBezTo>
                  <a:close/>
                  <a:moveTo>
                    <a:pt x="0" y="374047"/>
                  </a:moveTo>
                  <a:lnTo>
                    <a:pt x="0" y="105013"/>
                  </a:lnTo>
                  <a:lnTo>
                    <a:pt x="69009" y="105013"/>
                  </a:lnTo>
                  <a:lnTo>
                    <a:pt x="69009" y="373047"/>
                  </a:lnTo>
                  <a:lnTo>
                    <a:pt x="0" y="373047"/>
                  </a:lnTo>
                  <a:close/>
                </a:path>
              </a:pathLst>
            </a:custGeom>
            <a:solidFill>
              <a:srgbClr val="40AA1D"/>
            </a:solidFill>
            <a:ln w="9971" cap="flat">
              <a:noFill/>
              <a:prstDash val="solid"/>
              <a:miter/>
            </a:ln>
          </p:spPr>
          <p:txBody>
            <a:bodyPr rtlCol="0" anchor="ctr"/>
            <a:lstStyle/>
            <a:p>
              <a:endParaRPr lang="en-US" dirty="0"/>
            </a:p>
          </p:txBody>
        </p:sp>
      </p:grpSp>
      <p:grpSp>
        <p:nvGrpSpPr>
          <p:cNvPr id="113" name="Group 112">
            <a:extLst>
              <a:ext uri="{FF2B5EF4-FFF2-40B4-BE49-F238E27FC236}">
                <a16:creationId xmlns:a16="http://schemas.microsoft.com/office/drawing/2014/main" id="{EF27A4B2-63E6-BD23-3A0A-B79F8E06FFB9}"/>
              </a:ext>
            </a:extLst>
          </p:cNvPr>
          <p:cNvGrpSpPr/>
          <p:nvPr/>
        </p:nvGrpSpPr>
        <p:grpSpPr>
          <a:xfrm>
            <a:off x="6280760" y="2842093"/>
            <a:ext cx="594717" cy="685800"/>
            <a:chOff x="8094392" y="123758"/>
            <a:chExt cx="594717" cy="685800"/>
          </a:xfrm>
        </p:grpSpPr>
        <p:sp>
          <p:nvSpPr>
            <p:cNvPr id="102" name="Freeform: Shape 101">
              <a:extLst>
                <a:ext uri="{FF2B5EF4-FFF2-40B4-BE49-F238E27FC236}">
                  <a16:creationId xmlns:a16="http://schemas.microsoft.com/office/drawing/2014/main" id="{4F529254-3FDB-AF55-CDD6-CB219F257A79}"/>
                </a:ext>
              </a:extLst>
            </p:cNvPr>
            <p:cNvSpPr>
              <a:spLocks noChangeAspect="1"/>
            </p:cNvSpPr>
            <p:nvPr/>
          </p:nvSpPr>
          <p:spPr>
            <a:xfrm>
              <a:off x="8225200" y="299460"/>
              <a:ext cx="339737" cy="338328"/>
            </a:xfrm>
            <a:custGeom>
              <a:avLst/>
              <a:gdLst>
                <a:gd name="connsiteX0" fmla="*/ 203025 w 241030"/>
                <a:gd name="connsiteY0" fmla="*/ 0 h 240030"/>
                <a:gd name="connsiteX1" fmla="*/ 241030 w 241030"/>
                <a:gd name="connsiteY1" fmla="*/ 38005 h 240030"/>
                <a:gd name="connsiteX2" fmla="*/ 159020 w 241030"/>
                <a:gd name="connsiteY2" fmla="*/ 120015 h 240030"/>
                <a:gd name="connsiteX3" fmla="*/ 241030 w 241030"/>
                <a:gd name="connsiteY3" fmla="*/ 203025 h 240030"/>
                <a:gd name="connsiteX4" fmla="*/ 203025 w 241030"/>
                <a:gd name="connsiteY4" fmla="*/ 240030 h 240030"/>
                <a:gd name="connsiteX5" fmla="*/ 121015 w 241030"/>
                <a:gd name="connsiteY5" fmla="*/ 158020 h 240030"/>
                <a:gd name="connsiteX6" fmla="*/ 38005 w 241030"/>
                <a:gd name="connsiteY6" fmla="*/ 240030 h 240030"/>
                <a:gd name="connsiteX7" fmla="*/ 1000 w 241030"/>
                <a:gd name="connsiteY7" fmla="*/ 202025 h 240030"/>
                <a:gd name="connsiteX8" fmla="*/ 83010 w 241030"/>
                <a:gd name="connsiteY8" fmla="*/ 120015 h 240030"/>
                <a:gd name="connsiteX9" fmla="*/ 0 w 241030"/>
                <a:gd name="connsiteY9" fmla="*/ 38005 h 240030"/>
                <a:gd name="connsiteX10" fmla="*/ 38005 w 241030"/>
                <a:gd name="connsiteY10" fmla="*/ 0 h 240030"/>
                <a:gd name="connsiteX11" fmla="*/ 121015 w 241030"/>
                <a:gd name="connsiteY11" fmla="*/ 82010 h 24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030" h="240030">
                  <a:moveTo>
                    <a:pt x="203025" y="0"/>
                  </a:moveTo>
                  <a:lnTo>
                    <a:pt x="241030" y="38005"/>
                  </a:lnTo>
                  <a:lnTo>
                    <a:pt x="159020" y="120015"/>
                  </a:lnTo>
                  <a:lnTo>
                    <a:pt x="241030" y="203025"/>
                  </a:lnTo>
                  <a:lnTo>
                    <a:pt x="203025" y="240030"/>
                  </a:lnTo>
                  <a:lnTo>
                    <a:pt x="121015" y="158020"/>
                  </a:lnTo>
                  <a:lnTo>
                    <a:pt x="38005" y="240030"/>
                  </a:lnTo>
                  <a:lnTo>
                    <a:pt x="1000" y="202025"/>
                  </a:lnTo>
                  <a:lnTo>
                    <a:pt x="83010" y="120015"/>
                  </a:lnTo>
                  <a:lnTo>
                    <a:pt x="0" y="38005"/>
                  </a:lnTo>
                  <a:lnTo>
                    <a:pt x="38005" y="0"/>
                  </a:lnTo>
                  <a:lnTo>
                    <a:pt x="121015" y="82010"/>
                  </a:lnTo>
                  <a:close/>
                </a:path>
              </a:pathLst>
            </a:custGeom>
            <a:solidFill>
              <a:srgbClr val="40AA1D"/>
            </a:solidFill>
            <a:ln w="9971" cap="flat">
              <a:noFill/>
              <a:prstDash val="solid"/>
              <a:miter/>
            </a:ln>
          </p:spPr>
          <p:txBody>
            <a:bodyPr rtlCol="0" anchor="ctr"/>
            <a:lstStyle/>
            <a:p>
              <a:endParaRPr lang="en-US" dirty="0"/>
            </a:p>
          </p:txBody>
        </p:sp>
        <p:sp>
          <p:nvSpPr>
            <p:cNvPr id="111" name="Freeform: Shape 110">
              <a:extLst>
                <a:ext uri="{FF2B5EF4-FFF2-40B4-BE49-F238E27FC236}">
                  <a16:creationId xmlns:a16="http://schemas.microsoft.com/office/drawing/2014/main" id="{725CE649-7F75-57CB-9E80-AC70760A537B}"/>
                </a:ext>
              </a:extLst>
            </p:cNvPr>
            <p:cNvSpPr/>
            <p:nvPr/>
          </p:nvSpPr>
          <p:spPr>
            <a:xfrm>
              <a:off x="8094392" y="123758"/>
              <a:ext cx="594717" cy="685800"/>
            </a:xfrm>
            <a:custGeom>
              <a:avLst/>
              <a:gdLst>
                <a:gd name="connsiteX0" fmla="*/ 296823 w 594717"/>
                <a:gd name="connsiteY0" fmla="*/ 37505 h 685800"/>
                <a:gd name="connsiteX1" fmla="*/ 562570 w 594717"/>
                <a:gd name="connsiteY1" fmla="*/ 189667 h 685800"/>
                <a:gd name="connsiteX2" fmla="*/ 563642 w 594717"/>
                <a:gd name="connsiteY2" fmla="*/ 495062 h 685800"/>
                <a:gd name="connsiteX3" fmla="*/ 298966 w 594717"/>
                <a:gd name="connsiteY3" fmla="*/ 648295 h 685800"/>
                <a:gd name="connsiteX4" fmla="*/ 33218 w 594717"/>
                <a:gd name="connsiteY4" fmla="*/ 497205 h 685800"/>
                <a:gd name="connsiteX5" fmla="*/ 32147 w 594717"/>
                <a:gd name="connsiteY5" fmla="*/ 190738 h 685800"/>
                <a:gd name="connsiteX6" fmla="*/ 296823 w 594717"/>
                <a:gd name="connsiteY6" fmla="*/ 37505 h 685800"/>
                <a:gd name="connsiteX7" fmla="*/ 296823 w 594717"/>
                <a:gd name="connsiteY7" fmla="*/ 0 h 685800"/>
                <a:gd name="connsiteX8" fmla="*/ 0 w 594717"/>
                <a:gd name="connsiteY8" fmla="*/ 172522 h 685800"/>
                <a:gd name="connsiteX9" fmla="*/ 1072 w 594717"/>
                <a:gd name="connsiteY9" fmla="*/ 515422 h 685800"/>
                <a:gd name="connsiteX10" fmla="*/ 298966 w 594717"/>
                <a:gd name="connsiteY10" fmla="*/ 685800 h 685800"/>
                <a:gd name="connsiteX11" fmla="*/ 594717 w 594717"/>
                <a:gd name="connsiteY11" fmla="*/ 513278 h 685800"/>
                <a:gd name="connsiteX12" fmla="*/ 593646 w 594717"/>
                <a:gd name="connsiteY12" fmla="*/ 170378 h 685800"/>
                <a:gd name="connsiteX13" fmla="*/ 296823 w 594717"/>
                <a:gd name="connsiteY13" fmla="*/ 0 h 685800"/>
                <a:gd name="connsiteX14" fmla="*/ 296823 w 594717"/>
                <a:gd name="connsiteY14"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4717" h="685800">
                  <a:moveTo>
                    <a:pt x="296823" y="37505"/>
                  </a:moveTo>
                  <a:lnTo>
                    <a:pt x="562570" y="189667"/>
                  </a:lnTo>
                  <a:lnTo>
                    <a:pt x="563642" y="495062"/>
                  </a:lnTo>
                  <a:lnTo>
                    <a:pt x="298966" y="648295"/>
                  </a:lnTo>
                  <a:lnTo>
                    <a:pt x="33218" y="497205"/>
                  </a:lnTo>
                  <a:lnTo>
                    <a:pt x="32147" y="190738"/>
                  </a:lnTo>
                  <a:lnTo>
                    <a:pt x="296823" y="37505"/>
                  </a:lnTo>
                  <a:moveTo>
                    <a:pt x="296823" y="0"/>
                  </a:moveTo>
                  <a:lnTo>
                    <a:pt x="0" y="172522"/>
                  </a:lnTo>
                  <a:lnTo>
                    <a:pt x="1072" y="515422"/>
                  </a:lnTo>
                  <a:lnTo>
                    <a:pt x="298966" y="685800"/>
                  </a:lnTo>
                  <a:lnTo>
                    <a:pt x="594717" y="513278"/>
                  </a:lnTo>
                  <a:lnTo>
                    <a:pt x="593646" y="170378"/>
                  </a:lnTo>
                  <a:lnTo>
                    <a:pt x="296823" y="0"/>
                  </a:lnTo>
                  <a:lnTo>
                    <a:pt x="296823" y="0"/>
                  </a:lnTo>
                  <a:close/>
                </a:path>
              </a:pathLst>
            </a:custGeom>
            <a:solidFill>
              <a:srgbClr val="3D4647"/>
            </a:solidFill>
            <a:ln w="10716" cap="flat">
              <a:noFill/>
              <a:prstDash val="solid"/>
              <a:miter/>
            </a:ln>
          </p:spPr>
          <p:txBody>
            <a:bodyPr rtlCol="0" anchor="ctr"/>
            <a:lstStyle/>
            <a:p>
              <a:endParaRPr lang="en-US" dirty="0"/>
            </a:p>
          </p:txBody>
        </p:sp>
      </p:grpSp>
      <p:grpSp>
        <p:nvGrpSpPr>
          <p:cNvPr id="123" name="Group 122">
            <a:extLst>
              <a:ext uri="{FF2B5EF4-FFF2-40B4-BE49-F238E27FC236}">
                <a16:creationId xmlns:a16="http://schemas.microsoft.com/office/drawing/2014/main" id="{C2192947-01FA-E8B8-641A-3261CAC91F6B}"/>
              </a:ext>
            </a:extLst>
          </p:cNvPr>
          <p:cNvGrpSpPr/>
          <p:nvPr/>
        </p:nvGrpSpPr>
        <p:grpSpPr>
          <a:xfrm>
            <a:off x="3755272" y="2823709"/>
            <a:ext cx="594717" cy="685800"/>
            <a:chOff x="3419688" y="361591"/>
            <a:chExt cx="594717" cy="685800"/>
          </a:xfrm>
        </p:grpSpPr>
        <p:sp>
          <p:nvSpPr>
            <p:cNvPr id="117" name="Freeform: Shape 116">
              <a:extLst>
                <a:ext uri="{FF2B5EF4-FFF2-40B4-BE49-F238E27FC236}">
                  <a16:creationId xmlns:a16="http://schemas.microsoft.com/office/drawing/2014/main" id="{A6FBB3EF-332B-B30C-778F-3D210BBB5FD4}"/>
                </a:ext>
              </a:extLst>
            </p:cNvPr>
            <p:cNvSpPr/>
            <p:nvPr/>
          </p:nvSpPr>
          <p:spPr>
            <a:xfrm>
              <a:off x="3419688" y="361591"/>
              <a:ext cx="594717" cy="685800"/>
            </a:xfrm>
            <a:custGeom>
              <a:avLst/>
              <a:gdLst>
                <a:gd name="connsiteX0" fmla="*/ 296823 w 594717"/>
                <a:gd name="connsiteY0" fmla="*/ 37505 h 685800"/>
                <a:gd name="connsiteX1" fmla="*/ 562570 w 594717"/>
                <a:gd name="connsiteY1" fmla="*/ 189667 h 685800"/>
                <a:gd name="connsiteX2" fmla="*/ 563642 w 594717"/>
                <a:gd name="connsiteY2" fmla="*/ 495062 h 685800"/>
                <a:gd name="connsiteX3" fmla="*/ 298966 w 594717"/>
                <a:gd name="connsiteY3" fmla="*/ 648295 h 685800"/>
                <a:gd name="connsiteX4" fmla="*/ 33218 w 594717"/>
                <a:gd name="connsiteY4" fmla="*/ 497205 h 685800"/>
                <a:gd name="connsiteX5" fmla="*/ 32147 w 594717"/>
                <a:gd name="connsiteY5" fmla="*/ 190738 h 685800"/>
                <a:gd name="connsiteX6" fmla="*/ 296823 w 594717"/>
                <a:gd name="connsiteY6" fmla="*/ 37505 h 685800"/>
                <a:gd name="connsiteX7" fmla="*/ 296823 w 594717"/>
                <a:gd name="connsiteY7" fmla="*/ 0 h 685800"/>
                <a:gd name="connsiteX8" fmla="*/ 0 w 594717"/>
                <a:gd name="connsiteY8" fmla="*/ 172522 h 685800"/>
                <a:gd name="connsiteX9" fmla="*/ 1072 w 594717"/>
                <a:gd name="connsiteY9" fmla="*/ 515422 h 685800"/>
                <a:gd name="connsiteX10" fmla="*/ 298966 w 594717"/>
                <a:gd name="connsiteY10" fmla="*/ 685800 h 685800"/>
                <a:gd name="connsiteX11" fmla="*/ 594717 w 594717"/>
                <a:gd name="connsiteY11" fmla="*/ 513278 h 685800"/>
                <a:gd name="connsiteX12" fmla="*/ 593646 w 594717"/>
                <a:gd name="connsiteY12" fmla="*/ 170378 h 685800"/>
                <a:gd name="connsiteX13" fmla="*/ 296823 w 594717"/>
                <a:gd name="connsiteY13" fmla="*/ 0 h 685800"/>
                <a:gd name="connsiteX14" fmla="*/ 296823 w 594717"/>
                <a:gd name="connsiteY14"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4717" h="685800">
                  <a:moveTo>
                    <a:pt x="296823" y="37505"/>
                  </a:moveTo>
                  <a:lnTo>
                    <a:pt x="562570" y="189667"/>
                  </a:lnTo>
                  <a:lnTo>
                    <a:pt x="563642" y="495062"/>
                  </a:lnTo>
                  <a:lnTo>
                    <a:pt x="298966" y="648295"/>
                  </a:lnTo>
                  <a:lnTo>
                    <a:pt x="33218" y="497205"/>
                  </a:lnTo>
                  <a:lnTo>
                    <a:pt x="32147" y="190738"/>
                  </a:lnTo>
                  <a:lnTo>
                    <a:pt x="296823" y="37505"/>
                  </a:lnTo>
                  <a:moveTo>
                    <a:pt x="296823" y="0"/>
                  </a:moveTo>
                  <a:lnTo>
                    <a:pt x="0" y="172522"/>
                  </a:lnTo>
                  <a:lnTo>
                    <a:pt x="1072" y="515422"/>
                  </a:lnTo>
                  <a:lnTo>
                    <a:pt x="298966" y="685800"/>
                  </a:lnTo>
                  <a:lnTo>
                    <a:pt x="594717" y="513278"/>
                  </a:lnTo>
                  <a:lnTo>
                    <a:pt x="593646" y="170378"/>
                  </a:lnTo>
                  <a:lnTo>
                    <a:pt x="296823" y="0"/>
                  </a:lnTo>
                  <a:lnTo>
                    <a:pt x="296823" y="0"/>
                  </a:lnTo>
                  <a:close/>
                </a:path>
              </a:pathLst>
            </a:custGeom>
            <a:solidFill>
              <a:srgbClr val="3D4647"/>
            </a:solidFill>
            <a:ln w="10716" cap="flat">
              <a:noFill/>
              <a:prstDash val="solid"/>
              <a:miter/>
            </a:ln>
          </p:spPr>
          <p:txBody>
            <a:bodyPr rtlCol="0" anchor="ctr"/>
            <a:lstStyle/>
            <a:p>
              <a:endParaRPr lang="en-US" dirty="0"/>
            </a:p>
          </p:txBody>
        </p:sp>
        <p:grpSp>
          <p:nvGrpSpPr>
            <p:cNvPr id="120" name="Group 119">
              <a:extLst>
                <a:ext uri="{FF2B5EF4-FFF2-40B4-BE49-F238E27FC236}">
                  <a16:creationId xmlns:a16="http://schemas.microsoft.com/office/drawing/2014/main" id="{7377E6DD-D07A-A51C-8A3A-531A64410C52}"/>
                </a:ext>
              </a:extLst>
            </p:cNvPr>
            <p:cNvGrpSpPr>
              <a:grpSpLocks noChangeAspect="1"/>
            </p:cNvGrpSpPr>
            <p:nvPr/>
          </p:nvGrpSpPr>
          <p:grpSpPr>
            <a:xfrm>
              <a:off x="3587208" y="515094"/>
              <a:ext cx="246770" cy="384048"/>
              <a:chOff x="10195343" y="5869689"/>
              <a:chExt cx="262568" cy="408636"/>
            </a:xfrm>
          </p:grpSpPr>
          <p:sp>
            <p:nvSpPr>
              <p:cNvPr id="121" name="Freeform: Shape 120">
                <a:extLst>
                  <a:ext uri="{FF2B5EF4-FFF2-40B4-BE49-F238E27FC236}">
                    <a16:creationId xmlns:a16="http://schemas.microsoft.com/office/drawing/2014/main" id="{7D5FA9FD-A0E4-FAD2-D2F1-F3C8B5FC9F8D}"/>
                  </a:ext>
                </a:extLst>
              </p:cNvPr>
              <p:cNvSpPr/>
              <p:nvPr/>
            </p:nvSpPr>
            <p:spPr>
              <a:xfrm>
                <a:off x="10291180" y="6212683"/>
                <a:ext cx="72206" cy="65642"/>
              </a:xfrm>
              <a:custGeom>
                <a:avLst/>
                <a:gdLst>
                  <a:gd name="connsiteX0" fmla="*/ 72206 w 72206"/>
                  <a:gd name="connsiteY0" fmla="*/ 65642 h 65642"/>
                  <a:gd name="connsiteX1" fmla="*/ 0 w 72206"/>
                  <a:gd name="connsiteY1" fmla="*/ 65642 h 65642"/>
                  <a:gd name="connsiteX2" fmla="*/ 0 w 72206"/>
                  <a:gd name="connsiteY2" fmla="*/ 0 h 65642"/>
                  <a:gd name="connsiteX3" fmla="*/ 72206 w 72206"/>
                  <a:gd name="connsiteY3" fmla="*/ 0 h 65642"/>
                  <a:gd name="connsiteX4" fmla="*/ 72206 w 72206"/>
                  <a:gd name="connsiteY4" fmla="*/ 65642 h 65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6" h="65642">
                    <a:moveTo>
                      <a:pt x="72206" y="65642"/>
                    </a:moveTo>
                    <a:lnTo>
                      <a:pt x="0" y="65642"/>
                    </a:lnTo>
                    <a:lnTo>
                      <a:pt x="0" y="0"/>
                    </a:lnTo>
                    <a:lnTo>
                      <a:pt x="72206" y="0"/>
                    </a:lnTo>
                    <a:lnTo>
                      <a:pt x="72206" y="65642"/>
                    </a:lnTo>
                    <a:close/>
                  </a:path>
                </a:pathLst>
              </a:custGeom>
              <a:solidFill>
                <a:schemeClr val="accent1"/>
              </a:solidFill>
              <a:ln w="6548" cap="flat">
                <a:noFill/>
                <a:prstDash val="solid"/>
                <a:miter/>
              </a:ln>
            </p:spPr>
            <p:txBody>
              <a:bodyPr rtlCol="0" anchor="ctr"/>
              <a:lstStyle/>
              <a:p>
                <a:endParaRPr lang="en-US" dirty="0"/>
              </a:p>
            </p:txBody>
          </p:sp>
          <p:sp>
            <p:nvSpPr>
              <p:cNvPr id="122" name="Freeform: Shape 121">
                <a:extLst>
                  <a:ext uri="{FF2B5EF4-FFF2-40B4-BE49-F238E27FC236}">
                    <a16:creationId xmlns:a16="http://schemas.microsoft.com/office/drawing/2014/main" id="{00FBE47A-6D30-B66C-12F1-63264BC34D83}"/>
                  </a:ext>
                </a:extLst>
              </p:cNvPr>
              <p:cNvSpPr>
                <a:spLocks noChangeAspect="1"/>
              </p:cNvSpPr>
              <p:nvPr/>
            </p:nvSpPr>
            <p:spPr>
              <a:xfrm>
                <a:off x="10195343" y="5869689"/>
                <a:ext cx="262568" cy="308517"/>
              </a:xfrm>
              <a:custGeom>
                <a:avLst/>
                <a:gdLst>
                  <a:gd name="connsiteX0" fmla="*/ 202177 w 262568"/>
                  <a:gd name="connsiteY0" fmla="*/ 229747 h 308517"/>
                  <a:gd name="connsiteX1" fmla="*/ 173951 w 262568"/>
                  <a:gd name="connsiteY1" fmla="*/ 264537 h 308517"/>
                  <a:gd name="connsiteX2" fmla="*/ 168044 w 262568"/>
                  <a:gd name="connsiteY2" fmla="*/ 308518 h 308517"/>
                  <a:gd name="connsiteX3" fmla="*/ 98463 w 262568"/>
                  <a:gd name="connsiteY3" fmla="*/ 308518 h 308517"/>
                  <a:gd name="connsiteX4" fmla="*/ 98463 w 262568"/>
                  <a:gd name="connsiteY4" fmla="*/ 304579 h 308517"/>
                  <a:gd name="connsiteX5" fmla="*/ 137192 w 262568"/>
                  <a:gd name="connsiteY5" fmla="*/ 213993 h 308517"/>
                  <a:gd name="connsiteX6" fmla="*/ 177890 w 262568"/>
                  <a:gd name="connsiteY6" fmla="*/ 173295 h 308517"/>
                  <a:gd name="connsiteX7" fmla="*/ 192331 w 262568"/>
                  <a:gd name="connsiteY7" fmla="*/ 152290 h 308517"/>
                  <a:gd name="connsiteX8" fmla="*/ 196926 w 262568"/>
                  <a:gd name="connsiteY8" fmla="*/ 128002 h 308517"/>
                  <a:gd name="connsiteX9" fmla="*/ 192331 w 262568"/>
                  <a:gd name="connsiteY9" fmla="*/ 103714 h 308517"/>
                  <a:gd name="connsiteX10" fmla="*/ 178546 w 262568"/>
                  <a:gd name="connsiteY10" fmla="*/ 82709 h 308517"/>
                  <a:gd name="connsiteX11" fmla="*/ 157541 w 262568"/>
                  <a:gd name="connsiteY11" fmla="*/ 68924 h 308517"/>
                  <a:gd name="connsiteX12" fmla="*/ 131284 w 262568"/>
                  <a:gd name="connsiteY12" fmla="*/ 64329 h 308517"/>
                  <a:gd name="connsiteX13" fmla="*/ 84678 w 262568"/>
                  <a:gd name="connsiteY13" fmla="*/ 83365 h 308517"/>
                  <a:gd name="connsiteX14" fmla="*/ 65642 w 262568"/>
                  <a:gd name="connsiteY14" fmla="*/ 128002 h 308517"/>
                  <a:gd name="connsiteX15" fmla="*/ 0 w 262568"/>
                  <a:gd name="connsiteY15" fmla="*/ 128002 h 308517"/>
                  <a:gd name="connsiteX16" fmla="*/ 9846 w 262568"/>
                  <a:gd name="connsiteY16" fmla="*/ 78770 h 308517"/>
                  <a:gd name="connsiteX17" fmla="*/ 38072 w 262568"/>
                  <a:gd name="connsiteY17" fmla="*/ 37416 h 308517"/>
                  <a:gd name="connsiteX18" fmla="*/ 80740 w 262568"/>
                  <a:gd name="connsiteY18" fmla="*/ 9846 h 308517"/>
                  <a:gd name="connsiteX19" fmla="*/ 131284 w 262568"/>
                  <a:gd name="connsiteY19" fmla="*/ 0 h 308517"/>
                  <a:gd name="connsiteX20" fmla="*/ 181828 w 262568"/>
                  <a:gd name="connsiteY20" fmla="*/ 9846 h 308517"/>
                  <a:gd name="connsiteX21" fmla="*/ 224496 w 262568"/>
                  <a:gd name="connsiteY21" fmla="*/ 37416 h 308517"/>
                  <a:gd name="connsiteX22" fmla="*/ 252722 w 262568"/>
                  <a:gd name="connsiteY22" fmla="*/ 78770 h 308517"/>
                  <a:gd name="connsiteX23" fmla="*/ 262568 w 262568"/>
                  <a:gd name="connsiteY23" fmla="*/ 127346 h 308517"/>
                  <a:gd name="connsiteX24" fmla="*/ 232373 w 262568"/>
                  <a:gd name="connsiteY24" fmla="*/ 199552 h 308517"/>
                  <a:gd name="connsiteX25" fmla="*/ 202177 w 262568"/>
                  <a:gd name="connsiteY25" fmla="*/ 229747 h 30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2568" h="308517">
                    <a:moveTo>
                      <a:pt x="202177" y="229747"/>
                    </a:moveTo>
                    <a:cubicBezTo>
                      <a:pt x="189705" y="238937"/>
                      <a:pt x="179859" y="250753"/>
                      <a:pt x="173951" y="264537"/>
                    </a:cubicBezTo>
                    <a:cubicBezTo>
                      <a:pt x="168044" y="278322"/>
                      <a:pt x="166074" y="293420"/>
                      <a:pt x="168044" y="308518"/>
                    </a:cubicBezTo>
                    <a:lnTo>
                      <a:pt x="98463" y="308518"/>
                    </a:lnTo>
                    <a:lnTo>
                      <a:pt x="98463" y="304579"/>
                    </a:lnTo>
                    <a:cubicBezTo>
                      <a:pt x="98463" y="270445"/>
                      <a:pt x="112248" y="238281"/>
                      <a:pt x="137192" y="213993"/>
                    </a:cubicBezTo>
                    <a:lnTo>
                      <a:pt x="177890" y="173295"/>
                    </a:lnTo>
                    <a:cubicBezTo>
                      <a:pt x="183798" y="167387"/>
                      <a:pt x="189049" y="160167"/>
                      <a:pt x="192331" y="152290"/>
                    </a:cubicBezTo>
                    <a:cubicBezTo>
                      <a:pt x="195613" y="144412"/>
                      <a:pt x="197583" y="136535"/>
                      <a:pt x="196926" y="128002"/>
                    </a:cubicBezTo>
                    <a:cubicBezTo>
                      <a:pt x="196926" y="119469"/>
                      <a:pt x="195613" y="111591"/>
                      <a:pt x="192331" y="103714"/>
                    </a:cubicBezTo>
                    <a:cubicBezTo>
                      <a:pt x="189049" y="95837"/>
                      <a:pt x="184454" y="88617"/>
                      <a:pt x="178546" y="82709"/>
                    </a:cubicBezTo>
                    <a:cubicBezTo>
                      <a:pt x="172639" y="76801"/>
                      <a:pt x="165418" y="72206"/>
                      <a:pt x="157541" y="68924"/>
                    </a:cubicBezTo>
                    <a:cubicBezTo>
                      <a:pt x="148351" y="65642"/>
                      <a:pt x="139818" y="64329"/>
                      <a:pt x="131284" y="64329"/>
                    </a:cubicBezTo>
                    <a:cubicBezTo>
                      <a:pt x="113561" y="64329"/>
                      <a:pt x="97150" y="71550"/>
                      <a:pt x="84678" y="83365"/>
                    </a:cubicBezTo>
                    <a:cubicBezTo>
                      <a:pt x="72863" y="95181"/>
                      <a:pt x="65642" y="111591"/>
                      <a:pt x="65642" y="128002"/>
                    </a:cubicBezTo>
                    <a:lnTo>
                      <a:pt x="0" y="128002"/>
                    </a:lnTo>
                    <a:cubicBezTo>
                      <a:pt x="0" y="110935"/>
                      <a:pt x="3282" y="94525"/>
                      <a:pt x="9846" y="78770"/>
                    </a:cubicBezTo>
                    <a:cubicBezTo>
                      <a:pt x="16411" y="63016"/>
                      <a:pt x="26257" y="49232"/>
                      <a:pt x="38072" y="37416"/>
                    </a:cubicBezTo>
                    <a:cubicBezTo>
                      <a:pt x="50544" y="25600"/>
                      <a:pt x="64986" y="15754"/>
                      <a:pt x="80740" y="9846"/>
                    </a:cubicBezTo>
                    <a:cubicBezTo>
                      <a:pt x="96494" y="3282"/>
                      <a:pt x="113561" y="0"/>
                      <a:pt x="131284" y="0"/>
                    </a:cubicBezTo>
                    <a:cubicBezTo>
                      <a:pt x="148351" y="0"/>
                      <a:pt x="165418" y="3282"/>
                      <a:pt x="181828" y="9846"/>
                    </a:cubicBezTo>
                    <a:cubicBezTo>
                      <a:pt x="197583" y="16411"/>
                      <a:pt x="212024" y="25600"/>
                      <a:pt x="224496" y="37416"/>
                    </a:cubicBezTo>
                    <a:cubicBezTo>
                      <a:pt x="236968" y="49232"/>
                      <a:pt x="246158" y="63673"/>
                      <a:pt x="252722" y="78770"/>
                    </a:cubicBezTo>
                    <a:cubicBezTo>
                      <a:pt x="259286" y="94525"/>
                      <a:pt x="262568" y="110935"/>
                      <a:pt x="262568" y="127346"/>
                    </a:cubicBezTo>
                    <a:cubicBezTo>
                      <a:pt x="262568" y="154259"/>
                      <a:pt x="251409" y="179859"/>
                      <a:pt x="232373" y="199552"/>
                    </a:cubicBezTo>
                    <a:lnTo>
                      <a:pt x="202177" y="229747"/>
                    </a:lnTo>
                    <a:close/>
                  </a:path>
                </a:pathLst>
              </a:custGeom>
              <a:solidFill>
                <a:schemeClr val="accent1"/>
              </a:solidFill>
              <a:ln w="6548" cap="flat">
                <a:noFill/>
                <a:prstDash val="solid"/>
                <a:miter/>
              </a:ln>
            </p:spPr>
            <p:txBody>
              <a:bodyPr rtlCol="0" anchor="ctr"/>
              <a:lstStyle/>
              <a:p>
                <a:endParaRPr lang="en-US" dirty="0"/>
              </a:p>
            </p:txBody>
          </p:sp>
        </p:grpSp>
      </p:grpSp>
      <p:sp>
        <p:nvSpPr>
          <p:cNvPr id="124" name="Text Placeholder 81">
            <a:extLst>
              <a:ext uri="{FF2B5EF4-FFF2-40B4-BE49-F238E27FC236}">
                <a16:creationId xmlns:a16="http://schemas.microsoft.com/office/drawing/2014/main" id="{20F19EE7-D12C-2FD2-C7EC-D3690A2FBFD8}"/>
              </a:ext>
            </a:extLst>
          </p:cNvPr>
          <p:cNvSpPr txBox="1">
            <a:spLocks/>
          </p:cNvSpPr>
          <p:nvPr/>
        </p:nvSpPr>
        <p:spPr>
          <a:xfrm>
            <a:off x="9436340" y="4785343"/>
            <a:ext cx="149141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ullscreen Exit</a:t>
            </a:r>
          </a:p>
        </p:txBody>
      </p:sp>
      <p:pic>
        <p:nvPicPr>
          <p:cNvPr id="125" name="Graphic 124">
            <a:extLst>
              <a:ext uri="{FF2B5EF4-FFF2-40B4-BE49-F238E27FC236}">
                <a16:creationId xmlns:a16="http://schemas.microsoft.com/office/drawing/2014/main" id="{3FFA192A-4051-8758-16C4-FD73308552AA}"/>
              </a:ext>
            </a:extLst>
          </p:cNvPr>
          <p:cNvPicPr>
            <a:picLocks noChangeAspect="1"/>
          </p:cNvPicPr>
          <p:nvPr/>
        </p:nvPicPr>
        <p:blipFill>
          <a:blip r:embed="rId73">
            <a:extLst>
              <a:ext uri="{96DAC541-7B7A-43D3-8B79-37D633B846F1}">
                <asvg:svgBlip xmlns:asvg="http://schemas.microsoft.com/office/drawing/2016/SVG/main" r:embed="rId74"/>
              </a:ext>
            </a:extLst>
          </a:blip>
          <a:stretch>
            <a:fillRect/>
          </a:stretch>
        </p:blipFill>
        <p:spPr>
          <a:xfrm>
            <a:off x="9877249" y="5027902"/>
            <a:ext cx="609600" cy="609600"/>
          </a:xfrm>
          <a:prstGeom prst="rect">
            <a:avLst/>
          </a:prstGeom>
        </p:spPr>
      </p:pic>
      <p:pic>
        <p:nvPicPr>
          <p:cNvPr id="128" name="Graphic 127">
            <a:extLst>
              <a:ext uri="{FF2B5EF4-FFF2-40B4-BE49-F238E27FC236}">
                <a16:creationId xmlns:a16="http://schemas.microsoft.com/office/drawing/2014/main" id="{ECC5D8A0-92A4-7725-3595-0E71D8873974}"/>
              </a:ext>
            </a:extLst>
          </p:cNvPr>
          <p:cNvPicPr>
            <a:picLocks noChangeAspect="1"/>
          </p:cNvPicPr>
          <p:nvPr/>
        </p:nvPicPr>
        <p:blipFill>
          <a:blip r:embed="rId75">
            <a:extLst>
              <a:ext uri="{96DAC541-7B7A-43D3-8B79-37D633B846F1}">
                <asvg:svgBlip xmlns:asvg="http://schemas.microsoft.com/office/drawing/2016/SVG/main" r:embed="rId76"/>
              </a:ext>
            </a:extLst>
          </a:blip>
          <a:stretch>
            <a:fillRect/>
          </a:stretch>
        </p:blipFill>
        <p:spPr>
          <a:xfrm>
            <a:off x="10063924" y="6015462"/>
            <a:ext cx="609600" cy="609600"/>
          </a:xfrm>
          <a:prstGeom prst="rect">
            <a:avLst/>
          </a:prstGeom>
        </p:spPr>
      </p:pic>
      <p:sp>
        <p:nvSpPr>
          <p:cNvPr id="131" name="Text Placeholder 81">
            <a:extLst>
              <a:ext uri="{FF2B5EF4-FFF2-40B4-BE49-F238E27FC236}">
                <a16:creationId xmlns:a16="http://schemas.microsoft.com/office/drawing/2014/main" id="{C5BF14EC-C1B3-EEB7-1C7B-43FD1B9D8EC6}"/>
              </a:ext>
            </a:extLst>
          </p:cNvPr>
          <p:cNvSpPr txBox="1">
            <a:spLocks/>
          </p:cNvSpPr>
          <p:nvPr/>
        </p:nvSpPr>
        <p:spPr>
          <a:xfrm>
            <a:off x="9623015" y="5821346"/>
            <a:ext cx="149141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ave</a:t>
            </a:r>
          </a:p>
        </p:txBody>
      </p:sp>
      <p:pic>
        <p:nvPicPr>
          <p:cNvPr id="31" name="Graphic 30">
            <a:extLst>
              <a:ext uri="{FF2B5EF4-FFF2-40B4-BE49-F238E27FC236}">
                <a16:creationId xmlns:a16="http://schemas.microsoft.com/office/drawing/2014/main" id="{2E2183ED-1821-CE36-3E06-2F6916254FC6}"/>
              </a:ext>
            </a:extLst>
          </p:cNvPr>
          <p:cNvPicPr>
            <a:picLocks noChangeAspect="1"/>
          </p:cNvPicPr>
          <p:nvPr/>
        </p:nvPicPr>
        <p:blipFill>
          <a:blip r:embed="rId77">
            <a:extLst>
              <a:ext uri="{96DAC541-7B7A-43D3-8B79-37D633B846F1}">
                <asvg:svgBlip xmlns:asvg="http://schemas.microsoft.com/office/drawing/2016/SVG/main" r:embed="rId78"/>
              </a:ext>
            </a:extLst>
          </a:blip>
          <a:stretch>
            <a:fillRect/>
          </a:stretch>
        </p:blipFill>
        <p:spPr>
          <a:xfrm>
            <a:off x="2934005" y="3969258"/>
            <a:ext cx="609600" cy="609600"/>
          </a:xfrm>
          <a:prstGeom prst="rect">
            <a:avLst/>
          </a:prstGeom>
        </p:spPr>
      </p:pic>
      <p:pic>
        <p:nvPicPr>
          <p:cNvPr id="49" name="Graphic 48">
            <a:extLst>
              <a:ext uri="{FF2B5EF4-FFF2-40B4-BE49-F238E27FC236}">
                <a16:creationId xmlns:a16="http://schemas.microsoft.com/office/drawing/2014/main" id="{9789E0DD-3429-CD92-063C-E006ACEB13C6}"/>
              </a:ext>
            </a:extLst>
          </p:cNvPr>
          <p:cNvPicPr>
            <a:picLocks noChangeAspect="1"/>
          </p:cNvPicPr>
          <p:nvPr/>
        </p:nvPicPr>
        <p:blipFill>
          <a:blip r:embed="rId77">
            <a:extLst>
              <a:ext uri="{96DAC541-7B7A-43D3-8B79-37D633B846F1}">
                <asvg:svgBlip xmlns:asvg="http://schemas.microsoft.com/office/drawing/2016/SVG/main" r:embed="rId78"/>
              </a:ext>
            </a:extLst>
          </a:blip>
          <a:stretch>
            <a:fillRect/>
          </a:stretch>
        </p:blipFill>
        <p:spPr>
          <a:xfrm flipH="1" flipV="1">
            <a:off x="1709599" y="3969258"/>
            <a:ext cx="609600" cy="609600"/>
          </a:xfrm>
          <a:prstGeom prst="rect">
            <a:avLst/>
          </a:prstGeom>
        </p:spPr>
      </p:pic>
    </p:spTree>
    <p:extLst>
      <p:ext uri="{BB962C8B-B14F-4D97-AF65-F5344CB8AC3E}">
        <p14:creationId xmlns:p14="http://schemas.microsoft.com/office/powerpoint/2010/main" val="3815003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0FD22-C7C0-8990-DF3F-56D9443CF109}"/>
              </a:ext>
            </a:extLst>
          </p:cNvPr>
          <p:cNvSpPr>
            <a:spLocks noGrp="1"/>
          </p:cNvSpPr>
          <p:nvPr>
            <p:ph type="title"/>
          </p:nvPr>
        </p:nvSpPr>
        <p:spPr>
          <a:xfrm>
            <a:off x="2665327" y="3044280"/>
            <a:ext cx="8869680" cy="769441"/>
          </a:xfrm>
        </p:spPr>
        <p:txBody>
          <a:bodyPr/>
          <a:lstStyle/>
          <a:p>
            <a:r>
              <a:rPr lang="en-US" dirty="0"/>
              <a:t>Oslc plm server</a:t>
            </a:r>
          </a:p>
        </p:txBody>
      </p:sp>
    </p:spTree>
    <p:extLst>
      <p:ext uri="{BB962C8B-B14F-4D97-AF65-F5344CB8AC3E}">
        <p14:creationId xmlns:p14="http://schemas.microsoft.com/office/powerpoint/2010/main" val="2164948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 name="Graphic 83">
            <a:extLst>
              <a:ext uri="{FF2B5EF4-FFF2-40B4-BE49-F238E27FC236}">
                <a16:creationId xmlns:a16="http://schemas.microsoft.com/office/drawing/2014/main" id="{ECBBB596-BE4A-6B08-BD9C-005144A8D9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38875" y="4529698"/>
            <a:ext cx="609600" cy="609600"/>
          </a:xfrm>
          <a:prstGeom prst="rect">
            <a:avLst/>
          </a:prstGeom>
        </p:spPr>
      </p:pic>
      <p:pic>
        <p:nvPicPr>
          <p:cNvPr id="85" name="Graphic 84">
            <a:extLst>
              <a:ext uri="{FF2B5EF4-FFF2-40B4-BE49-F238E27FC236}">
                <a16:creationId xmlns:a16="http://schemas.microsoft.com/office/drawing/2014/main" id="{3A59F805-17CA-CF70-FBBA-B8016FB38AE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94626" y="2019919"/>
            <a:ext cx="676275" cy="609600"/>
          </a:xfrm>
          <a:prstGeom prst="rect">
            <a:avLst/>
          </a:prstGeom>
        </p:spPr>
      </p:pic>
      <p:sp>
        <p:nvSpPr>
          <p:cNvPr id="2" name="Title 1">
            <a:extLst>
              <a:ext uri="{FF2B5EF4-FFF2-40B4-BE49-F238E27FC236}">
                <a16:creationId xmlns:a16="http://schemas.microsoft.com/office/drawing/2014/main" id="{84B24BCB-E0B8-DCB6-C1E8-EB9588EF7756}"/>
              </a:ext>
            </a:extLst>
          </p:cNvPr>
          <p:cNvSpPr>
            <a:spLocks noGrp="1"/>
          </p:cNvSpPr>
          <p:nvPr>
            <p:ph type="title"/>
          </p:nvPr>
        </p:nvSpPr>
        <p:spPr>
          <a:xfrm>
            <a:off x="490760" y="547539"/>
            <a:ext cx="10789920" cy="369332"/>
          </a:xfrm>
        </p:spPr>
        <p:txBody>
          <a:bodyPr vert="horz" lIns="0" tIns="0" rIns="0" bIns="0" rtlCol="0" anchor="t" anchorCtr="0">
            <a:spAutoFit/>
          </a:bodyPr>
          <a:lstStyle/>
          <a:p>
            <a:r>
              <a:rPr lang="en-US" dirty="0"/>
              <a:t>PTC ICONS</a:t>
            </a:r>
          </a:p>
        </p:txBody>
      </p:sp>
      <p:pic>
        <p:nvPicPr>
          <p:cNvPr id="3" name="Graphic 2">
            <a:extLst>
              <a:ext uri="{FF2B5EF4-FFF2-40B4-BE49-F238E27FC236}">
                <a16:creationId xmlns:a16="http://schemas.microsoft.com/office/drawing/2014/main" id="{198A8309-B8EA-8458-5669-9FE828CDCF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61829" y="2019919"/>
            <a:ext cx="609600" cy="609600"/>
          </a:xfrm>
          <a:prstGeom prst="rect">
            <a:avLst/>
          </a:prstGeom>
        </p:spPr>
      </p:pic>
      <p:sp>
        <p:nvSpPr>
          <p:cNvPr id="5" name="Text Placeholder 81">
            <a:extLst>
              <a:ext uri="{FF2B5EF4-FFF2-40B4-BE49-F238E27FC236}">
                <a16:creationId xmlns:a16="http://schemas.microsoft.com/office/drawing/2014/main" id="{A3F0856A-5654-CA61-B6DD-57D85DC2F1B7}"/>
              </a:ext>
            </a:extLst>
          </p:cNvPr>
          <p:cNvSpPr txBox="1">
            <a:spLocks/>
          </p:cNvSpPr>
          <p:nvPr/>
        </p:nvSpPr>
        <p:spPr>
          <a:xfrm>
            <a:off x="5959666" y="2946037"/>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mail</a:t>
            </a:r>
          </a:p>
        </p:txBody>
      </p:sp>
      <p:sp>
        <p:nvSpPr>
          <p:cNvPr id="6" name="Text Placeholder 81">
            <a:extLst>
              <a:ext uri="{FF2B5EF4-FFF2-40B4-BE49-F238E27FC236}">
                <a16:creationId xmlns:a16="http://schemas.microsoft.com/office/drawing/2014/main" id="{8D158D14-5D73-7F9E-AAA0-458FE9982DE4}"/>
              </a:ext>
            </a:extLst>
          </p:cNvPr>
          <p:cNvSpPr txBox="1">
            <a:spLocks/>
          </p:cNvSpPr>
          <p:nvPr/>
        </p:nvSpPr>
        <p:spPr>
          <a:xfrm>
            <a:off x="4736844" y="1602105"/>
            <a:ext cx="106893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older, Content Management</a:t>
            </a:r>
          </a:p>
        </p:txBody>
      </p:sp>
      <p:sp>
        <p:nvSpPr>
          <p:cNvPr id="8" name="Text Placeholder 81">
            <a:extLst>
              <a:ext uri="{FF2B5EF4-FFF2-40B4-BE49-F238E27FC236}">
                <a16:creationId xmlns:a16="http://schemas.microsoft.com/office/drawing/2014/main" id="{7B04555F-7AD1-7D30-3A56-788C2B21EA90}"/>
              </a:ext>
            </a:extLst>
          </p:cNvPr>
          <p:cNvSpPr txBox="1">
            <a:spLocks/>
          </p:cNvSpPr>
          <p:nvPr/>
        </p:nvSpPr>
        <p:spPr>
          <a:xfrm>
            <a:off x="1398718" y="1602105"/>
            <a:ext cx="724621"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aper,</a:t>
            </a:r>
            <a:br>
              <a:rPr lang="en-US" dirty="0"/>
            </a:br>
            <a:r>
              <a:rPr lang="en-US" dirty="0"/>
              <a:t>Document</a:t>
            </a:r>
          </a:p>
        </p:txBody>
      </p:sp>
      <p:sp>
        <p:nvSpPr>
          <p:cNvPr id="9" name="Text Placeholder 81">
            <a:extLst>
              <a:ext uri="{FF2B5EF4-FFF2-40B4-BE49-F238E27FC236}">
                <a16:creationId xmlns:a16="http://schemas.microsoft.com/office/drawing/2014/main" id="{02C04E7E-A757-7562-304F-71D1867B0729}"/>
              </a:ext>
            </a:extLst>
          </p:cNvPr>
          <p:cNvSpPr txBox="1">
            <a:spLocks/>
          </p:cNvSpPr>
          <p:nvPr/>
        </p:nvSpPr>
        <p:spPr>
          <a:xfrm>
            <a:off x="3908576" y="5567124"/>
            <a:ext cx="2639058"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Talk Bubble, Chat, Comment, Review Item </a:t>
            </a:r>
          </a:p>
        </p:txBody>
      </p:sp>
      <p:sp>
        <p:nvSpPr>
          <p:cNvPr id="10" name="Text Placeholder 81">
            <a:extLst>
              <a:ext uri="{FF2B5EF4-FFF2-40B4-BE49-F238E27FC236}">
                <a16:creationId xmlns:a16="http://schemas.microsoft.com/office/drawing/2014/main" id="{93691DFC-FAEA-304F-1466-247C34275E85}"/>
              </a:ext>
            </a:extLst>
          </p:cNvPr>
          <p:cNvSpPr txBox="1">
            <a:spLocks/>
          </p:cNvSpPr>
          <p:nvPr/>
        </p:nvSpPr>
        <p:spPr>
          <a:xfrm>
            <a:off x="963538" y="556712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rophy</a:t>
            </a:r>
          </a:p>
        </p:txBody>
      </p:sp>
      <p:sp>
        <p:nvSpPr>
          <p:cNvPr id="11" name="Text Placeholder 81">
            <a:extLst>
              <a:ext uri="{FF2B5EF4-FFF2-40B4-BE49-F238E27FC236}">
                <a16:creationId xmlns:a16="http://schemas.microsoft.com/office/drawing/2014/main" id="{1DDF8F4E-065F-395A-70BC-0A6D7085B071}"/>
              </a:ext>
            </a:extLst>
          </p:cNvPr>
          <p:cNvSpPr txBox="1">
            <a:spLocks/>
          </p:cNvSpPr>
          <p:nvPr/>
        </p:nvSpPr>
        <p:spPr>
          <a:xfrm>
            <a:off x="5859488" y="1671355"/>
            <a:ext cx="7467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lipboard</a:t>
            </a:r>
          </a:p>
        </p:txBody>
      </p:sp>
      <p:pic>
        <p:nvPicPr>
          <p:cNvPr id="12" name="Graphic 11">
            <a:extLst>
              <a:ext uri="{FF2B5EF4-FFF2-40B4-BE49-F238E27FC236}">
                <a16:creationId xmlns:a16="http://schemas.microsoft.com/office/drawing/2014/main" id="{0E124757-5692-E622-41CF-BEAF9C07B1B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37058" y="5863133"/>
            <a:ext cx="609600" cy="609600"/>
          </a:xfrm>
          <a:prstGeom prst="rect">
            <a:avLst/>
          </a:prstGeom>
        </p:spPr>
      </p:pic>
      <p:pic>
        <p:nvPicPr>
          <p:cNvPr id="13" name="Graphic 12">
            <a:extLst>
              <a:ext uri="{FF2B5EF4-FFF2-40B4-BE49-F238E27FC236}">
                <a16:creationId xmlns:a16="http://schemas.microsoft.com/office/drawing/2014/main" id="{8D17AD83-66E5-B6AB-37BD-6272DFC4065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939365" y="5863133"/>
            <a:ext cx="609600" cy="561975"/>
          </a:xfrm>
          <a:prstGeom prst="rect">
            <a:avLst/>
          </a:prstGeom>
        </p:spPr>
      </p:pic>
      <p:pic>
        <p:nvPicPr>
          <p:cNvPr id="14" name="Graphic 13">
            <a:extLst>
              <a:ext uri="{FF2B5EF4-FFF2-40B4-BE49-F238E27FC236}">
                <a16:creationId xmlns:a16="http://schemas.microsoft.com/office/drawing/2014/main" id="{93ADFC0E-8F04-F8DE-9095-B4EA938E2A23}"/>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11756" r="10137"/>
          <a:stretch/>
        </p:blipFill>
        <p:spPr>
          <a:xfrm>
            <a:off x="1433253" y="2019919"/>
            <a:ext cx="476138" cy="609600"/>
          </a:xfrm>
          <a:prstGeom prst="rect">
            <a:avLst/>
          </a:prstGeom>
        </p:spPr>
      </p:pic>
      <p:pic>
        <p:nvPicPr>
          <p:cNvPr id="15" name="Graphic 14">
            <a:extLst>
              <a:ext uri="{FF2B5EF4-FFF2-40B4-BE49-F238E27FC236}">
                <a16:creationId xmlns:a16="http://schemas.microsoft.com/office/drawing/2014/main" id="{36F051C0-C43D-A41D-FC19-E696A7E3FF1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43572" y="2123694"/>
            <a:ext cx="612648" cy="402051"/>
          </a:xfrm>
          <a:prstGeom prst="rect">
            <a:avLst/>
          </a:prstGeom>
        </p:spPr>
      </p:pic>
      <p:pic>
        <p:nvPicPr>
          <p:cNvPr id="18" name="Graphic 17">
            <a:extLst>
              <a:ext uri="{FF2B5EF4-FFF2-40B4-BE49-F238E27FC236}">
                <a16:creationId xmlns:a16="http://schemas.microsoft.com/office/drawing/2014/main" id="{07FDD468-F006-C042-2391-54A8D221C1F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062908" y="5837796"/>
            <a:ext cx="612648" cy="612648"/>
          </a:xfrm>
          <a:prstGeom prst="rect">
            <a:avLst/>
          </a:prstGeom>
        </p:spPr>
      </p:pic>
      <p:sp>
        <p:nvSpPr>
          <p:cNvPr id="19" name="Text Placeholder 81">
            <a:extLst>
              <a:ext uri="{FF2B5EF4-FFF2-40B4-BE49-F238E27FC236}">
                <a16:creationId xmlns:a16="http://schemas.microsoft.com/office/drawing/2014/main" id="{2C61409D-E8C5-3043-8E6B-3F10CD03E019}"/>
              </a:ext>
            </a:extLst>
          </p:cNvPr>
          <p:cNvSpPr txBox="1">
            <a:spLocks/>
          </p:cNvSpPr>
          <p:nvPr/>
        </p:nvSpPr>
        <p:spPr>
          <a:xfrm>
            <a:off x="7905909" y="1660495"/>
            <a:ext cx="4023360" cy="155448"/>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heck, Checkmark, Requirements Mngmnt, Grant Access</a:t>
            </a:r>
          </a:p>
        </p:txBody>
      </p:sp>
      <p:grpSp>
        <p:nvGrpSpPr>
          <p:cNvPr id="108" name="Group 107">
            <a:extLst>
              <a:ext uri="{FF2B5EF4-FFF2-40B4-BE49-F238E27FC236}">
                <a16:creationId xmlns:a16="http://schemas.microsoft.com/office/drawing/2014/main" id="{DD2F26EA-4BA0-ADFA-EF9D-4E62FD4B3C64}"/>
              </a:ext>
            </a:extLst>
          </p:cNvPr>
          <p:cNvGrpSpPr>
            <a:grpSpLocks noChangeAspect="1"/>
          </p:cNvGrpSpPr>
          <p:nvPr/>
        </p:nvGrpSpPr>
        <p:grpSpPr>
          <a:xfrm>
            <a:off x="9026270" y="2002659"/>
            <a:ext cx="640080" cy="640080"/>
            <a:chOff x="9181168" y="2019919"/>
            <a:chExt cx="640080" cy="640080"/>
          </a:xfrm>
        </p:grpSpPr>
        <p:sp>
          <p:nvSpPr>
            <p:cNvPr id="83" name="Freeform: Shape 82">
              <a:extLst>
                <a:ext uri="{FF2B5EF4-FFF2-40B4-BE49-F238E27FC236}">
                  <a16:creationId xmlns:a16="http://schemas.microsoft.com/office/drawing/2014/main" id="{225BF4F3-F292-A0EF-C194-669A14286154}"/>
                </a:ext>
              </a:extLst>
            </p:cNvPr>
            <p:cNvSpPr/>
            <p:nvPr/>
          </p:nvSpPr>
          <p:spPr>
            <a:xfrm>
              <a:off x="9181168" y="2019919"/>
              <a:ext cx="640080" cy="640080"/>
            </a:xfrm>
            <a:custGeom>
              <a:avLst/>
              <a:gdLst>
                <a:gd name="connsiteX0" fmla="*/ 304800 w 609600"/>
                <a:gd name="connsiteY0" fmla="*/ 28575 h 609600"/>
                <a:gd name="connsiteX1" fmla="*/ 581025 w 609600"/>
                <a:gd name="connsiteY1" fmla="*/ 304800 h 609600"/>
                <a:gd name="connsiteX2" fmla="*/ 304800 w 609600"/>
                <a:gd name="connsiteY2" fmla="*/ 581025 h 609600"/>
                <a:gd name="connsiteX3" fmla="*/ 28575 w 609600"/>
                <a:gd name="connsiteY3" fmla="*/ 304800 h 609600"/>
                <a:gd name="connsiteX4" fmla="*/ 304800 w 609600"/>
                <a:gd name="connsiteY4" fmla="*/ 28575 h 609600"/>
                <a:gd name="connsiteX5" fmla="*/ 304800 w 609600"/>
                <a:gd name="connsiteY5" fmla="*/ 0 h 609600"/>
                <a:gd name="connsiteX6" fmla="*/ 0 w 609600"/>
                <a:gd name="connsiteY6" fmla="*/ 304800 h 609600"/>
                <a:gd name="connsiteX7" fmla="*/ 304800 w 609600"/>
                <a:gd name="connsiteY7" fmla="*/ 609600 h 609600"/>
                <a:gd name="connsiteX8" fmla="*/ 609600 w 609600"/>
                <a:gd name="connsiteY8" fmla="*/ 304800 h 609600"/>
                <a:gd name="connsiteX9" fmla="*/ 304800 w 609600"/>
                <a:gd name="connsiteY9" fmla="*/ 0 h 609600"/>
                <a:gd name="connsiteX10" fmla="*/ 304800 w 609600"/>
                <a:gd name="connsiteY10"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 h="609600">
                  <a:moveTo>
                    <a:pt x="304800" y="28575"/>
                  </a:moveTo>
                  <a:cubicBezTo>
                    <a:pt x="457200" y="28575"/>
                    <a:pt x="581025" y="152400"/>
                    <a:pt x="581025" y="304800"/>
                  </a:cubicBezTo>
                  <a:cubicBezTo>
                    <a:pt x="581025" y="457200"/>
                    <a:pt x="457200" y="581025"/>
                    <a:pt x="304800" y="581025"/>
                  </a:cubicBezTo>
                  <a:cubicBezTo>
                    <a:pt x="152400" y="581025"/>
                    <a:pt x="28575" y="457200"/>
                    <a:pt x="28575" y="304800"/>
                  </a:cubicBezTo>
                  <a:cubicBezTo>
                    <a:pt x="28575" y="152400"/>
                    <a:pt x="152400" y="28575"/>
                    <a:pt x="304800" y="28575"/>
                  </a:cubicBezTo>
                  <a:moveTo>
                    <a:pt x="304800" y="0"/>
                  </a:moveTo>
                  <a:cubicBezTo>
                    <a:pt x="136208" y="0"/>
                    <a:pt x="0" y="136208"/>
                    <a:pt x="0" y="304800"/>
                  </a:cubicBezTo>
                  <a:cubicBezTo>
                    <a:pt x="0" y="473393"/>
                    <a:pt x="136208" y="609600"/>
                    <a:pt x="304800" y="609600"/>
                  </a:cubicBezTo>
                  <a:cubicBezTo>
                    <a:pt x="473393" y="609600"/>
                    <a:pt x="609600" y="473393"/>
                    <a:pt x="609600" y="304800"/>
                  </a:cubicBezTo>
                  <a:cubicBezTo>
                    <a:pt x="609600" y="136208"/>
                    <a:pt x="473393" y="0"/>
                    <a:pt x="304800" y="0"/>
                  </a:cubicBezTo>
                  <a:lnTo>
                    <a:pt x="304800" y="0"/>
                  </a:lnTo>
                  <a:close/>
                </a:path>
              </a:pathLst>
            </a:custGeom>
            <a:solidFill>
              <a:srgbClr val="3D4647"/>
            </a:solidFill>
            <a:ln w="9525"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290AC97B-4B67-0507-8200-6C6FADB93388}"/>
                </a:ext>
              </a:extLst>
            </p:cNvPr>
            <p:cNvSpPr/>
            <p:nvPr/>
          </p:nvSpPr>
          <p:spPr>
            <a:xfrm>
              <a:off x="9289039" y="2150436"/>
              <a:ext cx="390049" cy="379047"/>
            </a:xfrm>
            <a:custGeom>
              <a:avLst/>
              <a:gdLst>
                <a:gd name="connsiteX0" fmla="*/ 152400 w 371475"/>
                <a:gd name="connsiteY0" fmla="*/ 220028 h 360997"/>
                <a:gd name="connsiteX1" fmla="*/ 67628 w 371475"/>
                <a:gd name="connsiteY1" fmla="*/ 136208 h 360997"/>
                <a:gd name="connsiteX2" fmla="*/ 0 w 371475"/>
                <a:gd name="connsiteY2" fmla="*/ 200978 h 360997"/>
                <a:gd name="connsiteX3" fmla="*/ 157163 w 371475"/>
                <a:gd name="connsiteY3" fmla="*/ 360998 h 360997"/>
                <a:gd name="connsiteX4" fmla="*/ 371475 w 371475"/>
                <a:gd name="connsiteY4" fmla="*/ 138113 h 360997"/>
                <a:gd name="connsiteX5" fmla="*/ 371475 w 371475"/>
                <a:gd name="connsiteY5" fmla="*/ 0 h 36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475" h="360997">
                  <a:moveTo>
                    <a:pt x="152400" y="220028"/>
                  </a:moveTo>
                  <a:lnTo>
                    <a:pt x="67628" y="136208"/>
                  </a:lnTo>
                  <a:lnTo>
                    <a:pt x="0" y="200978"/>
                  </a:lnTo>
                  <a:lnTo>
                    <a:pt x="157163" y="360998"/>
                  </a:lnTo>
                  <a:lnTo>
                    <a:pt x="371475" y="138113"/>
                  </a:lnTo>
                  <a:lnTo>
                    <a:pt x="371475" y="0"/>
                  </a:lnTo>
                  <a:close/>
                </a:path>
              </a:pathLst>
            </a:custGeom>
            <a:solidFill>
              <a:srgbClr val="40AA1D"/>
            </a:solidFill>
            <a:ln w="9525" cap="flat">
              <a:noFill/>
              <a:prstDash val="solid"/>
              <a:miter/>
            </a:ln>
          </p:spPr>
          <p:txBody>
            <a:bodyPr rtlCol="0" anchor="ctr"/>
            <a:lstStyle/>
            <a:p>
              <a:endParaRPr lang="en-US" dirty="0"/>
            </a:p>
          </p:txBody>
        </p:sp>
      </p:grpSp>
      <p:pic>
        <p:nvPicPr>
          <p:cNvPr id="21" name="Graphic 20">
            <a:extLst>
              <a:ext uri="{FF2B5EF4-FFF2-40B4-BE49-F238E27FC236}">
                <a16:creationId xmlns:a16="http://schemas.microsoft.com/office/drawing/2014/main" id="{E1B43B17-9FC6-ABC5-1845-F96ADC6A3C7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951944" y="3277305"/>
            <a:ext cx="609600" cy="609600"/>
          </a:xfrm>
          <a:prstGeom prst="rect">
            <a:avLst/>
          </a:prstGeom>
        </p:spPr>
      </p:pic>
      <p:sp>
        <p:nvSpPr>
          <p:cNvPr id="22" name="Text Placeholder 81">
            <a:extLst>
              <a:ext uri="{FF2B5EF4-FFF2-40B4-BE49-F238E27FC236}">
                <a16:creationId xmlns:a16="http://schemas.microsoft.com/office/drawing/2014/main" id="{EB2FCF48-2496-1F62-8B2F-D74B3C9F6E0E}"/>
              </a:ext>
            </a:extLst>
          </p:cNvPr>
          <p:cNvSpPr txBox="1">
            <a:spLocks/>
          </p:cNvSpPr>
          <p:nvPr/>
        </p:nvSpPr>
        <p:spPr>
          <a:xfrm>
            <a:off x="7897243" y="2946037"/>
            <a:ext cx="7192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nbox</a:t>
            </a:r>
          </a:p>
        </p:txBody>
      </p:sp>
      <p:sp>
        <p:nvSpPr>
          <p:cNvPr id="23" name="Text Placeholder 81">
            <a:extLst>
              <a:ext uri="{FF2B5EF4-FFF2-40B4-BE49-F238E27FC236}">
                <a16:creationId xmlns:a16="http://schemas.microsoft.com/office/drawing/2014/main" id="{41FA4ED4-4F58-5ECF-5E3B-E776CE1DCA77}"/>
              </a:ext>
            </a:extLst>
          </p:cNvPr>
          <p:cNvSpPr txBox="1">
            <a:spLocks/>
          </p:cNvSpPr>
          <p:nvPr/>
        </p:nvSpPr>
        <p:spPr>
          <a:xfrm>
            <a:off x="1947219" y="5497873"/>
            <a:ext cx="83093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ist, To Do,</a:t>
            </a:r>
            <a:br>
              <a:rPr lang="en-US" dirty="0"/>
            </a:br>
            <a:r>
              <a:rPr lang="en-US" dirty="0"/>
              <a:t>Agenda</a:t>
            </a:r>
          </a:p>
        </p:txBody>
      </p:sp>
      <p:pic>
        <p:nvPicPr>
          <p:cNvPr id="25" name="Graphic 24">
            <a:extLst>
              <a:ext uri="{FF2B5EF4-FFF2-40B4-BE49-F238E27FC236}">
                <a16:creationId xmlns:a16="http://schemas.microsoft.com/office/drawing/2014/main" id="{1836A638-FE53-7978-FF16-F40BB285E187}"/>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045481" y="2018395"/>
            <a:ext cx="469058" cy="612648"/>
          </a:xfrm>
          <a:prstGeom prst="rect">
            <a:avLst/>
          </a:prstGeom>
        </p:spPr>
      </p:pic>
      <p:sp>
        <p:nvSpPr>
          <p:cNvPr id="26" name="TextBox 25">
            <a:extLst>
              <a:ext uri="{FF2B5EF4-FFF2-40B4-BE49-F238E27FC236}">
                <a16:creationId xmlns:a16="http://schemas.microsoft.com/office/drawing/2014/main" id="{D6AE90D5-24AE-710A-942D-87625FD6AB2A}"/>
              </a:ext>
            </a:extLst>
          </p:cNvPr>
          <p:cNvSpPr txBox="1"/>
          <p:nvPr/>
        </p:nvSpPr>
        <p:spPr>
          <a:xfrm>
            <a:off x="10324221" y="5525559"/>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roject Briefcase</a:t>
            </a:r>
          </a:p>
        </p:txBody>
      </p:sp>
      <p:pic>
        <p:nvPicPr>
          <p:cNvPr id="28" name="Graphic 27">
            <a:extLst>
              <a:ext uri="{FF2B5EF4-FFF2-40B4-BE49-F238E27FC236}">
                <a16:creationId xmlns:a16="http://schemas.microsoft.com/office/drawing/2014/main" id="{338EA925-3EEA-77E9-3FD5-C6FEB7DE5966}"/>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522565" y="5839320"/>
            <a:ext cx="609600" cy="609600"/>
          </a:xfrm>
          <a:prstGeom prst="rect">
            <a:avLst/>
          </a:prstGeom>
        </p:spPr>
      </p:pic>
      <p:pic>
        <p:nvPicPr>
          <p:cNvPr id="30" name="Graphic 29">
            <a:extLst>
              <a:ext uri="{FF2B5EF4-FFF2-40B4-BE49-F238E27FC236}">
                <a16:creationId xmlns:a16="http://schemas.microsoft.com/office/drawing/2014/main" id="{DCAFA7CF-823F-E67B-AFA4-2D36443E497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876060" y="4529698"/>
            <a:ext cx="609600" cy="609600"/>
          </a:xfrm>
          <a:prstGeom prst="rect">
            <a:avLst/>
          </a:prstGeom>
        </p:spPr>
      </p:pic>
      <p:sp>
        <p:nvSpPr>
          <p:cNvPr id="31" name="TextBox 30">
            <a:extLst>
              <a:ext uri="{FF2B5EF4-FFF2-40B4-BE49-F238E27FC236}">
                <a16:creationId xmlns:a16="http://schemas.microsoft.com/office/drawing/2014/main" id="{BFB9004F-C084-7C77-8371-57893B0A7460}"/>
              </a:ext>
            </a:extLst>
          </p:cNvPr>
          <p:cNvSpPr txBox="1"/>
          <p:nvPr/>
        </p:nvSpPr>
        <p:spPr>
          <a:xfrm>
            <a:off x="7731446" y="4217142"/>
            <a:ext cx="95106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order, Bind</a:t>
            </a:r>
          </a:p>
        </p:txBody>
      </p:sp>
      <p:sp>
        <p:nvSpPr>
          <p:cNvPr id="32" name="TextBox 31">
            <a:extLst>
              <a:ext uri="{FF2B5EF4-FFF2-40B4-BE49-F238E27FC236}">
                <a16:creationId xmlns:a16="http://schemas.microsoft.com/office/drawing/2014/main" id="{B151F887-6D72-C4A1-8286-82CF58113EFE}"/>
              </a:ext>
            </a:extLst>
          </p:cNvPr>
          <p:cNvSpPr txBox="1"/>
          <p:nvPr/>
        </p:nvSpPr>
        <p:spPr>
          <a:xfrm>
            <a:off x="8562715" y="2946037"/>
            <a:ext cx="1371600" cy="138499"/>
          </a:xfrm>
          <a:prstGeom prst="rect">
            <a:avLst/>
          </a:prstGeom>
        </p:spPr>
        <p:txBody>
          <a:bodyPr vert="horz" wrap="square" lIns="0" tIns="0" rIns="0" bIns="0" rtlCol="0" anchor="t">
            <a:spAutoFit/>
          </a:bodyPr>
          <a:lstStyle>
            <a:defPPr>
              <a:defRPr lang="en-US"/>
            </a:defPPr>
            <a:lvl1pPr algn="ctr">
              <a:lnSpc>
                <a:spcPct val="90000"/>
              </a:lnSpc>
              <a:spcBef>
                <a:spcPts val="1800"/>
              </a:spcBef>
              <a:buClr>
                <a:schemeClr val="tx1"/>
              </a:buClr>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ssign</a:t>
            </a:r>
          </a:p>
        </p:txBody>
      </p:sp>
      <p:sp>
        <p:nvSpPr>
          <p:cNvPr id="33" name="TextBox 32">
            <a:extLst>
              <a:ext uri="{FF2B5EF4-FFF2-40B4-BE49-F238E27FC236}">
                <a16:creationId xmlns:a16="http://schemas.microsoft.com/office/drawing/2014/main" id="{D6F7117E-A4D2-294F-AB5E-AD0F4E86D4D1}"/>
              </a:ext>
            </a:extLst>
          </p:cNvPr>
          <p:cNvSpPr txBox="1"/>
          <p:nvPr/>
        </p:nvSpPr>
        <p:spPr>
          <a:xfrm>
            <a:off x="6791143" y="4217142"/>
            <a:ext cx="7181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chive</a:t>
            </a:r>
          </a:p>
        </p:txBody>
      </p:sp>
      <p:pic>
        <p:nvPicPr>
          <p:cNvPr id="34" name="Graphic 33">
            <a:extLst>
              <a:ext uri="{FF2B5EF4-FFF2-40B4-BE49-F238E27FC236}">
                <a16:creationId xmlns:a16="http://schemas.microsoft.com/office/drawing/2014/main" id="{F4F6AE3A-F03C-0602-E86D-8F83F1230C7B}"/>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896274" y="4529698"/>
            <a:ext cx="609600" cy="609600"/>
          </a:xfrm>
          <a:prstGeom prst="rect">
            <a:avLst/>
          </a:prstGeom>
        </p:spPr>
      </p:pic>
      <p:pic>
        <p:nvPicPr>
          <p:cNvPr id="35" name="Graphic 34">
            <a:extLst>
              <a:ext uri="{FF2B5EF4-FFF2-40B4-BE49-F238E27FC236}">
                <a16:creationId xmlns:a16="http://schemas.microsoft.com/office/drawing/2014/main" id="{B898B4E1-858A-ADE2-706F-E06A16594166}"/>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3030245" y="5839320"/>
            <a:ext cx="609600" cy="609600"/>
          </a:xfrm>
          <a:prstGeom prst="rect">
            <a:avLst/>
          </a:prstGeom>
        </p:spPr>
      </p:pic>
      <p:sp>
        <p:nvSpPr>
          <p:cNvPr id="36" name="TextBox 35">
            <a:extLst>
              <a:ext uri="{FF2B5EF4-FFF2-40B4-BE49-F238E27FC236}">
                <a16:creationId xmlns:a16="http://schemas.microsoft.com/office/drawing/2014/main" id="{01487A37-4B4F-6E39-1C50-FCE6147A4735}"/>
              </a:ext>
            </a:extLst>
          </p:cNvPr>
          <p:cNvSpPr txBox="1"/>
          <p:nvPr/>
        </p:nvSpPr>
        <p:spPr>
          <a:xfrm>
            <a:off x="2992804" y="5567123"/>
            <a:ext cx="68448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isclosure</a:t>
            </a:r>
          </a:p>
        </p:txBody>
      </p:sp>
      <p:pic>
        <p:nvPicPr>
          <p:cNvPr id="37" name="Graphic 36">
            <a:extLst>
              <a:ext uri="{FF2B5EF4-FFF2-40B4-BE49-F238E27FC236}">
                <a16:creationId xmlns:a16="http://schemas.microsoft.com/office/drawing/2014/main" id="{FC175C48-DF76-BB8D-9CDD-44ED37CD8D2D}"/>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933848" y="3277305"/>
            <a:ext cx="609600" cy="609600"/>
          </a:xfrm>
          <a:prstGeom prst="rect">
            <a:avLst/>
          </a:prstGeom>
        </p:spPr>
      </p:pic>
      <p:pic>
        <p:nvPicPr>
          <p:cNvPr id="38" name="Graphic 37">
            <a:extLst>
              <a:ext uri="{FF2B5EF4-FFF2-40B4-BE49-F238E27FC236}">
                <a16:creationId xmlns:a16="http://schemas.microsoft.com/office/drawing/2014/main" id="{0CCAC8BE-2134-0136-9239-354E6DE17E1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8085860" y="2019919"/>
            <a:ext cx="609600" cy="609600"/>
          </a:xfrm>
          <a:prstGeom prst="rect">
            <a:avLst/>
          </a:prstGeom>
        </p:spPr>
      </p:pic>
      <p:sp>
        <p:nvSpPr>
          <p:cNvPr id="39" name="Text Placeholder 81">
            <a:extLst>
              <a:ext uri="{FF2B5EF4-FFF2-40B4-BE49-F238E27FC236}">
                <a16:creationId xmlns:a16="http://schemas.microsoft.com/office/drawing/2014/main" id="{564623C2-3FA4-E7E5-8F2D-9B72AF1D5B14}"/>
              </a:ext>
            </a:extLst>
          </p:cNvPr>
          <p:cNvSpPr txBox="1">
            <a:spLocks/>
          </p:cNvSpPr>
          <p:nvPr/>
        </p:nvSpPr>
        <p:spPr>
          <a:xfrm>
            <a:off x="6782709" y="1602105"/>
            <a:ext cx="97981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ctive, Check, Checkmark, OK</a:t>
            </a:r>
          </a:p>
        </p:txBody>
      </p:sp>
      <p:pic>
        <p:nvPicPr>
          <p:cNvPr id="40" name="Graphic 39">
            <a:extLst>
              <a:ext uri="{FF2B5EF4-FFF2-40B4-BE49-F238E27FC236}">
                <a16:creationId xmlns:a16="http://schemas.microsoft.com/office/drawing/2014/main" id="{114DCEDD-D298-D3A0-19DE-02C069AA617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1108324" y="3277305"/>
            <a:ext cx="609600" cy="609600"/>
          </a:xfrm>
          <a:prstGeom prst="rect">
            <a:avLst/>
          </a:prstGeom>
        </p:spPr>
      </p:pic>
      <p:sp>
        <p:nvSpPr>
          <p:cNvPr id="41" name="TextBox 40">
            <a:extLst>
              <a:ext uri="{FF2B5EF4-FFF2-40B4-BE49-F238E27FC236}">
                <a16:creationId xmlns:a16="http://schemas.microsoft.com/office/drawing/2014/main" id="{72DC6B75-ABF3-192E-6847-7DA769F1A894}"/>
              </a:ext>
            </a:extLst>
          </p:cNvPr>
          <p:cNvSpPr txBox="1"/>
          <p:nvPr/>
        </p:nvSpPr>
        <p:spPr>
          <a:xfrm>
            <a:off x="11118067" y="2946037"/>
            <a:ext cx="36708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abel</a:t>
            </a:r>
          </a:p>
        </p:txBody>
      </p:sp>
      <p:sp>
        <p:nvSpPr>
          <p:cNvPr id="42" name="TextBox 41">
            <a:extLst>
              <a:ext uri="{FF2B5EF4-FFF2-40B4-BE49-F238E27FC236}">
                <a16:creationId xmlns:a16="http://schemas.microsoft.com/office/drawing/2014/main" id="{6EE4953B-AE6B-4F2F-82EB-292563638F86}"/>
              </a:ext>
            </a:extLst>
          </p:cNvPr>
          <p:cNvSpPr txBox="1"/>
          <p:nvPr/>
        </p:nvSpPr>
        <p:spPr>
          <a:xfrm>
            <a:off x="8911297" y="4217142"/>
            <a:ext cx="50013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allery </a:t>
            </a:r>
          </a:p>
        </p:txBody>
      </p:sp>
      <p:grpSp>
        <p:nvGrpSpPr>
          <p:cNvPr id="43" name="Graphic 73">
            <a:extLst>
              <a:ext uri="{FF2B5EF4-FFF2-40B4-BE49-F238E27FC236}">
                <a16:creationId xmlns:a16="http://schemas.microsoft.com/office/drawing/2014/main" id="{43E56F29-C187-5C28-1202-C38535CF729E}"/>
              </a:ext>
            </a:extLst>
          </p:cNvPr>
          <p:cNvGrpSpPr>
            <a:grpSpLocks noChangeAspect="1"/>
          </p:cNvGrpSpPr>
          <p:nvPr/>
        </p:nvGrpSpPr>
        <p:grpSpPr>
          <a:xfrm>
            <a:off x="8906646" y="4560178"/>
            <a:ext cx="548640" cy="548640"/>
            <a:chOff x="548426" y="5677878"/>
            <a:chExt cx="609600" cy="609600"/>
          </a:xfrm>
          <a:solidFill>
            <a:srgbClr val="40AA1D"/>
          </a:solidFill>
        </p:grpSpPr>
        <p:sp>
          <p:nvSpPr>
            <p:cNvPr id="44" name="Freeform: Shape 43">
              <a:extLst>
                <a:ext uri="{FF2B5EF4-FFF2-40B4-BE49-F238E27FC236}">
                  <a16:creationId xmlns:a16="http://schemas.microsoft.com/office/drawing/2014/main" id="{B2B347E7-8CCB-7615-BD45-6A46E9560728}"/>
                </a:ext>
              </a:extLst>
            </p:cNvPr>
            <p:cNvSpPr/>
            <p:nvPr/>
          </p:nvSpPr>
          <p:spPr>
            <a:xfrm>
              <a:off x="920853" y="6050305"/>
              <a:ext cx="237172" cy="237172"/>
            </a:xfrm>
            <a:custGeom>
              <a:avLst/>
              <a:gdLst>
                <a:gd name="connsiteX0" fmla="*/ 0 w 237172"/>
                <a:gd name="connsiteY0" fmla="*/ 237173 h 237172"/>
                <a:gd name="connsiteX1" fmla="*/ 237173 w 237172"/>
                <a:gd name="connsiteY1" fmla="*/ 237173 h 237172"/>
                <a:gd name="connsiteX2" fmla="*/ 237173 w 237172"/>
                <a:gd name="connsiteY2" fmla="*/ 0 h 237172"/>
                <a:gd name="connsiteX3" fmla="*/ 0 w 237172"/>
                <a:gd name="connsiteY3" fmla="*/ 0 h 237172"/>
                <a:gd name="connsiteX4" fmla="*/ 0 w 237172"/>
                <a:gd name="connsiteY4" fmla="*/ 237173 h 237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2" h="237172">
                  <a:moveTo>
                    <a:pt x="0" y="237173"/>
                  </a:moveTo>
                  <a:lnTo>
                    <a:pt x="237173" y="237173"/>
                  </a:lnTo>
                  <a:lnTo>
                    <a:pt x="237173" y="0"/>
                  </a:lnTo>
                  <a:lnTo>
                    <a:pt x="0" y="0"/>
                  </a:lnTo>
                  <a:lnTo>
                    <a:pt x="0" y="237173"/>
                  </a:lnTo>
                  <a:close/>
                </a:path>
              </a:pathLst>
            </a:custGeom>
            <a:solidFill>
              <a:schemeClr val="tx1"/>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3392E4B8-CC75-5DFA-B786-04F999C1D2D9}"/>
                </a:ext>
              </a:extLst>
            </p:cNvPr>
            <p:cNvSpPr/>
            <p:nvPr/>
          </p:nvSpPr>
          <p:spPr>
            <a:xfrm>
              <a:off x="548426" y="6050305"/>
              <a:ext cx="237172" cy="237172"/>
            </a:xfrm>
            <a:custGeom>
              <a:avLst/>
              <a:gdLst>
                <a:gd name="connsiteX0" fmla="*/ 0 w 237172"/>
                <a:gd name="connsiteY0" fmla="*/ 237173 h 237172"/>
                <a:gd name="connsiteX1" fmla="*/ 237173 w 237172"/>
                <a:gd name="connsiteY1" fmla="*/ 237173 h 237172"/>
                <a:gd name="connsiteX2" fmla="*/ 237173 w 237172"/>
                <a:gd name="connsiteY2" fmla="*/ 0 h 237172"/>
                <a:gd name="connsiteX3" fmla="*/ 0 w 237172"/>
                <a:gd name="connsiteY3" fmla="*/ 0 h 237172"/>
                <a:gd name="connsiteX4" fmla="*/ 0 w 237172"/>
                <a:gd name="connsiteY4" fmla="*/ 237173 h 237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2" h="237172">
                  <a:moveTo>
                    <a:pt x="0" y="237173"/>
                  </a:moveTo>
                  <a:lnTo>
                    <a:pt x="237173" y="237173"/>
                  </a:lnTo>
                  <a:lnTo>
                    <a:pt x="237173" y="0"/>
                  </a:lnTo>
                  <a:lnTo>
                    <a:pt x="0" y="0"/>
                  </a:lnTo>
                  <a:lnTo>
                    <a:pt x="0" y="237173"/>
                  </a:lnTo>
                  <a:close/>
                </a:path>
              </a:pathLst>
            </a:custGeom>
            <a:solidFill>
              <a:srgbClr val="40AA1D"/>
            </a:solidFill>
            <a:ln w="9525"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137FF6C6-1BAF-303D-850A-E1F82685C157}"/>
                </a:ext>
              </a:extLst>
            </p:cNvPr>
            <p:cNvSpPr/>
            <p:nvPr/>
          </p:nvSpPr>
          <p:spPr>
            <a:xfrm>
              <a:off x="920853" y="5677878"/>
              <a:ext cx="237172" cy="237172"/>
            </a:xfrm>
            <a:custGeom>
              <a:avLst/>
              <a:gdLst>
                <a:gd name="connsiteX0" fmla="*/ 0 w 237172"/>
                <a:gd name="connsiteY0" fmla="*/ 237173 h 237172"/>
                <a:gd name="connsiteX1" fmla="*/ 237173 w 237172"/>
                <a:gd name="connsiteY1" fmla="*/ 237173 h 237172"/>
                <a:gd name="connsiteX2" fmla="*/ 237173 w 237172"/>
                <a:gd name="connsiteY2" fmla="*/ 0 h 237172"/>
                <a:gd name="connsiteX3" fmla="*/ 0 w 237172"/>
                <a:gd name="connsiteY3" fmla="*/ 0 h 237172"/>
                <a:gd name="connsiteX4" fmla="*/ 0 w 237172"/>
                <a:gd name="connsiteY4" fmla="*/ 237173 h 237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2" h="237172">
                  <a:moveTo>
                    <a:pt x="0" y="237173"/>
                  </a:moveTo>
                  <a:lnTo>
                    <a:pt x="237173" y="237173"/>
                  </a:lnTo>
                  <a:lnTo>
                    <a:pt x="237173" y="0"/>
                  </a:lnTo>
                  <a:lnTo>
                    <a:pt x="0" y="0"/>
                  </a:lnTo>
                  <a:lnTo>
                    <a:pt x="0" y="237173"/>
                  </a:lnTo>
                  <a:close/>
                </a:path>
              </a:pathLst>
            </a:custGeom>
            <a:solidFill>
              <a:srgbClr val="40AA1D"/>
            </a:solid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84EF965E-DEB4-A5A5-887D-ED4BA76DF519}"/>
                </a:ext>
              </a:extLst>
            </p:cNvPr>
            <p:cNvSpPr/>
            <p:nvPr/>
          </p:nvSpPr>
          <p:spPr>
            <a:xfrm>
              <a:off x="548426" y="5677878"/>
              <a:ext cx="237172" cy="237172"/>
            </a:xfrm>
            <a:custGeom>
              <a:avLst/>
              <a:gdLst>
                <a:gd name="connsiteX0" fmla="*/ 0 w 237172"/>
                <a:gd name="connsiteY0" fmla="*/ 237173 h 237172"/>
                <a:gd name="connsiteX1" fmla="*/ 237173 w 237172"/>
                <a:gd name="connsiteY1" fmla="*/ 237173 h 237172"/>
                <a:gd name="connsiteX2" fmla="*/ 237173 w 237172"/>
                <a:gd name="connsiteY2" fmla="*/ 0 h 237172"/>
                <a:gd name="connsiteX3" fmla="*/ 0 w 237172"/>
                <a:gd name="connsiteY3" fmla="*/ 0 h 237172"/>
                <a:gd name="connsiteX4" fmla="*/ 0 w 237172"/>
                <a:gd name="connsiteY4" fmla="*/ 237173 h 237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2" h="237172">
                  <a:moveTo>
                    <a:pt x="0" y="237173"/>
                  </a:moveTo>
                  <a:lnTo>
                    <a:pt x="237173" y="237173"/>
                  </a:lnTo>
                  <a:lnTo>
                    <a:pt x="237173" y="0"/>
                  </a:lnTo>
                  <a:lnTo>
                    <a:pt x="0" y="0"/>
                  </a:lnTo>
                  <a:lnTo>
                    <a:pt x="0" y="237173"/>
                  </a:lnTo>
                  <a:close/>
                </a:path>
              </a:pathLst>
            </a:custGeom>
            <a:solidFill>
              <a:srgbClr val="40AA1D"/>
            </a:solidFill>
            <a:ln w="9525" cap="flat">
              <a:noFill/>
              <a:prstDash val="solid"/>
              <a:miter/>
            </a:ln>
          </p:spPr>
          <p:txBody>
            <a:bodyPr rtlCol="0" anchor="ctr"/>
            <a:lstStyle/>
            <a:p>
              <a:endParaRPr lang="en-US" dirty="0"/>
            </a:p>
          </p:txBody>
        </p:sp>
      </p:grpSp>
      <p:sp>
        <p:nvSpPr>
          <p:cNvPr id="48" name="Text Placeholder 81">
            <a:extLst>
              <a:ext uri="{FF2B5EF4-FFF2-40B4-BE49-F238E27FC236}">
                <a16:creationId xmlns:a16="http://schemas.microsoft.com/office/drawing/2014/main" id="{C80D85B8-C622-16E2-5CA0-FD994F86966D}"/>
              </a:ext>
            </a:extLst>
          </p:cNvPr>
          <p:cNvSpPr txBox="1">
            <a:spLocks/>
          </p:cNvSpPr>
          <p:nvPr/>
        </p:nvSpPr>
        <p:spPr>
          <a:xfrm>
            <a:off x="4014190" y="1602105"/>
            <a:ext cx="705028"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py,</a:t>
            </a:r>
            <a:br>
              <a:rPr lang="en-US" dirty="0"/>
            </a:br>
            <a:r>
              <a:rPr lang="en-US" dirty="0"/>
              <a:t>Duplicate</a:t>
            </a:r>
          </a:p>
        </p:txBody>
      </p:sp>
      <p:pic>
        <p:nvPicPr>
          <p:cNvPr id="49" name="Graphic 48">
            <a:extLst>
              <a:ext uri="{FF2B5EF4-FFF2-40B4-BE49-F238E27FC236}">
                <a16:creationId xmlns:a16="http://schemas.microsoft.com/office/drawing/2014/main" id="{02764F07-EEE7-94AA-BC55-37CA2619B7E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092267" y="2019919"/>
            <a:ext cx="609600" cy="609600"/>
          </a:xfrm>
          <a:prstGeom prst="rect">
            <a:avLst/>
          </a:prstGeom>
        </p:spPr>
      </p:pic>
      <p:sp>
        <p:nvSpPr>
          <p:cNvPr id="50" name="Text Placeholder 81">
            <a:extLst>
              <a:ext uri="{FF2B5EF4-FFF2-40B4-BE49-F238E27FC236}">
                <a16:creationId xmlns:a16="http://schemas.microsoft.com/office/drawing/2014/main" id="{1DDA9290-80A9-F1D0-919D-BA6D46D10F00}"/>
              </a:ext>
            </a:extLst>
          </p:cNvPr>
          <p:cNvSpPr txBox="1">
            <a:spLocks/>
          </p:cNvSpPr>
          <p:nvPr/>
        </p:nvSpPr>
        <p:spPr>
          <a:xfrm>
            <a:off x="3395791" y="4217142"/>
            <a:ext cx="6096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Quote </a:t>
            </a:r>
          </a:p>
        </p:txBody>
      </p:sp>
      <p:pic>
        <p:nvPicPr>
          <p:cNvPr id="51" name="Graphic 50">
            <a:extLst>
              <a:ext uri="{FF2B5EF4-FFF2-40B4-BE49-F238E27FC236}">
                <a16:creationId xmlns:a16="http://schemas.microsoft.com/office/drawing/2014/main" id="{FCDE236F-96BC-2E70-24C4-105B50C9E890}"/>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3391493" y="4553180"/>
            <a:ext cx="612648" cy="562636"/>
          </a:xfrm>
          <a:prstGeom prst="rect">
            <a:avLst/>
          </a:prstGeom>
        </p:spPr>
      </p:pic>
      <p:sp>
        <p:nvSpPr>
          <p:cNvPr id="53" name="TextBox 52">
            <a:extLst>
              <a:ext uri="{FF2B5EF4-FFF2-40B4-BE49-F238E27FC236}">
                <a16:creationId xmlns:a16="http://schemas.microsoft.com/office/drawing/2014/main" id="{E2E71DF3-9D14-6DA8-6A8F-D36B3C7E7212}"/>
              </a:ext>
            </a:extLst>
          </p:cNvPr>
          <p:cNvSpPr txBox="1"/>
          <p:nvPr/>
        </p:nvSpPr>
        <p:spPr>
          <a:xfrm>
            <a:off x="5917324" y="4217142"/>
            <a:ext cx="7181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narchive</a:t>
            </a:r>
          </a:p>
        </p:txBody>
      </p:sp>
      <p:sp>
        <p:nvSpPr>
          <p:cNvPr id="54" name="Rectangle 53">
            <a:extLst>
              <a:ext uri="{FF2B5EF4-FFF2-40B4-BE49-F238E27FC236}">
                <a16:creationId xmlns:a16="http://schemas.microsoft.com/office/drawing/2014/main" id="{D05A2868-F7B5-0F3B-5788-126484415F9A}"/>
              </a:ext>
            </a:extLst>
          </p:cNvPr>
          <p:cNvSpPr/>
          <p:nvPr/>
        </p:nvSpPr>
        <p:spPr>
          <a:xfrm>
            <a:off x="10036652" y="2946037"/>
            <a:ext cx="822960" cy="138499"/>
          </a:xfrm>
          <a:prstGeom prst="rect">
            <a:avLst/>
          </a:prstGeom>
        </p:spPr>
        <p:txBody>
          <a:bodyPr vert="horz" wrap="square" lIns="0" tIns="0" rIns="0" bIns="0" rtlCol="0" anchor="t">
            <a:spAutoFit/>
          </a:bodyPr>
          <a:lstStyle/>
          <a:p>
            <a:pPr algn="ctr">
              <a:lnSpc>
                <a:spcPct val="90000"/>
              </a:lnSpc>
              <a:spcBef>
                <a:spcPts val="1800"/>
              </a:spcBef>
              <a:buClr>
                <a:schemeClr val="tx1"/>
              </a:buClr>
            </a:pPr>
            <a:r>
              <a:rPr lang="en-US" sz="1000" dirty="0">
                <a:ea typeface="+mn-lt"/>
                <a:cs typeface="+mn-lt"/>
              </a:rPr>
              <a:t>Backspace</a:t>
            </a:r>
          </a:p>
        </p:txBody>
      </p:sp>
      <p:pic>
        <p:nvPicPr>
          <p:cNvPr id="55" name="Graphic 54">
            <a:extLst>
              <a:ext uri="{FF2B5EF4-FFF2-40B4-BE49-F238E27FC236}">
                <a16:creationId xmlns:a16="http://schemas.microsoft.com/office/drawing/2014/main" id="{36577F0C-9209-63FE-237F-CEF54F2C5796}"/>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183724" y="5832380"/>
            <a:ext cx="609600" cy="609600"/>
          </a:xfrm>
          <a:prstGeom prst="rect">
            <a:avLst/>
          </a:prstGeom>
        </p:spPr>
      </p:pic>
      <p:pic>
        <p:nvPicPr>
          <p:cNvPr id="56" name="Graphic 55">
            <a:extLst>
              <a:ext uri="{FF2B5EF4-FFF2-40B4-BE49-F238E27FC236}">
                <a16:creationId xmlns:a16="http://schemas.microsoft.com/office/drawing/2014/main" id="{7F2B04FE-C02F-9BA0-BF9C-7B7F95E8C17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0056200" y="3277305"/>
            <a:ext cx="609600" cy="609600"/>
          </a:xfrm>
          <a:prstGeom prst="rect">
            <a:avLst/>
          </a:prstGeom>
        </p:spPr>
      </p:pic>
      <p:sp>
        <p:nvSpPr>
          <p:cNvPr id="57" name="Text Placeholder 81">
            <a:extLst>
              <a:ext uri="{FF2B5EF4-FFF2-40B4-BE49-F238E27FC236}">
                <a16:creationId xmlns:a16="http://schemas.microsoft.com/office/drawing/2014/main" id="{096D46A9-2E07-C606-43B7-6E5FAE306CCA}"/>
              </a:ext>
            </a:extLst>
          </p:cNvPr>
          <p:cNvSpPr txBox="1">
            <a:spLocks/>
          </p:cNvSpPr>
          <p:nvPr/>
        </p:nvSpPr>
        <p:spPr>
          <a:xfrm>
            <a:off x="6615571" y="5567122"/>
            <a:ext cx="891355" cy="138500"/>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ookmark</a:t>
            </a:r>
          </a:p>
        </p:txBody>
      </p:sp>
      <p:pic>
        <p:nvPicPr>
          <p:cNvPr id="58" name="Graphic 57">
            <a:extLst>
              <a:ext uri="{FF2B5EF4-FFF2-40B4-BE49-F238E27FC236}">
                <a16:creationId xmlns:a16="http://schemas.microsoft.com/office/drawing/2014/main" id="{357E426D-4D52-410E-1A0A-0742B66A5DE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6791389" y="5839320"/>
            <a:ext cx="609600" cy="609600"/>
          </a:xfrm>
          <a:prstGeom prst="rect">
            <a:avLst/>
          </a:prstGeom>
        </p:spPr>
      </p:pic>
      <p:sp>
        <p:nvSpPr>
          <p:cNvPr id="59" name="Text Placeholder 81">
            <a:extLst>
              <a:ext uri="{FF2B5EF4-FFF2-40B4-BE49-F238E27FC236}">
                <a16:creationId xmlns:a16="http://schemas.microsoft.com/office/drawing/2014/main" id="{8533321F-98BC-A633-9114-E122C5ACDF05}"/>
              </a:ext>
            </a:extLst>
          </p:cNvPr>
          <p:cNvSpPr txBox="1">
            <a:spLocks/>
          </p:cNvSpPr>
          <p:nvPr/>
        </p:nvSpPr>
        <p:spPr>
          <a:xfrm>
            <a:off x="8296764" y="5567123"/>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Key    </a:t>
            </a:r>
          </a:p>
        </p:txBody>
      </p:sp>
      <p:pic>
        <p:nvPicPr>
          <p:cNvPr id="61" name="Graphic 60">
            <a:extLst>
              <a:ext uri="{FF2B5EF4-FFF2-40B4-BE49-F238E27FC236}">
                <a16:creationId xmlns:a16="http://schemas.microsoft.com/office/drawing/2014/main" id="{7D253EC7-4F1F-836F-B78F-FE671322D84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9743042" y="4529698"/>
            <a:ext cx="609600" cy="609600"/>
          </a:xfrm>
          <a:prstGeom prst="rect">
            <a:avLst/>
          </a:prstGeom>
        </p:spPr>
      </p:pic>
      <p:sp>
        <p:nvSpPr>
          <p:cNvPr id="62" name="TextBox 61">
            <a:extLst>
              <a:ext uri="{FF2B5EF4-FFF2-40B4-BE49-F238E27FC236}">
                <a16:creationId xmlns:a16="http://schemas.microsoft.com/office/drawing/2014/main" id="{FC0B8920-8003-65F8-0D97-205E8A64DD2C}"/>
              </a:ext>
            </a:extLst>
          </p:cNvPr>
          <p:cNvSpPr txBox="1"/>
          <p:nvPr/>
        </p:nvSpPr>
        <p:spPr>
          <a:xfrm>
            <a:off x="9704413" y="4147892"/>
            <a:ext cx="68685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ttach,  </a:t>
            </a:r>
            <a:br>
              <a:rPr lang="en-US" dirty="0"/>
            </a:br>
            <a:r>
              <a:rPr lang="en-US" dirty="0"/>
              <a:t>Paperclip</a:t>
            </a:r>
          </a:p>
        </p:txBody>
      </p:sp>
      <p:grpSp>
        <p:nvGrpSpPr>
          <p:cNvPr id="139" name="Group 138">
            <a:extLst>
              <a:ext uri="{FF2B5EF4-FFF2-40B4-BE49-F238E27FC236}">
                <a16:creationId xmlns:a16="http://schemas.microsoft.com/office/drawing/2014/main" id="{7CFF43D8-78E1-BA30-7910-034984F54F7D}"/>
              </a:ext>
            </a:extLst>
          </p:cNvPr>
          <p:cNvGrpSpPr/>
          <p:nvPr/>
        </p:nvGrpSpPr>
        <p:grpSpPr>
          <a:xfrm>
            <a:off x="7487332" y="5853186"/>
            <a:ext cx="582679" cy="581869"/>
            <a:chOff x="9957622" y="5866395"/>
            <a:chExt cx="582679" cy="581869"/>
          </a:xfrm>
        </p:grpSpPr>
        <p:sp>
          <p:nvSpPr>
            <p:cNvPr id="138" name="Rectangle 137">
              <a:extLst>
                <a:ext uri="{FF2B5EF4-FFF2-40B4-BE49-F238E27FC236}">
                  <a16:creationId xmlns:a16="http://schemas.microsoft.com/office/drawing/2014/main" id="{8319A85D-D86E-3208-2FA6-C866D685A138}"/>
                </a:ext>
              </a:extLst>
            </p:cNvPr>
            <p:cNvSpPr>
              <a:spLocks/>
            </p:cNvSpPr>
            <p:nvPr/>
          </p:nvSpPr>
          <p:spPr>
            <a:xfrm>
              <a:off x="10083101" y="6420832"/>
              <a:ext cx="457200" cy="274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36" name="Freeform: Shape 135">
              <a:extLst>
                <a:ext uri="{FF2B5EF4-FFF2-40B4-BE49-F238E27FC236}">
                  <a16:creationId xmlns:a16="http://schemas.microsoft.com/office/drawing/2014/main" id="{460DC587-32C2-CB72-9EB8-A3EC6CFBC096}"/>
                </a:ext>
              </a:extLst>
            </p:cNvPr>
            <p:cNvSpPr/>
            <p:nvPr/>
          </p:nvSpPr>
          <p:spPr>
            <a:xfrm>
              <a:off x="10139490" y="5866395"/>
              <a:ext cx="379964" cy="379761"/>
            </a:xfrm>
            <a:custGeom>
              <a:avLst/>
              <a:gdLst>
                <a:gd name="connsiteX0" fmla="*/ 185833 w 379964"/>
                <a:gd name="connsiteY0" fmla="*/ 28480 h 379761"/>
                <a:gd name="connsiteX1" fmla="*/ 204121 w 379964"/>
                <a:gd name="connsiteY1" fmla="*/ 36004 h 379761"/>
                <a:gd name="connsiteX2" fmla="*/ 343757 w 379964"/>
                <a:gd name="connsiteY2" fmla="*/ 174689 h 379761"/>
                <a:gd name="connsiteX3" fmla="*/ 351377 w 379964"/>
                <a:gd name="connsiteY3" fmla="*/ 192977 h 379761"/>
                <a:gd name="connsiteX4" fmla="*/ 343853 w 379964"/>
                <a:gd name="connsiteY4" fmla="*/ 211360 h 379761"/>
                <a:gd name="connsiteX5" fmla="*/ 216789 w 379964"/>
                <a:gd name="connsiteY5" fmla="*/ 339281 h 379761"/>
                <a:gd name="connsiteX6" fmla="*/ 40386 w 379964"/>
                <a:gd name="connsiteY6" fmla="*/ 164116 h 379761"/>
                <a:gd name="connsiteX7" fmla="*/ 167450 w 379964"/>
                <a:gd name="connsiteY7" fmla="*/ 36195 h 379761"/>
                <a:gd name="connsiteX8" fmla="*/ 185833 w 379964"/>
                <a:gd name="connsiteY8" fmla="*/ 28575 h 379761"/>
                <a:gd name="connsiteX9" fmla="*/ 185833 w 379964"/>
                <a:gd name="connsiteY9" fmla="*/ 0 h 379761"/>
                <a:gd name="connsiteX10" fmla="*/ 147161 w 379964"/>
                <a:gd name="connsiteY10" fmla="*/ 16097 h 379761"/>
                <a:gd name="connsiteX11" fmla="*/ 0 w 379964"/>
                <a:gd name="connsiteY11" fmla="*/ 164306 h 379761"/>
                <a:gd name="connsiteX12" fmla="*/ 216980 w 379964"/>
                <a:gd name="connsiteY12" fmla="*/ 379762 h 379761"/>
                <a:gd name="connsiteX13" fmla="*/ 364141 w 379964"/>
                <a:gd name="connsiteY13" fmla="*/ 231553 h 379761"/>
                <a:gd name="connsiteX14" fmla="*/ 363855 w 379964"/>
                <a:gd name="connsiteY14" fmla="*/ 154496 h 379761"/>
                <a:gd name="connsiteX15" fmla="*/ 224219 w 379964"/>
                <a:gd name="connsiteY15" fmla="*/ 15811 h 379761"/>
                <a:gd name="connsiteX16" fmla="*/ 185833 w 379964"/>
                <a:gd name="connsiteY16" fmla="*/ 0 h 379761"/>
                <a:gd name="connsiteX17" fmla="*/ 185833 w 379964"/>
                <a:gd name="connsiteY17" fmla="*/ 0 h 37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9964" h="379761">
                  <a:moveTo>
                    <a:pt x="185833" y="28480"/>
                  </a:moveTo>
                  <a:cubicBezTo>
                    <a:pt x="192691" y="28480"/>
                    <a:pt x="199168" y="31147"/>
                    <a:pt x="204121" y="36004"/>
                  </a:cubicBezTo>
                  <a:lnTo>
                    <a:pt x="343757" y="174689"/>
                  </a:lnTo>
                  <a:cubicBezTo>
                    <a:pt x="348710" y="179546"/>
                    <a:pt x="351377" y="186118"/>
                    <a:pt x="351377" y="192977"/>
                  </a:cubicBezTo>
                  <a:cubicBezTo>
                    <a:pt x="351377" y="199835"/>
                    <a:pt x="348710" y="206407"/>
                    <a:pt x="343853" y="211360"/>
                  </a:cubicBezTo>
                  <a:lnTo>
                    <a:pt x="216789" y="339281"/>
                  </a:lnTo>
                  <a:lnTo>
                    <a:pt x="40386" y="164116"/>
                  </a:lnTo>
                  <a:lnTo>
                    <a:pt x="167450" y="36195"/>
                  </a:lnTo>
                  <a:cubicBezTo>
                    <a:pt x="172403" y="31242"/>
                    <a:pt x="178880" y="28575"/>
                    <a:pt x="185833" y="28575"/>
                  </a:cubicBezTo>
                  <a:moveTo>
                    <a:pt x="185833" y="0"/>
                  </a:moveTo>
                  <a:cubicBezTo>
                    <a:pt x="171831" y="0"/>
                    <a:pt x="157829" y="5334"/>
                    <a:pt x="147161" y="16097"/>
                  </a:cubicBezTo>
                  <a:lnTo>
                    <a:pt x="0" y="164306"/>
                  </a:lnTo>
                  <a:lnTo>
                    <a:pt x="216980" y="379762"/>
                  </a:lnTo>
                  <a:lnTo>
                    <a:pt x="364141" y="231553"/>
                  </a:lnTo>
                  <a:cubicBezTo>
                    <a:pt x="385382" y="210217"/>
                    <a:pt x="385191" y="175641"/>
                    <a:pt x="363855" y="154496"/>
                  </a:cubicBezTo>
                  <a:lnTo>
                    <a:pt x="224219" y="15811"/>
                  </a:lnTo>
                  <a:cubicBezTo>
                    <a:pt x="213551" y="5239"/>
                    <a:pt x="199739" y="0"/>
                    <a:pt x="185833" y="0"/>
                  </a:cubicBezTo>
                  <a:lnTo>
                    <a:pt x="185833" y="0"/>
                  </a:lnTo>
                  <a:close/>
                </a:path>
              </a:pathLst>
            </a:custGeom>
            <a:solidFill>
              <a:srgbClr val="3D4647"/>
            </a:solidFill>
            <a:ln w="9525" cap="flat">
              <a:noFill/>
              <a:prstDash val="solid"/>
              <a:miter/>
            </a:ln>
          </p:spPr>
          <p:txBody>
            <a:bodyPr rtlCol="0" anchor="ctr"/>
            <a:lstStyle/>
            <a:p>
              <a:endParaRPr lang="en-US" dirty="0"/>
            </a:p>
          </p:txBody>
        </p:sp>
        <p:sp>
          <p:nvSpPr>
            <p:cNvPr id="137" name="Freeform: Shape 136">
              <a:extLst>
                <a:ext uri="{FF2B5EF4-FFF2-40B4-BE49-F238E27FC236}">
                  <a16:creationId xmlns:a16="http://schemas.microsoft.com/office/drawing/2014/main" id="{769D5653-D36C-B0C0-97CC-3789CC62BB6C}"/>
                </a:ext>
              </a:extLst>
            </p:cNvPr>
            <p:cNvSpPr/>
            <p:nvPr/>
          </p:nvSpPr>
          <p:spPr>
            <a:xfrm>
              <a:off x="9957622" y="6052323"/>
              <a:ext cx="377321" cy="333565"/>
            </a:xfrm>
            <a:custGeom>
              <a:avLst/>
              <a:gdLst>
                <a:gd name="connsiteX0" fmla="*/ 127957 w 377321"/>
                <a:gd name="connsiteY0" fmla="*/ 333566 h 333565"/>
                <a:gd name="connsiteX1" fmla="*/ 16038 w 377321"/>
                <a:gd name="connsiteY1" fmla="*/ 222313 h 333565"/>
                <a:gd name="connsiteX2" fmla="*/ 15752 w 377321"/>
                <a:gd name="connsiteY2" fmla="*/ 145542 h 333565"/>
                <a:gd name="connsiteX3" fmla="*/ 68902 w 377321"/>
                <a:gd name="connsiteY3" fmla="*/ 92011 h 333565"/>
                <a:gd name="connsiteX4" fmla="*/ 160342 w 377321"/>
                <a:gd name="connsiteY4" fmla="*/ 0 h 333565"/>
                <a:gd name="connsiteX5" fmla="*/ 268832 w 377321"/>
                <a:gd name="connsiteY5" fmla="*/ 107728 h 333565"/>
                <a:gd name="connsiteX6" fmla="*/ 377321 w 377321"/>
                <a:gd name="connsiteY6" fmla="*/ 215456 h 333565"/>
                <a:gd name="connsiteX7" fmla="*/ 258640 w 377321"/>
                <a:gd name="connsiteY7" fmla="*/ 333566 h 33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321" h="333565">
                  <a:moveTo>
                    <a:pt x="127957" y="333566"/>
                  </a:moveTo>
                  <a:lnTo>
                    <a:pt x="16038" y="222313"/>
                  </a:lnTo>
                  <a:cubicBezTo>
                    <a:pt x="-5203" y="201168"/>
                    <a:pt x="-5393" y="166783"/>
                    <a:pt x="15752" y="145542"/>
                  </a:cubicBezTo>
                  <a:lnTo>
                    <a:pt x="68902" y="92011"/>
                  </a:lnTo>
                  <a:lnTo>
                    <a:pt x="160342" y="0"/>
                  </a:lnTo>
                  <a:lnTo>
                    <a:pt x="268832" y="107728"/>
                  </a:lnTo>
                  <a:lnTo>
                    <a:pt x="377321" y="215456"/>
                  </a:lnTo>
                  <a:lnTo>
                    <a:pt x="258640" y="333566"/>
                  </a:lnTo>
                </a:path>
              </a:pathLst>
            </a:custGeom>
            <a:solidFill>
              <a:srgbClr val="40AA1D"/>
            </a:solidFill>
            <a:ln w="9525" cap="flat">
              <a:noFill/>
              <a:prstDash val="solid"/>
              <a:miter/>
            </a:ln>
          </p:spPr>
          <p:txBody>
            <a:bodyPr rtlCol="0" anchor="ctr"/>
            <a:lstStyle/>
            <a:p>
              <a:endParaRPr lang="en-US" dirty="0"/>
            </a:p>
          </p:txBody>
        </p:sp>
      </p:grpSp>
      <p:sp>
        <p:nvSpPr>
          <p:cNvPr id="64" name="TextBox 63">
            <a:extLst>
              <a:ext uri="{FF2B5EF4-FFF2-40B4-BE49-F238E27FC236}">
                <a16:creationId xmlns:a16="http://schemas.microsoft.com/office/drawing/2014/main" id="{17BF5173-58F2-9CC7-FC4A-27C316CB2F34}"/>
              </a:ext>
            </a:extLst>
          </p:cNvPr>
          <p:cNvSpPr txBox="1"/>
          <p:nvPr/>
        </p:nvSpPr>
        <p:spPr>
          <a:xfrm>
            <a:off x="7573010" y="5567123"/>
            <a:ext cx="45461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rase </a:t>
            </a:r>
          </a:p>
        </p:txBody>
      </p:sp>
      <p:sp>
        <p:nvSpPr>
          <p:cNvPr id="65" name="TextBox 64">
            <a:extLst>
              <a:ext uri="{FF2B5EF4-FFF2-40B4-BE49-F238E27FC236}">
                <a16:creationId xmlns:a16="http://schemas.microsoft.com/office/drawing/2014/main" id="{20296FE0-542D-48D6-18AA-75B6DD7C01E2}"/>
              </a:ext>
            </a:extLst>
          </p:cNvPr>
          <p:cNvSpPr txBox="1"/>
          <p:nvPr/>
        </p:nvSpPr>
        <p:spPr>
          <a:xfrm>
            <a:off x="7012088" y="2946037"/>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end</a:t>
            </a:r>
          </a:p>
        </p:txBody>
      </p:sp>
      <p:pic>
        <p:nvPicPr>
          <p:cNvPr id="66" name="Graphic 65">
            <a:extLst>
              <a:ext uri="{FF2B5EF4-FFF2-40B4-BE49-F238E27FC236}">
                <a16:creationId xmlns:a16="http://schemas.microsoft.com/office/drawing/2014/main" id="{72B0BA0D-FC55-B8B8-B91F-0FE6E4E1FE5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6997127" y="3275781"/>
            <a:ext cx="612648" cy="612648"/>
          </a:xfrm>
          <a:prstGeom prst="rect">
            <a:avLst/>
          </a:prstGeom>
        </p:spPr>
      </p:pic>
      <p:sp>
        <p:nvSpPr>
          <p:cNvPr id="68" name="Text Placeholder 81">
            <a:extLst>
              <a:ext uri="{FF2B5EF4-FFF2-40B4-BE49-F238E27FC236}">
                <a16:creationId xmlns:a16="http://schemas.microsoft.com/office/drawing/2014/main" id="{705866F8-2DDB-EDB0-AD6E-6EB4A3BC5924}"/>
              </a:ext>
            </a:extLst>
          </p:cNvPr>
          <p:cNvSpPr txBox="1">
            <a:spLocks/>
          </p:cNvSpPr>
          <p:nvPr/>
        </p:nvSpPr>
        <p:spPr>
          <a:xfrm>
            <a:off x="408107" y="4217142"/>
            <a:ext cx="265176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ightbulb, Innovative, Gear</a:t>
            </a:r>
          </a:p>
        </p:txBody>
      </p:sp>
      <p:sp>
        <p:nvSpPr>
          <p:cNvPr id="69" name="Text Placeholder 81">
            <a:extLst>
              <a:ext uri="{FF2B5EF4-FFF2-40B4-BE49-F238E27FC236}">
                <a16:creationId xmlns:a16="http://schemas.microsoft.com/office/drawing/2014/main" id="{3D90153D-F98F-7F27-6814-5D1E4EAA3E5C}"/>
              </a:ext>
            </a:extLst>
          </p:cNvPr>
          <p:cNvSpPr txBox="1">
            <a:spLocks/>
          </p:cNvSpPr>
          <p:nvPr/>
        </p:nvSpPr>
        <p:spPr>
          <a:xfrm>
            <a:off x="1434136" y="2946037"/>
            <a:ext cx="7315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alendar</a:t>
            </a:r>
          </a:p>
        </p:txBody>
      </p:sp>
      <p:sp>
        <p:nvSpPr>
          <p:cNvPr id="73" name="object 41">
            <a:extLst>
              <a:ext uri="{FF2B5EF4-FFF2-40B4-BE49-F238E27FC236}">
                <a16:creationId xmlns:a16="http://schemas.microsoft.com/office/drawing/2014/main" id="{79610E91-34CA-C748-F95A-F196DADBD4D1}"/>
              </a:ext>
            </a:extLst>
          </p:cNvPr>
          <p:cNvSpPr txBox="1"/>
          <p:nvPr/>
        </p:nvSpPr>
        <p:spPr>
          <a:xfrm>
            <a:off x="4512862" y="2946037"/>
            <a:ext cx="126265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a:t>
            </a:r>
            <a:r>
              <a:rPr dirty="0"/>
              <a:t>nnovation</a:t>
            </a:r>
            <a:r>
              <a:rPr lang="en-US" dirty="0"/>
              <a:t>  Creativity</a:t>
            </a:r>
            <a:endParaRPr dirty="0"/>
          </a:p>
        </p:txBody>
      </p:sp>
      <p:sp>
        <p:nvSpPr>
          <p:cNvPr id="75" name="object 3">
            <a:extLst>
              <a:ext uri="{FF2B5EF4-FFF2-40B4-BE49-F238E27FC236}">
                <a16:creationId xmlns:a16="http://schemas.microsoft.com/office/drawing/2014/main" id="{20A9D3C1-0E78-AB99-D514-934C44F668A9}"/>
              </a:ext>
            </a:extLst>
          </p:cNvPr>
          <p:cNvSpPr txBox="1"/>
          <p:nvPr/>
        </p:nvSpPr>
        <p:spPr>
          <a:xfrm>
            <a:off x="258344" y="1602105"/>
            <a:ext cx="114681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Document</a:t>
            </a:r>
            <a:r>
              <a:rPr lang="en-US" dirty="0"/>
              <a:t> </a:t>
            </a:r>
            <a:br>
              <a:rPr lang="en-US" dirty="0"/>
            </a:br>
            <a:r>
              <a:rPr dirty="0"/>
              <a:t>Chec</a:t>
            </a:r>
            <a:r>
              <a:rPr lang="en-US" dirty="0"/>
              <a:t>k</a:t>
            </a:r>
            <a:endParaRPr dirty="0"/>
          </a:p>
        </p:txBody>
      </p:sp>
      <p:sp>
        <p:nvSpPr>
          <p:cNvPr id="77" name="Text Placeholder 81">
            <a:extLst>
              <a:ext uri="{FF2B5EF4-FFF2-40B4-BE49-F238E27FC236}">
                <a16:creationId xmlns:a16="http://schemas.microsoft.com/office/drawing/2014/main" id="{0885710C-AEA7-68C0-0262-4A8D5CE2468C}"/>
              </a:ext>
            </a:extLst>
          </p:cNvPr>
          <p:cNvSpPr txBox="1">
            <a:spLocks/>
          </p:cNvSpPr>
          <p:nvPr/>
        </p:nvSpPr>
        <p:spPr>
          <a:xfrm>
            <a:off x="10566308" y="4217142"/>
            <a:ext cx="67789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order </a:t>
            </a:r>
          </a:p>
        </p:txBody>
      </p:sp>
      <p:pic>
        <p:nvPicPr>
          <p:cNvPr id="78" name="Graphic 77">
            <a:extLst>
              <a:ext uri="{FF2B5EF4-FFF2-40B4-BE49-F238E27FC236}">
                <a16:creationId xmlns:a16="http://schemas.microsoft.com/office/drawing/2014/main" id="{A257EB19-9C4B-58F7-F6F0-54A7BE035BE6}"/>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10600456" y="4529698"/>
            <a:ext cx="609600" cy="609600"/>
          </a:xfrm>
          <a:prstGeom prst="rect">
            <a:avLst/>
          </a:prstGeom>
        </p:spPr>
      </p:pic>
      <p:pic>
        <p:nvPicPr>
          <p:cNvPr id="81" name="Graphic 80">
            <a:extLst>
              <a:ext uri="{FF2B5EF4-FFF2-40B4-BE49-F238E27FC236}">
                <a16:creationId xmlns:a16="http://schemas.microsoft.com/office/drawing/2014/main" id="{05B310F0-44BC-8F0D-6FA4-2B1EDE2AAE23}"/>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4282421" y="4529698"/>
            <a:ext cx="609600" cy="609600"/>
          </a:xfrm>
          <a:prstGeom prst="rect">
            <a:avLst/>
          </a:prstGeom>
        </p:spPr>
      </p:pic>
      <p:sp>
        <p:nvSpPr>
          <p:cNvPr id="82" name="Text Placeholder 81">
            <a:extLst>
              <a:ext uri="{FF2B5EF4-FFF2-40B4-BE49-F238E27FC236}">
                <a16:creationId xmlns:a16="http://schemas.microsoft.com/office/drawing/2014/main" id="{320C7992-E29D-F8AB-978A-FD3A401681BD}"/>
              </a:ext>
            </a:extLst>
          </p:cNvPr>
          <p:cNvSpPr txBox="1">
            <a:spLocks/>
          </p:cNvSpPr>
          <p:nvPr/>
        </p:nvSpPr>
        <p:spPr>
          <a:xfrm>
            <a:off x="4284820" y="4217142"/>
            <a:ext cx="60480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hield</a:t>
            </a:r>
          </a:p>
        </p:txBody>
      </p:sp>
      <p:sp>
        <p:nvSpPr>
          <p:cNvPr id="86" name="object 15">
            <a:extLst>
              <a:ext uri="{FF2B5EF4-FFF2-40B4-BE49-F238E27FC236}">
                <a16:creationId xmlns:a16="http://schemas.microsoft.com/office/drawing/2014/main" id="{4BA3A9FD-16D5-F50D-33F4-FDF17AFBD695}"/>
              </a:ext>
            </a:extLst>
          </p:cNvPr>
          <p:cNvSpPr txBox="1"/>
          <p:nvPr/>
        </p:nvSpPr>
        <p:spPr>
          <a:xfrm>
            <a:off x="448624" y="2946037"/>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Event</a:t>
            </a:r>
          </a:p>
        </p:txBody>
      </p:sp>
      <p:sp>
        <p:nvSpPr>
          <p:cNvPr id="87" name="Text Placeholder 81">
            <a:extLst>
              <a:ext uri="{FF2B5EF4-FFF2-40B4-BE49-F238E27FC236}">
                <a16:creationId xmlns:a16="http://schemas.microsoft.com/office/drawing/2014/main" id="{626B13E9-D4F3-7BAF-3C63-07A43F36C0F3}"/>
              </a:ext>
            </a:extLst>
          </p:cNvPr>
          <p:cNvSpPr txBox="1">
            <a:spLocks/>
          </p:cNvSpPr>
          <p:nvPr/>
        </p:nvSpPr>
        <p:spPr>
          <a:xfrm>
            <a:off x="3187723" y="1602105"/>
            <a:ext cx="724621"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apers,</a:t>
            </a:r>
            <a:br>
              <a:rPr lang="en-US" dirty="0"/>
            </a:br>
            <a:r>
              <a:rPr lang="en-US" dirty="0"/>
              <a:t>Documents</a:t>
            </a:r>
          </a:p>
        </p:txBody>
      </p:sp>
      <p:sp>
        <p:nvSpPr>
          <p:cNvPr id="88" name="object 29">
            <a:extLst>
              <a:ext uri="{FF2B5EF4-FFF2-40B4-BE49-F238E27FC236}">
                <a16:creationId xmlns:a16="http://schemas.microsoft.com/office/drawing/2014/main" id="{D6F63992-5FA4-943F-C626-E4DF3F936E90}"/>
              </a:ext>
            </a:extLst>
          </p:cNvPr>
          <p:cNvSpPr txBox="1"/>
          <p:nvPr/>
        </p:nvSpPr>
        <p:spPr>
          <a:xfrm>
            <a:off x="11238880" y="5567123"/>
            <a:ext cx="89135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rchitecture</a:t>
            </a:r>
          </a:p>
        </p:txBody>
      </p:sp>
      <p:sp>
        <p:nvSpPr>
          <p:cNvPr id="89" name="Rectangle 88">
            <a:extLst>
              <a:ext uri="{FF2B5EF4-FFF2-40B4-BE49-F238E27FC236}">
                <a16:creationId xmlns:a16="http://schemas.microsoft.com/office/drawing/2014/main" id="{86A86915-0FBF-0E93-3D5E-B3635D0DF8C5}"/>
              </a:ext>
            </a:extLst>
          </p:cNvPr>
          <p:cNvSpPr/>
          <p:nvPr/>
        </p:nvSpPr>
        <p:spPr>
          <a:xfrm>
            <a:off x="502478" y="1190356"/>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 rIns="91440" bIns="0" numCol="1" spcCol="0" rtlCol="0" fromWordArt="0" anchor="ctr" anchorCtr="0" forceAA="0" compatLnSpc="1">
            <a:prstTxWarp prst="textNoShape">
              <a:avLst/>
            </a:prstTxWarp>
            <a:noAutofit/>
          </a:bodyPr>
          <a:lstStyle/>
          <a:p>
            <a:pPr>
              <a:lnSpc>
                <a:spcPct val="90000"/>
              </a:lnSpc>
              <a:spcBef>
                <a:spcPts val="800"/>
              </a:spcBef>
            </a:pPr>
            <a:r>
              <a:rPr lang="en-US" sz="1400" dirty="0"/>
              <a:t>Office</a:t>
            </a:r>
          </a:p>
        </p:txBody>
      </p:sp>
      <p:pic>
        <p:nvPicPr>
          <p:cNvPr id="90" name="Graphic 89">
            <a:extLst>
              <a:ext uri="{FF2B5EF4-FFF2-40B4-BE49-F238E27FC236}">
                <a16:creationId xmlns:a16="http://schemas.microsoft.com/office/drawing/2014/main" id="{F188FA76-53DA-B482-B4DD-315B6184FF6D}"/>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527961" y="1958959"/>
            <a:ext cx="575622" cy="731520"/>
          </a:xfrm>
          <a:prstGeom prst="rect">
            <a:avLst/>
          </a:prstGeom>
        </p:spPr>
      </p:pic>
      <p:pic>
        <p:nvPicPr>
          <p:cNvPr id="91" name="Graphic 90">
            <a:extLst>
              <a:ext uri="{FF2B5EF4-FFF2-40B4-BE49-F238E27FC236}">
                <a16:creationId xmlns:a16="http://schemas.microsoft.com/office/drawing/2014/main" id="{3EDE98B3-F668-85FA-E192-7EE192C669D2}"/>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3129411" y="1958959"/>
            <a:ext cx="573024" cy="731520"/>
          </a:xfrm>
          <a:prstGeom prst="rect">
            <a:avLst/>
          </a:prstGeom>
        </p:spPr>
      </p:pic>
      <p:pic>
        <p:nvPicPr>
          <p:cNvPr id="92" name="Graphic 91">
            <a:extLst>
              <a:ext uri="{FF2B5EF4-FFF2-40B4-BE49-F238E27FC236}">
                <a16:creationId xmlns:a16="http://schemas.microsoft.com/office/drawing/2014/main" id="{F3A9AB2A-A6F0-7B32-8235-ABD7AEA9AD75}"/>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10132806" y="2033139"/>
            <a:ext cx="609600" cy="609600"/>
          </a:xfrm>
          <a:prstGeom prst="rect">
            <a:avLst/>
          </a:prstGeom>
        </p:spPr>
      </p:pic>
      <p:pic>
        <p:nvPicPr>
          <p:cNvPr id="93" name="Graphic 92">
            <a:extLst>
              <a:ext uri="{FF2B5EF4-FFF2-40B4-BE49-F238E27FC236}">
                <a16:creationId xmlns:a16="http://schemas.microsoft.com/office/drawing/2014/main" id="{F654E80B-EE69-18F2-6D34-973322FD79EF}"/>
              </a:ext>
            </a:extLst>
          </p:cNvPr>
          <p:cNvPicPr>
            <a:picLocks noChangeAspect="1"/>
          </p:cNvPicPr>
          <p:nvPr/>
        </p:nvPicPr>
        <p:blipFill>
          <a:blip r:embed="rId61">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a:off x="417948" y="3315405"/>
            <a:ext cx="609600" cy="533400"/>
          </a:xfrm>
          <a:prstGeom prst="rect">
            <a:avLst/>
          </a:prstGeom>
        </p:spPr>
      </p:pic>
      <p:pic>
        <p:nvPicPr>
          <p:cNvPr id="94" name="Graphic 93">
            <a:extLst>
              <a:ext uri="{FF2B5EF4-FFF2-40B4-BE49-F238E27FC236}">
                <a16:creationId xmlns:a16="http://schemas.microsoft.com/office/drawing/2014/main" id="{23883B62-CD25-477A-89D6-47F1B48BEC44}"/>
              </a:ext>
            </a:extLst>
          </p:cNvPr>
          <p:cNvPicPr>
            <a:picLocks noChangeAspect="1"/>
          </p:cNvPicPr>
          <p:nvPr/>
        </p:nvPicPr>
        <p:blipFill>
          <a:blip r:embed="rId63">
            <a:extLst>
              <a:ext uri="{28A0092B-C50C-407E-A947-70E740481C1C}">
                <a14:useLocalDpi xmlns:a14="http://schemas.microsoft.com/office/drawing/2010/main" val="0"/>
              </a:ext>
              <a:ext uri="{96DAC541-7B7A-43D3-8B79-37D633B846F1}">
                <asvg:svgBlip xmlns:asvg="http://schemas.microsoft.com/office/drawing/2016/SVG/main" r:embed="rId64"/>
              </a:ext>
            </a:extLst>
          </a:blip>
          <a:stretch>
            <a:fillRect/>
          </a:stretch>
        </p:blipFill>
        <p:spPr>
          <a:xfrm>
            <a:off x="1470076" y="3277305"/>
            <a:ext cx="609600" cy="609600"/>
          </a:xfrm>
          <a:prstGeom prst="rect">
            <a:avLst/>
          </a:prstGeom>
        </p:spPr>
      </p:pic>
      <p:pic>
        <p:nvPicPr>
          <p:cNvPr id="98" name="Graphic 97">
            <a:extLst>
              <a:ext uri="{FF2B5EF4-FFF2-40B4-BE49-F238E27FC236}">
                <a16:creationId xmlns:a16="http://schemas.microsoft.com/office/drawing/2014/main" id="{6E6730E4-38C0-1049-3FDE-1510B86034E4}"/>
              </a:ext>
            </a:extLst>
          </p:cNvPr>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5983675" y="4529698"/>
            <a:ext cx="609600" cy="609600"/>
          </a:xfrm>
          <a:prstGeom prst="rect">
            <a:avLst/>
          </a:prstGeom>
        </p:spPr>
      </p:pic>
      <p:pic>
        <p:nvPicPr>
          <p:cNvPr id="100" name="Graphic 99">
            <a:extLst>
              <a:ext uri="{FF2B5EF4-FFF2-40B4-BE49-F238E27FC236}">
                <a16:creationId xmlns:a16="http://schemas.microsoft.com/office/drawing/2014/main" id="{BAAD1F8C-3A05-2315-5BCF-C2E8CBA861E1}"/>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11354259" y="5839320"/>
            <a:ext cx="609600" cy="609600"/>
          </a:xfrm>
          <a:prstGeom prst="rect">
            <a:avLst/>
          </a:prstGeom>
        </p:spPr>
      </p:pic>
      <p:sp>
        <p:nvSpPr>
          <p:cNvPr id="52" name="Text Placeholder 81">
            <a:extLst>
              <a:ext uri="{FF2B5EF4-FFF2-40B4-BE49-F238E27FC236}">
                <a16:creationId xmlns:a16="http://schemas.microsoft.com/office/drawing/2014/main" id="{1463C4BE-6D37-FCC6-EA95-90FB00FA75A8}"/>
              </a:ext>
            </a:extLst>
          </p:cNvPr>
          <p:cNvSpPr txBox="1">
            <a:spLocks/>
          </p:cNvSpPr>
          <p:nvPr/>
        </p:nvSpPr>
        <p:spPr>
          <a:xfrm>
            <a:off x="2546776" y="2946037"/>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lan</a:t>
            </a:r>
          </a:p>
        </p:txBody>
      </p:sp>
      <p:grpSp>
        <p:nvGrpSpPr>
          <p:cNvPr id="133" name="Group 132">
            <a:extLst>
              <a:ext uri="{FF2B5EF4-FFF2-40B4-BE49-F238E27FC236}">
                <a16:creationId xmlns:a16="http://schemas.microsoft.com/office/drawing/2014/main" id="{FD606939-0BED-1AE2-F9C6-E3B7CA31BC07}"/>
              </a:ext>
            </a:extLst>
          </p:cNvPr>
          <p:cNvGrpSpPr/>
          <p:nvPr/>
        </p:nvGrpSpPr>
        <p:grpSpPr>
          <a:xfrm>
            <a:off x="4936523" y="3195143"/>
            <a:ext cx="610552" cy="773924"/>
            <a:chOff x="4613148" y="3342704"/>
            <a:chExt cx="610552" cy="773924"/>
          </a:xfrm>
        </p:grpSpPr>
        <p:pic>
          <p:nvPicPr>
            <p:cNvPr id="122" name="Graphic 121">
              <a:extLst>
                <a:ext uri="{FF2B5EF4-FFF2-40B4-BE49-F238E27FC236}">
                  <a16:creationId xmlns:a16="http://schemas.microsoft.com/office/drawing/2014/main" id="{31BB213A-A2CF-B187-D97E-74EAAA171438}"/>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4767549" y="3814876"/>
              <a:ext cx="301752" cy="301752"/>
            </a:xfrm>
            <a:prstGeom prst="rect">
              <a:avLst/>
            </a:prstGeom>
          </p:spPr>
        </p:pic>
        <p:grpSp>
          <p:nvGrpSpPr>
            <p:cNvPr id="109" name="Graphic 95">
              <a:extLst>
                <a:ext uri="{FF2B5EF4-FFF2-40B4-BE49-F238E27FC236}">
                  <a16:creationId xmlns:a16="http://schemas.microsoft.com/office/drawing/2014/main" id="{A283173F-25E2-7615-8CFC-B5AE5A418BD9}"/>
                </a:ext>
              </a:extLst>
            </p:cNvPr>
            <p:cNvGrpSpPr/>
            <p:nvPr/>
          </p:nvGrpSpPr>
          <p:grpSpPr>
            <a:xfrm>
              <a:off x="4754119" y="3343885"/>
              <a:ext cx="468391" cy="464583"/>
              <a:chOff x="5104950" y="3321663"/>
              <a:chExt cx="468391" cy="464583"/>
            </a:xfrm>
            <a:solidFill>
              <a:srgbClr val="3D4647"/>
            </a:solidFill>
          </p:grpSpPr>
          <p:sp>
            <p:nvSpPr>
              <p:cNvPr id="110" name="Freeform: Shape 109">
                <a:extLst>
                  <a:ext uri="{FF2B5EF4-FFF2-40B4-BE49-F238E27FC236}">
                    <a16:creationId xmlns:a16="http://schemas.microsoft.com/office/drawing/2014/main" id="{EDE3FA0A-633A-6B77-45E8-896BB6E23BD2}"/>
                  </a:ext>
                </a:extLst>
              </p:cNvPr>
              <p:cNvSpPr/>
              <p:nvPr/>
            </p:nvSpPr>
            <p:spPr>
              <a:xfrm>
                <a:off x="5104950" y="3383780"/>
                <a:ext cx="405765" cy="402466"/>
              </a:xfrm>
              <a:custGeom>
                <a:avLst/>
                <a:gdLst>
                  <a:gd name="connsiteX0" fmla="*/ 45720 w 405765"/>
                  <a:gd name="connsiteY0" fmla="*/ 255084 h 402466"/>
                  <a:gd name="connsiteX1" fmla="*/ 0 w 405765"/>
                  <a:gd name="connsiteY1" fmla="*/ 402466 h 402466"/>
                  <a:gd name="connsiteX2" fmla="*/ 148590 w 405765"/>
                  <a:gd name="connsiteY2" fmla="*/ 357118 h 402466"/>
                  <a:gd name="connsiteX3" fmla="*/ 400050 w 405765"/>
                  <a:gd name="connsiteY3" fmla="*/ 107702 h 402466"/>
                  <a:gd name="connsiteX4" fmla="*/ 400050 w 405765"/>
                  <a:gd name="connsiteY4" fmla="*/ 107702 h 402466"/>
                  <a:gd name="connsiteX5" fmla="*/ 401003 w 405765"/>
                  <a:gd name="connsiteY5" fmla="*/ 106757 h 402466"/>
                  <a:gd name="connsiteX6" fmla="*/ 401003 w 405765"/>
                  <a:gd name="connsiteY6" fmla="*/ 106757 h 402466"/>
                  <a:gd name="connsiteX7" fmla="*/ 405765 w 405765"/>
                  <a:gd name="connsiteY7" fmla="*/ 102034 h 402466"/>
                  <a:gd name="connsiteX8" fmla="*/ 302895 w 405765"/>
                  <a:gd name="connsiteY8" fmla="*/ 0 h 402466"/>
                  <a:gd name="connsiteX9" fmla="*/ 45720 w 405765"/>
                  <a:gd name="connsiteY9" fmla="*/ 255084 h 402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765" h="402466">
                    <a:moveTo>
                      <a:pt x="45720" y="255084"/>
                    </a:moveTo>
                    <a:cubicBezTo>
                      <a:pt x="44768" y="256029"/>
                      <a:pt x="0" y="402466"/>
                      <a:pt x="0" y="402466"/>
                    </a:cubicBezTo>
                    <a:cubicBezTo>
                      <a:pt x="0" y="402466"/>
                      <a:pt x="147637" y="357118"/>
                      <a:pt x="148590" y="357118"/>
                    </a:cubicBezTo>
                    <a:lnTo>
                      <a:pt x="400050" y="107702"/>
                    </a:lnTo>
                    <a:lnTo>
                      <a:pt x="400050" y="107702"/>
                    </a:lnTo>
                    <a:lnTo>
                      <a:pt x="401003" y="106757"/>
                    </a:lnTo>
                    <a:lnTo>
                      <a:pt x="401003" y="106757"/>
                    </a:lnTo>
                    <a:lnTo>
                      <a:pt x="405765" y="102034"/>
                    </a:lnTo>
                    <a:lnTo>
                      <a:pt x="302895" y="0"/>
                    </a:lnTo>
                    <a:lnTo>
                      <a:pt x="45720" y="255084"/>
                    </a:lnTo>
                    <a:close/>
                  </a:path>
                </a:pathLst>
              </a:custGeom>
              <a:solidFill>
                <a:srgbClr val="3D4647"/>
              </a:solidFill>
              <a:ln w="9525" cap="flat">
                <a:noFill/>
                <a:prstDash val="solid"/>
                <a:miter/>
              </a:ln>
            </p:spPr>
            <p:txBody>
              <a:bodyPr rtlCol="0" anchor="ctr"/>
              <a:lstStyle/>
              <a:p>
                <a:endParaRPr lang="en-US" dirty="0"/>
              </a:p>
            </p:txBody>
          </p:sp>
          <p:sp>
            <p:nvSpPr>
              <p:cNvPr id="111" name="Freeform: Shape 110">
                <a:extLst>
                  <a:ext uri="{FF2B5EF4-FFF2-40B4-BE49-F238E27FC236}">
                    <a16:creationId xmlns:a16="http://schemas.microsoft.com/office/drawing/2014/main" id="{9570B18E-FFF7-06E1-EE68-4BADDB0DFA31}"/>
                  </a:ext>
                </a:extLst>
              </p:cNvPr>
              <p:cNvSpPr/>
              <p:nvPr/>
            </p:nvSpPr>
            <p:spPr>
              <a:xfrm>
                <a:off x="5434515" y="3321663"/>
                <a:ext cx="138826" cy="137698"/>
              </a:xfrm>
              <a:custGeom>
                <a:avLst/>
                <a:gdLst>
                  <a:gd name="connsiteX0" fmla="*/ 132397 w 138826"/>
                  <a:gd name="connsiteY0" fmla="*/ 76289 h 137698"/>
                  <a:gd name="connsiteX1" fmla="*/ 61913 w 138826"/>
                  <a:gd name="connsiteY1" fmla="*/ 6377 h 137698"/>
                  <a:gd name="connsiteX2" fmla="*/ 29527 w 138826"/>
                  <a:gd name="connsiteY2" fmla="*/ 6377 h 137698"/>
                  <a:gd name="connsiteX3" fmla="*/ 8572 w 138826"/>
                  <a:gd name="connsiteY3" fmla="*/ 27162 h 137698"/>
                  <a:gd name="connsiteX4" fmla="*/ 8572 w 138826"/>
                  <a:gd name="connsiteY4" fmla="*/ 27162 h 137698"/>
                  <a:gd name="connsiteX5" fmla="*/ 0 w 138826"/>
                  <a:gd name="connsiteY5" fmla="*/ 35665 h 137698"/>
                  <a:gd name="connsiteX6" fmla="*/ 102870 w 138826"/>
                  <a:gd name="connsiteY6" fmla="*/ 137698 h 137698"/>
                  <a:gd name="connsiteX7" fmla="*/ 132397 w 138826"/>
                  <a:gd name="connsiteY7" fmla="*/ 108411 h 137698"/>
                  <a:gd name="connsiteX8" fmla="*/ 132397 w 138826"/>
                  <a:gd name="connsiteY8" fmla="*/ 76289 h 13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826" h="137698">
                    <a:moveTo>
                      <a:pt x="132397" y="76289"/>
                    </a:moveTo>
                    <a:lnTo>
                      <a:pt x="61913" y="6377"/>
                    </a:lnTo>
                    <a:cubicBezTo>
                      <a:pt x="53340" y="-2126"/>
                      <a:pt x="38100" y="-2126"/>
                      <a:pt x="29527" y="6377"/>
                    </a:cubicBezTo>
                    <a:lnTo>
                      <a:pt x="8572" y="27162"/>
                    </a:lnTo>
                    <a:lnTo>
                      <a:pt x="8572" y="27162"/>
                    </a:lnTo>
                    <a:lnTo>
                      <a:pt x="0" y="35665"/>
                    </a:lnTo>
                    <a:lnTo>
                      <a:pt x="102870" y="137698"/>
                    </a:lnTo>
                    <a:lnTo>
                      <a:pt x="132397" y="108411"/>
                    </a:lnTo>
                    <a:cubicBezTo>
                      <a:pt x="140970" y="99908"/>
                      <a:pt x="140970" y="84792"/>
                      <a:pt x="132397" y="76289"/>
                    </a:cubicBezTo>
                    <a:close/>
                  </a:path>
                </a:pathLst>
              </a:custGeom>
              <a:solidFill>
                <a:srgbClr val="3D4647"/>
              </a:solidFill>
              <a:ln w="9525" cap="flat">
                <a:noFill/>
                <a:prstDash val="solid"/>
                <a:miter/>
              </a:ln>
            </p:spPr>
            <p:txBody>
              <a:bodyPr rtlCol="0" anchor="ctr"/>
              <a:lstStyle/>
              <a:p>
                <a:endParaRPr lang="en-US" dirty="0"/>
              </a:p>
            </p:txBody>
          </p:sp>
        </p:grpSp>
        <p:sp>
          <p:nvSpPr>
            <p:cNvPr id="132" name="Freeform: Shape 131">
              <a:extLst>
                <a:ext uri="{FF2B5EF4-FFF2-40B4-BE49-F238E27FC236}">
                  <a16:creationId xmlns:a16="http://schemas.microsoft.com/office/drawing/2014/main" id="{F796308D-87CA-1814-FBBA-2F21E218AE0F}"/>
                </a:ext>
              </a:extLst>
            </p:cNvPr>
            <p:cNvSpPr/>
            <p:nvPr/>
          </p:nvSpPr>
          <p:spPr>
            <a:xfrm>
              <a:off x="4613148" y="3342704"/>
              <a:ext cx="610552" cy="607478"/>
            </a:xfrm>
            <a:custGeom>
              <a:avLst/>
              <a:gdLst>
                <a:gd name="connsiteX0" fmla="*/ 533399 w 610552"/>
                <a:gd name="connsiteY0" fmla="*/ 348615 h 607478"/>
                <a:gd name="connsiteX1" fmla="*/ 610552 w 610552"/>
                <a:gd name="connsiteY1" fmla="*/ 348615 h 607478"/>
                <a:gd name="connsiteX2" fmla="*/ 610552 w 610552"/>
                <a:gd name="connsiteY2" fmla="*/ 607478 h 607478"/>
                <a:gd name="connsiteX3" fmla="*/ 431482 w 610552"/>
                <a:gd name="connsiteY3" fmla="*/ 607478 h 607478"/>
                <a:gd name="connsiteX4" fmla="*/ 431482 w 610552"/>
                <a:gd name="connsiteY4" fmla="*/ 605589 h 607478"/>
                <a:gd name="connsiteX5" fmla="*/ 435292 w 610552"/>
                <a:gd name="connsiteY5" fmla="*/ 577246 h 607478"/>
                <a:gd name="connsiteX6" fmla="*/ 435292 w 610552"/>
                <a:gd name="connsiteY6" fmla="*/ 575356 h 607478"/>
                <a:gd name="connsiteX7" fmla="*/ 435292 w 610552"/>
                <a:gd name="connsiteY7" fmla="*/ 573467 h 607478"/>
                <a:gd name="connsiteX8" fmla="*/ 427672 w 610552"/>
                <a:gd name="connsiteY8" fmla="*/ 530953 h 607478"/>
                <a:gd name="connsiteX9" fmla="*/ 533399 w 610552"/>
                <a:gd name="connsiteY9" fmla="*/ 530953 h 607478"/>
                <a:gd name="connsiteX10" fmla="*/ 0 w 610552"/>
                <a:gd name="connsiteY10" fmla="*/ 0 h 607478"/>
                <a:gd name="connsiteX11" fmla="*/ 953 w 610552"/>
                <a:gd name="connsiteY11" fmla="*/ 0 h 607478"/>
                <a:gd name="connsiteX12" fmla="*/ 122833 w 610552"/>
                <a:gd name="connsiteY12" fmla="*/ 0 h 607478"/>
                <a:gd name="connsiteX13" fmla="*/ 150495 w 610552"/>
                <a:gd name="connsiteY13" fmla="*/ 0 h 607478"/>
                <a:gd name="connsiteX14" fmla="*/ 268406 w 610552"/>
                <a:gd name="connsiteY14" fmla="*/ 0 h 607478"/>
                <a:gd name="connsiteX15" fmla="*/ 268406 w 610552"/>
                <a:gd name="connsiteY15" fmla="*/ 77534 h 607478"/>
                <a:gd name="connsiteX16" fmla="*/ 122833 w 610552"/>
                <a:gd name="connsiteY16" fmla="*/ 77534 h 607478"/>
                <a:gd name="connsiteX17" fmla="*/ 122833 w 610552"/>
                <a:gd name="connsiteY17" fmla="*/ 76525 h 607478"/>
                <a:gd name="connsiteX18" fmla="*/ 76200 w 610552"/>
                <a:gd name="connsiteY18" fmla="*/ 76525 h 607478"/>
                <a:gd name="connsiteX19" fmla="*/ 76200 w 610552"/>
                <a:gd name="connsiteY19" fmla="*/ 530953 h 607478"/>
                <a:gd name="connsiteX20" fmla="*/ 182880 w 610552"/>
                <a:gd name="connsiteY20" fmla="*/ 530953 h 607478"/>
                <a:gd name="connsiteX21" fmla="*/ 175260 w 610552"/>
                <a:gd name="connsiteY21" fmla="*/ 573467 h 607478"/>
                <a:gd name="connsiteX22" fmla="*/ 175260 w 610552"/>
                <a:gd name="connsiteY22" fmla="*/ 575356 h 607478"/>
                <a:gd name="connsiteX23" fmla="*/ 175260 w 610552"/>
                <a:gd name="connsiteY23" fmla="*/ 577246 h 607478"/>
                <a:gd name="connsiteX24" fmla="*/ 179070 w 610552"/>
                <a:gd name="connsiteY24" fmla="*/ 605589 h 607478"/>
                <a:gd name="connsiteX25" fmla="*/ 953 w 610552"/>
                <a:gd name="connsiteY25" fmla="*/ 605589 h 607478"/>
                <a:gd name="connsiteX26" fmla="*/ 0 w 610552"/>
                <a:gd name="connsiteY26" fmla="*/ 605589 h 60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0552" h="607478">
                  <a:moveTo>
                    <a:pt x="533399" y="348615"/>
                  </a:moveTo>
                  <a:lnTo>
                    <a:pt x="610552" y="348615"/>
                  </a:lnTo>
                  <a:lnTo>
                    <a:pt x="610552" y="607478"/>
                  </a:lnTo>
                  <a:lnTo>
                    <a:pt x="431482" y="607478"/>
                  </a:lnTo>
                  <a:cubicBezTo>
                    <a:pt x="431482" y="606533"/>
                    <a:pt x="431482" y="606533"/>
                    <a:pt x="431482" y="605589"/>
                  </a:cubicBezTo>
                  <a:cubicBezTo>
                    <a:pt x="434339" y="596141"/>
                    <a:pt x="435292" y="586694"/>
                    <a:pt x="435292" y="577246"/>
                  </a:cubicBezTo>
                  <a:lnTo>
                    <a:pt x="435292" y="575356"/>
                  </a:lnTo>
                  <a:lnTo>
                    <a:pt x="435292" y="573467"/>
                  </a:lnTo>
                  <a:cubicBezTo>
                    <a:pt x="435292" y="558351"/>
                    <a:pt x="432435" y="544180"/>
                    <a:pt x="427672" y="530953"/>
                  </a:cubicBezTo>
                  <a:lnTo>
                    <a:pt x="533399" y="530953"/>
                  </a:lnTo>
                  <a:close/>
                  <a:moveTo>
                    <a:pt x="0" y="0"/>
                  </a:moveTo>
                  <a:lnTo>
                    <a:pt x="953" y="0"/>
                  </a:lnTo>
                  <a:lnTo>
                    <a:pt x="122833" y="0"/>
                  </a:lnTo>
                  <a:lnTo>
                    <a:pt x="150495" y="0"/>
                  </a:lnTo>
                  <a:lnTo>
                    <a:pt x="268406" y="0"/>
                  </a:lnTo>
                  <a:lnTo>
                    <a:pt x="268406" y="77534"/>
                  </a:lnTo>
                  <a:lnTo>
                    <a:pt x="122833" y="77534"/>
                  </a:lnTo>
                  <a:lnTo>
                    <a:pt x="122833" y="76525"/>
                  </a:lnTo>
                  <a:lnTo>
                    <a:pt x="76200" y="76525"/>
                  </a:lnTo>
                  <a:lnTo>
                    <a:pt x="76200" y="530953"/>
                  </a:lnTo>
                  <a:lnTo>
                    <a:pt x="182880" y="530953"/>
                  </a:lnTo>
                  <a:cubicBezTo>
                    <a:pt x="178118" y="544180"/>
                    <a:pt x="175260" y="558351"/>
                    <a:pt x="175260" y="573467"/>
                  </a:cubicBezTo>
                  <a:lnTo>
                    <a:pt x="175260" y="575356"/>
                  </a:lnTo>
                  <a:lnTo>
                    <a:pt x="175260" y="577246"/>
                  </a:lnTo>
                  <a:cubicBezTo>
                    <a:pt x="175260" y="586694"/>
                    <a:pt x="176213" y="596141"/>
                    <a:pt x="179070" y="605589"/>
                  </a:cubicBezTo>
                  <a:lnTo>
                    <a:pt x="953" y="605589"/>
                  </a:lnTo>
                  <a:lnTo>
                    <a:pt x="0" y="605589"/>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pic>
        <p:nvPicPr>
          <p:cNvPr id="101" name="Graphic 100">
            <a:extLst>
              <a:ext uri="{FF2B5EF4-FFF2-40B4-BE49-F238E27FC236}">
                <a16:creationId xmlns:a16="http://schemas.microsoft.com/office/drawing/2014/main" id="{8B5AC048-F3D5-1267-E37D-BCAC39607EE0}"/>
              </a:ext>
            </a:extLst>
          </p:cNvPr>
          <p:cNvPicPr>
            <a:picLocks noChangeAspect="1"/>
          </p:cNvPicPr>
          <p:nvPr/>
        </p:nvPicPr>
        <p:blipFill>
          <a:blip r:embed="rId71">
            <a:extLst>
              <a:ext uri="{28A0092B-C50C-407E-A947-70E740481C1C}">
                <a14:useLocalDpi xmlns:a14="http://schemas.microsoft.com/office/drawing/2010/main" val="0"/>
              </a:ext>
              <a:ext uri="{96DAC541-7B7A-43D3-8B79-37D633B846F1}">
                <asvg:svgBlip xmlns:asvg="http://schemas.microsoft.com/office/drawing/2016/SVG/main" r:embed="rId72"/>
              </a:ext>
            </a:extLst>
          </a:blip>
          <a:stretch>
            <a:fillRect/>
          </a:stretch>
        </p:blipFill>
        <p:spPr>
          <a:xfrm>
            <a:off x="9004072" y="3277305"/>
            <a:ext cx="609600" cy="609600"/>
          </a:xfrm>
          <a:prstGeom prst="rect">
            <a:avLst/>
          </a:prstGeom>
        </p:spPr>
      </p:pic>
      <p:pic>
        <p:nvPicPr>
          <p:cNvPr id="24" name="Graphic 23">
            <a:extLst>
              <a:ext uri="{FF2B5EF4-FFF2-40B4-BE49-F238E27FC236}">
                <a16:creationId xmlns:a16="http://schemas.microsoft.com/office/drawing/2014/main" id="{1EB860EF-149B-B824-9EC8-78B2B6923485}"/>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2522204" y="3277305"/>
            <a:ext cx="774700" cy="609600"/>
          </a:xfrm>
          <a:prstGeom prst="rect">
            <a:avLst/>
          </a:prstGeom>
        </p:spPr>
      </p:pic>
      <p:pic>
        <p:nvPicPr>
          <p:cNvPr id="76" name="Graphic 75">
            <a:extLst>
              <a:ext uri="{FF2B5EF4-FFF2-40B4-BE49-F238E27FC236}">
                <a16:creationId xmlns:a16="http://schemas.microsoft.com/office/drawing/2014/main" id="{2E1DA60F-1834-536C-58F5-80473828BFFC}"/>
              </a:ext>
            </a:extLst>
          </p:cNvPr>
          <p:cNvPicPr>
            <a:picLocks noChangeAspect="1"/>
          </p:cNvPicPr>
          <p:nvPr/>
        </p:nvPicPr>
        <p:blipFill>
          <a:blip r:embed="rId75">
            <a:extLst>
              <a:ext uri="{28A0092B-C50C-407E-A947-70E740481C1C}">
                <a14:useLocalDpi xmlns:a14="http://schemas.microsoft.com/office/drawing/2010/main" val="0"/>
              </a:ext>
              <a:ext uri="{96DAC541-7B7A-43D3-8B79-37D633B846F1}">
                <asvg:svgBlip xmlns:asvg="http://schemas.microsoft.com/office/drawing/2016/SVG/main" r:embed="rId76"/>
              </a:ext>
            </a:extLst>
          </a:blip>
          <a:stretch>
            <a:fillRect/>
          </a:stretch>
        </p:blipFill>
        <p:spPr>
          <a:xfrm>
            <a:off x="1100484" y="4464594"/>
            <a:ext cx="609600" cy="660400"/>
          </a:xfrm>
          <a:prstGeom prst="rect">
            <a:avLst/>
          </a:prstGeom>
        </p:spPr>
      </p:pic>
      <p:pic>
        <p:nvPicPr>
          <p:cNvPr id="80" name="Graphic 79">
            <a:extLst>
              <a:ext uri="{FF2B5EF4-FFF2-40B4-BE49-F238E27FC236}">
                <a16:creationId xmlns:a16="http://schemas.microsoft.com/office/drawing/2014/main" id="{51845B6F-69E3-47BB-6E0B-4C20CA0D0D9B}"/>
              </a:ext>
            </a:extLst>
          </p:cNvPr>
          <p:cNvPicPr>
            <a:picLocks noChangeAspect="1"/>
          </p:cNvPicPr>
          <p:nvPr/>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tretch>
            <a:fillRect/>
          </a:stretch>
        </p:blipFill>
        <p:spPr>
          <a:xfrm>
            <a:off x="1817377" y="4489994"/>
            <a:ext cx="419100" cy="609600"/>
          </a:xfrm>
          <a:prstGeom prst="rect">
            <a:avLst/>
          </a:prstGeom>
        </p:spPr>
      </p:pic>
      <p:pic>
        <p:nvPicPr>
          <p:cNvPr id="102" name="Graphic 101">
            <a:extLst>
              <a:ext uri="{FF2B5EF4-FFF2-40B4-BE49-F238E27FC236}">
                <a16:creationId xmlns:a16="http://schemas.microsoft.com/office/drawing/2014/main" id="{ACAFD03F-1404-0A2E-0B83-AADBDE0192DD}"/>
              </a:ext>
            </a:extLst>
          </p:cNvPr>
          <p:cNvPicPr>
            <a:picLocks noChangeAspect="1"/>
          </p:cNvPicPr>
          <p:nvPr/>
        </p:nvPicPr>
        <p:blipFill>
          <a:blip r:embed="rId79">
            <a:extLst>
              <a:ext uri="{28A0092B-C50C-407E-A947-70E740481C1C}">
                <a14:useLocalDpi xmlns:a14="http://schemas.microsoft.com/office/drawing/2010/main" val="0"/>
              </a:ext>
              <a:ext uri="{96DAC541-7B7A-43D3-8B79-37D633B846F1}">
                <asvg:svgBlip xmlns:asvg="http://schemas.microsoft.com/office/drawing/2016/SVG/main" r:embed="rId80"/>
              </a:ext>
            </a:extLst>
          </a:blip>
          <a:stretch>
            <a:fillRect/>
          </a:stretch>
        </p:blipFill>
        <p:spPr>
          <a:xfrm>
            <a:off x="8244847" y="5839320"/>
            <a:ext cx="609600" cy="609600"/>
          </a:xfrm>
          <a:prstGeom prst="rect">
            <a:avLst/>
          </a:prstGeom>
        </p:spPr>
      </p:pic>
      <p:sp>
        <p:nvSpPr>
          <p:cNvPr id="27" name="object 17">
            <a:extLst>
              <a:ext uri="{FF2B5EF4-FFF2-40B4-BE49-F238E27FC236}">
                <a16:creationId xmlns:a16="http://schemas.microsoft.com/office/drawing/2014/main" id="{6D87577D-EEE6-3667-506A-A6AEE35F15F0}"/>
              </a:ext>
            </a:extLst>
          </p:cNvPr>
          <p:cNvSpPr txBox="1"/>
          <p:nvPr/>
        </p:nvSpPr>
        <p:spPr>
          <a:xfrm>
            <a:off x="4911833" y="4217142"/>
            <a:ext cx="86368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eport</a:t>
            </a:r>
          </a:p>
        </p:txBody>
      </p:sp>
      <p:sp>
        <p:nvSpPr>
          <p:cNvPr id="60" name="Text Placeholder 81">
            <a:extLst>
              <a:ext uri="{FF2B5EF4-FFF2-40B4-BE49-F238E27FC236}">
                <a16:creationId xmlns:a16="http://schemas.microsoft.com/office/drawing/2014/main" id="{C8104269-D649-95CA-8666-959A32ACFCDD}"/>
              </a:ext>
            </a:extLst>
          </p:cNvPr>
          <p:cNvSpPr txBox="1">
            <a:spLocks/>
          </p:cNvSpPr>
          <p:nvPr/>
        </p:nvSpPr>
        <p:spPr>
          <a:xfrm>
            <a:off x="2222758" y="1671355"/>
            <a:ext cx="72462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3D Doc</a:t>
            </a:r>
          </a:p>
        </p:txBody>
      </p:sp>
      <p:sp>
        <p:nvSpPr>
          <p:cNvPr id="70" name="object 17">
            <a:extLst>
              <a:ext uri="{FF2B5EF4-FFF2-40B4-BE49-F238E27FC236}">
                <a16:creationId xmlns:a16="http://schemas.microsoft.com/office/drawing/2014/main" id="{83C0FE43-F250-E361-8B0D-3E1058C31C48}"/>
              </a:ext>
            </a:extLst>
          </p:cNvPr>
          <p:cNvSpPr txBox="1"/>
          <p:nvPr/>
        </p:nvSpPr>
        <p:spPr>
          <a:xfrm>
            <a:off x="11226697" y="4217142"/>
            <a:ext cx="8456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dge</a:t>
            </a:r>
            <a:endParaRPr dirty="0"/>
          </a:p>
        </p:txBody>
      </p:sp>
      <p:sp>
        <p:nvSpPr>
          <p:cNvPr id="72" name="object 17">
            <a:extLst>
              <a:ext uri="{FF2B5EF4-FFF2-40B4-BE49-F238E27FC236}">
                <a16:creationId xmlns:a16="http://schemas.microsoft.com/office/drawing/2014/main" id="{69C9784B-6B27-179A-CB84-DE349D10003D}"/>
              </a:ext>
            </a:extLst>
          </p:cNvPr>
          <p:cNvSpPr txBox="1"/>
          <p:nvPr/>
        </p:nvSpPr>
        <p:spPr>
          <a:xfrm>
            <a:off x="9064312" y="5567123"/>
            <a:ext cx="1279525"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dit, Pencil, Pen Draw</a:t>
            </a:r>
          </a:p>
        </p:txBody>
      </p:sp>
      <p:pic>
        <p:nvPicPr>
          <p:cNvPr id="79" name="Graphic 78">
            <a:extLst>
              <a:ext uri="{FF2B5EF4-FFF2-40B4-BE49-F238E27FC236}">
                <a16:creationId xmlns:a16="http://schemas.microsoft.com/office/drawing/2014/main" id="{17791B4D-8CF6-0CDA-1D51-36BA3BDA00F1}"/>
              </a:ext>
            </a:extLst>
          </p:cNvPr>
          <p:cNvPicPr>
            <a:picLocks noChangeAspect="1"/>
          </p:cNvPicPr>
          <p:nvPr/>
        </p:nvPicPr>
        <p:blipFill>
          <a:blip r:embed="rId81">
            <a:extLst>
              <a:ext uri="{28A0092B-C50C-407E-A947-70E740481C1C}">
                <a14:useLocalDpi xmlns:a14="http://schemas.microsoft.com/office/drawing/2010/main" val="0"/>
              </a:ext>
              <a:ext uri="{96DAC541-7B7A-43D3-8B79-37D633B846F1}">
                <asvg:svgBlip xmlns:asvg="http://schemas.microsoft.com/office/drawing/2016/SVG/main" r:embed="rId82"/>
              </a:ext>
            </a:extLst>
          </a:blip>
          <a:stretch>
            <a:fillRect/>
          </a:stretch>
        </p:blipFill>
        <p:spPr>
          <a:xfrm>
            <a:off x="11341583" y="4529698"/>
            <a:ext cx="609600" cy="609600"/>
          </a:xfrm>
          <a:prstGeom prst="rect">
            <a:avLst/>
          </a:prstGeom>
        </p:spPr>
      </p:pic>
      <p:pic>
        <p:nvPicPr>
          <p:cNvPr id="104" name="Graphic 103">
            <a:extLst>
              <a:ext uri="{FF2B5EF4-FFF2-40B4-BE49-F238E27FC236}">
                <a16:creationId xmlns:a16="http://schemas.microsoft.com/office/drawing/2014/main" id="{CB8C9957-7D96-6B9E-7629-D25643C7BD64}"/>
              </a:ext>
            </a:extLst>
          </p:cNvPr>
          <p:cNvPicPr>
            <a:picLocks noChangeAspect="1"/>
          </p:cNvPicPr>
          <p:nvPr/>
        </p:nvPicPr>
        <p:blipFill>
          <a:blip r:embed="rId83">
            <a:extLst>
              <a:ext uri="{28A0092B-C50C-407E-A947-70E740481C1C}">
                <a14:useLocalDpi xmlns:a14="http://schemas.microsoft.com/office/drawing/2010/main" val="0"/>
              </a:ext>
              <a:ext uri="{96DAC541-7B7A-43D3-8B79-37D633B846F1}">
                <asvg:svgBlip xmlns:asvg="http://schemas.microsoft.com/office/drawing/2016/SVG/main" r:embed="rId84"/>
              </a:ext>
            </a:extLst>
          </a:blip>
          <a:stretch>
            <a:fillRect/>
          </a:stretch>
        </p:blipFill>
        <p:spPr>
          <a:xfrm>
            <a:off x="8944558" y="5839320"/>
            <a:ext cx="609600" cy="609600"/>
          </a:xfrm>
          <a:prstGeom prst="rect">
            <a:avLst/>
          </a:prstGeom>
        </p:spPr>
      </p:pic>
      <p:pic>
        <p:nvPicPr>
          <p:cNvPr id="97" name="Graphic 96">
            <a:extLst>
              <a:ext uri="{FF2B5EF4-FFF2-40B4-BE49-F238E27FC236}">
                <a16:creationId xmlns:a16="http://schemas.microsoft.com/office/drawing/2014/main" id="{B11C8CA9-3B0D-45A6-E0BE-19D940A3F0BA}"/>
              </a:ext>
            </a:extLst>
          </p:cNvPr>
          <p:cNvPicPr>
            <a:picLocks noChangeAspect="1"/>
          </p:cNvPicPr>
          <p:nvPr/>
        </p:nvPicPr>
        <p:blipFill>
          <a:blip r:embed="rId85">
            <a:extLst>
              <a:ext uri="{28A0092B-C50C-407E-A947-70E740481C1C}">
                <a14:useLocalDpi xmlns:a14="http://schemas.microsoft.com/office/drawing/2010/main" val="0"/>
              </a:ext>
              <a:ext uri="{96DAC541-7B7A-43D3-8B79-37D633B846F1}">
                <asvg:svgBlip xmlns:asvg="http://schemas.microsoft.com/office/drawing/2016/SVG/main" r:embed="rId86"/>
              </a:ext>
            </a:extLst>
          </a:blip>
          <a:stretch>
            <a:fillRect/>
          </a:stretch>
        </p:blipFill>
        <p:spPr>
          <a:xfrm>
            <a:off x="11108324" y="1982304"/>
            <a:ext cx="685800" cy="685800"/>
          </a:xfrm>
          <a:prstGeom prst="rect">
            <a:avLst/>
          </a:prstGeom>
        </p:spPr>
      </p:pic>
      <p:pic>
        <p:nvPicPr>
          <p:cNvPr id="7" name="Graphic 6">
            <a:extLst>
              <a:ext uri="{FF2B5EF4-FFF2-40B4-BE49-F238E27FC236}">
                <a16:creationId xmlns:a16="http://schemas.microsoft.com/office/drawing/2014/main" id="{F0474035-4B3F-DD81-87DA-9E58029EC3A1}"/>
              </a:ext>
            </a:extLst>
          </p:cNvPr>
          <p:cNvPicPr>
            <a:picLocks noChangeAspect="1"/>
          </p:cNvPicPr>
          <p:nvPr/>
        </p:nvPicPr>
        <p:blipFill>
          <a:blip r:embed="rId87">
            <a:extLst>
              <a:ext uri="{96DAC541-7B7A-43D3-8B79-37D633B846F1}">
                <asvg:svgBlip xmlns:asvg="http://schemas.microsoft.com/office/drawing/2016/SVG/main" r:embed="rId88"/>
              </a:ext>
            </a:extLst>
          </a:blip>
          <a:stretch>
            <a:fillRect/>
          </a:stretch>
        </p:blipFill>
        <p:spPr>
          <a:xfrm>
            <a:off x="383591" y="4428082"/>
            <a:ext cx="609600" cy="733425"/>
          </a:xfrm>
          <a:prstGeom prst="rect">
            <a:avLst/>
          </a:prstGeom>
        </p:spPr>
      </p:pic>
      <p:sp>
        <p:nvSpPr>
          <p:cNvPr id="4" name="Text Placeholder 81">
            <a:extLst>
              <a:ext uri="{FF2B5EF4-FFF2-40B4-BE49-F238E27FC236}">
                <a16:creationId xmlns:a16="http://schemas.microsoft.com/office/drawing/2014/main" id="{D8939C83-DB9A-1778-151A-CD728E71B4FE}"/>
              </a:ext>
            </a:extLst>
          </p:cNvPr>
          <p:cNvSpPr txBox="1">
            <a:spLocks/>
          </p:cNvSpPr>
          <p:nvPr/>
        </p:nvSpPr>
        <p:spPr>
          <a:xfrm>
            <a:off x="3281982" y="2946037"/>
            <a:ext cx="149141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est Case</a:t>
            </a:r>
          </a:p>
        </p:txBody>
      </p:sp>
      <p:pic>
        <p:nvPicPr>
          <p:cNvPr id="17" name="Graphic 16">
            <a:extLst>
              <a:ext uri="{FF2B5EF4-FFF2-40B4-BE49-F238E27FC236}">
                <a16:creationId xmlns:a16="http://schemas.microsoft.com/office/drawing/2014/main" id="{0FE30758-FC21-9B11-E913-C54933077B9D}"/>
              </a:ext>
            </a:extLst>
          </p:cNvPr>
          <p:cNvPicPr>
            <a:picLocks noChangeAspect="1"/>
          </p:cNvPicPr>
          <p:nvPr/>
        </p:nvPicPr>
        <p:blipFill>
          <a:blip r:embed="rId89">
            <a:extLst>
              <a:ext uri="{96DAC541-7B7A-43D3-8B79-37D633B846F1}">
                <asvg:svgBlip xmlns:asvg="http://schemas.microsoft.com/office/drawing/2016/SVG/main" r:embed="rId90"/>
              </a:ext>
            </a:extLst>
          </a:blip>
          <a:stretch>
            <a:fillRect/>
          </a:stretch>
        </p:blipFill>
        <p:spPr>
          <a:xfrm>
            <a:off x="3722891" y="3277305"/>
            <a:ext cx="609600" cy="609600"/>
          </a:xfrm>
          <a:prstGeom prst="rect">
            <a:avLst/>
          </a:prstGeom>
        </p:spPr>
      </p:pic>
      <p:sp>
        <p:nvSpPr>
          <p:cNvPr id="20" name="Text Placeholder 81">
            <a:extLst>
              <a:ext uri="{FF2B5EF4-FFF2-40B4-BE49-F238E27FC236}">
                <a16:creationId xmlns:a16="http://schemas.microsoft.com/office/drawing/2014/main" id="{2C5B5D6A-DE31-B1B0-7E69-7B97BBD1D47F}"/>
              </a:ext>
            </a:extLst>
          </p:cNvPr>
          <p:cNvSpPr txBox="1">
            <a:spLocks/>
          </p:cNvSpPr>
          <p:nvPr/>
        </p:nvSpPr>
        <p:spPr>
          <a:xfrm>
            <a:off x="-64631" y="5567123"/>
            <a:ext cx="149141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cord Breaking</a:t>
            </a:r>
          </a:p>
        </p:txBody>
      </p:sp>
      <p:pic>
        <p:nvPicPr>
          <p:cNvPr id="29" name="Graphic 28">
            <a:extLst>
              <a:ext uri="{FF2B5EF4-FFF2-40B4-BE49-F238E27FC236}">
                <a16:creationId xmlns:a16="http://schemas.microsoft.com/office/drawing/2014/main" id="{77EBD908-D7CC-ACE9-0E5F-8BFD08011447}"/>
              </a:ext>
            </a:extLst>
          </p:cNvPr>
          <p:cNvPicPr>
            <a:picLocks noChangeAspect="1"/>
          </p:cNvPicPr>
          <p:nvPr/>
        </p:nvPicPr>
        <p:blipFill>
          <a:blip r:embed="rId91">
            <a:extLst>
              <a:ext uri="{96DAC541-7B7A-43D3-8B79-37D633B846F1}">
                <asvg:svgBlip xmlns:asvg="http://schemas.microsoft.com/office/drawing/2016/SVG/main" r:embed="rId92"/>
              </a:ext>
            </a:extLst>
          </a:blip>
          <a:stretch>
            <a:fillRect/>
          </a:stretch>
        </p:blipFill>
        <p:spPr>
          <a:xfrm>
            <a:off x="376278" y="5832380"/>
            <a:ext cx="609600" cy="609600"/>
          </a:xfrm>
          <a:prstGeom prst="rect">
            <a:avLst/>
          </a:prstGeom>
        </p:spPr>
      </p:pic>
      <p:pic>
        <p:nvPicPr>
          <p:cNvPr id="67" name="Graphic 66">
            <a:extLst>
              <a:ext uri="{FF2B5EF4-FFF2-40B4-BE49-F238E27FC236}">
                <a16:creationId xmlns:a16="http://schemas.microsoft.com/office/drawing/2014/main" id="{016634C2-9482-D61E-185E-81BF10D74701}"/>
              </a:ext>
            </a:extLst>
          </p:cNvPr>
          <p:cNvPicPr>
            <a:picLocks noChangeAspect="1"/>
          </p:cNvPicPr>
          <p:nvPr/>
        </p:nvPicPr>
        <p:blipFill>
          <a:blip r:embed="rId93">
            <a:extLst>
              <a:ext uri="{96DAC541-7B7A-43D3-8B79-37D633B846F1}">
                <asvg:svgBlip xmlns:asvg="http://schemas.microsoft.com/office/drawing/2016/SVG/main" r:embed="rId94"/>
              </a:ext>
            </a:extLst>
          </a:blip>
          <a:stretch>
            <a:fillRect/>
          </a:stretch>
        </p:blipFill>
        <p:spPr>
          <a:xfrm>
            <a:off x="2343771" y="4489994"/>
            <a:ext cx="609600" cy="609600"/>
          </a:xfrm>
          <a:prstGeom prst="rect">
            <a:avLst/>
          </a:prstGeom>
        </p:spPr>
      </p:pic>
      <p:pic>
        <p:nvPicPr>
          <p:cNvPr id="74" name="Graphic 73">
            <a:extLst>
              <a:ext uri="{FF2B5EF4-FFF2-40B4-BE49-F238E27FC236}">
                <a16:creationId xmlns:a16="http://schemas.microsoft.com/office/drawing/2014/main" id="{4ED5C57E-FE68-F85D-2010-C67371892681}"/>
              </a:ext>
            </a:extLst>
          </p:cNvPr>
          <p:cNvPicPr>
            <a:picLocks noChangeAspect="1"/>
          </p:cNvPicPr>
          <p:nvPr/>
        </p:nvPicPr>
        <p:blipFill>
          <a:blip r:embed="rId95">
            <a:extLst>
              <a:ext uri="{96DAC541-7B7A-43D3-8B79-37D633B846F1}">
                <asvg:svgBlip xmlns:asvg="http://schemas.microsoft.com/office/drawing/2016/SVG/main" r:embed="rId96"/>
              </a:ext>
            </a:extLst>
          </a:blip>
          <a:stretch>
            <a:fillRect/>
          </a:stretch>
        </p:blipFill>
        <p:spPr>
          <a:xfrm>
            <a:off x="9656681" y="5839320"/>
            <a:ext cx="609600" cy="609600"/>
          </a:xfrm>
          <a:prstGeom prst="rect">
            <a:avLst/>
          </a:prstGeom>
        </p:spPr>
      </p:pic>
      <p:pic>
        <p:nvPicPr>
          <p:cNvPr id="71" name="Graphic 70">
            <a:extLst>
              <a:ext uri="{FF2B5EF4-FFF2-40B4-BE49-F238E27FC236}">
                <a16:creationId xmlns:a16="http://schemas.microsoft.com/office/drawing/2014/main" id="{C2BF73E4-D068-0DF7-0AC8-535FA6BDE687}"/>
              </a:ext>
            </a:extLst>
          </p:cNvPr>
          <p:cNvPicPr>
            <a:picLocks noChangeAspect="1"/>
          </p:cNvPicPr>
          <p:nvPr/>
        </p:nvPicPr>
        <p:blipFill>
          <a:blip r:embed="rId97">
            <a:extLst>
              <a:ext uri="{96DAC541-7B7A-43D3-8B79-37D633B846F1}">
                <asvg:svgBlip xmlns:asvg="http://schemas.microsoft.com/office/drawing/2016/SVG/main" r:embed="rId98"/>
              </a:ext>
            </a:extLst>
          </a:blip>
          <a:stretch>
            <a:fillRect/>
          </a:stretch>
        </p:blipFill>
        <p:spPr>
          <a:xfrm>
            <a:off x="5941671" y="5815508"/>
            <a:ext cx="609600" cy="609600"/>
          </a:xfrm>
          <a:prstGeom prst="rect">
            <a:avLst/>
          </a:prstGeom>
        </p:spPr>
      </p:pic>
    </p:spTree>
    <p:extLst>
      <p:ext uri="{BB962C8B-B14F-4D97-AF65-F5344CB8AC3E}">
        <p14:creationId xmlns:p14="http://schemas.microsoft.com/office/powerpoint/2010/main" val="3133990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9" name="Rectangle 1128">
            <a:extLst>
              <a:ext uri="{FF2B5EF4-FFF2-40B4-BE49-F238E27FC236}">
                <a16:creationId xmlns:a16="http://schemas.microsoft.com/office/drawing/2014/main" id="{CD250BE0-1A88-99BF-C0BB-47AEBA9B67A7}"/>
              </a:ext>
            </a:extLst>
          </p:cNvPr>
          <p:cNvSpPr/>
          <p:nvPr/>
        </p:nvSpPr>
        <p:spPr>
          <a:xfrm>
            <a:off x="6127060" y="5441192"/>
            <a:ext cx="5685662" cy="1152144"/>
          </a:xfrm>
          <a:prstGeom prst="rect">
            <a:avLst/>
          </a:pr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nSpc>
                <a:spcPct val="90000"/>
              </a:lnSpc>
              <a:spcBef>
                <a:spcPts val="1067"/>
              </a:spcBef>
            </a:pPr>
            <a:endParaRPr lang="en-US" sz="2933" dirty="0">
              <a:solidFill>
                <a:schemeClr val="bg1"/>
              </a:solidFill>
            </a:endParaRPr>
          </a:p>
        </p:txBody>
      </p:sp>
      <p:grpSp>
        <p:nvGrpSpPr>
          <p:cNvPr id="1130" name="Group 1129">
            <a:extLst>
              <a:ext uri="{FF2B5EF4-FFF2-40B4-BE49-F238E27FC236}">
                <a16:creationId xmlns:a16="http://schemas.microsoft.com/office/drawing/2014/main" id="{8558979B-0D00-6EB2-5853-93D4B158D34C}"/>
              </a:ext>
            </a:extLst>
          </p:cNvPr>
          <p:cNvGrpSpPr/>
          <p:nvPr/>
        </p:nvGrpSpPr>
        <p:grpSpPr>
          <a:xfrm>
            <a:off x="8771130" y="5668583"/>
            <a:ext cx="205645" cy="368807"/>
            <a:chOff x="2149411" y="4733925"/>
            <a:chExt cx="205645" cy="368807"/>
          </a:xfrm>
          <a:solidFill>
            <a:schemeClr val="bg1"/>
          </a:solidFill>
        </p:grpSpPr>
        <p:sp>
          <p:nvSpPr>
            <p:cNvPr id="1131" name="Freeform: Shape 1130">
              <a:extLst>
                <a:ext uri="{FF2B5EF4-FFF2-40B4-BE49-F238E27FC236}">
                  <a16:creationId xmlns:a16="http://schemas.microsoft.com/office/drawing/2014/main" id="{DCDE2128-1F05-6DEB-8F1C-9A247C97A221}"/>
                </a:ext>
              </a:extLst>
            </p:cNvPr>
            <p:cNvSpPr/>
            <p:nvPr/>
          </p:nvSpPr>
          <p:spPr>
            <a:xfrm>
              <a:off x="2149411" y="4733925"/>
              <a:ext cx="130683" cy="211454"/>
            </a:xfrm>
            <a:custGeom>
              <a:avLst/>
              <a:gdLst>
                <a:gd name="connsiteX0" fmla="*/ 99536 w 130683"/>
                <a:gd name="connsiteY0" fmla="*/ 159734 h 211454"/>
                <a:gd name="connsiteX1" fmla="*/ 103346 w 130683"/>
                <a:gd name="connsiteY1" fmla="*/ 140113 h 211454"/>
                <a:gd name="connsiteX2" fmla="*/ 130683 w 130683"/>
                <a:gd name="connsiteY2" fmla="*/ 0 h 211454"/>
                <a:gd name="connsiteX3" fmla="*/ 31813 w 130683"/>
                <a:gd name="connsiteY3" fmla="*/ 160020 h 211454"/>
                <a:gd name="connsiteX4" fmla="*/ 0 w 130683"/>
                <a:gd name="connsiteY4" fmla="*/ 211455 h 211454"/>
                <a:gd name="connsiteX5" fmla="*/ 90964 w 130683"/>
                <a:gd name="connsiteY5" fmla="*/ 209455 h 211454"/>
                <a:gd name="connsiteX6" fmla="*/ 99822 w 130683"/>
                <a:gd name="connsiteY6" fmla="*/ 159734 h 211454"/>
                <a:gd name="connsiteX7" fmla="*/ 99536 w 130683"/>
                <a:gd name="connsiteY7" fmla="*/ 159734 h 211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683" h="211454">
                  <a:moveTo>
                    <a:pt x="99536" y="159734"/>
                  </a:moveTo>
                  <a:lnTo>
                    <a:pt x="103346" y="140113"/>
                  </a:lnTo>
                  <a:lnTo>
                    <a:pt x="130683" y="0"/>
                  </a:lnTo>
                  <a:lnTo>
                    <a:pt x="31813" y="160020"/>
                  </a:lnTo>
                  <a:lnTo>
                    <a:pt x="0" y="211455"/>
                  </a:lnTo>
                  <a:lnTo>
                    <a:pt x="90964" y="209455"/>
                  </a:lnTo>
                  <a:cubicBezTo>
                    <a:pt x="93821" y="193548"/>
                    <a:pt x="97346" y="174117"/>
                    <a:pt x="99822" y="159734"/>
                  </a:cubicBezTo>
                  <a:lnTo>
                    <a:pt x="99536" y="159734"/>
                  </a:lnTo>
                  <a:close/>
                </a:path>
              </a:pathLst>
            </a:custGeom>
            <a:grpFill/>
            <a:ln w="9525" cap="flat">
              <a:noFill/>
              <a:prstDash val="solid"/>
              <a:miter/>
            </a:ln>
          </p:spPr>
          <p:txBody>
            <a:bodyPr rtlCol="0" anchor="ctr"/>
            <a:lstStyle/>
            <a:p>
              <a:endParaRPr lang="en-US" dirty="0"/>
            </a:p>
          </p:txBody>
        </p:sp>
        <p:sp>
          <p:nvSpPr>
            <p:cNvPr id="1132" name="Freeform: Shape 1131">
              <a:extLst>
                <a:ext uri="{FF2B5EF4-FFF2-40B4-BE49-F238E27FC236}">
                  <a16:creationId xmlns:a16="http://schemas.microsoft.com/office/drawing/2014/main" id="{C1447602-9AEE-A619-403D-8E3C26E2517F}"/>
                </a:ext>
              </a:extLst>
            </p:cNvPr>
            <p:cNvSpPr/>
            <p:nvPr/>
          </p:nvSpPr>
          <p:spPr>
            <a:xfrm>
              <a:off x="2224373" y="4891277"/>
              <a:ext cx="130683" cy="211455"/>
            </a:xfrm>
            <a:custGeom>
              <a:avLst/>
              <a:gdLst>
                <a:gd name="connsiteX0" fmla="*/ 42386 w 130683"/>
                <a:gd name="connsiteY0" fmla="*/ 2000 h 211455"/>
                <a:gd name="connsiteX1" fmla="*/ 31051 w 130683"/>
                <a:gd name="connsiteY1" fmla="*/ 51721 h 211455"/>
                <a:gd name="connsiteX2" fmla="*/ 0 w 130683"/>
                <a:gd name="connsiteY2" fmla="*/ 211455 h 211455"/>
                <a:gd name="connsiteX3" fmla="*/ 115157 w 130683"/>
                <a:gd name="connsiteY3" fmla="*/ 25146 h 211455"/>
                <a:gd name="connsiteX4" fmla="*/ 130683 w 130683"/>
                <a:gd name="connsiteY4" fmla="*/ 0 h 211455"/>
                <a:gd name="connsiteX5" fmla="*/ 42386 w 130683"/>
                <a:gd name="connsiteY5" fmla="*/ 2000 h 211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683" h="211455">
                  <a:moveTo>
                    <a:pt x="42386" y="2000"/>
                  </a:moveTo>
                  <a:lnTo>
                    <a:pt x="31051" y="51721"/>
                  </a:lnTo>
                  <a:lnTo>
                    <a:pt x="0" y="211455"/>
                  </a:lnTo>
                  <a:lnTo>
                    <a:pt x="115157" y="25146"/>
                  </a:lnTo>
                  <a:lnTo>
                    <a:pt x="130683" y="0"/>
                  </a:lnTo>
                  <a:lnTo>
                    <a:pt x="42386" y="2000"/>
                  </a:lnTo>
                  <a:close/>
                </a:path>
              </a:pathLst>
            </a:custGeom>
            <a:grpFill/>
            <a:ln w="9525" cap="flat">
              <a:noFill/>
              <a:prstDash val="solid"/>
              <a:miter/>
            </a:ln>
          </p:spPr>
          <p:txBody>
            <a:bodyPr rtlCol="0" anchor="ctr"/>
            <a:lstStyle/>
            <a:p>
              <a:endParaRPr lang="en-US" dirty="0"/>
            </a:p>
          </p:txBody>
        </p:sp>
      </p:grpSp>
      <p:sp>
        <p:nvSpPr>
          <p:cNvPr id="1288" name="Text Placeholder 81">
            <a:extLst>
              <a:ext uri="{FF2B5EF4-FFF2-40B4-BE49-F238E27FC236}">
                <a16:creationId xmlns:a16="http://schemas.microsoft.com/office/drawing/2014/main" id="{6F5F3F66-85FF-C55A-C92E-2A3EA704FE18}"/>
              </a:ext>
            </a:extLst>
          </p:cNvPr>
          <p:cNvSpPr txBox="1">
            <a:spLocks/>
          </p:cNvSpPr>
          <p:nvPr/>
        </p:nvSpPr>
        <p:spPr>
          <a:xfrm>
            <a:off x="8325312" y="6158269"/>
            <a:ext cx="1097280" cy="369204"/>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333" b="1">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solidFill>
                  <a:schemeClr val="bg1"/>
                </a:solidFill>
              </a:rPr>
              <a:t>BE </a:t>
            </a:r>
            <a:br>
              <a:rPr lang="en-US" dirty="0">
                <a:solidFill>
                  <a:schemeClr val="bg1"/>
                </a:solidFill>
              </a:rPr>
            </a:br>
            <a:r>
              <a:rPr lang="en-US" dirty="0">
                <a:solidFill>
                  <a:schemeClr val="bg1"/>
                </a:solidFill>
              </a:rPr>
              <a:t>BOLD</a:t>
            </a:r>
          </a:p>
        </p:txBody>
      </p:sp>
      <p:pic>
        <p:nvPicPr>
          <p:cNvPr id="109" name="Graphic 108">
            <a:extLst>
              <a:ext uri="{FF2B5EF4-FFF2-40B4-BE49-F238E27FC236}">
                <a16:creationId xmlns:a16="http://schemas.microsoft.com/office/drawing/2014/main" id="{9867AD9A-698C-D032-16D4-C6B707648D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21514" y="4294497"/>
            <a:ext cx="781050" cy="781050"/>
          </a:xfrm>
          <a:prstGeom prst="rect">
            <a:avLst/>
          </a:prstGeom>
        </p:spPr>
      </p:pic>
      <p:pic>
        <p:nvPicPr>
          <p:cNvPr id="67" name="Graphic 66">
            <a:extLst>
              <a:ext uri="{FF2B5EF4-FFF2-40B4-BE49-F238E27FC236}">
                <a16:creationId xmlns:a16="http://schemas.microsoft.com/office/drawing/2014/main" id="{FBAED561-281E-E4A6-D52F-F9CB0424A10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45703" y="3112056"/>
            <a:ext cx="609600" cy="609600"/>
          </a:xfrm>
          <a:prstGeom prst="rect">
            <a:avLst/>
          </a:prstGeom>
        </p:spPr>
      </p:pic>
      <p:sp>
        <p:nvSpPr>
          <p:cNvPr id="2" name="Title 1">
            <a:extLst>
              <a:ext uri="{FF2B5EF4-FFF2-40B4-BE49-F238E27FC236}">
                <a16:creationId xmlns:a16="http://schemas.microsoft.com/office/drawing/2014/main" id="{81A4568F-F54D-2FC9-53A3-D74DAC414FE7}"/>
              </a:ext>
            </a:extLst>
          </p:cNvPr>
          <p:cNvSpPr>
            <a:spLocks noGrp="1"/>
          </p:cNvSpPr>
          <p:nvPr>
            <p:ph type="title"/>
          </p:nvPr>
        </p:nvSpPr>
        <p:spPr>
          <a:xfrm>
            <a:off x="490760" y="547539"/>
            <a:ext cx="10789920" cy="369332"/>
          </a:xfrm>
        </p:spPr>
        <p:txBody>
          <a:bodyPr/>
          <a:lstStyle/>
          <a:p>
            <a:r>
              <a:rPr lang="en-US" dirty="0"/>
              <a:t>PTC Icons</a:t>
            </a:r>
          </a:p>
        </p:txBody>
      </p:sp>
      <p:pic>
        <p:nvPicPr>
          <p:cNvPr id="6" name="Graphic 5">
            <a:extLst>
              <a:ext uri="{FF2B5EF4-FFF2-40B4-BE49-F238E27FC236}">
                <a16:creationId xmlns:a16="http://schemas.microsoft.com/office/drawing/2014/main" id="{6E9FB086-35E2-0B4F-14DA-A8E2AEA7244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70477" y="2093502"/>
            <a:ext cx="778965" cy="292112"/>
          </a:xfrm>
          <a:prstGeom prst="rect">
            <a:avLst/>
          </a:prstGeom>
        </p:spPr>
      </p:pic>
      <p:pic>
        <p:nvPicPr>
          <p:cNvPr id="10" name="Graphic 9">
            <a:extLst>
              <a:ext uri="{FF2B5EF4-FFF2-40B4-BE49-F238E27FC236}">
                <a16:creationId xmlns:a16="http://schemas.microsoft.com/office/drawing/2014/main" id="{38BA5BC6-6E33-341A-BC5E-53E69653F87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13691" y="1934758"/>
            <a:ext cx="609600" cy="609600"/>
          </a:xfrm>
          <a:prstGeom prst="rect">
            <a:avLst/>
          </a:prstGeom>
        </p:spPr>
      </p:pic>
      <p:pic>
        <p:nvPicPr>
          <p:cNvPr id="14" name="Graphic 13">
            <a:extLst>
              <a:ext uri="{FF2B5EF4-FFF2-40B4-BE49-F238E27FC236}">
                <a16:creationId xmlns:a16="http://schemas.microsoft.com/office/drawing/2014/main" id="{12C4D7F8-4CEE-046E-13E5-66AEB41ED4B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855510" y="3112056"/>
            <a:ext cx="609600" cy="609600"/>
          </a:xfrm>
          <a:prstGeom prst="rect">
            <a:avLst/>
          </a:prstGeom>
        </p:spPr>
      </p:pic>
      <p:pic>
        <p:nvPicPr>
          <p:cNvPr id="18" name="Graphic 17">
            <a:extLst>
              <a:ext uri="{FF2B5EF4-FFF2-40B4-BE49-F238E27FC236}">
                <a16:creationId xmlns:a16="http://schemas.microsoft.com/office/drawing/2014/main" id="{45760335-6FCE-1C0A-DAC0-B3DD1EFA072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03174" y="3112056"/>
            <a:ext cx="1228725" cy="609600"/>
          </a:xfrm>
          <a:prstGeom prst="rect">
            <a:avLst/>
          </a:prstGeom>
        </p:spPr>
      </p:pic>
      <p:pic>
        <p:nvPicPr>
          <p:cNvPr id="22" name="Graphic 21">
            <a:extLst>
              <a:ext uri="{FF2B5EF4-FFF2-40B4-BE49-F238E27FC236}">
                <a16:creationId xmlns:a16="http://schemas.microsoft.com/office/drawing/2014/main" id="{D2BD2D1C-D7C1-FD0C-CB67-F9A0B0B3C60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418853" y="3112056"/>
            <a:ext cx="609600" cy="609600"/>
          </a:xfrm>
          <a:prstGeom prst="rect">
            <a:avLst/>
          </a:prstGeom>
        </p:spPr>
      </p:pic>
      <p:pic>
        <p:nvPicPr>
          <p:cNvPr id="24" name="Graphic 23">
            <a:extLst>
              <a:ext uri="{FF2B5EF4-FFF2-40B4-BE49-F238E27FC236}">
                <a16:creationId xmlns:a16="http://schemas.microsoft.com/office/drawing/2014/main" id="{7FE8EFB7-9B08-B2E9-64E2-E003D83E293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1136940" y="3112056"/>
            <a:ext cx="609600" cy="609600"/>
          </a:xfrm>
          <a:prstGeom prst="rect">
            <a:avLst/>
          </a:prstGeom>
        </p:spPr>
      </p:pic>
      <p:sp>
        <p:nvSpPr>
          <p:cNvPr id="32" name="TextBox 31">
            <a:extLst>
              <a:ext uri="{FF2B5EF4-FFF2-40B4-BE49-F238E27FC236}">
                <a16:creationId xmlns:a16="http://schemas.microsoft.com/office/drawing/2014/main" id="{E27E746D-C5D7-8E13-F8F6-C51515B1AC00}"/>
              </a:ext>
            </a:extLst>
          </p:cNvPr>
          <p:cNvSpPr txBox="1"/>
          <p:nvPr/>
        </p:nvSpPr>
        <p:spPr>
          <a:xfrm>
            <a:off x="3803560" y="2864627"/>
            <a:ext cx="59727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cktail</a:t>
            </a:r>
          </a:p>
        </p:txBody>
      </p:sp>
      <p:sp>
        <p:nvSpPr>
          <p:cNvPr id="33" name="TextBox 32">
            <a:extLst>
              <a:ext uri="{FF2B5EF4-FFF2-40B4-BE49-F238E27FC236}">
                <a16:creationId xmlns:a16="http://schemas.microsoft.com/office/drawing/2014/main" id="{00441713-1375-30A8-3C3C-C669EFBB9A1A}"/>
              </a:ext>
            </a:extLst>
          </p:cNvPr>
          <p:cNvSpPr txBox="1"/>
          <p:nvPr/>
        </p:nvSpPr>
        <p:spPr>
          <a:xfrm>
            <a:off x="1592251" y="2864627"/>
            <a:ext cx="1917264"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utlery,  Social</a:t>
            </a:r>
          </a:p>
        </p:txBody>
      </p:sp>
      <p:pic>
        <p:nvPicPr>
          <p:cNvPr id="35" name="Graphic 34">
            <a:extLst>
              <a:ext uri="{FF2B5EF4-FFF2-40B4-BE49-F238E27FC236}">
                <a16:creationId xmlns:a16="http://schemas.microsoft.com/office/drawing/2014/main" id="{CBBF29E3-74CF-69CA-35EF-065E18522E1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369405" y="3112056"/>
            <a:ext cx="609600" cy="609600"/>
          </a:xfrm>
          <a:prstGeom prst="rect">
            <a:avLst/>
          </a:prstGeom>
        </p:spPr>
      </p:pic>
      <p:sp>
        <p:nvSpPr>
          <p:cNvPr id="36" name="TextBox 35">
            <a:extLst>
              <a:ext uri="{FF2B5EF4-FFF2-40B4-BE49-F238E27FC236}">
                <a16:creationId xmlns:a16="http://schemas.microsoft.com/office/drawing/2014/main" id="{AEE70D13-0474-35ED-E81F-B9973D840C68}"/>
              </a:ext>
            </a:extLst>
          </p:cNvPr>
          <p:cNvSpPr txBox="1"/>
          <p:nvPr/>
        </p:nvSpPr>
        <p:spPr>
          <a:xfrm>
            <a:off x="8430882" y="2864627"/>
            <a:ext cx="37125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ries </a:t>
            </a:r>
          </a:p>
        </p:txBody>
      </p:sp>
      <p:pic>
        <p:nvPicPr>
          <p:cNvPr id="8" name="Graphic 7">
            <a:extLst>
              <a:ext uri="{FF2B5EF4-FFF2-40B4-BE49-F238E27FC236}">
                <a16:creationId xmlns:a16="http://schemas.microsoft.com/office/drawing/2014/main" id="{6C62DF58-E476-313E-930C-59AAABFD60E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242957" y="3112056"/>
            <a:ext cx="609600" cy="609600"/>
          </a:xfrm>
          <a:prstGeom prst="rect">
            <a:avLst/>
          </a:prstGeom>
        </p:spPr>
      </p:pic>
      <p:pic>
        <p:nvPicPr>
          <p:cNvPr id="19" name="Graphic 18">
            <a:extLst>
              <a:ext uri="{FF2B5EF4-FFF2-40B4-BE49-F238E27FC236}">
                <a16:creationId xmlns:a16="http://schemas.microsoft.com/office/drawing/2014/main" id="{B457E0AA-E20B-FA9F-742C-50628775F2F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629593" y="3112056"/>
            <a:ext cx="609600" cy="609600"/>
          </a:xfrm>
          <a:prstGeom prst="rect">
            <a:avLst/>
          </a:prstGeom>
        </p:spPr>
      </p:pic>
      <p:pic>
        <p:nvPicPr>
          <p:cNvPr id="43" name="Graphic 42">
            <a:extLst>
              <a:ext uri="{FF2B5EF4-FFF2-40B4-BE49-F238E27FC236}">
                <a16:creationId xmlns:a16="http://schemas.microsoft.com/office/drawing/2014/main" id="{F1691CD5-8178-7882-8BCA-570D5AFBDCC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306181" y="3112056"/>
            <a:ext cx="609600" cy="609600"/>
          </a:xfrm>
          <a:prstGeom prst="rect">
            <a:avLst/>
          </a:prstGeom>
        </p:spPr>
      </p:pic>
      <p:pic>
        <p:nvPicPr>
          <p:cNvPr id="50" name="Graphic 49">
            <a:extLst>
              <a:ext uri="{FF2B5EF4-FFF2-40B4-BE49-F238E27FC236}">
                <a16:creationId xmlns:a16="http://schemas.microsoft.com/office/drawing/2014/main" id="{603252C0-524D-6DA3-B010-E97D96C651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2954187" y="3112056"/>
            <a:ext cx="609600" cy="609600"/>
          </a:xfrm>
          <a:prstGeom prst="rect">
            <a:avLst/>
          </a:prstGeom>
        </p:spPr>
      </p:pic>
      <p:pic>
        <p:nvPicPr>
          <p:cNvPr id="52" name="Graphic 51">
            <a:extLst>
              <a:ext uri="{FF2B5EF4-FFF2-40B4-BE49-F238E27FC236}">
                <a16:creationId xmlns:a16="http://schemas.microsoft.com/office/drawing/2014/main" id="{4ACE5CE7-3458-0AE4-E6F3-73451F663C8A}"/>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7432629" y="3112056"/>
            <a:ext cx="609600" cy="609600"/>
          </a:xfrm>
          <a:prstGeom prst="rect">
            <a:avLst/>
          </a:prstGeom>
        </p:spPr>
      </p:pic>
      <p:sp>
        <p:nvSpPr>
          <p:cNvPr id="65" name="Text Placeholder 81">
            <a:extLst>
              <a:ext uri="{FF2B5EF4-FFF2-40B4-BE49-F238E27FC236}">
                <a16:creationId xmlns:a16="http://schemas.microsoft.com/office/drawing/2014/main" id="{1A1E8866-848B-CDE0-7454-D79C4EC1997A}"/>
              </a:ext>
            </a:extLst>
          </p:cNvPr>
          <p:cNvSpPr txBox="1">
            <a:spLocks/>
          </p:cNvSpPr>
          <p:nvPr/>
        </p:nvSpPr>
        <p:spPr>
          <a:xfrm>
            <a:off x="257051" y="2864627"/>
            <a:ext cx="130215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elebration  </a:t>
            </a:r>
          </a:p>
        </p:txBody>
      </p:sp>
      <p:sp>
        <p:nvSpPr>
          <p:cNvPr id="66" name="Text Placeholder 81">
            <a:extLst>
              <a:ext uri="{FF2B5EF4-FFF2-40B4-BE49-F238E27FC236}">
                <a16:creationId xmlns:a16="http://schemas.microsoft.com/office/drawing/2014/main" id="{5F38C534-C007-9614-BAB4-71577D90EFBA}"/>
              </a:ext>
            </a:extLst>
          </p:cNvPr>
          <p:cNvSpPr txBox="1">
            <a:spLocks/>
          </p:cNvSpPr>
          <p:nvPr/>
        </p:nvSpPr>
        <p:spPr>
          <a:xfrm>
            <a:off x="5559077" y="2864627"/>
            <a:ext cx="1469376"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Coffee Cup, Break  </a:t>
            </a:r>
          </a:p>
        </p:txBody>
      </p:sp>
      <p:pic>
        <p:nvPicPr>
          <p:cNvPr id="68" name="Graphic 67">
            <a:extLst>
              <a:ext uri="{FF2B5EF4-FFF2-40B4-BE49-F238E27FC236}">
                <a16:creationId xmlns:a16="http://schemas.microsoft.com/office/drawing/2014/main" id="{CE4FF6B2-619A-3634-C729-9B67F3707169}"/>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603327" y="3112056"/>
            <a:ext cx="609600" cy="609600"/>
          </a:xfrm>
          <a:prstGeom prst="rect">
            <a:avLst/>
          </a:prstGeom>
        </p:spPr>
      </p:pic>
      <p:sp>
        <p:nvSpPr>
          <p:cNvPr id="69" name="TextBox 68">
            <a:extLst>
              <a:ext uri="{FF2B5EF4-FFF2-40B4-BE49-F238E27FC236}">
                <a16:creationId xmlns:a16="http://schemas.microsoft.com/office/drawing/2014/main" id="{1DAD99F3-3C52-95D6-6ADB-D4D2E713B2E0}"/>
              </a:ext>
            </a:extLst>
          </p:cNvPr>
          <p:cNvSpPr txBox="1"/>
          <p:nvPr/>
        </p:nvSpPr>
        <p:spPr>
          <a:xfrm>
            <a:off x="4620122" y="2864627"/>
            <a:ext cx="59727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ine </a:t>
            </a:r>
          </a:p>
        </p:txBody>
      </p:sp>
      <p:sp>
        <p:nvSpPr>
          <p:cNvPr id="71" name="TextBox 70">
            <a:extLst>
              <a:ext uri="{FF2B5EF4-FFF2-40B4-BE49-F238E27FC236}">
                <a16:creationId xmlns:a16="http://schemas.microsoft.com/office/drawing/2014/main" id="{D0AE7715-0EE7-DB84-0E32-71E925F1BD19}"/>
              </a:ext>
            </a:extLst>
          </p:cNvPr>
          <p:cNvSpPr txBox="1"/>
          <p:nvPr/>
        </p:nvSpPr>
        <p:spPr>
          <a:xfrm>
            <a:off x="9906665" y="2864627"/>
            <a:ext cx="124428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eadphones </a:t>
            </a:r>
          </a:p>
        </p:txBody>
      </p:sp>
      <p:sp>
        <p:nvSpPr>
          <p:cNvPr id="72" name="TextBox 71">
            <a:extLst>
              <a:ext uri="{FF2B5EF4-FFF2-40B4-BE49-F238E27FC236}">
                <a16:creationId xmlns:a16="http://schemas.microsoft.com/office/drawing/2014/main" id="{36E5517D-31B5-4BEC-61B6-83AD4A145113}"/>
              </a:ext>
            </a:extLst>
          </p:cNvPr>
          <p:cNvSpPr txBox="1"/>
          <p:nvPr/>
        </p:nvSpPr>
        <p:spPr>
          <a:xfrm>
            <a:off x="4496552" y="1647423"/>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ckpack </a:t>
            </a:r>
          </a:p>
        </p:txBody>
      </p:sp>
      <p:sp>
        <p:nvSpPr>
          <p:cNvPr id="73" name="TextBox 72">
            <a:extLst>
              <a:ext uri="{FF2B5EF4-FFF2-40B4-BE49-F238E27FC236}">
                <a16:creationId xmlns:a16="http://schemas.microsoft.com/office/drawing/2014/main" id="{30DD37D3-793D-372A-C2D2-102CCFFB5916}"/>
              </a:ext>
            </a:extLst>
          </p:cNvPr>
          <p:cNvSpPr txBox="1"/>
          <p:nvPr/>
        </p:nvSpPr>
        <p:spPr>
          <a:xfrm>
            <a:off x="3165237" y="1650910"/>
            <a:ext cx="82296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raduation Cap </a:t>
            </a:r>
          </a:p>
        </p:txBody>
      </p:sp>
      <p:sp>
        <p:nvSpPr>
          <p:cNvPr id="74" name="Text Placeholder 81">
            <a:extLst>
              <a:ext uri="{FF2B5EF4-FFF2-40B4-BE49-F238E27FC236}">
                <a16:creationId xmlns:a16="http://schemas.microsoft.com/office/drawing/2014/main" id="{EC2FC9D6-563C-C0DA-FBA6-FA352B0E43DC}"/>
              </a:ext>
            </a:extLst>
          </p:cNvPr>
          <p:cNvSpPr txBox="1">
            <a:spLocks/>
          </p:cNvSpPr>
          <p:nvPr/>
        </p:nvSpPr>
        <p:spPr>
          <a:xfrm>
            <a:off x="7454441" y="2864627"/>
            <a:ext cx="52045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rink </a:t>
            </a:r>
          </a:p>
        </p:txBody>
      </p:sp>
      <p:sp>
        <p:nvSpPr>
          <p:cNvPr id="75" name="TextBox 74">
            <a:extLst>
              <a:ext uri="{FF2B5EF4-FFF2-40B4-BE49-F238E27FC236}">
                <a16:creationId xmlns:a16="http://schemas.microsoft.com/office/drawing/2014/main" id="{429AC55F-0B08-4814-61E9-2F54F633C4F9}"/>
              </a:ext>
            </a:extLst>
          </p:cNvPr>
          <p:cNvSpPr txBox="1"/>
          <p:nvPr/>
        </p:nvSpPr>
        <p:spPr>
          <a:xfrm>
            <a:off x="9195093" y="2864627"/>
            <a:ext cx="83638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amburger </a:t>
            </a:r>
          </a:p>
        </p:txBody>
      </p:sp>
      <p:sp>
        <p:nvSpPr>
          <p:cNvPr id="76" name="Text Placeholder 81">
            <a:extLst>
              <a:ext uri="{FF2B5EF4-FFF2-40B4-BE49-F238E27FC236}">
                <a16:creationId xmlns:a16="http://schemas.microsoft.com/office/drawing/2014/main" id="{2B43121B-8374-A742-61EE-F174245A2620}"/>
              </a:ext>
            </a:extLst>
          </p:cNvPr>
          <p:cNvSpPr txBox="1">
            <a:spLocks/>
          </p:cNvSpPr>
          <p:nvPr/>
        </p:nvSpPr>
        <p:spPr>
          <a:xfrm>
            <a:off x="10916754" y="2864627"/>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umbbells </a:t>
            </a:r>
          </a:p>
        </p:txBody>
      </p:sp>
      <p:sp>
        <p:nvSpPr>
          <p:cNvPr id="77" name="Text Placeholder 81">
            <a:extLst>
              <a:ext uri="{FF2B5EF4-FFF2-40B4-BE49-F238E27FC236}">
                <a16:creationId xmlns:a16="http://schemas.microsoft.com/office/drawing/2014/main" id="{D870ACB1-A99E-FF27-1C06-B2A9DE33D197}"/>
              </a:ext>
            </a:extLst>
          </p:cNvPr>
          <p:cNvSpPr txBox="1">
            <a:spLocks/>
          </p:cNvSpPr>
          <p:nvPr/>
        </p:nvSpPr>
        <p:spPr>
          <a:xfrm>
            <a:off x="9495371" y="164742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eart, Favorite</a:t>
            </a:r>
          </a:p>
        </p:txBody>
      </p:sp>
      <p:sp>
        <p:nvSpPr>
          <p:cNvPr id="78" name="Text Placeholder 81">
            <a:extLst>
              <a:ext uri="{FF2B5EF4-FFF2-40B4-BE49-F238E27FC236}">
                <a16:creationId xmlns:a16="http://schemas.microsoft.com/office/drawing/2014/main" id="{B4BA05D0-7B69-E7AE-8091-7A0F902229E9}"/>
              </a:ext>
            </a:extLst>
          </p:cNvPr>
          <p:cNvSpPr txBox="1">
            <a:spLocks/>
          </p:cNvSpPr>
          <p:nvPr/>
        </p:nvSpPr>
        <p:spPr>
          <a:xfrm>
            <a:off x="8469549" y="1647423"/>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tar</a:t>
            </a:r>
          </a:p>
        </p:txBody>
      </p:sp>
      <p:pic>
        <p:nvPicPr>
          <p:cNvPr id="79" name="Graphic 78">
            <a:extLst>
              <a:ext uri="{FF2B5EF4-FFF2-40B4-BE49-F238E27FC236}">
                <a16:creationId xmlns:a16="http://schemas.microsoft.com/office/drawing/2014/main" id="{B0BF8134-FF42-91C9-CF79-3BFD79D6C80A}"/>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9709087" y="1934758"/>
            <a:ext cx="609600" cy="609600"/>
          </a:xfrm>
          <a:prstGeom prst="rect">
            <a:avLst/>
          </a:prstGeom>
        </p:spPr>
      </p:pic>
      <p:pic>
        <p:nvPicPr>
          <p:cNvPr id="81" name="Graphic 80">
            <a:extLst>
              <a:ext uri="{FF2B5EF4-FFF2-40B4-BE49-F238E27FC236}">
                <a16:creationId xmlns:a16="http://schemas.microsoft.com/office/drawing/2014/main" id="{D39C03F7-2AE6-90B0-7967-D580154AC7CC}"/>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8435238" y="1934758"/>
            <a:ext cx="609600" cy="609600"/>
          </a:xfrm>
          <a:prstGeom prst="rect">
            <a:avLst/>
          </a:prstGeom>
        </p:spPr>
      </p:pic>
      <p:sp>
        <p:nvSpPr>
          <p:cNvPr id="82" name="Text Placeholder 81">
            <a:extLst>
              <a:ext uri="{FF2B5EF4-FFF2-40B4-BE49-F238E27FC236}">
                <a16:creationId xmlns:a16="http://schemas.microsoft.com/office/drawing/2014/main" id="{2F748CD7-BBBB-23FB-82C1-23CD2BB891E8}"/>
              </a:ext>
            </a:extLst>
          </p:cNvPr>
          <p:cNvSpPr txBox="1">
            <a:spLocks/>
          </p:cNvSpPr>
          <p:nvPr/>
        </p:nvSpPr>
        <p:spPr>
          <a:xfrm>
            <a:off x="10762750" y="164742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ome</a:t>
            </a:r>
          </a:p>
        </p:txBody>
      </p:sp>
      <p:pic>
        <p:nvPicPr>
          <p:cNvPr id="83" name="Graphic 82">
            <a:extLst>
              <a:ext uri="{FF2B5EF4-FFF2-40B4-BE49-F238E27FC236}">
                <a16:creationId xmlns:a16="http://schemas.microsoft.com/office/drawing/2014/main" id="{D6199C02-AC39-FD63-F21B-7A312B978EB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0982936" y="1934758"/>
            <a:ext cx="609600" cy="609600"/>
          </a:xfrm>
          <a:prstGeom prst="rect">
            <a:avLst/>
          </a:prstGeom>
        </p:spPr>
      </p:pic>
      <p:sp>
        <p:nvSpPr>
          <p:cNvPr id="11" name="object 45">
            <a:extLst>
              <a:ext uri="{FF2B5EF4-FFF2-40B4-BE49-F238E27FC236}">
                <a16:creationId xmlns:a16="http://schemas.microsoft.com/office/drawing/2014/main" id="{5A1588F5-4995-8989-651D-1C8E09BCF9D8}"/>
              </a:ext>
            </a:extLst>
          </p:cNvPr>
          <p:cNvSpPr txBox="1"/>
          <p:nvPr/>
        </p:nvSpPr>
        <p:spPr>
          <a:xfrm>
            <a:off x="5827867" y="1647423"/>
            <a:ext cx="6514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Medical</a:t>
            </a:r>
          </a:p>
        </p:txBody>
      </p:sp>
      <p:sp>
        <p:nvSpPr>
          <p:cNvPr id="15" name="object 47">
            <a:extLst>
              <a:ext uri="{FF2B5EF4-FFF2-40B4-BE49-F238E27FC236}">
                <a16:creationId xmlns:a16="http://schemas.microsoft.com/office/drawing/2014/main" id="{31C958F2-2B1C-6E82-AED7-4DF6C2CE2970}"/>
              </a:ext>
            </a:extLst>
          </p:cNvPr>
          <p:cNvSpPr txBox="1"/>
          <p:nvPr/>
        </p:nvSpPr>
        <p:spPr>
          <a:xfrm>
            <a:off x="1443003" y="1647423"/>
            <a:ext cx="150479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a:t>
            </a:r>
            <a:r>
              <a:rPr dirty="0"/>
              <a:t>ifelon</a:t>
            </a:r>
            <a:r>
              <a:rPr lang="en-US" dirty="0"/>
              <a:t>g </a:t>
            </a:r>
            <a:r>
              <a:rPr dirty="0"/>
              <a:t>learning</a:t>
            </a:r>
          </a:p>
        </p:txBody>
      </p:sp>
      <p:sp>
        <p:nvSpPr>
          <p:cNvPr id="17" name="object 5">
            <a:extLst>
              <a:ext uri="{FF2B5EF4-FFF2-40B4-BE49-F238E27FC236}">
                <a16:creationId xmlns:a16="http://schemas.microsoft.com/office/drawing/2014/main" id="{8779C4F0-7BA5-9916-C8DF-034B5A3BCD8B}"/>
              </a:ext>
            </a:extLst>
          </p:cNvPr>
          <p:cNvSpPr txBox="1"/>
          <p:nvPr/>
        </p:nvSpPr>
        <p:spPr>
          <a:xfrm>
            <a:off x="7185076" y="1647423"/>
            <a:ext cx="65142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First-aid</a:t>
            </a:r>
          </a:p>
        </p:txBody>
      </p:sp>
      <p:sp>
        <p:nvSpPr>
          <p:cNvPr id="31" name="object 33">
            <a:extLst>
              <a:ext uri="{FF2B5EF4-FFF2-40B4-BE49-F238E27FC236}">
                <a16:creationId xmlns:a16="http://schemas.microsoft.com/office/drawing/2014/main" id="{EC12C248-EDA8-12FB-E8D1-130DB0A56638}"/>
              </a:ext>
            </a:extLst>
          </p:cNvPr>
          <p:cNvSpPr txBox="1"/>
          <p:nvPr/>
        </p:nvSpPr>
        <p:spPr>
          <a:xfrm>
            <a:off x="582415" y="1647423"/>
            <a:ext cx="6514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eview</a:t>
            </a:r>
          </a:p>
        </p:txBody>
      </p:sp>
      <p:pic>
        <p:nvPicPr>
          <p:cNvPr id="5" name="Graphic 4">
            <a:extLst>
              <a:ext uri="{FF2B5EF4-FFF2-40B4-BE49-F238E27FC236}">
                <a16:creationId xmlns:a16="http://schemas.microsoft.com/office/drawing/2014/main" id="{880BC870-39E5-421C-F902-AE149EF219E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520777" y="1934758"/>
            <a:ext cx="774700" cy="609600"/>
          </a:xfrm>
          <a:prstGeom prst="rect">
            <a:avLst/>
          </a:prstGeom>
        </p:spPr>
      </p:pic>
      <p:pic>
        <p:nvPicPr>
          <p:cNvPr id="21" name="Graphic 20">
            <a:extLst>
              <a:ext uri="{FF2B5EF4-FFF2-40B4-BE49-F238E27FC236}">
                <a16:creationId xmlns:a16="http://schemas.microsoft.com/office/drawing/2014/main" id="{BA600433-64E0-039E-ABD5-1FF45FB042B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890598" y="1852208"/>
            <a:ext cx="609600" cy="774700"/>
          </a:xfrm>
          <a:prstGeom prst="rect">
            <a:avLst/>
          </a:prstGeom>
        </p:spPr>
      </p:pic>
      <p:pic>
        <p:nvPicPr>
          <p:cNvPr id="26" name="Graphic 25">
            <a:extLst>
              <a:ext uri="{FF2B5EF4-FFF2-40B4-BE49-F238E27FC236}">
                <a16:creationId xmlns:a16="http://schemas.microsoft.com/office/drawing/2014/main" id="{90D0821E-B937-2B5B-65BA-FDAEB4A47AF7}"/>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5887540" y="1934758"/>
            <a:ext cx="609600" cy="609600"/>
          </a:xfrm>
          <a:prstGeom prst="rect">
            <a:avLst/>
          </a:prstGeom>
        </p:spPr>
      </p:pic>
      <p:pic>
        <p:nvPicPr>
          <p:cNvPr id="29" name="Graphic 28">
            <a:extLst>
              <a:ext uri="{FF2B5EF4-FFF2-40B4-BE49-F238E27FC236}">
                <a16:creationId xmlns:a16="http://schemas.microsoft.com/office/drawing/2014/main" id="{73154FA1-4042-0CCA-E6B0-89146DE368B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161389" y="1934758"/>
            <a:ext cx="609600" cy="609600"/>
          </a:xfrm>
          <a:prstGeom prst="rect">
            <a:avLst/>
          </a:prstGeom>
        </p:spPr>
      </p:pic>
      <p:sp>
        <p:nvSpPr>
          <p:cNvPr id="38" name="Rectangle 37">
            <a:extLst>
              <a:ext uri="{FF2B5EF4-FFF2-40B4-BE49-F238E27FC236}">
                <a16:creationId xmlns:a16="http://schemas.microsoft.com/office/drawing/2014/main" id="{C8CA0066-2AC5-80BC-8AC9-8DBB59FC5CB0}"/>
              </a:ext>
            </a:extLst>
          </p:cNvPr>
          <p:cNvSpPr/>
          <p:nvPr/>
        </p:nvSpPr>
        <p:spPr>
          <a:xfrm>
            <a:off x="505745" y="1192744"/>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Education &amp; People Team (HR)</a:t>
            </a:r>
          </a:p>
        </p:txBody>
      </p:sp>
      <p:sp>
        <p:nvSpPr>
          <p:cNvPr id="47" name="object 47">
            <a:extLst>
              <a:ext uri="{FF2B5EF4-FFF2-40B4-BE49-F238E27FC236}">
                <a16:creationId xmlns:a16="http://schemas.microsoft.com/office/drawing/2014/main" id="{DC20CFC1-A32C-B88D-5945-4FA9D69C2491}"/>
              </a:ext>
            </a:extLst>
          </p:cNvPr>
          <p:cNvSpPr txBox="1"/>
          <p:nvPr/>
        </p:nvSpPr>
        <p:spPr>
          <a:xfrm>
            <a:off x="3102720" y="4015225"/>
            <a:ext cx="237744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ift, Perks</a:t>
            </a:r>
          </a:p>
        </p:txBody>
      </p:sp>
      <p:sp>
        <p:nvSpPr>
          <p:cNvPr id="48" name="object 33">
            <a:extLst>
              <a:ext uri="{FF2B5EF4-FFF2-40B4-BE49-F238E27FC236}">
                <a16:creationId xmlns:a16="http://schemas.microsoft.com/office/drawing/2014/main" id="{E71661C5-B15A-873E-6ADC-FE15A69F7D29}"/>
              </a:ext>
            </a:extLst>
          </p:cNvPr>
          <p:cNvSpPr txBox="1"/>
          <p:nvPr/>
        </p:nvSpPr>
        <p:spPr>
          <a:xfrm>
            <a:off x="1646217" y="4015225"/>
            <a:ext cx="96905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enefits</a:t>
            </a:r>
            <a:endParaRPr dirty="0"/>
          </a:p>
        </p:txBody>
      </p:sp>
      <p:sp>
        <p:nvSpPr>
          <p:cNvPr id="85" name="TextBox 84">
            <a:extLst>
              <a:ext uri="{FF2B5EF4-FFF2-40B4-BE49-F238E27FC236}">
                <a16:creationId xmlns:a16="http://schemas.microsoft.com/office/drawing/2014/main" id="{3C034E74-FA09-4D83-7A09-3AB8A90D75B0}"/>
              </a:ext>
            </a:extLst>
          </p:cNvPr>
          <p:cNvSpPr txBox="1"/>
          <p:nvPr/>
        </p:nvSpPr>
        <p:spPr>
          <a:xfrm>
            <a:off x="9622553" y="4015225"/>
            <a:ext cx="124428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ork Life Balance</a:t>
            </a:r>
          </a:p>
        </p:txBody>
      </p:sp>
      <p:sp>
        <p:nvSpPr>
          <p:cNvPr id="86" name="TextBox 85">
            <a:extLst>
              <a:ext uri="{FF2B5EF4-FFF2-40B4-BE49-F238E27FC236}">
                <a16:creationId xmlns:a16="http://schemas.microsoft.com/office/drawing/2014/main" id="{16B18BC6-B746-1A49-9CE4-8F6DE283E639}"/>
              </a:ext>
            </a:extLst>
          </p:cNvPr>
          <p:cNvSpPr txBox="1"/>
          <p:nvPr/>
        </p:nvSpPr>
        <p:spPr>
          <a:xfrm>
            <a:off x="8488082" y="4015225"/>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Volunteering</a:t>
            </a:r>
          </a:p>
        </p:txBody>
      </p:sp>
      <p:sp>
        <p:nvSpPr>
          <p:cNvPr id="46" name="TextBox 45">
            <a:extLst>
              <a:ext uri="{FF2B5EF4-FFF2-40B4-BE49-F238E27FC236}">
                <a16:creationId xmlns:a16="http://schemas.microsoft.com/office/drawing/2014/main" id="{FE6D25A5-A296-E5A6-8034-B5AB768845AA}"/>
              </a:ext>
            </a:extLst>
          </p:cNvPr>
          <p:cNvSpPr txBox="1"/>
          <p:nvPr/>
        </p:nvSpPr>
        <p:spPr>
          <a:xfrm>
            <a:off x="5772653" y="3945975"/>
            <a:ext cx="1044211"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ocial Responsibility</a:t>
            </a:r>
          </a:p>
        </p:txBody>
      </p:sp>
      <p:pic>
        <p:nvPicPr>
          <p:cNvPr id="56" name="Graphic 55">
            <a:extLst>
              <a:ext uri="{FF2B5EF4-FFF2-40B4-BE49-F238E27FC236}">
                <a16:creationId xmlns:a16="http://schemas.microsoft.com/office/drawing/2014/main" id="{1921C4B6-DDF6-C979-8497-77B7FC2FF67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936078" y="4428974"/>
            <a:ext cx="612648" cy="612648"/>
          </a:xfrm>
          <a:prstGeom prst="rect">
            <a:avLst/>
          </a:prstGeom>
        </p:spPr>
      </p:pic>
      <p:sp>
        <p:nvSpPr>
          <p:cNvPr id="28" name="object 46">
            <a:extLst>
              <a:ext uri="{FF2B5EF4-FFF2-40B4-BE49-F238E27FC236}">
                <a16:creationId xmlns:a16="http://schemas.microsoft.com/office/drawing/2014/main" id="{61998E1E-5496-69A4-050F-E25571A0A363}"/>
              </a:ext>
            </a:extLst>
          </p:cNvPr>
          <p:cNvSpPr txBox="1"/>
          <p:nvPr/>
        </p:nvSpPr>
        <p:spPr>
          <a:xfrm>
            <a:off x="10899634" y="4015225"/>
            <a:ext cx="8494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C</a:t>
            </a:r>
            <a:r>
              <a:rPr lang="en-US" dirty="0"/>
              <a:t>ry</a:t>
            </a:r>
            <a:r>
              <a:rPr dirty="0"/>
              <a:t>stal Ball</a:t>
            </a:r>
          </a:p>
        </p:txBody>
      </p:sp>
      <p:sp>
        <p:nvSpPr>
          <p:cNvPr id="51" name="TextBox 50">
            <a:extLst>
              <a:ext uri="{FF2B5EF4-FFF2-40B4-BE49-F238E27FC236}">
                <a16:creationId xmlns:a16="http://schemas.microsoft.com/office/drawing/2014/main" id="{CF9002BC-89DF-6654-3456-ADAA33F672EA}"/>
              </a:ext>
            </a:extLst>
          </p:cNvPr>
          <p:cNvSpPr txBox="1"/>
          <p:nvPr/>
        </p:nvSpPr>
        <p:spPr>
          <a:xfrm>
            <a:off x="7203592" y="4015225"/>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Vacation  </a:t>
            </a:r>
          </a:p>
        </p:txBody>
      </p:sp>
      <p:sp>
        <p:nvSpPr>
          <p:cNvPr id="45" name="TextBox 44">
            <a:extLst>
              <a:ext uri="{FF2B5EF4-FFF2-40B4-BE49-F238E27FC236}">
                <a16:creationId xmlns:a16="http://schemas.microsoft.com/office/drawing/2014/main" id="{9C0EAA4B-7226-248C-919B-BFA321415506}"/>
              </a:ext>
            </a:extLst>
          </p:cNvPr>
          <p:cNvSpPr txBox="1"/>
          <p:nvPr/>
        </p:nvSpPr>
        <p:spPr>
          <a:xfrm>
            <a:off x="496647" y="4015225"/>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and, Pay</a:t>
            </a:r>
          </a:p>
        </p:txBody>
      </p:sp>
      <p:pic>
        <p:nvPicPr>
          <p:cNvPr id="4" name="Graphic 3">
            <a:extLst>
              <a:ext uri="{FF2B5EF4-FFF2-40B4-BE49-F238E27FC236}">
                <a16:creationId xmlns:a16="http://schemas.microsoft.com/office/drawing/2014/main" id="{1E0242CE-9C30-1535-FDBB-AB58CD8152B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11019564" y="4343305"/>
            <a:ext cx="609600" cy="609600"/>
          </a:xfrm>
          <a:prstGeom prst="rect">
            <a:avLst/>
          </a:prstGeom>
        </p:spPr>
      </p:pic>
      <p:pic>
        <p:nvPicPr>
          <p:cNvPr id="111" name="Graphic 110">
            <a:extLst>
              <a:ext uri="{FF2B5EF4-FFF2-40B4-BE49-F238E27FC236}">
                <a16:creationId xmlns:a16="http://schemas.microsoft.com/office/drawing/2014/main" id="{0B08831A-290C-46EC-C09A-06893A4634A1}"/>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8518002" y="4290810"/>
            <a:ext cx="781050" cy="609600"/>
          </a:xfrm>
          <a:prstGeom prst="rect">
            <a:avLst/>
          </a:prstGeom>
        </p:spPr>
      </p:pic>
      <p:pic>
        <p:nvPicPr>
          <p:cNvPr id="115" name="Graphic 114">
            <a:extLst>
              <a:ext uri="{FF2B5EF4-FFF2-40B4-BE49-F238E27FC236}">
                <a16:creationId xmlns:a16="http://schemas.microsoft.com/office/drawing/2014/main" id="{5F689CF2-141B-0FF8-BBEC-69D560CF7FB6}"/>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7242982" y="4307958"/>
            <a:ext cx="609600" cy="609600"/>
          </a:xfrm>
          <a:prstGeom prst="rect">
            <a:avLst/>
          </a:prstGeom>
        </p:spPr>
      </p:pic>
      <p:pic>
        <p:nvPicPr>
          <p:cNvPr id="93" name="Graphic 92">
            <a:extLst>
              <a:ext uri="{FF2B5EF4-FFF2-40B4-BE49-F238E27FC236}">
                <a16:creationId xmlns:a16="http://schemas.microsoft.com/office/drawing/2014/main" id="{E0C7E1B9-0E0F-035B-D7C8-80CEEA4F999B}"/>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530253" y="5673760"/>
            <a:ext cx="581025" cy="457200"/>
          </a:xfrm>
          <a:prstGeom prst="rect">
            <a:avLst/>
          </a:prstGeom>
        </p:spPr>
      </p:pic>
      <p:sp>
        <p:nvSpPr>
          <p:cNvPr id="94" name="Text Placeholder 81">
            <a:extLst>
              <a:ext uri="{FF2B5EF4-FFF2-40B4-BE49-F238E27FC236}">
                <a16:creationId xmlns:a16="http://schemas.microsoft.com/office/drawing/2014/main" id="{320AFFED-433C-9486-90A8-7B976366B885}"/>
              </a:ext>
            </a:extLst>
          </p:cNvPr>
          <p:cNvSpPr txBox="1">
            <a:spLocks/>
          </p:cNvSpPr>
          <p:nvPr/>
        </p:nvSpPr>
        <p:spPr>
          <a:xfrm>
            <a:off x="2431346" y="6118941"/>
            <a:ext cx="1097280" cy="369204"/>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333" b="1">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E </a:t>
            </a:r>
            <a:br>
              <a:rPr lang="en-US" dirty="0"/>
            </a:br>
            <a:r>
              <a:rPr lang="en-US" dirty="0"/>
              <a:t>BOLD</a:t>
            </a:r>
          </a:p>
        </p:txBody>
      </p:sp>
      <p:grpSp>
        <p:nvGrpSpPr>
          <p:cNvPr id="95" name="Group 94">
            <a:extLst>
              <a:ext uri="{FF2B5EF4-FFF2-40B4-BE49-F238E27FC236}">
                <a16:creationId xmlns:a16="http://schemas.microsoft.com/office/drawing/2014/main" id="{6E7EF2FC-7DF6-E89A-B46D-3D12B2E6B79A}"/>
              </a:ext>
            </a:extLst>
          </p:cNvPr>
          <p:cNvGrpSpPr/>
          <p:nvPr/>
        </p:nvGrpSpPr>
        <p:grpSpPr>
          <a:xfrm>
            <a:off x="2877164" y="5707079"/>
            <a:ext cx="205645" cy="368807"/>
            <a:chOff x="2149411" y="4733925"/>
            <a:chExt cx="205645" cy="368807"/>
          </a:xfrm>
        </p:grpSpPr>
        <p:sp>
          <p:nvSpPr>
            <p:cNvPr id="96" name="Freeform: Shape 95">
              <a:extLst>
                <a:ext uri="{FF2B5EF4-FFF2-40B4-BE49-F238E27FC236}">
                  <a16:creationId xmlns:a16="http://schemas.microsoft.com/office/drawing/2014/main" id="{2DFDBF39-691E-6D28-AE2B-15F933D08927}"/>
                </a:ext>
              </a:extLst>
            </p:cNvPr>
            <p:cNvSpPr/>
            <p:nvPr/>
          </p:nvSpPr>
          <p:spPr>
            <a:xfrm>
              <a:off x="2149411" y="4733925"/>
              <a:ext cx="130683" cy="211454"/>
            </a:xfrm>
            <a:custGeom>
              <a:avLst/>
              <a:gdLst>
                <a:gd name="connsiteX0" fmla="*/ 99536 w 130683"/>
                <a:gd name="connsiteY0" fmla="*/ 159734 h 211454"/>
                <a:gd name="connsiteX1" fmla="*/ 103346 w 130683"/>
                <a:gd name="connsiteY1" fmla="*/ 140113 h 211454"/>
                <a:gd name="connsiteX2" fmla="*/ 130683 w 130683"/>
                <a:gd name="connsiteY2" fmla="*/ 0 h 211454"/>
                <a:gd name="connsiteX3" fmla="*/ 31813 w 130683"/>
                <a:gd name="connsiteY3" fmla="*/ 160020 h 211454"/>
                <a:gd name="connsiteX4" fmla="*/ 0 w 130683"/>
                <a:gd name="connsiteY4" fmla="*/ 211455 h 211454"/>
                <a:gd name="connsiteX5" fmla="*/ 90964 w 130683"/>
                <a:gd name="connsiteY5" fmla="*/ 209455 h 211454"/>
                <a:gd name="connsiteX6" fmla="*/ 99822 w 130683"/>
                <a:gd name="connsiteY6" fmla="*/ 159734 h 211454"/>
                <a:gd name="connsiteX7" fmla="*/ 99536 w 130683"/>
                <a:gd name="connsiteY7" fmla="*/ 159734 h 211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683" h="211454">
                  <a:moveTo>
                    <a:pt x="99536" y="159734"/>
                  </a:moveTo>
                  <a:lnTo>
                    <a:pt x="103346" y="140113"/>
                  </a:lnTo>
                  <a:lnTo>
                    <a:pt x="130683" y="0"/>
                  </a:lnTo>
                  <a:lnTo>
                    <a:pt x="31813" y="160020"/>
                  </a:lnTo>
                  <a:lnTo>
                    <a:pt x="0" y="211455"/>
                  </a:lnTo>
                  <a:lnTo>
                    <a:pt x="90964" y="209455"/>
                  </a:lnTo>
                  <a:cubicBezTo>
                    <a:pt x="93821" y="193548"/>
                    <a:pt x="97346" y="174117"/>
                    <a:pt x="99822" y="159734"/>
                  </a:cubicBezTo>
                  <a:lnTo>
                    <a:pt x="99536" y="159734"/>
                  </a:lnTo>
                  <a:close/>
                </a:path>
              </a:pathLst>
            </a:custGeom>
            <a:solidFill>
              <a:schemeClr val="bg2"/>
            </a:solidFill>
            <a:ln w="9525" cap="flat">
              <a:noFill/>
              <a:prstDash val="solid"/>
              <a:miter/>
            </a:ln>
          </p:spPr>
          <p:txBody>
            <a:bodyPr rtlCol="0" anchor="ctr"/>
            <a:lstStyle/>
            <a:p>
              <a:endParaRPr lang="en-US" dirty="0"/>
            </a:p>
          </p:txBody>
        </p:sp>
        <p:sp>
          <p:nvSpPr>
            <p:cNvPr id="97" name="Freeform: Shape 96">
              <a:extLst>
                <a:ext uri="{FF2B5EF4-FFF2-40B4-BE49-F238E27FC236}">
                  <a16:creationId xmlns:a16="http://schemas.microsoft.com/office/drawing/2014/main" id="{9A7810C8-A2AF-9374-DCB6-C3265FD0241F}"/>
                </a:ext>
              </a:extLst>
            </p:cNvPr>
            <p:cNvSpPr/>
            <p:nvPr/>
          </p:nvSpPr>
          <p:spPr>
            <a:xfrm>
              <a:off x="2224373" y="4891277"/>
              <a:ext cx="130683" cy="211455"/>
            </a:xfrm>
            <a:custGeom>
              <a:avLst/>
              <a:gdLst>
                <a:gd name="connsiteX0" fmla="*/ 42386 w 130683"/>
                <a:gd name="connsiteY0" fmla="*/ 2000 h 211455"/>
                <a:gd name="connsiteX1" fmla="*/ 31051 w 130683"/>
                <a:gd name="connsiteY1" fmla="*/ 51721 h 211455"/>
                <a:gd name="connsiteX2" fmla="*/ 0 w 130683"/>
                <a:gd name="connsiteY2" fmla="*/ 211455 h 211455"/>
                <a:gd name="connsiteX3" fmla="*/ 115157 w 130683"/>
                <a:gd name="connsiteY3" fmla="*/ 25146 h 211455"/>
                <a:gd name="connsiteX4" fmla="*/ 130683 w 130683"/>
                <a:gd name="connsiteY4" fmla="*/ 0 h 211455"/>
                <a:gd name="connsiteX5" fmla="*/ 42386 w 130683"/>
                <a:gd name="connsiteY5" fmla="*/ 2000 h 211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683" h="211455">
                  <a:moveTo>
                    <a:pt x="42386" y="2000"/>
                  </a:moveTo>
                  <a:lnTo>
                    <a:pt x="31051" y="51721"/>
                  </a:lnTo>
                  <a:lnTo>
                    <a:pt x="0" y="211455"/>
                  </a:lnTo>
                  <a:lnTo>
                    <a:pt x="115157" y="25146"/>
                  </a:lnTo>
                  <a:lnTo>
                    <a:pt x="130683" y="0"/>
                  </a:lnTo>
                  <a:lnTo>
                    <a:pt x="42386" y="2000"/>
                  </a:lnTo>
                  <a:close/>
                </a:path>
              </a:pathLst>
            </a:custGeom>
            <a:solidFill>
              <a:srgbClr val="3E4748"/>
            </a:solidFill>
            <a:ln w="9525" cap="flat">
              <a:noFill/>
              <a:prstDash val="solid"/>
              <a:miter/>
            </a:ln>
          </p:spPr>
          <p:txBody>
            <a:bodyPr rtlCol="0" anchor="ctr"/>
            <a:lstStyle/>
            <a:p>
              <a:endParaRPr lang="en-US" dirty="0"/>
            </a:p>
          </p:txBody>
        </p:sp>
      </p:grpSp>
      <p:sp>
        <p:nvSpPr>
          <p:cNvPr id="98" name="Text Placeholder 81">
            <a:extLst>
              <a:ext uri="{FF2B5EF4-FFF2-40B4-BE49-F238E27FC236}">
                <a16:creationId xmlns:a16="http://schemas.microsoft.com/office/drawing/2014/main" id="{F48FD6E9-20D7-B4CE-FF4B-DA4830AA5FF5}"/>
              </a:ext>
            </a:extLst>
          </p:cNvPr>
          <p:cNvSpPr txBox="1">
            <a:spLocks/>
          </p:cNvSpPr>
          <p:nvPr/>
        </p:nvSpPr>
        <p:spPr>
          <a:xfrm>
            <a:off x="4513928" y="6118941"/>
            <a:ext cx="1233925" cy="369204"/>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333" b="1">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URPOSEFULL INNOVATION</a:t>
            </a:r>
          </a:p>
        </p:txBody>
      </p:sp>
      <p:sp>
        <p:nvSpPr>
          <p:cNvPr id="1031" name="Text Placeholder 81">
            <a:extLst>
              <a:ext uri="{FF2B5EF4-FFF2-40B4-BE49-F238E27FC236}">
                <a16:creationId xmlns:a16="http://schemas.microsoft.com/office/drawing/2014/main" id="{B45C295E-19AF-F889-C03C-9B3B79B2C2F7}"/>
              </a:ext>
            </a:extLst>
          </p:cNvPr>
          <p:cNvSpPr txBox="1">
            <a:spLocks/>
          </p:cNvSpPr>
          <p:nvPr/>
        </p:nvSpPr>
        <p:spPr>
          <a:xfrm>
            <a:off x="1473988" y="6118941"/>
            <a:ext cx="1097280" cy="369204"/>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333" b="1">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EAM </a:t>
            </a:r>
            <a:br>
              <a:rPr lang="en-US" dirty="0"/>
            </a:br>
            <a:r>
              <a:rPr lang="en-US" dirty="0"/>
              <a:t>PTC</a:t>
            </a:r>
          </a:p>
        </p:txBody>
      </p:sp>
      <p:sp>
        <p:nvSpPr>
          <p:cNvPr id="1122" name="Text Placeholder 81">
            <a:extLst>
              <a:ext uri="{FF2B5EF4-FFF2-40B4-BE49-F238E27FC236}">
                <a16:creationId xmlns:a16="http://schemas.microsoft.com/office/drawing/2014/main" id="{583E1234-E146-472B-804D-D6D6D686762B}"/>
              </a:ext>
            </a:extLst>
          </p:cNvPr>
          <p:cNvSpPr txBox="1">
            <a:spLocks/>
          </p:cNvSpPr>
          <p:nvPr/>
        </p:nvSpPr>
        <p:spPr>
          <a:xfrm>
            <a:off x="203803" y="6118941"/>
            <a:ext cx="1233925" cy="369204"/>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333" b="1">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USTOMERS MATTER</a:t>
            </a:r>
          </a:p>
        </p:txBody>
      </p:sp>
      <p:sp>
        <p:nvSpPr>
          <p:cNvPr id="1125" name="Rectangle 1124">
            <a:extLst>
              <a:ext uri="{FF2B5EF4-FFF2-40B4-BE49-F238E27FC236}">
                <a16:creationId xmlns:a16="http://schemas.microsoft.com/office/drawing/2014/main" id="{CF5254A2-DCDD-1415-EDC3-92818363A0DC}"/>
              </a:ext>
            </a:extLst>
          </p:cNvPr>
          <p:cNvSpPr/>
          <p:nvPr/>
        </p:nvSpPr>
        <p:spPr>
          <a:xfrm>
            <a:off x="131140" y="5441192"/>
            <a:ext cx="5752359" cy="1148753"/>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nSpc>
                <a:spcPct val="90000"/>
              </a:lnSpc>
              <a:spcBef>
                <a:spcPts val="1067"/>
              </a:spcBef>
            </a:pPr>
            <a:endParaRPr lang="en-US" sz="2933" dirty="0">
              <a:solidFill>
                <a:schemeClr val="bg1"/>
              </a:solidFill>
            </a:endParaRPr>
          </a:p>
        </p:txBody>
      </p:sp>
      <p:sp>
        <p:nvSpPr>
          <p:cNvPr id="1127" name="Text Placeholder 81">
            <a:extLst>
              <a:ext uri="{FF2B5EF4-FFF2-40B4-BE49-F238E27FC236}">
                <a16:creationId xmlns:a16="http://schemas.microsoft.com/office/drawing/2014/main" id="{69C4920B-0071-E668-983B-9E8486CE0681}"/>
              </a:ext>
            </a:extLst>
          </p:cNvPr>
          <p:cNvSpPr txBox="1">
            <a:spLocks/>
          </p:cNvSpPr>
          <p:nvPr/>
        </p:nvSpPr>
        <p:spPr>
          <a:xfrm>
            <a:off x="131140" y="5342955"/>
            <a:ext cx="1554480" cy="184601"/>
          </a:xfrm>
          <a:prstGeom prst="rect">
            <a:avLst/>
          </a:prstGeom>
          <a:solidFill>
            <a:schemeClr val="bg1"/>
          </a:solidFill>
          <a:ln>
            <a:solidFill>
              <a:schemeClr val="accent1"/>
            </a:solidFill>
          </a:ln>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333" b="1" dirty="0">
                <a:ea typeface="+mn-lt"/>
                <a:cs typeface="+mn-lt"/>
              </a:rPr>
              <a:t>PTC Values icons</a:t>
            </a:r>
            <a:endParaRPr lang="en-US" sz="1333" dirty="0">
              <a:ea typeface="+mn-lt"/>
              <a:cs typeface="+mn-lt"/>
            </a:endParaRPr>
          </a:p>
        </p:txBody>
      </p:sp>
      <p:grpSp>
        <p:nvGrpSpPr>
          <p:cNvPr id="1278" name="Group 1277">
            <a:extLst>
              <a:ext uri="{FF2B5EF4-FFF2-40B4-BE49-F238E27FC236}">
                <a16:creationId xmlns:a16="http://schemas.microsoft.com/office/drawing/2014/main" id="{65E524EA-4D40-7494-821E-C993E037DA12}"/>
              </a:ext>
            </a:extLst>
          </p:cNvPr>
          <p:cNvGrpSpPr>
            <a:grpSpLocks noChangeAspect="1"/>
          </p:cNvGrpSpPr>
          <p:nvPr/>
        </p:nvGrpSpPr>
        <p:grpSpPr>
          <a:xfrm>
            <a:off x="6530436" y="5676295"/>
            <a:ext cx="623741" cy="365760"/>
            <a:chOff x="885825" y="3822287"/>
            <a:chExt cx="443292" cy="259945"/>
          </a:xfrm>
          <a:solidFill>
            <a:schemeClr val="bg1"/>
          </a:solidFill>
        </p:grpSpPr>
        <p:sp>
          <p:nvSpPr>
            <p:cNvPr id="1279" name="Freeform: Shape 1278">
              <a:extLst>
                <a:ext uri="{FF2B5EF4-FFF2-40B4-BE49-F238E27FC236}">
                  <a16:creationId xmlns:a16="http://schemas.microsoft.com/office/drawing/2014/main" id="{32A53C92-074C-8831-A872-7EDE85C8AD1A}"/>
                </a:ext>
              </a:extLst>
            </p:cNvPr>
            <p:cNvSpPr/>
            <p:nvPr/>
          </p:nvSpPr>
          <p:spPr>
            <a:xfrm>
              <a:off x="968177" y="3828573"/>
              <a:ext cx="354749" cy="248762"/>
            </a:xfrm>
            <a:custGeom>
              <a:avLst/>
              <a:gdLst>
                <a:gd name="connsiteX0" fmla="*/ 4039 w 354749"/>
                <a:gd name="connsiteY0" fmla="*/ 153734 h 248762"/>
                <a:gd name="connsiteX1" fmla="*/ 5754 w 354749"/>
                <a:gd name="connsiteY1" fmla="*/ 153067 h 248762"/>
                <a:gd name="connsiteX2" fmla="*/ 4897 w 354749"/>
                <a:gd name="connsiteY2" fmla="*/ 154400 h 248762"/>
                <a:gd name="connsiteX3" fmla="*/ 4992 w 354749"/>
                <a:gd name="connsiteY3" fmla="*/ 154400 h 248762"/>
                <a:gd name="connsiteX4" fmla="*/ 3563 w 354749"/>
                <a:gd name="connsiteY4" fmla="*/ 156401 h 248762"/>
                <a:gd name="connsiteX5" fmla="*/ 229 w 354749"/>
                <a:gd name="connsiteY5" fmla="*/ 170117 h 248762"/>
                <a:gd name="connsiteX6" fmla="*/ 7564 w 354749"/>
                <a:gd name="connsiteY6" fmla="*/ 182213 h 248762"/>
                <a:gd name="connsiteX7" fmla="*/ 20803 w 354749"/>
                <a:gd name="connsiteY7" fmla="*/ 185642 h 248762"/>
                <a:gd name="connsiteX8" fmla="*/ 24137 w 354749"/>
                <a:gd name="connsiteY8" fmla="*/ 185261 h 248762"/>
                <a:gd name="connsiteX9" fmla="*/ 23470 w 354749"/>
                <a:gd name="connsiteY9" fmla="*/ 188500 h 248762"/>
                <a:gd name="connsiteX10" fmla="*/ 37663 w 354749"/>
                <a:gd name="connsiteY10" fmla="*/ 210407 h 248762"/>
                <a:gd name="connsiteX11" fmla="*/ 48045 w 354749"/>
                <a:gd name="connsiteY11" fmla="*/ 209645 h 248762"/>
                <a:gd name="connsiteX12" fmla="*/ 51474 w 354749"/>
                <a:gd name="connsiteY12" fmla="*/ 208407 h 248762"/>
                <a:gd name="connsiteX13" fmla="*/ 51283 w 354749"/>
                <a:gd name="connsiteY13" fmla="*/ 212027 h 248762"/>
                <a:gd name="connsiteX14" fmla="*/ 68619 w 354749"/>
                <a:gd name="connsiteY14" fmla="*/ 231553 h 248762"/>
                <a:gd name="connsiteX15" fmla="*/ 80716 w 354749"/>
                <a:gd name="connsiteY15" fmla="*/ 227933 h 248762"/>
                <a:gd name="connsiteX16" fmla="*/ 84430 w 354749"/>
                <a:gd name="connsiteY16" fmla="*/ 225171 h 248762"/>
                <a:gd name="connsiteX17" fmla="*/ 84430 w 354749"/>
                <a:gd name="connsiteY17" fmla="*/ 229838 h 248762"/>
                <a:gd name="connsiteX18" fmla="*/ 103004 w 354749"/>
                <a:gd name="connsiteY18" fmla="*/ 248126 h 248762"/>
                <a:gd name="connsiteX19" fmla="*/ 103195 w 354749"/>
                <a:gd name="connsiteY19" fmla="*/ 248126 h 248762"/>
                <a:gd name="connsiteX20" fmla="*/ 114815 w 354749"/>
                <a:gd name="connsiteY20" fmla="*/ 243935 h 248762"/>
                <a:gd name="connsiteX21" fmla="*/ 128436 w 354749"/>
                <a:gd name="connsiteY21" fmla="*/ 232696 h 248762"/>
                <a:gd name="connsiteX22" fmla="*/ 128436 w 354749"/>
                <a:gd name="connsiteY22" fmla="*/ 229171 h 248762"/>
                <a:gd name="connsiteX23" fmla="*/ 132151 w 354749"/>
                <a:gd name="connsiteY23" fmla="*/ 231743 h 248762"/>
                <a:gd name="connsiteX24" fmla="*/ 151391 w 354749"/>
                <a:gd name="connsiteY24" fmla="*/ 245555 h 248762"/>
                <a:gd name="connsiteX25" fmla="*/ 175108 w 354749"/>
                <a:gd name="connsiteY25" fmla="*/ 241649 h 248762"/>
                <a:gd name="connsiteX26" fmla="*/ 178347 w 354749"/>
                <a:gd name="connsiteY26" fmla="*/ 231267 h 248762"/>
                <a:gd name="connsiteX27" fmla="*/ 178347 w 354749"/>
                <a:gd name="connsiteY27" fmla="*/ 226981 h 248762"/>
                <a:gd name="connsiteX28" fmla="*/ 181966 w 354749"/>
                <a:gd name="connsiteY28" fmla="*/ 229171 h 248762"/>
                <a:gd name="connsiteX29" fmla="*/ 195968 w 354749"/>
                <a:gd name="connsiteY29" fmla="*/ 231362 h 248762"/>
                <a:gd name="connsiteX30" fmla="*/ 207398 w 354749"/>
                <a:gd name="connsiteY30" fmla="*/ 222980 h 248762"/>
                <a:gd name="connsiteX31" fmla="*/ 209970 w 354749"/>
                <a:gd name="connsiteY31" fmla="*/ 210979 h 248762"/>
                <a:gd name="connsiteX32" fmla="*/ 209494 w 354749"/>
                <a:gd name="connsiteY32" fmla="*/ 207359 h 248762"/>
                <a:gd name="connsiteX33" fmla="*/ 213018 w 354749"/>
                <a:gd name="connsiteY33" fmla="*/ 208407 h 248762"/>
                <a:gd name="connsiteX34" fmla="*/ 235973 w 354749"/>
                <a:gd name="connsiteY34" fmla="*/ 195929 h 248762"/>
                <a:gd name="connsiteX35" fmla="*/ 236068 w 354749"/>
                <a:gd name="connsiteY35" fmla="*/ 185928 h 248762"/>
                <a:gd name="connsiteX36" fmla="*/ 235211 w 354749"/>
                <a:gd name="connsiteY36" fmla="*/ 182690 h 248762"/>
                <a:gd name="connsiteX37" fmla="*/ 238545 w 354749"/>
                <a:gd name="connsiteY37" fmla="*/ 182975 h 248762"/>
                <a:gd name="connsiteX38" fmla="*/ 251499 w 354749"/>
                <a:gd name="connsiteY38" fmla="*/ 178689 h 248762"/>
                <a:gd name="connsiteX39" fmla="*/ 257595 w 354749"/>
                <a:gd name="connsiteY39" fmla="*/ 166497 h 248762"/>
                <a:gd name="connsiteX40" fmla="*/ 257595 w 354749"/>
                <a:gd name="connsiteY40" fmla="*/ 163163 h 248762"/>
                <a:gd name="connsiteX41" fmla="*/ 257595 w 354749"/>
                <a:gd name="connsiteY41" fmla="*/ 161925 h 248762"/>
                <a:gd name="connsiteX42" fmla="*/ 287122 w 354749"/>
                <a:gd name="connsiteY42" fmla="*/ 134779 h 248762"/>
                <a:gd name="connsiteX43" fmla="*/ 299314 w 354749"/>
                <a:gd name="connsiteY43" fmla="*/ 154210 h 248762"/>
                <a:gd name="connsiteX44" fmla="*/ 354750 w 354749"/>
                <a:gd name="connsiteY44" fmla="*/ 119539 h 248762"/>
                <a:gd name="connsiteX45" fmla="*/ 280074 w 354749"/>
                <a:gd name="connsiteY45" fmla="*/ 0 h 248762"/>
                <a:gd name="connsiteX46" fmla="*/ 224543 w 354749"/>
                <a:gd name="connsiteY46" fmla="*/ 34671 h 248762"/>
                <a:gd name="connsiteX47" fmla="*/ 233401 w 354749"/>
                <a:gd name="connsiteY47" fmla="*/ 48768 h 248762"/>
                <a:gd name="connsiteX48" fmla="*/ 205017 w 354749"/>
                <a:gd name="connsiteY48" fmla="*/ 59150 h 248762"/>
                <a:gd name="connsiteX49" fmla="*/ 168917 w 354749"/>
                <a:gd name="connsiteY49" fmla="*/ 46291 h 248762"/>
                <a:gd name="connsiteX50" fmla="*/ 143295 w 354749"/>
                <a:gd name="connsiteY50" fmla="*/ 48197 h 248762"/>
                <a:gd name="connsiteX51" fmla="*/ 142533 w 354749"/>
                <a:gd name="connsiteY51" fmla="*/ 48577 h 248762"/>
                <a:gd name="connsiteX52" fmla="*/ 141676 w 354749"/>
                <a:gd name="connsiteY52" fmla="*/ 48387 h 248762"/>
                <a:gd name="connsiteX53" fmla="*/ 137580 w 354749"/>
                <a:gd name="connsiteY53" fmla="*/ 47720 h 248762"/>
                <a:gd name="connsiteX54" fmla="*/ 135008 w 354749"/>
                <a:gd name="connsiteY54" fmla="*/ 50101 h 248762"/>
                <a:gd name="connsiteX55" fmla="*/ 139485 w 354749"/>
                <a:gd name="connsiteY55" fmla="*/ 50673 h 248762"/>
                <a:gd name="connsiteX56" fmla="*/ 133960 w 354749"/>
                <a:gd name="connsiteY56" fmla="*/ 54102 h 248762"/>
                <a:gd name="connsiteX57" fmla="*/ 102814 w 354749"/>
                <a:gd name="connsiteY57" fmla="*/ 69247 h 248762"/>
                <a:gd name="connsiteX58" fmla="*/ 96718 w 354749"/>
                <a:gd name="connsiteY58" fmla="*/ 74771 h 248762"/>
                <a:gd name="connsiteX59" fmla="*/ 96337 w 354749"/>
                <a:gd name="connsiteY59" fmla="*/ 82963 h 248762"/>
                <a:gd name="connsiteX60" fmla="*/ 103480 w 354749"/>
                <a:gd name="connsiteY60" fmla="*/ 89630 h 248762"/>
                <a:gd name="connsiteX61" fmla="*/ 161869 w 354749"/>
                <a:gd name="connsiteY61" fmla="*/ 84487 h 248762"/>
                <a:gd name="connsiteX62" fmla="*/ 163202 w 354749"/>
                <a:gd name="connsiteY62" fmla="*/ 83820 h 248762"/>
                <a:gd name="connsiteX63" fmla="*/ 249213 w 354749"/>
                <a:gd name="connsiteY63" fmla="*/ 153638 h 248762"/>
                <a:gd name="connsiteX64" fmla="*/ 254452 w 354749"/>
                <a:gd name="connsiteY64" fmla="*/ 163735 h 248762"/>
                <a:gd name="connsiteX65" fmla="*/ 251023 w 354749"/>
                <a:gd name="connsiteY65" fmla="*/ 174498 h 248762"/>
                <a:gd name="connsiteX66" fmla="*/ 231306 w 354749"/>
                <a:gd name="connsiteY66" fmla="*/ 177165 h 248762"/>
                <a:gd name="connsiteX67" fmla="*/ 167869 w 354749"/>
                <a:gd name="connsiteY67" fmla="*/ 131540 h 248762"/>
                <a:gd name="connsiteX68" fmla="*/ 165774 w 354749"/>
                <a:gd name="connsiteY68" fmla="*/ 131921 h 248762"/>
                <a:gd name="connsiteX69" fmla="*/ 166155 w 354749"/>
                <a:gd name="connsiteY69" fmla="*/ 134017 h 248762"/>
                <a:gd name="connsiteX70" fmla="*/ 227401 w 354749"/>
                <a:gd name="connsiteY70" fmla="*/ 178022 h 248762"/>
                <a:gd name="connsiteX71" fmla="*/ 230353 w 354749"/>
                <a:gd name="connsiteY71" fmla="*/ 199739 h 248762"/>
                <a:gd name="connsiteX72" fmla="*/ 209398 w 354749"/>
                <a:gd name="connsiteY72" fmla="*/ 203168 h 248762"/>
                <a:gd name="connsiteX73" fmla="*/ 151582 w 354749"/>
                <a:gd name="connsiteY73" fmla="*/ 161639 h 248762"/>
                <a:gd name="connsiteX74" fmla="*/ 150439 w 354749"/>
                <a:gd name="connsiteY74" fmla="*/ 161354 h 248762"/>
                <a:gd name="connsiteX75" fmla="*/ 149486 w 354749"/>
                <a:gd name="connsiteY75" fmla="*/ 162020 h 248762"/>
                <a:gd name="connsiteX76" fmla="*/ 149867 w 354749"/>
                <a:gd name="connsiteY76" fmla="*/ 164116 h 248762"/>
                <a:gd name="connsiteX77" fmla="*/ 200921 w 354749"/>
                <a:gd name="connsiteY77" fmla="*/ 200787 h 248762"/>
                <a:gd name="connsiteX78" fmla="*/ 207398 w 354749"/>
                <a:gd name="connsiteY78" fmla="*/ 210598 h 248762"/>
                <a:gd name="connsiteX79" fmla="*/ 205017 w 354749"/>
                <a:gd name="connsiteY79" fmla="*/ 222218 h 248762"/>
                <a:gd name="connsiteX80" fmla="*/ 183586 w 354749"/>
                <a:gd name="connsiteY80" fmla="*/ 226314 h 248762"/>
                <a:gd name="connsiteX81" fmla="*/ 135008 w 354749"/>
                <a:gd name="connsiteY81" fmla="*/ 191453 h 248762"/>
                <a:gd name="connsiteX82" fmla="*/ 133008 w 354749"/>
                <a:gd name="connsiteY82" fmla="*/ 192024 h 248762"/>
                <a:gd name="connsiteX83" fmla="*/ 133294 w 354749"/>
                <a:gd name="connsiteY83" fmla="*/ 194024 h 248762"/>
                <a:gd name="connsiteX84" fmla="*/ 169870 w 354749"/>
                <a:gd name="connsiteY84" fmla="*/ 220313 h 248762"/>
                <a:gd name="connsiteX85" fmla="*/ 172441 w 354749"/>
                <a:gd name="connsiteY85" fmla="*/ 240030 h 248762"/>
                <a:gd name="connsiteX86" fmla="*/ 161392 w 354749"/>
                <a:gd name="connsiteY86" fmla="*/ 245459 h 248762"/>
                <a:gd name="connsiteX87" fmla="*/ 153677 w 354749"/>
                <a:gd name="connsiteY87" fmla="*/ 243173 h 248762"/>
                <a:gd name="connsiteX88" fmla="*/ 133103 w 354749"/>
                <a:gd name="connsiteY88" fmla="*/ 228410 h 248762"/>
                <a:gd name="connsiteX89" fmla="*/ 134056 w 354749"/>
                <a:gd name="connsiteY89" fmla="*/ 226600 h 248762"/>
                <a:gd name="connsiteX90" fmla="*/ 126721 w 354749"/>
                <a:gd name="connsiteY90" fmla="*/ 201549 h 248762"/>
                <a:gd name="connsiteX91" fmla="*/ 113196 w 354749"/>
                <a:gd name="connsiteY91" fmla="*/ 199930 h 248762"/>
                <a:gd name="connsiteX92" fmla="*/ 109862 w 354749"/>
                <a:gd name="connsiteY92" fmla="*/ 200787 h 248762"/>
                <a:gd name="connsiteX93" fmla="*/ 110243 w 354749"/>
                <a:gd name="connsiteY93" fmla="*/ 197358 h 248762"/>
                <a:gd name="connsiteX94" fmla="*/ 106338 w 354749"/>
                <a:gd name="connsiteY94" fmla="*/ 183737 h 248762"/>
                <a:gd name="connsiteX95" fmla="*/ 93955 w 354749"/>
                <a:gd name="connsiteY95" fmla="*/ 176879 h 248762"/>
                <a:gd name="connsiteX96" fmla="*/ 90145 w 354749"/>
                <a:gd name="connsiteY96" fmla="*/ 176879 h 248762"/>
                <a:gd name="connsiteX97" fmla="*/ 86812 w 354749"/>
                <a:gd name="connsiteY97" fmla="*/ 177165 h 248762"/>
                <a:gd name="connsiteX98" fmla="*/ 87574 w 354749"/>
                <a:gd name="connsiteY98" fmla="*/ 173927 h 248762"/>
                <a:gd name="connsiteX99" fmla="*/ 74143 w 354749"/>
                <a:gd name="connsiteY99" fmla="*/ 151543 h 248762"/>
                <a:gd name="connsiteX100" fmla="*/ 57856 w 354749"/>
                <a:gd name="connsiteY100" fmla="*/ 155258 h 248762"/>
                <a:gd name="connsiteX101" fmla="*/ 52617 w 354749"/>
                <a:gd name="connsiteY101" fmla="*/ 159639 h 248762"/>
                <a:gd name="connsiteX102" fmla="*/ 52617 w 354749"/>
                <a:gd name="connsiteY102" fmla="*/ 154686 h 248762"/>
                <a:gd name="connsiteX103" fmla="*/ 46997 w 354749"/>
                <a:gd name="connsiteY103" fmla="*/ 141637 h 248762"/>
                <a:gd name="connsiteX104" fmla="*/ 33853 w 354749"/>
                <a:gd name="connsiteY104" fmla="*/ 136398 h 248762"/>
                <a:gd name="connsiteX105" fmla="*/ 22327 w 354749"/>
                <a:gd name="connsiteY105" fmla="*/ 140589 h 248762"/>
                <a:gd name="connsiteX106" fmla="*/ 7564 w 354749"/>
                <a:gd name="connsiteY106" fmla="*/ 152781 h 24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354749" h="248762">
                  <a:moveTo>
                    <a:pt x="4039" y="153734"/>
                  </a:moveTo>
                  <a:lnTo>
                    <a:pt x="5754" y="153067"/>
                  </a:lnTo>
                  <a:lnTo>
                    <a:pt x="4897" y="154400"/>
                  </a:lnTo>
                  <a:lnTo>
                    <a:pt x="4992" y="154400"/>
                  </a:lnTo>
                  <a:cubicBezTo>
                    <a:pt x="4992" y="154400"/>
                    <a:pt x="3563" y="156401"/>
                    <a:pt x="3563" y="156401"/>
                  </a:cubicBezTo>
                  <a:cubicBezTo>
                    <a:pt x="610" y="160401"/>
                    <a:pt x="-533" y="165259"/>
                    <a:pt x="229" y="170117"/>
                  </a:cubicBezTo>
                  <a:cubicBezTo>
                    <a:pt x="991" y="174974"/>
                    <a:pt x="3563" y="179261"/>
                    <a:pt x="7564" y="182213"/>
                  </a:cubicBezTo>
                  <a:cubicBezTo>
                    <a:pt x="11374" y="185071"/>
                    <a:pt x="16041" y="186214"/>
                    <a:pt x="20803" y="185642"/>
                  </a:cubicBezTo>
                  <a:lnTo>
                    <a:pt x="24137" y="185261"/>
                  </a:lnTo>
                  <a:lnTo>
                    <a:pt x="23470" y="188500"/>
                  </a:lnTo>
                  <a:cubicBezTo>
                    <a:pt x="21375" y="198406"/>
                    <a:pt x="27757" y="208312"/>
                    <a:pt x="37663" y="210407"/>
                  </a:cubicBezTo>
                  <a:cubicBezTo>
                    <a:pt x="41092" y="211169"/>
                    <a:pt x="44711" y="210884"/>
                    <a:pt x="48045" y="209645"/>
                  </a:cubicBezTo>
                  <a:lnTo>
                    <a:pt x="51474" y="208407"/>
                  </a:lnTo>
                  <a:lnTo>
                    <a:pt x="51283" y="212027"/>
                  </a:lnTo>
                  <a:cubicBezTo>
                    <a:pt x="50712" y="222218"/>
                    <a:pt x="58427" y="230981"/>
                    <a:pt x="68619" y="231553"/>
                  </a:cubicBezTo>
                  <a:cubicBezTo>
                    <a:pt x="73000" y="231839"/>
                    <a:pt x="77287" y="230505"/>
                    <a:pt x="80716" y="227933"/>
                  </a:cubicBezTo>
                  <a:lnTo>
                    <a:pt x="84430" y="225171"/>
                  </a:lnTo>
                  <a:lnTo>
                    <a:pt x="84430" y="229838"/>
                  </a:lnTo>
                  <a:cubicBezTo>
                    <a:pt x="84526" y="239935"/>
                    <a:pt x="92812" y="248126"/>
                    <a:pt x="103004" y="248126"/>
                  </a:cubicBezTo>
                  <a:lnTo>
                    <a:pt x="103195" y="248126"/>
                  </a:lnTo>
                  <a:cubicBezTo>
                    <a:pt x="107386" y="248126"/>
                    <a:pt x="111577" y="246602"/>
                    <a:pt x="114815" y="243935"/>
                  </a:cubicBezTo>
                  <a:lnTo>
                    <a:pt x="128436" y="232696"/>
                  </a:lnTo>
                  <a:lnTo>
                    <a:pt x="128436" y="229171"/>
                  </a:lnTo>
                  <a:lnTo>
                    <a:pt x="132151" y="231743"/>
                  </a:lnTo>
                  <a:lnTo>
                    <a:pt x="151391" y="245555"/>
                  </a:lnTo>
                  <a:cubicBezTo>
                    <a:pt x="159011" y="251079"/>
                    <a:pt x="169679" y="249269"/>
                    <a:pt x="175108" y="241649"/>
                  </a:cubicBezTo>
                  <a:cubicBezTo>
                    <a:pt x="177299" y="238696"/>
                    <a:pt x="178442" y="234982"/>
                    <a:pt x="178347" y="231267"/>
                  </a:cubicBezTo>
                  <a:lnTo>
                    <a:pt x="178347" y="226981"/>
                  </a:lnTo>
                  <a:cubicBezTo>
                    <a:pt x="178347" y="226981"/>
                    <a:pt x="181966" y="229171"/>
                    <a:pt x="181966" y="229171"/>
                  </a:cubicBezTo>
                  <a:cubicBezTo>
                    <a:pt x="186157" y="231743"/>
                    <a:pt x="191206" y="232505"/>
                    <a:pt x="195968" y="231362"/>
                  </a:cubicBezTo>
                  <a:cubicBezTo>
                    <a:pt x="200731" y="230219"/>
                    <a:pt x="204826" y="227267"/>
                    <a:pt x="207398" y="222980"/>
                  </a:cubicBezTo>
                  <a:cubicBezTo>
                    <a:pt x="209589" y="219361"/>
                    <a:pt x="210446" y="215170"/>
                    <a:pt x="209970" y="210979"/>
                  </a:cubicBezTo>
                  <a:lnTo>
                    <a:pt x="209494" y="207359"/>
                  </a:lnTo>
                  <a:lnTo>
                    <a:pt x="213018" y="208407"/>
                  </a:lnTo>
                  <a:cubicBezTo>
                    <a:pt x="222733" y="211265"/>
                    <a:pt x="233116" y="205740"/>
                    <a:pt x="235973" y="195929"/>
                  </a:cubicBezTo>
                  <a:cubicBezTo>
                    <a:pt x="236926" y="192691"/>
                    <a:pt x="237021" y="189262"/>
                    <a:pt x="236068" y="185928"/>
                  </a:cubicBezTo>
                  <a:lnTo>
                    <a:pt x="235211" y="182690"/>
                  </a:lnTo>
                  <a:lnTo>
                    <a:pt x="238545" y="182975"/>
                  </a:lnTo>
                  <a:cubicBezTo>
                    <a:pt x="243307" y="183261"/>
                    <a:pt x="247879" y="181737"/>
                    <a:pt x="251499" y="178689"/>
                  </a:cubicBezTo>
                  <a:cubicBezTo>
                    <a:pt x="255118" y="175641"/>
                    <a:pt x="257214" y="171260"/>
                    <a:pt x="257595" y="166497"/>
                  </a:cubicBezTo>
                  <a:cubicBezTo>
                    <a:pt x="257595" y="165354"/>
                    <a:pt x="257595" y="164306"/>
                    <a:pt x="257595" y="163163"/>
                  </a:cubicBezTo>
                  <a:lnTo>
                    <a:pt x="257595" y="161925"/>
                  </a:lnTo>
                  <a:cubicBezTo>
                    <a:pt x="257595" y="161925"/>
                    <a:pt x="287122" y="134779"/>
                    <a:pt x="287122" y="134779"/>
                  </a:cubicBezTo>
                  <a:lnTo>
                    <a:pt x="299314" y="154210"/>
                  </a:lnTo>
                  <a:lnTo>
                    <a:pt x="354750" y="119539"/>
                  </a:lnTo>
                  <a:lnTo>
                    <a:pt x="280074" y="0"/>
                  </a:lnTo>
                  <a:lnTo>
                    <a:pt x="224543" y="34671"/>
                  </a:lnTo>
                  <a:lnTo>
                    <a:pt x="233401" y="48768"/>
                  </a:lnTo>
                  <a:lnTo>
                    <a:pt x="205017" y="59150"/>
                  </a:lnTo>
                  <a:lnTo>
                    <a:pt x="168917" y="46291"/>
                  </a:lnTo>
                  <a:cubicBezTo>
                    <a:pt x="160535" y="43244"/>
                    <a:pt x="151201" y="44006"/>
                    <a:pt x="143295" y="48197"/>
                  </a:cubicBezTo>
                  <a:lnTo>
                    <a:pt x="142533" y="48577"/>
                  </a:lnTo>
                  <a:lnTo>
                    <a:pt x="141676" y="48387"/>
                  </a:lnTo>
                  <a:cubicBezTo>
                    <a:pt x="140342" y="48101"/>
                    <a:pt x="138913" y="47911"/>
                    <a:pt x="137580" y="47720"/>
                  </a:cubicBezTo>
                  <a:lnTo>
                    <a:pt x="135008" y="50101"/>
                  </a:lnTo>
                  <a:lnTo>
                    <a:pt x="139485" y="50673"/>
                  </a:lnTo>
                  <a:lnTo>
                    <a:pt x="133960" y="54102"/>
                  </a:lnTo>
                  <a:cubicBezTo>
                    <a:pt x="124150" y="60198"/>
                    <a:pt x="113672" y="65246"/>
                    <a:pt x="102814" y="69247"/>
                  </a:cubicBezTo>
                  <a:cubicBezTo>
                    <a:pt x="100147" y="70199"/>
                    <a:pt x="97956" y="72200"/>
                    <a:pt x="96718" y="74771"/>
                  </a:cubicBezTo>
                  <a:cubicBezTo>
                    <a:pt x="95479" y="77343"/>
                    <a:pt x="95384" y="80296"/>
                    <a:pt x="96337" y="82963"/>
                  </a:cubicBezTo>
                  <a:cubicBezTo>
                    <a:pt x="97480" y="86201"/>
                    <a:pt x="100147" y="88678"/>
                    <a:pt x="103480" y="89630"/>
                  </a:cubicBezTo>
                  <a:cubicBezTo>
                    <a:pt x="123007" y="95155"/>
                    <a:pt x="143676" y="93345"/>
                    <a:pt x="161869" y="84487"/>
                  </a:cubicBezTo>
                  <a:lnTo>
                    <a:pt x="163202" y="83820"/>
                  </a:lnTo>
                  <a:lnTo>
                    <a:pt x="249213" y="153638"/>
                  </a:lnTo>
                  <a:cubicBezTo>
                    <a:pt x="252261" y="156210"/>
                    <a:pt x="254071" y="159734"/>
                    <a:pt x="254452" y="163735"/>
                  </a:cubicBezTo>
                  <a:cubicBezTo>
                    <a:pt x="254833" y="167640"/>
                    <a:pt x="253594" y="171450"/>
                    <a:pt x="251023" y="174498"/>
                  </a:cubicBezTo>
                  <a:cubicBezTo>
                    <a:pt x="246070" y="180404"/>
                    <a:pt x="237592" y="181546"/>
                    <a:pt x="231306" y="177165"/>
                  </a:cubicBezTo>
                  <a:lnTo>
                    <a:pt x="167869" y="131540"/>
                  </a:lnTo>
                  <a:cubicBezTo>
                    <a:pt x="167203" y="131064"/>
                    <a:pt x="166250" y="131255"/>
                    <a:pt x="165774" y="131921"/>
                  </a:cubicBezTo>
                  <a:cubicBezTo>
                    <a:pt x="165298" y="132588"/>
                    <a:pt x="165488" y="133541"/>
                    <a:pt x="166155" y="134017"/>
                  </a:cubicBezTo>
                  <a:lnTo>
                    <a:pt x="227401" y="178022"/>
                  </a:lnTo>
                  <a:cubicBezTo>
                    <a:pt x="234259" y="183261"/>
                    <a:pt x="235592" y="192977"/>
                    <a:pt x="230353" y="199739"/>
                  </a:cubicBezTo>
                  <a:cubicBezTo>
                    <a:pt x="225400" y="206216"/>
                    <a:pt x="216161" y="207740"/>
                    <a:pt x="209398" y="203168"/>
                  </a:cubicBezTo>
                  <a:lnTo>
                    <a:pt x="151582" y="161639"/>
                  </a:lnTo>
                  <a:cubicBezTo>
                    <a:pt x="151582" y="161639"/>
                    <a:pt x="150820" y="161258"/>
                    <a:pt x="150439" y="161354"/>
                  </a:cubicBezTo>
                  <a:cubicBezTo>
                    <a:pt x="150058" y="161354"/>
                    <a:pt x="149677" y="161639"/>
                    <a:pt x="149486" y="162020"/>
                  </a:cubicBezTo>
                  <a:cubicBezTo>
                    <a:pt x="149010" y="162687"/>
                    <a:pt x="149105" y="163640"/>
                    <a:pt x="149867" y="164116"/>
                  </a:cubicBezTo>
                  <a:lnTo>
                    <a:pt x="200921" y="200787"/>
                  </a:lnTo>
                  <a:cubicBezTo>
                    <a:pt x="204255" y="203073"/>
                    <a:pt x="206636" y="206597"/>
                    <a:pt x="207398" y="210598"/>
                  </a:cubicBezTo>
                  <a:cubicBezTo>
                    <a:pt x="208160" y="214694"/>
                    <a:pt x="207398" y="218789"/>
                    <a:pt x="205017" y="222218"/>
                  </a:cubicBezTo>
                  <a:cubicBezTo>
                    <a:pt x="200254" y="229267"/>
                    <a:pt x="190634" y="231077"/>
                    <a:pt x="183586" y="226314"/>
                  </a:cubicBezTo>
                  <a:lnTo>
                    <a:pt x="135008" y="191453"/>
                  </a:lnTo>
                  <a:cubicBezTo>
                    <a:pt x="134437" y="191071"/>
                    <a:pt x="133484" y="191262"/>
                    <a:pt x="133008" y="192024"/>
                  </a:cubicBezTo>
                  <a:cubicBezTo>
                    <a:pt x="132627" y="192691"/>
                    <a:pt x="132722" y="193548"/>
                    <a:pt x="133294" y="194024"/>
                  </a:cubicBezTo>
                  <a:lnTo>
                    <a:pt x="169870" y="220313"/>
                  </a:lnTo>
                  <a:cubicBezTo>
                    <a:pt x="176061" y="225076"/>
                    <a:pt x="177204" y="233839"/>
                    <a:pt x="172441" y="240030"/>
                  </a:cubicBezTo>
                  <a:cubicBezTo>
                    <a:pt x="169679" y="243554"/>
                    <a:pt x="165583" y="245459"/>
                    <a:pt x="161392" y="245459"/>
                  </a:cubicBezTo>
                  <a:cubicBezTo>
                    <a:pt x="158725" y="245459"/>
                    <a:pt x="156058" y="244697"/>
                    <a:pt x="153677" y="243173"/>
                  </a:cubicBezTo>
                  <a:lnTo>
                    <a:pt x="133103" y="228410"/>
                  </a:lnTo>
                  <a:lnTo>
                    <a:pt x="134056" y="226600"/>
                  </a:lnTo>
                  <a:cubicBezTo>
                    <a:pt x="138913" y="217646"/>
                    <a:pt x="135675" y="206407"/>
                    <a:pt x="126721" y="201549"/>
                  </a:cubicBezTo>
                  <a:cubicBezTo>
                    <a:pt x="122626" y="199263"/>
                    <a:pt x="117768" y="198692"/>
                    <a:pt x="113196" y="199930"/>
                  </a:cubicBezTo>
                  <a:lnTo>
                    <a:pt x="109862" y="200787"/>
                  </a:lnTo>
                  <a:lnTo>
                    <a:pt x="110243" y="197358"/>
                  </a:lnTo>
                  <a:cubicBezTo>
                    <a:pt x="110815" y="192500"/>
                    <a:pt x="109481" y="187643"/>
                    <a:pt x="106338" y="183737"/>
                  </a:cubicBezTo>
                  <a:cubicBezTo>
                    <a:pt x="103290" y="179832"/>
                    <a:pt x="98908" y="177451"/>
                    <a:pt x="93955" y="176879"/>
                  </a:cubicBezTo>
                  <a:cubicBezTo>
                    <a:pt x="92717" y="176689"/>
                    <a:pt x="91479" y="176689"/>
                    <a:pt x="90145" y="176879"/>
                  </a:cubicBezTo>
                  <a:lnTo>
                    <a:pt x="86812" y="177165"/>
                  </a:lnTo>
                  <a:lnTo>
                    <a:pt x="87574" y="173927"/>
                  </a:lnTo>
                  <a:cubicBezTo>
                    <a:pt x="90050" y="164021"/>
                    <a:pt x="83954" y="154019"/>
                    <a:pt x="74143" y="151543"/>
                  </a:cubicBezTo>
                  <a:cubicBezTo>
                    <a:pt x="68524" y="150114"/>
                    <a:pt x="62428" y="151543"/>
                    <a:pt x="57856" y="155258"/>
                  </a:cubicBezTo>
                  <a:lnTo>
                    <a:pt x="52617" y="159639"/>
                  </a:lnTo>
                  <a:lnTo>
                    <a:pt x="52617" y="154686"/>
                  </a:lnTo>
                  <a:cubicBezTo>
                    <a:pt x="52522" y="149733"/>
                    <a:pt x="50521" y="145161"/>
                    <a:pt x="46997" y="141637"/>
                  </a:cubicBezTo>
                  <a:cubicBezTo>
                    <a:pt x="43473" y="138208"/>
                    <a:pt x="38710" y="136303"/>
                    <a:pt x="33853" y="136398"/>
                  </a:cubicBezTo>
                  <a:cubicBezTo>
                    <a:pt x="29662" y="136398"/>
                    <a:pt x="25566" y="137922"/>
                    <a:pt x="22327" y="140589"/>
                  </a:cubicBezTo>
                  <a:lnTo>
                    <a:pt x="7564" y="152781"/>
                  </a:lnTo>
                </a:path>
              </a:pathLst>
            </a:custGeom>
            <a:grpFill/>
            <a:ln w="9525" cap="flat">
              <a:noFill/>
              <a:prstDash val="solid"/>
              <a:miter/>
            </a:ln>
          </p:spPr>
          <p:txBody>
            <a:bodyPr rtlCol="0" anchor="ctr"/>
            <a:lstStyle/>
            <a:p>
              <a:endParaRPr lang="en-US" dirty="0"/>
            </a:p>
          </p:txBody>
        </p:sp>
        <p:sp>
          <p:nvSpPr>
            <p:cNvPr id="1280" name="Freeform: Shape 1279">
              <a:extLst>
                <a:ext uri="{FF2B5EF4-FFF2-40B4-BE49-F238E27FC236}">
                  <a16:creationId xmlns:a16="http://schemas.microsoft.com/office/drawing/2014/main" id="{B26A6783-9251-9D32-EF44-C501297ECD37}"/>
                </a:ext>
              </a:extLst>
            </p:cNvPr>
            <p:cNvSpPr/>
            <p:nvPr/>
          </p:nvSpPr>
          <p:spPr>
            <a:xfrm>
              <a:off x="967263" y="3982497"/>
              <a:ext cx="190" cy="95"/>
            </a:xfrm>
            <a:custGeom>
              <a:avLst/>
              <a:gdLst>
                <a:gd name="connsiteX0" fmla="*/ 0 w 190"/>
                <a:gd name="connsiteY0" fmla="*/ 95 h 95"/>
                <a:gd name="connsiteX1" fmla="*/ 190 w 190"/>
                <a:gd name="connsiteY1" fmla="*/ 0 h 95"/>
              </a:gdLst>
              <a:ahLst/>
              <a:cxnLst>
                <a:cxn ang="0">
                  <a:pos x="connsiteX0" y="connsiteY0"/>
                </a:cxn>
                <a:cxn ang="0">
                  <a:pos x="connsiteX1" y="connsiteY1"/>
                </a:cxn>
              </a:cxnLst>
              <a:rect l="l" t="t" r="r" b="b"/>
              <a:pathLst>
                <a:path w="190" h="95">
                  <a:moveTo>
                    <a:pt x="0" y="95"/>
                  </a:moveTo>
                  <a:lnTo>
                    <a:pt x="190" y="0"/>
                  </a:lnTo>
                </a:path>
              </a:pathLst>
            </a:custGeom>
            <a:grpFill/>
            <a:ln w="9525" cap="flat">
              <a:noFill/>
              <a:prstDash val="solid"/>
              <a:miter/>
            </a:ln>
          </p:spPr>
          <p:txBody>
            <a:bodyPr rtlCol="0" anchor="ctr"/>
            <a:lstStyle/>
            <a:p>
              <a:endParaRPr lang="en-US" dirty="0"/>
            </a:p>
          </p:txBody>
        </p:sp>
        <p:sp>
          <p:nvSpPr>
            <p:cNvPr id="1281" name="Freeform: Shape 1280">
              <a:extLst>
                <a:ext uri="{FF2B5EF4-FFF2-40B4-BE49-F238E27FC236}">
                  <a16:creationId xmlns:a16="http://schemas.microsoft.com/office/drawing/2014/main" id="{45B1EEF1-18B8-5A54-CB4C-908B0A0A05F3}"/>
                </a:ext>
              </a:extLst>
            </p:cNvPr>
            <p:cNvSpPr/>
            <p:nvPr/>
          </p:nvSpPr>
          <p:spPr>
            <a:xfrm>
              <a:off x="963563" y="3822287"/>
              <a:ext cx="365554" cy="259746"/>
            </a:xfrm>
            <a:custGeom>
              <a:avLst/>
              <a:gdLst>
                <a:gd name="connsiteX0" fmla="*/ 286021 w 365554"/>
                <a:gd name="connsiteY0" fmla="*/ 0 h 259746"/>
                <a:gd name="connsiteX1" fmla="*/ 222489 w 365554"/>
                <a:gd name="connsiteY1" fmla="*/ 39624 h 259746"/>
                <a:gd name="connsiteX2" fmla="*/ 230681 w 365554"/>
                <a:gd name="connsiteY2" fmla="*/ 52769 h 259746"/>
                <a:gd name="connsiteX3" fmla="*/ 209440 w 365554"/>
                <a:gd name="connsiteY3" fmla="*/ 60484 h 259746"/>
                <a:gd name="connsiteX4" fmla="*/ 174959 w 365554"/>
                <a:gd name="connsiteY4" fmla="*/ 48197 h 259746"/>
                <a:gd name="connsiteX5" fmla="*/ 146480 w 365554"/>
                <a:gd name="connsiteY5" fmla="*/ 50006 h 259746"/>
                <a:gd name="connsiteX6" fmla="*/ 142003 w 365554"/>
                <a:gd name="connsiteY6" fmla="*/ 54197 h 259746"/>
                <a:gd name="connsiteX7" fmla="*/ 146099 w 365554"/>
                <a:gd name="connsiteY7" fmla="*/ 54864 h 259746"/>
                <a:gd name="connsiteX8" fmla="*/ 146956 w 365554"/>
                <a:gd name="connsiteY8" fmla="*/ 55054 h 259746"/>
                <a:gd name="connsiteX9" fmla="*/ 147718 w 365554"/>
                <a:gd name="connsiteY9" fmla="*/ 54674 h 259746"/>
                <a:gd name="connsiteX10" fmla="*/ 173340 w 365554"/>
                <a:gd name="connsiteY10" fmla="*/ 52769 h 259746"/>
                <a:gd name="connsiteX11" fmla="*/ 209440 w 365554"/>
                <a:gd name="connsiteY11" fmla="*/ 65627 h 259746"/>
                <a:gd name="connsiteX12" fmla="*/ 237824 w 365554"/>
                <a:gd name="connsiteY12" fmla="*/ 55245 h 259746"/>
                <a:gd name="connsiteX13" fmla="*/ 228966 w 365554"/>
                <a:gd name="connsiteY13" fmla="*/ 41148 h 259746"/>
                <a:gd name="connsiteX14" fmla="*/ 284497 w 365554"/>
                <a:gd name="connsiteY14" fmla="*/ 6477 h 259746"/>
                <a:gd name="connsiteX15" fmla="*/ 359173 w 365554"/>
                <a:gd name="connsiteY15" fmla="*/ 126016 h 259746"/>
                <a:gd name="connsiteX16" fmla="*/ 303737 w 365554"/>
                <a:gd name="connsiteY16" fmla="*/ 160687 h 259746"/>
                <a:gd name="connsiteX17" fmla="*/ 291641 w 365554"/>
                <a:gd name="connsiteY17" fmla="*/ 141256 h 259746"/>
                <a:gd name="connsiteX18" fmla="*/ 262018 w 365554"/>
                <a:gd name="connsiteY18" fmla="*/ 168402 h 259746"/>
                <a:gd name="connsiteX19" fmla="*/ 262018 w 365554"/>
                <a:gd name="connsiteY19" fmla="*/ 169640 h 259746"/>
                <a:gd name="connsiteX20" fmla="*/ 262208 w 365554"/>
                <a:gd name="connsiteY20" fmla="*/ 172879 h 259746"/>
                <a:gd name="connsiteX21" fmla="*/ 256112 w 365554"/>
                <a:gd name="connsiteY21" fmla="*/ 185071 h 259746"/>
                <a:gd name="connsiteX22" fmla="*/ 243158 w 365554"/>
                <a:gd name="connsiteY22" fmla="*/ 189357 h 259746"/>
                <a:gd name="connsiteX23" fmla="*/ 239825 w 365554"/>
                <a:gd name="connsiteY23" fmla="*/ 189071 h 259746"/>
                <a:gd name="connsiteX24" fmla="*/ 240682 w 365554"/>
                <a:gd name="connsiteY24" fmla="*/ 192310 h 259746"/>
                <a:gd name="connsiteX25" fmla="*/ 240491 w 365554"/>
                <a:gd name="connsiteY25" fmla="*/ 202311 h 259746"/>
                <a:gd name="connsiteX26" fmla="*/ 217536 w 365554"/>
                <a:gd name="connsiteY26" fmla="*/ 214789 h 259746"/>
                <a:gd name="connsiteX27" fmla="*/ 214012 w 365554"/>
                <a:gd name="connsiteY27" fmla="*/ 213741 h 259746"/>
                <a:gd name="connsiteX28" fmla="*/ 214488 w 365554"/>
                <a:gd name="connsiteY28" fmla="*/ 217361 h 259746"/>
                <a:gd name="connsiteX29" fmla="*/ 211916 w 365554"/>
                <a:gd name="connsiteY29" fmla="*/ 229362 h 259746"/>
                <a:gd name="connsiteX30" fmla="*/ 200486 w 365554"/>
                <a:gd name="connsiteY30" fmla="*/ 237744 h 259746"/>
                <a:gd name="connsiteX31" fmla="*/ 186485 w 365554"/>
                <a:gd name="connsiteY31" fmla="*/ 235553 h 259746"/>
                <a:gd name="connsiteX32" fmla="*/ 182770 w 365554"/>
                <a:gd name="connsiteY32" fmla="*/ 233267 h 259746"/>
                <a:gd name="connsiteX33" fmla="*/ 182770 w 365554"/>
                <a:gd name="connsiteY33" fmla="*/ 237554 h 259746"/>
                <a:gd name="connsiteX34" fmla="*/ 179722 w 365554"/>
                <a:gd name="connsiteY34" fmla="*/ 247936 h 259746"/>
                <a:gd name="connsiteX35" fmla="*/ 156005 w 365554"/>
                <a:gd name="connsiteY35" fmla="*/ 251841 h 259746"/>
                <a:gd name="connsiteX36" fmla="*/ 136764 w 365554"/>
                <a:gd name="connsiteY36" fmla="*/ 238030 h 259746"/>
                <a:gd name="connsiteX37" fmla="*/ 133049 w 365554"/>
                <a:gd name="connsiteY37" fmla="*/ 235458 h 259746"/>
                <a:gd name="connsiteX38" fmla="*/ 133049 w 365554"/>
                <a:gd name="connsiteY38" fmla="*/ 238982 h 259746"/>
                <a:gd name="connsiteX39" fmla="*/ 119429 w 365554"/>
                <a:gd name="connsiteY39" fmla="*/ 250222 h 259746"/>
                <a:gd name="connsiteX40" fmla="*/ 107808 w 365554"/>
                <a:gd name="connsiteY40" fmla="*/ 254413 h 259746"/>
                <a:gd name="connsiteX41" fmla="*/ 107618 w 365554"/>
                <a:gd name="connsiteY41" fmla="*/ 254413 h 259746"/>
                <a:gd name="connsiteX42" fmla="*/ 89139 w 365554"/>
                <a:gd name="connsiteY42" fmla="*/ 236125 h 259746"/>
                <a:gd name="connsiteX43" fmla="*/ 89139 w 365554"/>
                <a:gd name="connsiteY43" fmla="*/ 231458 h 259746"/>
                <a:gd name="connsiteX44" fmla="*/ 85329 w 365554"/>
                <a:gd name="connsiteY44" fmla="*/ 234220 h 259746"/>
                <a:gd name="connsiteX45" fmla="*/ 73232 w 365554"/>
                <a:gd name="connsiteY45" fmla="*/ 237839 h 259746"/>
                <a:gd name="connsiteX46" fmla="*/ 55897 w 365554"/>
                <a:gd name="connsiteY46" fmla="*/ 218313 h 259746"/>
                <a:gd name="connsiteX47" fmla="*/ 56087 w 365554"/>
                <a:gd name="connsiteY47" fmla="*/ 214694 h 259746"/>
                <a:gd name="connsiteX48" fmla="*/ 52658 w 365554"/>
                <a:gd name="connsiteY48" fmla="*/ 215932 h 259746"/>
                <a:gd name="connsiteX49" fmla="*/ 42276 w 365554"/>
                <a:gd name="connsiteY49" fmla="*/ 216694 h 259746"/>
                <a:gd name="connsiteX50" fmla="*/ 28084 w 365554"/>
                <a:gd name="connsiteY50" fmla="*/ 194786 h 259746"/>
                <a:gd name="connsiteX51" fmla="*/ 28751 w 365554"/>
                <a:gd name="connsiteY51" fmla="*/ 191548 h 259746"/>
                <a:gd name="connsiteX52" fmla="*/ 25417 w 365554"/>
                <a:gd name="connsiteY52" fmla="*/ 191929 h 259746"/>
                <a:gd name="connsiteX53" fmla="*/ 12177 w 365554"/>
                <a:gd name="connsiteY53" fmla="*/ 188500 h 259746"/>
                <a:gd name="connsiteX54" fmla="*/ 4843 w 365554"/>
                <a:gd name="connsiteY54" fmla="*/ 176403 h 259746"/>
                <a:gd name="connsiteX55" fmla="*/ 8177 w 365554"/>
                <a:gd name="connsiteY55" fmla="*/ 162687 h 259746"/>
                <a:gd name="connsiteX56" fmla="*/ 9415 w 365554"/>
                <a:gd name="connsiteY56" fmla="*/ 160687 h 259746"/>
                <a:gd name="connsiteX57" fmla="*/ 10272 w 365554"/>
                <a:gd name="connsiteY57" fmla="*/ 159353 h 259746"/>
                <a:gd name="connsiteX58" fmla="*/ 8558 w 365554"/>
                <a:gd name="connsiteY58" fmla="*/ 160020 h 259746"/>
                <a:gd name="connsiteX59" fmla="*/ 3795 w 365554"/>
                <a:gd name="connsiteY59" fmla="*/ 160211 h 259746"/>
                <a:gd name="connsiteX60" fmla="*/ 176 w 365554"/>
                <a:gd name="connsiteY60" fmla="*/ 177165 h 259746"/>
                <a:gd name="connsiteX61" fmla="*/ 9415 w 365554"/>
                <a:gd name="connsiteY61" fmla="*/ 192310 h 259746"/>
                <a:gd name="connsiteX62" fmla="*/ 23036 w 365554"/>
                <a:gd name="connsiteY62" fmla="*/ 196787 h 259746"/>
                <a:gd name="connsiteX63" fmla="*/ 41324 w 365554"/>
                <a:gd name="connsiteY63" fmla="*/ 221266 h 259746"/>
                <a:gd name="connsiteX64" fmla="*/ 51134 w 365554"/>
                <a:gd name="connsiteY64" fmla="*/ 221266 h 259746"/>
                <a:gd name="connsiteX65" fmla="*/ 56945 w 365554"/>
                <a:gd name="connsiteY65" fmla="*/ 234791 h 259746"/>
                <a:gd name="connsiteX66" fmla="*/ 72947 w 365554"/>
                <a:gd name="connsiteY66" fmla="*/ 242507 h 259746"/>
                <a:gd name="connsiteX67" fmla="*/ 84758 w 365554"/>
                <a:gd name="connsiteY67" fmla="*/ 240030 h 259746"/>
                <a:gd name="connsiteX68" fmla="*/ 107618 w 365554"/>
                <a:gd name="connsiteY68" fmla="*/ 259080 h 259746"/>
                <a:gd name="connsiteX69" fmla="*/ 107808 w 365554"/>
                <a:gd name="connsiteY69" fmla="*/ 259080 h 259746"/>
                <a:gd name="connsiteX70" fmla="*/ 122381 w 365554"/>
                <a:gd name="connsiteY70" fmla="*/ 253746 h 259746"/>
                <a:gd name="connsiteX71" fmla="*/ 135526 w 365554"/>
                <a:gd name="connsiteY71" fmla="*/ 242888 h 259746"/>
                <a:gd name="connsiteX72" fmla="*/ 153242 w 365554"/>
                <a:gd name="connsiteY72" fmla="*/ 255651 h 259746"/>
                <a:gd name="connsiteX73" fmla="*/ 165911 w 365554"/>
                <a:gd name="connsiteY73" fmla="*/ 259747 h 259746"/>
                <a:gd name="connsiteX74" fmla="*/ 183532 w 365554"/>
                <a:gd name="connsiteY74" fmla="*/ 250698 h 259746"/>
                <a:gd name="connsiteX75" fmla="*/ 187342 w 365554"/>
                <a:gd name="connsiteY75" fmla="*/ 241268 h 259746"/>
                <a:gd name="connsiteX76" fmla="*/ 201534 w 365554"/>
                <a:gd name="connsiteY76" fmla="*/ 242316 h 259746"/>
                <a:gd name="connsiteX77" fmla="*/ 215822 w 365554"/>
                <a:gd name="connsiteY77" fmla="*/ 231839 h 259746"/>
                <a:gd name="connsiteX78" fmla="*/ 219155 w 365554"/>
                <a:gd name="connsiteY78" fmla="*/ 220123 h 259746"/>
                <a:gd name="connsiteX79" fmla="*/ 233633 w 365554"/>
                <a:gd name="connsiteY79" fmla="*/ 217551 h 259746"/>
                <a:gd name="connsiteX80" fmla="*/ 244873 w 365554"/>
                <a:gd name="connsiteY80" fmla="*/ 203740 h 259746"/>
                <a:gd name="connsiteX81" fmla="*/ 245635 w 365554"/>
                <a:gd name="connsiteY81" fmla="*/ 194215 h 259746"/>
                <a:gd name="connsiteX82" fmla="*/ 258970 w 365554"/>
                <a:gd name="connsiteY82" fmla="*/ 188786 h 259746"/>
                <a:gd name="connsiteX83" fmla="*/ 266685 w 365554"/>
                <a:gd name="connsiteY83" fmla="*/ 173355 h 259746"/>
                <a:gd name="connsiteX84" fmla="*/ 266685 w 365554"/>
                <a:gd name="connsiteY84" fmla="*/ 170402 h 259746"/>
                <a:gd name="connsiteX85" fmla="*/ 290403 w 365554"/>
                <a:gd name="connsiteY85" fmla="*/ 148685 h 259746"/>
                <a:gd name="connsiteX86" fmla="*/ 302023 w 365554"/>
                <a:gd name="connsiteY86" fmla="*/ 167259 h 259746"/>
                <a:gd name="connsiteX87" fmla="*/ 365555 w 365554"/>
                <a:gd name="connsiteY87" fmla="*/ 127635 h 259746"/>
                <a:gd name="connsiteX88" fmla="*/ 285830 w 365554"/>
                <a:gd name="connsiteY88" fmla="*/ 95 h 259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65554" h="259746">
                  <a:moveTo>
                    <a:pt x="286021" y="0"/>
                  </a:moveTo>
                  <a:lnTo>
                    <a:pt x="222489" y="39624"/>
                  </a:lnTo>
                  <a:lnTo>
                    <a:pt x="230681" y="52769"/>
                  </a:lnTo>
                  <a:lnTo>
                    <a:pt x="209440" y="60484"/>
                  </a:lnTo>
                  <a:lnTo>
                    <a:pt x="174959" y="48197"/>
                  </a:lnTo>
                  <a:cubicBezTo>
                    <a:pt x="165625" y="44863"/>
                    <a:pt x="155338" y="45529"/>
                    <a:pt x="146480" y="50006"/>
                  </a:cubicBezTo>
                  <a:lnTo>
                    <a:pt x="142003" y="54197"/>
                  </a:lnTo>
                  <a:cubicBezTo>
                    <a:pt x="143336" y="54483"/>
                    <a:pt x="144765" y="54578"/>
                    <a:pt x="146099" y="54864"/>
                  </a:cubicBezTo>
                  <a:lnTo>
                    <a:pt x="146956" y="55054"/>
                  </a:lnTo>
                  <a:lnTo>
                    <a:pt x="147718" y="54674"/>
                  </a:lnTo>
                  <a:cubicBezTo>
                    <a:pt x="155624" y="50387"/>
                    <a:pt x="164863" y="49721"/>
                    <a:pt x="173340" y="52769"/>
                  </a:cubicBezTo>
                  <a:lnTo>
                    <a:pt x="209440" y="65627"/>
                  </a:lnTo>
                  <a:lnTo>
                    <a:pt x="237824" y="55245"/>
                  </a:lnTo>
                  <a:lnTo>
                    <a:pt x="228966" y="41148"/>
                  </a:lnTo>
                  <a:lnTo>
                    <a:pt x="284497" y="6477"/>
                  </a:lnTo>
                  <a:lnTo>
                    <a:pt x="359173" y="126016"/>
                  </a:lnTo>
                  <a:lnTo>
                    <a:pt x="303737" y="160687"/>
                  </a:lnTo>
                  <a:lnTo>
                    <a:pt x="291641" y="141256"/>
                  </a:lnTo>
                  <a:lnTo>
                    <a:pt x="262018" y="168402"/>
                  </a:lnTo>
                  <a:lnTo>
                    <a:pt x="262018" y="169640"/>
                  </a:lnTo>
                  <a:cubicBezTo>
                    <a:pt x="262304" y="170688"/>
                    <a:pt x="262304" y="171831"/>
                    <a:pt x="262208" y="172879"/>
                  </a:cubicBezTo>
                  <a:cubicBezTo>
                    <a:pt x="261828" y="177641"/>
                    <a:pt x="259732" y="181928"/>
                    <a:pt x="256112" y="185071"/>
                  </a:cubicBezTo>
                  <a:cubicBezTo>
                    <a:pt x="252493" y="188214"/>
                    <a:pt x="247921" y="189738"/>
                    <a:pt x="243158" y="189357"/>
                  </a:cubicBezTo>
                  <a:lnTo>
                    <a:pt x="239825" y="189071"/>
                  </a:lnTo>
                  <a:lnTo>
                    <a:pt x="240682" y="192310"/>
                  </a:lnTo>
                  <a:cubicBezTo>
                    <a:pt x="241539" y="195548"/>
                    <a:pt x="241539" y="199072"/>
                    <a:pt x="240491" y="202311"/>
                  </a:cubicBezTo>
                  <a:cubicBezTo>
                    <a:pt x="237539" y="212122"/>
                    <a:pt x="227252" y="217646"/>
                    <a:pt x="217536" y="214789"/>
                  </a:cubicBezTo>
                  <a:lnTo>
                    <a:pt x="214012" y="213741"/>
                  </a:lnTo>
                  <a:lnTo>
                    <a:pt x="214488" y="217361"/>
                  </a:lnTo>
                  <a:cubicBezTo>
                    <a:pt x="215060" y="221552"/>
                    <a:pt x="214107" y="225743"/>
                    <a:pt x="211916" y="229362"/>
                  </a:cubicBezTo>
                  <a:cubicBezTo>
                    <a:pt x="209345" y="233553"/>
                    <a:pt x="205344" y="236601"/>
                    <a:pt x="200486" y="237744"/>
                  </a:cubicBezTo>
                  <a:cubicBezTo>
                    <a:pt x="195724" y="238982"/>
                    <a:pt x="190676" y="238125"/>
                    <a:pt x="186485" y="235553"/>
                  </a:cubicBezTo>
                  <a:lnTo>
                    <a:pt x="182770" y="233267"/>
                  </a:lnTo>
                  <a:lnTo>
                    <a:pt x="182770" y="237554"/>
                  </a:lnTo>
                  <a:cubicBezTo>
                    <a:pt x="182960" y="241268"/>
                    <a:pt x="181817" y="244888"/>
                    <a:pt x="179722" y="247936"/>
                  </a:cubicBezTo>
                  <a:cubicBezTo>
                    <a:pt x="174197" y="255556"/>
                    <a:pt x="163625" y="257270"/>
                    <a:pt x="156005" y="251841"/>
                  </a:cubicBezTo>
                  <a:lnTo>
                    <a:pt x="136764" y="238030"/>
                  </a:lnTo>
                  <a:lnTo>
                    <a:pt x="133049" y="235458"/>
                  </a:lnTo>
                  <a:lnTo>
                    <a:pt x="133049" y="238982"/>
                  </a:lnTo>
                  <a:lnTo>
                    <a:pt x="119429" y="250222"/>
                  </a:lnTo>
                  <a:cubicBezTo>
                    <a:pt x="116190" y="252889"/>
                    <a:pt x="112094" y="254413"/>
                    <a:pt x="107808" y="254413"/>
                  </a:cubicBezTo>
                  <a:lnTo>
                    <a:pt x="107618" y="254413"/>
                  </a:lnTo>
                  <a:cubicBezTo>
                    <a:pt x="97521" y="254413"/>
                    <a:pt x="89234" y="246221"/>
                    <a:pt x="89139" y="236125"/>
                  </a:cubicBezTo>
                  <a:lnTo>
                    <a:pt x="89139" y="231458"/>
                  </a:lnTo>
                  <a:cubicBezTo>
                    <a:pt x="89139" y="231458"/>
                    <a:pt x="85329" y="234220"/>
                    <a:pt x="85329" y="234220"/>
                  </a:cubicBezTo>
                  <a:cubicBezTo>
                    <a:pt x="81805" y="236792"/>
                    <a:pt x="77614" y="238125"/>
                    <a:pt x="73232" y="237839"/>
                  </a:cubicBezTo>
                  <a:cubicBezTo>
                    <a:pt x="63041" y="237268"/>
                    <a:pt x="55230" y="228505"/>
                    <a:pt x="55897" y="218313"/>
                  </a:cubicBezTo>
                  <a:lnTo>
                    <a:pt x="56087" y="214694"/>
                  </a:lnTo>
                  <a:lnTo>
                    <a:pt x="52658" y="215932"/>
                  </a:lnTo>
                  <a:cubicBezTo>
                    <a:pt x="49325" y="217170"/>
                    <a:pt x="45800" y="217456"/>
                    <a:pt x="42276" y="216694"/>
                  </a:cubicBezTo>
                  <a:cubicBezTo>
                    <a:pt x="32275" y="214598"/>
                    <a:pt x="25893" y="204788"/>
                    <a:pt x="28084" y="194786"/>
                  </a:cubicBezTo>
                  <a:lnTo>
                    <a:pt x="28751" y="191548"/>
                  </a:lnTo>
                  <a:lnTo>
                    <a:pt x="25417" y="191929"/>
                  </a:lnTo>
                  <a:cubicBezTo>
                    <a:pt x="20654" y="192500"/>
                    <a:pt x="15987" y="191262"/>
                    <a:pt x="12177" y="188500"/>
                  </a:cubicBezTo>
                  <a:cubicBezTo>
                    <a:pt x="8177" y="185547"/>
                    <a:pt x="5605" y="181261"/>
                    <a:pt x="4843" y="176403"/>
                  </a:cubicBezTo>
                  <a:cubicBezTo>
                    <a:pt x="4081" y="171545"/>
                    <a:pt x="5319" y="166592"/>
                    <a:pt x="8177" y="162687"/>
                  </a:cubicBezTo>
                  <a:lnTo>
                    <a:pt x="9415" y="160687"/>
                  </a:lnTo>
                  <a:lnTo>
                    <a:pt x="10272" y="159353"/>
                  </a:lnTo>
                  <a:lnTo>
                    <a:pt x="8558" y="160020"/>
                  </a:lnTo>
                  <a:lnTo>
                    <a:pt x="3795" y="160211"/>
                  </a:lnTo>
                  <a:cubicBezTo>
                    <a:pt x="1223" y="164687"/>
                    <a:pt x="-586" y="171926"/>
                    <a:pt x="176" y="177165"/>
                  </a:cubicBezTo>
                  <a:cubicBezTo>
                    <a:pt x="1128" y="183261"/>
                    <a:pt x="4367" y="188690"/>
                    <a:pt x="9415" y="192310"/>
                  </a:cubicBezTo>
                  <a:cubicBezTo>
                    <a:pt x="13415" y="195263"/>
                    <a:pt x="18083" y="196787"/>
                    <a:pt x="23036" y="196787"/>
                  </a:cubicBezTo>
                  <a:cubicBezTo>
                    <a:pt x="22178" y="208217"/>
                    <a:pt x="29894" y="218789"/>
                    <a:pt x="41324" y="221266"/>
                  </a:cubicBezTo>
                  <a:cubicBezTo>
                    <a:pt x="44562" y="221933"/>
                    <a:pt x="47896" y="221933"/>
                    <a:pt x="51134" y="221266"/>
                  </a:cubicBezTo>
                  <a:cubicBezTo>
                    <a:pt x="51515" y="226219"/>
                    <a:pt x="53516" y="230981"/>
                    <a:pt x="56945" y="234791"/>
                  </a:cubicBezTo>
                  <a:cubicBezTo>
                    <a:pt x="61040" y="239459"/>
                    <a:pt x="66755" y="242125"/>
                    <a:pt x="72947" y="242507"/>
                  </a:cubicBezTo>
                  <a:cubicBezTo>
                    <a:pt x="77042" y="242792"/>
                    <a:pt x="81138" y="241935"/>
                    <a:pt x="84758" y="240030"/>
                  </a:cubicBezTo>
                  <a:cubicBezTo>
                    <a:pt x="86758" y="250889"/>
                    <a:pt x="96283" y="259080"/>
                    <a:pt x="107618" y="259080"/>
                  </a:cubicBezTo>
                  <a:lnTo>
                    <a:pt x="107808" y="259080"/>
                  </a:lnTo>
                  <a:cubicBezTo>
                    <a:pt x="113142" y="259080"/>
                    <a:pt x="118286" y="257175"/>
                    <a:pt x="122381" y="253746"/>
                  </a:cubicBezTo>
                  <a:lnTo>
                    <a:pt x="135526" y="242888"/>
                  </a:lnTo>
                  <a:lnTo>
                    <a:pt x="153242" y="255651"/>
                  </a:lnTo>
                  <a:cubicBezTo>
                    <a:pt x="157052" y="258413"/>
                    <a:pt x="161529" y="259747"/>
                    <a:pt x="165911" y="259747"/>
                  </a:cubicBezTo>
                  <a:cubicBezTo>
                    <a:pt x="172673" y="259747"/>
                    <a:pt x="179341" y="256604"/>
                    <a:pt x="183532" y="250698"/>
                  </a:cubicBezTo>
                  <a:cubicBezTo>
                    <a:pt x="185532" y="247936"/>
                    <a:pt x="186866" y="244602"/>
                    <a:pt x="187342" y="241268"/>
                  </a:cubicBezTo>
                  <a:cubicBezTo>
                    <a:pt x="191819" y="243078"/>
                    <a:pt x="196772" y="243459"/>
                    <a:pt x="201534" y="242316"/>
                  </a:cubicBezTo>
                  <a:cubicBezTo>
                    <a:pt x="207535" y="240887"/>
                    <a:pt x="212678" y="237077"/>
                    <a:pt x="215822" y="231839"/>
                  </a:cubicBezTo>
                  <a:cubicBezTo>
                    <a:pt x="218012" y="228314"/>
                    <a:pt x="219155" y="224219"/>
                    <a:pt x="219155" y="220123"/>
                  </a:cubicBezTo>
                  <a:cubicBezTo>
                    <a:pt x="224108" y="220885"/>
                    <a:pt x="229157" y="220028"/>
                    <a:pt x="233633" y="217551"/>
                  </a:cubicBezTo>
                  <a:cubicBezTo>
                    <a:pt x="239063" y="214598"/>
                    <a:pt x="243063" y="209645"/>
                    <a:pt x="244873" y="203740"/>
                  </a:cubicBezTo>
                  <a:cubicBezTo>
                    <a:pt x="245825" y="200692"/>
                    <a:pt x="246016" y="197358"/>
                    <a:pt x="245635" y="194215"/>
                  </a:cubicBezTo>
                  <a:cubicBezTo>
                    <a:pt x="250493" y="193929"/>
                    <a:pt x="255160" y="192024"/>
                    <a:pt x="258970" y="188786"/>
                  </a:cubicBezTo>
                  <a:cubicBezTo>
                    <a:pt x="263542" y="184880"/>
                    <a:pt x="266304" y="179356"/>
                    <a:pt x="266685" y="173355"/>
                  </a:cubicBezTo>
                  <a:cubicBezTo>
                    <a:pt x="266685" y="172403"/>
                    <a:pt x="266685" y="171355"/>
                    <a:pt x="266685" y="170402"/>
                  </a:cubicBezTo>
                  <a:lnTo>
                    <a:pt x="290403" y="148685"/>
                  </a:lnTo>
                  <a:lnTo>
                    <a:pt x="302023" y="167259"/>
                  </a:lnTo>
                  <a:lnTo>
                    <a:pt x="365555" y="127635"/>
                  </a:lnTo>
                  <a:lnTo>
                    <a:pt x="285830" y="95"/>
                  </a:lnTo>
                  <a:close/>
                </a:path>
              </a:pathLst>
            </a:custGeom>
            <a:grpFill/>
            <a:ln w="9525" cap="flat">
              <a:noFill/>
              <a:prstDash val="solid"/>
              <a:miter/>
            </a:ln>
          </p:spPr>
          <p:txBody>
            <a:bodyPr rtlCol="0" anchor="ctr"/>
            <a:lstStyle/>
            <a:p>
              <a:endParaRPr lang="en-US" dirty="0"/>
            </a:p>
          </p:txBody>
        </p:sp>
        <p:sp>
          <p:nvSpPr>
            <p:cNvPr id="1282" name="Freeform: Shape 1281">
              <a:extLst>
                <a:ext uri="{FF2B5EF4-FFF2-40B4-BE49-F238E27FC236}">
                  <a16:creationId xmlns:a16="http://schemas.microsoft.com/office/drawing/2014/main" id="{EC37B5E7-9052-D111-4B1F-6D4AFBF9DECF}"/>
                </a:ext>
              </a:extLst>
            </p:cNvPr>
            <p:cNvSpPr/>
            <p:nvPr/>
          </p:nvSpPr>
          <p:spPr>
            <a:xfrm>
              <a:off x="995553" y="3905250"/>
              <a:ext cx="9239" cy="15430"/>
            </a:xfrm>
            <a:custGeom>
              <a:avLst/>
              <a:gdLst>
                <a:gd name="connsiteX0" fmla="*/ 0 w 9239"/>
                <a:gd name="connsiteY0" fmla="*/ 15431 h 15430"/>
                <a:gd name="connsiteX1" fmla="*/ 9239 w 9239"/>
                <a:gd name="connsiteY1" fmla="*/ 191 h 15430"/>
                <a:gd name="connsiteX2" fmla="*/ 9049 w 9239"/>
                <a:gd name="connsiteY2" fmla="*/ 0 h 15430"/>
                <a:gd name="connsiteX3" fmla="*/ 0 w 9239"/>
                <a:gd name="connsiteY3" fmla="*/ 15431 h 15430"/>
              </a:gdLst>
              <a:ahLst/>
              <a:cxnLst>
                <a:cxn ang="0">
                  <a:pos x="connsiteX0" y="connsiteY0"/>
                </a:cxn>
                <a:cxn ang="0">
                  <a:pos x="connsiteX1" y="connsiteY1"/>
                </a:cxn>
                <a:cxn ang="0">
                  <a:pos x="connsiteX2" y="connsiteY2"/>
                </a:cxn>
                <a:cxn ang="0">
                  <a:pos x="connsiteX3" y="connsiteY3"/>
                </a:cxn>
              </a:cxnLst>
              <a:rect l="l" t="t" r="r" b="b"/>
              <a:pathLst>
                <a:path w="9239" h="15430">
                  <a:moveTo>
                    <a:pt x="0" y="15431"/>
                  </a:moveTo>
                  <a:lnTo>
                    <a:pt x="9239" y="191"/>
                  </a:lnTo>
                  <a:lnTo>
                    <a:pt x="9049" y="0"/>
                  </a:lnTo>
                  <a:lnTo>
                    <a:pt x="0" y="15431"/>
                  </a:lnTo>
                  <a:close/>
                </a:path>
              </a:pathLst>
            </a:custGeom>
            <a:grpFill/>
            <a:ln w="9525" cap="flat">
              <a:noFill/>
              <a:prstDash val="solid"/>
              <a:miter/>
            </a:ln>
          </p:spPr>
          <p:txBody>
            <a:bodyPr rtlCol="0" anchor="ctr"/>
            <a:lstStyle/>
            <a:p>
              <a:endParaRPr lang="en-US" dirty="0"/>
            </a:p>
          </p:txBody>
        </p:sp>
        <p:sp>
          <p:nvSpPr>
            <p:cNvPr id="1283" name="Freeform: Shape 1282">
              <a:extLst>
                <a:ext uri="{FF2B5EF4-FFF2-40B4-BE49-F238E27FC236}">
                  <a16:creationId xmlns:a16="http://schemas.microsoft.com/office/drawing/2014/main" id="{9330A813-197B-A3FC-0542-C73781D404C6}"/>
                </a:ext>
              </a:extLst>
            </p:cNvPr>
            <p:cNvSpPr/>
            <p:nvPr/>
          </p:nvSpPr>
          <p:spPr>
            <a:xfrm>
              <a:off x="967073" y="3878294"/>
              <a:ext cx="255408" cy="195452"/>
            </a:xfrm>
            <a:custGeom>
              <a:avLst/>
              <a:gdLst>
                <a:gd name="connsiteX0" fmla="*/ 34862 w 255408"/>
                <a:gd name="connsiteY0" fmla="*/ 86392 h 195452"/>
                <a:gd name="connsiteX1" fmla="*/ 48006 w 255408"/>
                <a:gd name="connsiteY1" fmla="*/ 91631 h 195452"/>
                <a:gd name="connsiteX2" fmla="*/ 53531 w 255408"/>
                <a:gd name="connsiteY2" fmla="*/ 104680 h 195452"/>
                <a:gd name="connsiteX3" fmla="*/ 53531 w 255408"/>
                <a:gd name="connsiteY3" fmla="*/ 109633 h 195452"/>
                <a:gd name="connsiteX4" fmla="*/ 58769 w 255408"/>
                <a:gd name="connsiteY4" fmla="*/ 105251 h 195452"/>
                <a:gd name="connsiteX5" fmla="*/ 75057 w 255408"/>
                <a:gd name="connsiteY5" fmla="*/ 101537 h 195452"/>
                <a:gd name="connsiteX6" fmla="*/ 88487 w 255408"/>
                <a:gd name="connsiteY6" fmla="*/ 123920 h 195452"/>
                <a:gd name="connsiteX7" fmla="*/ 87725 w 255408"/>
                <a:gd name="connsiteY7" fmla="*/ 127159 h 195452"/>
                <a:gd name="connsiteX8" fmla="*/ 91059 w 255408"/>
                <a:gd name="connsiteY8" fmla="*/ 126873 h 195452"/>
                <a:gd name="connsiteX9" fmla="*/ 94869 w 255408"/>
                <a:gd name="connsiteY9" fmla="*/ 126873 h 195452"/>
                <a:gd name="connsiteX10" fmla="*/ 107252 w 255408"/>
                <a:gd name="connsiteY10" fmla="*/ 133731 h 195452"/>
                <a:gd name="connsiteX11" fmla="*/ 111157 w 255408"/>
                <a:gd name="connsiteY11" fmla="*/ 147352 h 195452"/>
                <a:gd name="connsiteX12" fmla="*/ 110776 w 255408"/>
                <a:gd name="connsiteY12" fmla="*/ 150781 h 195452"/>
                <a:gd name="connsiteX13" fmla="*/ 114110 w 255408"/>
                <a:gd name="connsiteY13" fmla="*/ 149924 h 195452"/>
                <a:gd name="connsiteX14" fmla="*/ 127635 w 255408"/>
                <a:gd name="connsiteY14" fmla="*/ 151543 h 195452"/>
                <a:gd name="connsiteX15" fmla="*/ 134969 w 255408"/>
                <a:gd name="connsiteY15" fmla="*/ 176593 h 195452"/>
                <a:gd name="connsiteX16" fmla="*/ 134017 w 255408"/>
                <a:gd name="connsiteY16" fmla="*/ 178403 h 195452"/>
                <a:gd name="connsiteX17" fmla="*/ 154591 w 255408"/>
                <a:gd name="connsiteY17" fmla="*/ 193167 h 195452"/>
                <a:gd name="connsiteX18" fmla="*/ 162306 w 255408"/>
                <a:gd name="connsiteY18" fmla="*/ 195453 h 195452"/>
                <a:gd name="connsiteX19" fmla="*/ 173355 w 255408"/>
                <a:gd name="connsiteY19" fmla="*/ 190024 h 195452"/>
                <a:gd name="connsiteX20" fmla="*/ 170783 w 255408"/>
                <a:gd name="connsiteY20" fmla="*/ 170307 h 195452"/>
                <a:gd name="connsiteX21" fmla="*/ 134112 w 255408"/>
                <a:gd name="connsiteY21" fmla="*/ 144018 h 195452"/>
                <a:gd name="connsiteX22" fmla="*/ 133826 w 255408"/>
                <a:gd name="connsiteY22" fmla="*/ 142018 h 195452"/>
                <a:gd name="connsiteX23" fmla="*/ 135827 w 255408"/>
                <a:gd name="connsiteY23" fmla="*/ 141446 h 195452"/>
                <a:gd name="connsiteX24" fmla="*/ 184404 w 255408"/>
                <a:gd name="connsiteY24" fmla="*/ 176308 h 195452"/>
                <a:gd name="connsiteX25" fmla="*/ 205835 w 255408"/>
                <a:gd name="connsiteY25" fmla="*/ 172212 h 195452"/>
                <a:gd name="connsiteX26" fmla="*/ 208217 w 255408"/>
                <a:gd name="connsiteY26" fmla="*/ 160591 h 195452"/>
                <a:gd name="connsiteX27" fmla="*/ 201740 w 255408"/>
                <a:gd name="connsiteY27" fmla="*/ 150781 h 195452"/>
                <a:gd name="connsiteX28" fmla="*/ 150686 w 255408"/>
                <a:gd name="connsiteY28" fmla="*/ 114109 h 195452"/>
                <a:gd name="connsiteX29" fmla="*/ 150305 w 255408"/>
                <a:gd name="connsiteY29" fmla="*/ 112014 h 195452"/>
                <a:gd name="connsiteX30" fmla="*/ 151257 w 255408"/>
                <a:gd name="connsiteY30" fmla="*/ 111347 h 195452"/>
                <a:gd name="connsiteX31" fmla="*/ 152400 w 255408"/>
                <a:gd name="connsiteY31" fmla="*/ 111633 h 195452"/>
                <a:gd name="connsiteX32" fmla="*/ 210312 w 255408"/>
                <a:gd name="connsiteY32" fmla="*/ 153162 h 195452"/>
                <a:gd name="connsiteX33" fmla="*/ 231267 w 255408"/>
                <a:gd name="connsiteY33" fmla="*/ 149733 h 195452"/>
                <a:gd name="connsiteX34" fmla="*/ 228314 w 255408"/>
                <a:gd name="connsiteY34" fmla="*/ 128016 h 195452"/>
                <a:gd name="connsiteX35" fmla="*/ 167069 w 255408"/>
                <a:gd name="connsiteY35" fmla="*/ 84011 h 195452"/>
                <a:gd name="connsiteX36" fmla="*/ 166688 w 255408"/>
                <a:gd name="connsiteY36" fmla="*/ 81915 h 195452"/>
                <a:gd name="connsiteX37" fmla="*/ 168783 w 255408"/>
                <a:gd name="connsiteY37" fmla="*/ 81534 h 195452"/>
                <a:gd name="connsiteX38" fmla="*/ 232220 w 255408"/>
                <a:gd name="connsiteY38" fmla="*/ 127159 h 195452"/>
                <a:gd name="connsiteX39" fmla="*/ 251936 w 255408"/>
                <a:gd name="connsiteY39" fmla="*/ 124492 h 195452"/>
                <a:gd name="connsiteX40" fmla="*/ 255365 w 255408"/>
                <a:gd name="connsiteY40" fmla="*/ 113729 h 195452"/>
                <a:gd name="connsiteX41" fmla="*/ 250127 w 255408"/>
                <a:gd name="connsiteY41" fmla="*/ 103632 h 195452"/>
                <a:gd name="connsiteX42" fmla="*/ 164116 w 255408"/>
                <a:gd name="connsiteY42" fmla="*/ 33814 h 195452"/>
                <a:gd name="connsiteX43" fmla="*/ 162782 w 255408"/>
                <a:gd name="connsiteY43" fmla="*/ 34481 h 195452"/>
                <a:gd name="connsiteX44" fmla="*/ 104394 w 255408"/>
                <a:gd name="connsiteY44" fmla="*/ 39624 h 195452"/>
                <a:gd name="connsiteX45" fmla="*/ 97250 w 255408"/>
                <a:gd name="connsiteY45" fmla="*/ 32956 h 195452"/>
                <a:gd name="connsiteX46" fmla="*/ 97631 w 255408"/>
                <a:gd name="connsiteY46" fmla="*/ 24765 h 195452"/>
                <a:gd name="connsiteX47" fmla="*/ 103727 w 255408"/>
                <a:gd name="connsiteY47" fmla="*/ 19241 h 195452"/>
                <a:gd name="connsiteX48" fmla="*/ 134874 w 255408"/>
                <a:gd name="connsiteY48" fmla="*/ 4096 h 195452"/>
                <a:gd name="connsiteX49" fmla="*/ 140399 w 255408"/>
                <a:gd name="connsiteY49" fmla="*/ 667 h 195452"/>
                <a:gd name="connsiteX50" fmla="*/ 135922 w 255408"/>
                <a:gd name="connsiteY50" fmla="*/ 0 h 195452"/>
                <a:gd name="connsiteX51" fmla="*/ 132779 w 255408"/>
                <a:gd name="connsiteY51" fmla="*/ 2953 h 195452"/>
                <a:gd name="connsiteX52" fmla="*/ 124587 w 255408"/>
                <a:gd name="connsiteY52" fmla="*/ 4572 h 195452"/>
                <a:gd name="connsiteX53" fmla="*/ 102108 w 255408"/>
                <a:gd name="connsiteY53" fmla="*/ 14764 h 195452"/>
                <a:gd name="connsiteX54" fmla="*/ 93345 w 255408"/>
                <a:gd name="connsiteY54" fmla="*/ 22765 h 195452"/>
                <a:gd name="connsiteX55" fmla="*/ 92774 w 255408"/>
                <a:gd name="connsiteY55" fmla="*/ 34576 h 195452"/>
                <a:gd name="connsiteX56" fmla="*/ 103061 w 255408"/>
                <a:gd name="connsiteY56" fmla="*/ 44196 h 195452"/>
                <a:gd name="connsiteX57" fmla="*/ 163449 w 255408"/>
                <a:gd name="connsiteY57" fmla="*/ 39433 h 195452"/>
                <a:gd name="connsiteX58" fmla="*/ 247079 w 255408"/>
                <a:gd name="connsiteY58" fmla="*/ 107347 h 195452"/>
                <a:gd name="connsiteX59" fmla="*/ 250603 w 255408"/>
                <a:gd name="connsiteY59" fmla="*/ 114205 h 195452"/>
                <a:gd name="connsiteX60" fmla="*/ 248317 w 255408"/>
                <a:gd name="connsiteY60" fmla="*/ 121539 h 195452"/>
                <a:gd name="connsiteX61" fmla="*/ 234886 w 255408"/>
                <a:gd name="connsiteY61" fmla="*/ 123349 h 195452"/>
                <a:gd name="connsiteX62" fmla="*/ 171450 w 255408"/>
                <a:gd name="connsiteY62" fmla="*/ 77724 h 195452"/>
                <a:gd name="connsiteX63" fmla="*/ 162782 w 255408"/>
                <a:gd name="connsiteY63" fmla="*/ 79248 h 195452"/>
                <a:gd name="connsiteX64" fmla="*/ 164211 w 255408"/>
                <a:gd name="connsiteY64" fmla="*/ 87916 h 195452"/>
                <a:gd name="connsiteX65" fmla="*/ 225361 w 255408"/>
                <a:gd name="connsiteY65" fmla="*/ 131826 h 195452"/>
                <a:gd name="connsiteX66" fmla="*/ 227362 w 255408"/>
                <a:gd name="connsiteY66" fmla="*/ 146876 h 195452"/>
                <a:gd name="connsiteX67" fmla="*/ 212884 w 255408"/>
                <a:gd name="connsiteY67" fmla="*/ 149257 h 195452"/>
                <a:gd name="connsiteX68" fmla="*/ 155067 w 255408"/>
                <a:gd name="connsiteY68" fmla="*/ 107728 h 195452"/>
                <a:gd name="connsiteX69" fmla="*/ 150400 w 255408"/>
                <a:gd name="connsiteY69" fmla="*/ 106680 h 195452"/>
                <a:gd name="connsiteX70" fmla="*/ 146304 w 255408"/>
                <a:gd name="connsiteY70" fmla="*/ 109252 h 195452"/>
                <a:gd name="connsiteX71" fmla="*/ 147733 w 255408"/>
                <a:gd name="connsiteY71" fmla="*/ 117919 h 195452"/>
                <a:gd name="connsiteX72" fmla="*/ 198787 w 255408"/>
                <a:gd name="connsiteY72" fmla="*/ 154591 h 195452"/>
                <a:gd name="connsiteX73" fmla="*/ 203264 w 255408"/>
                <a:gd name="connsiteY73" fmla="*/ 161449 h 195452"/>
                <a:gd name="connsiteX74" fmla="*/ 201644 w 255408"/>
                <a:gd name="connsiteY74" fmla="*/ 169450 h 195452"/>
                <a:gd name="connsiteX75" fmla="*/ 186785 w 255408"/>
                <a:gd name="connsiteY75" fmla="*/ 172307 h 195452"/>
                <a:gd name="connsiteX76" fmla="*/ 185452 w 255408"/>
                <a:gd name="connsiteY76" fmla="*/ 174308 h 195452"/>
                <a:gd name="connsiteX77" fmla="*/ 186309 w 255408"/>
                <a:gd name="connsiteY77" fmla="*/ 172022 h 195452"/>
                <a:gd name="connsiteX78" fmla="*/ 138208 w 255408"/>
                <a:gd name="connsiteY78" fmla="*/ 137446 h 195452"/>
                <a:gd name="connsiteX79" fmla="*/ 129540 w 255408"/>
                <a:gd name="connsiteY79" fmla="*/ 139351 h 195452"/>
                <a:gd name="connsiteX80" fmla="*/ 130969 w 255408"/>
                <a:gd name="connsiteY80" fmla="*/ 147637 h 195452"/>
                <a:gd name="connsiteX81" fmla="*/ 167640 w 255408"/>
                <a:gd name="connsiteY81" fmla="*/ 173927 h 195452"/>
                <a:gd name="connsiteX82" fmla="*/ 169259 w 255408"/>
                <a:gd name="connsiteY82" fmla="*/ 186881 h 195452"/>
                <a:gd name="connsiteX83" fmla="*/ 156877 w 255408"/>
                <a:gd name="connsiteY83" fmla="*/ 188976 h 195452"/>
                <a:gd name="connsiteX84" fmla="*/ 139637 w 255408"/>
                <a:gd name="connsiteY84" fmla="*/ 176593 h 195452"/>
                <a:gd name="connsiteX85" fmla="*/ 129445 w 255408"/>
                <a:gd name="connsiteY85" fmla="*/ 146971 h 195452"/>
                <a:gd name="connsiteX86" fmla="*/ 115634 w 255408"/>
                <a:gd name="connsiteY86" fmla="*/ 144304 h 195452"/>
                <a:gd name="connsiteX87" fmla="*/ 110585 w 255408"/>
                <a:gd name="connsiteY87" fmla="*/ 130397 h 195452"/>
                <a:gd name="connsiteX88" fmla="*/ 95060 w 255408"/>
                <a:gd name="connsiteY88" fmla="*/ 121730 h 195452"/>
                <a:gd name="connsiteX89" fmla="*/ 93345 w 255408"/>
                <a:gd name="connsiteY89" fmla="*/ 121634 h 195452"/>
                <a:gd name="connsiteX90" fmla="*/ 75914 w 255408"/>
                <a:gd name="connsiteY90" fmla="*/ 96488 h 195452"/>
                <a:gd name="connsiteX91" fmla="*/ 57531 w 255408"/>
                <a:gd name="connsiteY91" fmla="*/ 99631 h 195452"/>
                <a:gd name="connsiteX92" fmla="*/ 51054 w 255408"/>
                <a:gd name="connsiteY92" fmla="*/ 87725 h 195452"/>
                <a:gd name="connsiteX93" fmla="*/ 34862 w 255408"/>
                <a:gd name="connsiteY93" fmla="*/ 81153 h 195452"/>
                <a:gd name="connsiteX94" fmla="*/ 34576 w 255408"/>
                <a:gd name="connsiteY94" fmla="*/ 81153 h 195452"/>
                <a:gd name="connsiteX95" fmla="*/ 20098 w 255408"/>
                <a:gd name="connsiteY95" fmla="*/ 86487 h 195452"/>
                <a:gd name="connsiteX96" fmla="*/ 8192 w 255408"/>
                <a:gd name="connsiteY96" fmla="*/ 96298 h 195452"/>
                <a:gd name="connsiteX97" fmla="*/ 0 w 255408"/>
                <a:gd name="connsiteY97" fmla="*/ 104775 h 195452"/>
                <a:gd name="connsiteX98" fmla="*/ 4953 w 255408"/>
                <a:gd name="connsiteY98" fmla="*/ 107061 h 195452"/>
                <a:gd name="connsiteX99" fmla="*/ 23146 w 255408"/>
                <a:gd name="connsiteY99" fmla="*/ 90106 h 195452"/>
                <a:gd name="connsiteX100" fmla="*/ 34671 w 255408"/>
                <a:gd name="connsiteY100" fmla="*/ 85916 h 195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255408" h="195452">
                  <a:moveTo>
                    <a:pt x="34862" y="86392"/>
                  </a:moveTo>
                  <a:cubicBezTo>
                    <a:pt x="39719" y="86392"/>
                    <a:pt x="44482" y="88202"/>
                    <a:pt x="48006" y="91631"/>
                  </a:cubicBezTo>
                  <a:cubicBezTo>
                    <a:pt x="51530" y="95059"/>
                    <a:pt x="53531" y="99727"/>
                    <a:pt x="53531" y="104680"/>
                  </a:cubicBezTo>
                  <a:lnTo>
                    <a:pt x="53531" y="109633"/>
                  </a:lnTo>
                  <a:cubicBezTo>
                    <a:pt x="53531" y="109633"/>
                    <a:pt x="58769" y="105251"/>
                    <a:pt x="58769" y="105251"/>
                  </a:cubicBezTo>
                  <a:cubicBezTo>
                    <a:pt x="63246" y="101537"/>
                    <a:pt x="69342" y="100108"/>
                    <a:pt x="75057" y="101537"/>
                  </a:cubicBezTo>
                  <a:cubicBezTo>
                    <a:pt x="84963" y="104013"/>
                    <a:pt x="90964" y="114014"/>
                    <a:pt x="88487" y="123920"/>
                  </a:cubicBezTo>
                  <a:lnTo>
                    <a:pt x="87725" y="127159"/>
                  </a:lnTo>
                  <a:lnTo>
                    <a:pt x="91059" y="126873"/>
                  </a:lnTo>
                  <a:cubicBezTo>
                    <a:pt x="92297" y="126778"/>
                    <a:pt x="93631" y="126778"/>
                    <a:pt x="94869" y="126873"/>
                  </a:cubicBezTo>
                  <a:cubicBezTo>
                    <a:pt x="99727" y="127444"/>
                    <a:pt x="104108" y="129921"/>
                    <a:pt x="107252" y="133731"/>
                  </a:cubicBezTo>
                  <a:cubicBezTo>
                    <a:pt x="110300" y="137636"/>
                    <a:pt x="111728" y="142399"/>
                    <a:pt x="111157" y="147352"/>
                  </a:cubicBezTo>
                  <a:lnTo>
                    <a:pt x="110776" y="150781"/>
                  </a:lnTo>
                  <a:lnTo>
                    <a:pt x="114110" y="149924"/>
                  </a:lnTo>
                  <a:cubicBezTo>
                    <a:pt x="118682" y="148685"/>
                    <a:pt x="123444" y="149352"/>
                    <a:pt x="127635" y="151543"/>
                  </a:cubicBezTo>
                  <a:cubicBezTo>
                    <a:pt x="136589" y="156401"/>
                    <a:pt x="139827" y="167735"/>
                    <a:pt x="134969" y="176593"/>
                  </a:cubicBezTo>
                  <a:lnTo>
                    <a:pt x="134017" y="178403"/>
                  </a:lnTo>
                  <a:lnTo>
                    <a:pt x="154591" y="193167"/>
                  </a:lnTo>
                  <a:cubicBezTo>
                    <a:pt x="156972" y="194786"/>
                    <a:pt x="159639" y="195453"/>
                    <a:pt x="162306" y="195453"/>
                  </a:cubicBezTo>
                  <a:cubicBezTo>
                    <a:pt x="166497" y="195453"/>
                    <a:pt x="170688" y="193548"/>
                    <a:pt x="173355" y="190024"/>
                  </a:cubicBezTo>
                  <a:cubicBezTo>
                    <a:pt x="178022" y="183928"/>
                    <a:pt x="176975" y="175069"/>
                    <a:pt x="170783" y="170307"/>
                  </a:cubicBezTo>
                  <a:lnTo>
                    <a:pt x="134112" y="144018"/>
                  </a:lnTo>
                  <a:cubicBezTo>
                    <a:pt x="133541" y="143542"/>
                    <a:pt x="133350" y="142685"/>
                    <a:pt x="133826" y="142018"/>
                  </a:cubicBezTo>
                  <a:cubicBezTo>
                    <a:pt x="134303" y="141351"/>
                    <a:pt x="135255" y="141065"/>
                    <a:pt x="135827" y="141446"/>
                  </a:cubicBezTo>
                  <a:lnTo>
                    <a:pt x="184404" y="176308"/>
                  </a:lnTo>
                  <a:cubicBezTo>
                    <a:pt x="191453" y="181070"/>
                    <a:pt x="201073" y="179261"/>
                    <a:pt x="205835" y="172212"/>
                  </a:cubicBezTo>
                  <a:cubicBezTo>
                    <a:pt x="208121" y="168783"/>
                    <a:pt x="208979" y="164687"/>
                    <a:pt x="208217" y="160591"/>
                  </a:cubicBezTo>
                  <a:cubicBezTo>
                    <a:pt x="207455" y="156496"/>
                    <a:pt x="205169" y="153067"/>
                    <a:pt x="201740" y="150781"/>
                  </a:cubicBezTo>
                  <a:lnTo>
                    <a:pt x="150686" y="114109"/>
                  </a:lnTo>
                  <a:cubicBezTo>
                    <a:pt x="150019" y="113633"/>
                    <a:pt x="149828" y="112681"/>
                    <a:pt x="150305" y="112014"/>
                  </a:cubicBezTo>
                  <a:cubicBezTo>
                    <a:pt x="150495" y="111633"/>
                    <a:pt x="150876" y="111443"/>
                    <a:pt x="151257" y="111347"/>
                  </a:cubicBezTo>
                  <a:cubicBezTo>
                    <a:pt x="151638" y="111347"/>
                    <a:pt x="152019" y="111347"/>
                    <a:pt x="152400" y="111633"/>
                  </a:cubicBezTo>
                  <a:lnTo>
                    <a:pt x="210312" y="153162"/>
                  </a:lnTo>
                  <a:cubicBezTo>
                    <a:pt x="217075" y="157734"/>
                    <a:pt x="226314" y="156210"/>
                    <a:pt x="231267" y="149733"/>
                  </a:cubicBezTo>
                  <a:cubicBezTo>
                    <a:pt x="236410" y="142970"/>
                    <a:pt x="235077" y="133255"/>
                    <a:pt x="228314" y="128016"/>
                  </a:cubicBezTo>
                  <a:lnTo>
                    <a:pt x="167069" y="84011"/>
                  </a:lnTo>
                  <a:cubicBezTo>
                    <a:pt x="166402" y="83534"/>
                    <a:pt x="166211" y="82582"/>
                    <a:pt x="166688" y="81915"/>
                  </a:cubicBezTo>
                  <a:cubicBezTo>
                    <a:pt x="167164" y="81248"/>
                    <a:pt x="168116" y="81058"/>
                    <a:pt x="168783" y="81534"/>
                  </a:cubicBezTo>
                  <a:lnTo>
                    <a:pt x="232220" y="127159"/>
                  </a:lnTo>
                  <a:cubicBezTo>
                    <a:pt x="238601" y="131540"/>
                    <a:pt x="247079" y="130397"/>
                    <a:pt x="251936" y="124492"/>
                  </a:cubicBezTo>
                  <a:cubicBezTo>
                    <a:pt x="254508" y="121444"/>
                    <a:pt x="255651" y="117634"/>
                    <a:pt x="255365" y="113729"/>
                  </a:cubicBezTo>
                  <a:cubicBezTo>
                    <a:pt x="254984" y="109823"/>
                    <a:pt x="253175" y="106204"/>
                    <a:pt x="250127" y="103632"/>
                  </a:cubicBezTo>
                  <a:lnTo>
                    <a:pt x="164116" y="33814"/>
                  </a:lnTo>
                  <a:lnTo>
                    <a:pt x="162782" y="34481"/>
                  </a:lnTo>
                  <a:cubicBezTo>
                    <a:pt x="144590" y="43339"/>
                    <a:pt x="123825" y="45148"/>
                    <a:pt x="104394" y="39624"/>
                  </a:cubicBezTo>
                  <a:cubicBezTo>
                    <a:pt x="101060" y="38671"/>
                    <a:pt x="98393" y="36195"/>
                    <a:pt x="97250" y="32956"/>
                  </a:cubicBezTo>
                  <a:cubicBezTo>
                    <a:pt x="96298" y="30290"/>
                    <a:pt x="96393" y="27337"/>
                    <a:pt x="97631" y="24765"/>
                  </a:cubicBezTo>
                  <a:cubicBezTo>
                    <a:pt x="98870" y="22193"/>
                    <a:pt x="100965" y="20193"/>
                    <a:pt x="103727" y="19241"/>
                  </a:cubicBezTo>
                  <a:cubicBezTo>
                    <a:pt x="114586" y="15335"/>
                    <a:pt x="125063" y="10192"/>
                    <a:pt x="134874" y="4096"/>
                  </a:cubicBezTo>
                  <a:lnTo>
                    <a:pt x="140399" y="667"/>
                  </a:lnTo>
                  <a:lnTo>
                    <a:pt x="135922" y="0"/>
                  </a:lnTo>
                  <a:lnTo>
                    <a:pt x="132779" y="2953"/>
                  </a:lnTo>
                  <a:lnTo>
                    <a:pt x="124587" y="4572"/>
                  </a:lnTo>
                  <a:cubicBezTo>
                    <a:pt x="117348" y="8477"/>
                    <a:pt x="109823" y="12002"/>
                    <a:pt x="102108" y="14764"/>
                  </a:cubicBezTo>
                  <a:cubicBezTo>
                    <a:pt x="98203" y="16193"/>
                    <a:pt x="95155" y="18955"/>
                    <a:pt x="93345" y="22765"/>
                  </a:cubicBezTo>
                  <a:cubicBezTo>
                    <a:pt x="91631" y="26480"/>
                    <a:pt x="91440" y="30670"/>
                    <a:pt x="92774" y="34576"/>
                  </a:cubicBezTo>
                  <a:cubicBezTo>
                    <a:pt x="94488" y="39243"/>
                    <a:pt x="98298" y="42863"/>
                    <a:pt x="103061" y="44196"/>
                  </a:cubicBezTo>
                  <a:cubicBezTo>
                    <a:pt x="123158" y="49911"/>
                    <a:pt x="144590" y="48196"/>
                    <a:pt x="163449" y="39433"/>
                  </a:cubicBezTo>
                  <a:lnTo>
                    <a:pt x="247079" y="107347"/>
                  </a:lnTo>
                  <a:cubicBezTo>
                    <a:pt x="249174" y="109061"/>
                    <a:pt x="250412" y="111538"/>
                    <a:pt x="250603" y="114205"/>
                  </a:cubicBezTo>
                  <a:cubicBezTo>
                    <a:pt x="250793" y="116872"/>
                    <a:pt x="250031" y="119443"/>
                    <a:pt x="248317" y="121539"/>
                  </a:cubicBezTo>
                  <a:cubicBezTo>
                    <a:pt x="244983" y="125540"/>
                    <a:pt x="239173" y="126302"/>
                    <a:pt x="234886" y="123349"/>
                  </a:cubicBezTo>
                  <a:lnTo>
                    <a:pt x="171450" y="77724"/>
                  </a:lnTo>
                  <a:cubicBezTo>
                    <a:pt x="168593" y="75724"/>
                    <a:pt x="164687" y="76486"/>
                    <a:pt x="162782" y="79248"/>
                  </a:cubicBezTo>
                  <a:cubicBezTo>
                    <a:pt x="160877" y="82010"/>
                    <a:pt x="161544" y="85820"/>
                    <a:pt x="164211" y="87916"/>
                  </a:cubicBezTo>
                  <a:lnTo>
                    <a:pt x="225361" y="131826"/>
                  </a:lnTo>
                  <a:cubicBezTo>
                    <a:pt x="230029" y="135446"/>
                    <a:pt x="230981" y="142208"/>
                    <a:pt x="227362" y="146876"/>
                  </a:cubicBezTo>
                  <a:cubicBezTo>
                    <a:pt x="223933" y="151448"/>
                    <a:pt x="217551" y="152495"/>
                    <a:pt x="212884" y="149257"/>
                  </a:cubicBezTo>
                  <a:lnTo>
                    <a:pt x="155067" y="107728"/>
                  </a:lnTo>
                  <a:cubicBezTo>
                    <a:pt x="153734" y="106775"/>
                    <a:pt x="152114" y="106394"/>
                    <a:pt x="150400" y="106680"/>
                  </a:cubicBezTo>
                  <a:cubicBezTo>
                    <a:pt x="148781" y="106966"/>
                    <a:pt x="147352" y="107918"/>
                    <a:pt x="146304" y="109252"/>
                  </a:cubicBezTo>
                  <a:cubicBezTo>
                    <a:pt x="144304" y="112014"/>
                    <a:pt x="144971" y="115919"/>
                    <a:pt x="147733" y="117919"/>
                  </a:cubicBezTo>
                  <a:lnTo>
                    <a:pt x="198787" y="154591"/>
                  </a:lnTo>
                  <a:cubicBezTo>
                    <a:pt x="201168" y="156210"/>
                    <a:pt x="202787" y="158591"/>
                    <a:pt x="203264" y="161449"/>
                  </a:cubicBezTo>
                  <a:cubicBezTo>
                    <a:pt x="203835" y="164211"/>
                    <a:pt x="203264" y="167164"/>
                    <a:pt x="201644" y="169450"/>
                  </a:cubicBezTo>
                  <a:cubicBezTo>
                    <a:pt x="198311" y="174308"/>
                    <a:pt x="191643" y="175641"/>
                    <a:pt x="186785" y="172307"/>
                  </a:cubicBezTo>
                  <a:lnTo>
                    <a:pt x="185452" y="174308"/>
                  </a:lnTo>
                  <a:lnTo>
                    <a:pt x="186309" y="172022"/>
                  </a:lnTo>
                  <a:lnTo>
                    <a:pt x="138208" y="137446"/>
                  </a:lnTo>
                  <a:cubicBezTo>
                    <a:pt x="135350" y="135636"/>
                    <a:pt x="131445" y="136493"/>
                    <a:pt x="129540" y="139351"/>
                  </a:cubicBezTo>
                  <a:cubicBezTo>
                    <a:pt x="127826" y="142018"/>
                    <a:pt x="128397" y="145542"/>
                    <a:pt x="130969" y="147637"/>
                  </a:cubicBezTo>
                  <a:lnTo>
                    <a:pt x="167640" y="173927"/>
                  </a:lnTo>
                  <a:cubicBezTo>
                    <a:pt x="171641" y="177070"/>
                    <a:pt x="172403" y="182880"/>
                    <a:pt x="169259" y="186881"/>
                  </a:cubicBezTo>
                  <a:cubicBezTo>
                    <a:pt x="166307" y="190690"/>
                    <a:pt x="160877" y="191643"/>
                    <a:pt x="156877" y="188976"/>
                  </a:cubicBezTo>
                  <a:lnTo>
                    <a:pt x="139637" y="176593"/>
                  </a:lnTo>
                  <a:cubicBezTo>
                    <a:pt x="144399" y="165735"/>
                    <a:pt x="140113" y="152781"/>
                    <a:pt x="129445" y="146971"/>
                  </a:cubicBezTo>
                  <a:cubicBezTo>
                    <a:pt x="125159" y="144685"/>
                    <a:pt x="120301" y="143732"/>
                    <a:pt x="115634" y="144304"/>
                  </a:cubicBezTo>
                  <a:cubicBezTo>
                    <a:pt x="115634" y="139256"/>
                    <a:pt x="113824" y="134398"/>
                    <a:pt x="110585" y="130397"/>
                  </a:cubicBezTo>
                  <a:cubicBezTo>
                    <a:pt x="106680" y="125540"/>
                    <a:pt x="101251" y="122492"/>
                    <a:pt x="95060" y="121730"/>
                  </a:cubicBezTo>
                  <a:cubicBezTo>
                    <a:pt x="94488" y="121730"/>
                    <a:pt x="93917" y="121634"/>
                    <a:pt x="93345" y="121634"/>
                  </a:cubicBezTo>
                  <a:cubicBezTo>
                    <a:pt x="94678" y="110204"/>
                    <a:pt x="87344" y="99346"/>
                    <a:pt x="75914" y="96488"/>
                  </a:cubicBezTo>
                  <a:cubicBezTo>
                    <a:pt x="69628" y="94964"/>
                    <a:pt x="62960" y="96107"/>
                    <a:pt x="57531" y="99631"/>
                  </a:cubicBezTo>
                  <a:cubicBezTo>
                    <a:pt x="56579" y="95155"/>
                    <a:pt x="54388" y="91059"/>
                    <a:pt x="51054" y="87725"/>
                  </a:cubicBezTo>
                  <a:cubicBezTo>
                    <a:pt x="46673" y="83439"/>
                    <a:pt x="40958" y="81153"/>
                    <a:pt x="34862" y="81153"/>
                  </a:cubicBezTo>
                  <a:lnTo>
                    <a:pt x="34576" y="81153"/>
                  </a:lnTo>
                  <a:cubicBezTo>
                    <a:pt x="29242" y="81153"/>
                    <a:pt x="24194" y="83058"/>
                    <a:pt x="20098" y="86487"/>
                  </a:cubicBezTo>
                  <a:lnTo>
                    <a:pt x="8192" y="96298"/>
                  </a:lnTo>
                  <a:lnTo>
                    <a:pt x="0" y="104775"/>
                  </a:lnTo>
                  <a:lnTo>
                    <a:pt x="4953" y="107061"/>
                  </a:lnTo>
                  <a:lnTo>
                    <a:pt x="23146" y="90106"/>
                  </a:lnTo>
                  <a:cubicBezTo>
                    <a:pt x="26384" y="87440"/>
                    <a:pt x="30480" y="85916"/>
                    <a:pt x="34671" y="85916"/>
                  </a:cubicBezTo>
                </a:path>
              </a:pathLst>
            </a:custGeom>
            <a:grpFill/>
            <a:ln w="9525" cap="flat">
              <a:noFill/>
              <a:prstDash val="solid"/>
              <a:miter/>
            </a:ln>
          </p:spPr>
          <p:txBody>
            <a:bodyPr rtlCol="0" anchor="ctr"/>
            <a:lstStyle/>
            <a:p>
              <a:endParaRPr lang="en-US" dirty="0"/>
            </a:p>
          </p:txBody>
        </p:sp>
        <p:sp>
          <p:nvSpPr>
            <p:cNvPr id="1284" name="Freeform: Shape 1283">
              <a:extLst>
                <a:ext uri="{FF2B5EF4-FFF2-40B4-BE49-F238E27FC236}">
                  <a16:creationId xmlns:a16="http://schemas.microsoft.com/office/drawing/2014/main" id="{BE42E877-69F7-950F-3B7B-86B2CE5C5A6B}"/>
                </a:ext>
              </a:extLst>
            </p:cNvPr>
            <p:cNvSpPr/>
            <p:nvPr/>
          </p:nvSpPr>
          <p:spPr>
            <a:xfrm>
              <a:off x="929639" y="3937920"/>
              <a:ext cx="18859" cy="21716"/>
            </a:xfrm>
            <a:custGeom>
              <a:avLst/>
              <a:gdLst>
                <a:gd name="connsiteX0" fmla="*/ 18860 w 18859"/>
                <a:gd name="connsiteY0" fmla="*/ 16288 h 21716"/>
                <a:gd name="connsiteX1" fmla="*/ 18860 w 18859"/>
                <a:gd name="connsiteY1" fmla="*/ 5429 h 21716"/>
                <a:gd name="connsiteX2" fmla="*/ 9430 w 18859"/>
                <a:gd name="connsiteY2" fmla="*/ 0 h 21716"/>
                <a:gd name="connsiteX3" fmla="*/ 0 w 18859"/>
                <a:gd name="connsiteY3" fmla="*/ 5429 h 21716"/>
                <a:gd name="connsiteX4" fmla="*/ 0 w 18859"/>
                <a:gd name="connsiteY4" fmla="*/ 16288 h 21716"/>
                <a:gd name="connsiteX5" fmla="*/ 9430 w 18859"/>
                <a:gd name="connsiteY5" fmla="*/ 21717 h 21716"/>
                <a:gd name="connsiteX6" fmla="*/ 18860 w 18859"/>
                <a:gd name="connsiteY6" fmla="*/ 16288 h 21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59" h="21716">
                  <a:moveTo>
                    <a:pt x="18860" y="16288"/>
                  </a:moveTo>
                  <a:lnTo>
                    <a:pt x="18860" y="5429"/>
                  </a:lnTo>
                  <a:lnTo>
                    <a:pt x="9430" y="0"/>
                  </a:lnTo>
                  <a:lnTo>
                    <a:pt x="0" y="5429"/>
                  </a:lnTo>
                  <a:lnTo>
                    <a:pt x="0" y="16288"/>
                  </a:lnTo>
                  <a:lnTo>
                    <a:pt x="9430" y="21717"/>
                  </a:lnTo>
                  <a:lnTo>
                    <a:pt x="18860" y="16288"/>
                  </a:lnTo>
                  <a:close/>
                </a:path>
              </a:pathLst>
            </a:custGeom>
            <a:grpFill/>
            <a:ln w="9525" cap="flat">
              <a:noFill/>
              <a:prstDash val="solid"/>
              <a:miter/>
            </a:ln>
          </p:spPr>
          <p:txBody>
            <a:bodyPr rtlCol="0" anchor="ctr"/>
            <a:lstStyle/>
            <a:p>
              <a:endParaRPr lang="en-US" dirty="0"/>
            </a:p>
          </p:txBody>
        </p:sp>
        <p:sp>
          <p:nvSpPr>
            <p:cNvPr id="1285" name="Freeform: Shape 1284">
              <a:extLst>
                <a:ext uri="{FF2B5EF4-FFF2-40B4-BE49-F238E27FC236}">
                  <a16:creationId xmlns:a16="http://schemas.microsoft.com/office/drawing/2014/main" id="{97BDF346-033E-CF7C-6660-324C5C462A18}"/>
                </a:ext>
              </a:extLst>
            </p:cNvPr>
            <p:cNvSpPr/>
            <p:nvPr/>
          </p:nvSpPr>
          <p:spPr>
            <a:xfrm>
              <a:off x="885825" y="3822287"/>
              <a:ext cx="225075" cy="174021"/>
            </a:xfrm>
            <a:custGeom>
              <a:avLst/>
              <a:gdLst>
                <a:gd name="connsiteX0" fmla="*/ 175069 w 225075"/>
                <a:gd name="connsiteY0" fmla="*/ 52483 h 174021"/>
                <a:gd name="connsiteX1" fmla="*/ 138303 w 225075"/>
                <a:gd name="connsiteY1" fmla="*/ 52483 h 174021"/>
                <a:gd name="connsiteX2" fmla="*/ 147257 w 225075"/>
                <a:gd name="connsiteY2" fmla="*/ 37910 h 174021"/>
                <a:gd name="connsiteX3" fmla="*/ 83439 w 225075"/>
                <a:gd name="connsiteY3" fmla="*/ 0 h 174021"/>
                <a:gd name="connsiteX4" fmla="*/ 0 w 225075"/>
                <a:gd name="connsiteY4" fmla="*/ 135350 h 174021"/>
                <a:gd name="connsiteX5" fmla="*/ 64580 w 225075"/>
                <a:gd name="connsiteY5" fmla="*/ 174022 h 174021"/>
                <a:gd name="connsiteX6" fmla="*/ 75343 w 225075"/>
                <a:gd name="connsiteY6" fmla="*/ 156210 h 174021"/>
                <a:gd name="connsiteX7" fmla="*/ 82487 w 225075"/>
                <a:gd name="connsiteY7" fmla="*/ 162211 h 174021"/>
                <a:gd name="connsiteX8" fmla="*/ 89345 w 225075"/>
                <a:gd name="connsiteY8" fmla="*/ 154019 h 174021"/>
                <a:gd name="connsiteX9" fmla="*/ 80867 w 225075"/>
                <a:gd name="connsiteY9" fmla="*/ 146875 h 174021"/>
                <a:gd name="connsiteX10" fmla="*/ 131636 w 225075"/>
                <a:gd name="connsiteY10" fmla="*/ 63246 h 174021"/>
                <a:gd name="connsiteX11" fmla="*/ 176022 w 225075"/>
                <a:gd name="connsiteY11" fmla="*/ 63056 h 174021"/>
                <a:gd name="connsiteX12" fmla="*/ 213551 w 225075"/>
                <a:gd name="connsiteY12" fmla="*/ 59341 h 174021"/>
                <a:gd name="connsiteX13" fmla="*/ 225076 w 225075"/>
                <a:gd name="connsiteY13" fmla="*/ 49911 h 174021"/>
                <a:gd name="connsiteX14" fmla="*/ 174974 w 225075"/>
                <a:gd name="connsiteY14" fmla="*/ 52388 h 174021"/>
                <a:gd name="connsiteX15" fmla="*/ 60960 w 225075"/>
                <a:gd name="connsiteY15" fmla="*/ 159353 h 174021"/>
                <a:gd name="connsiteX16" fmla="*/ 14764 w 225075"/>
                <a:gd name="connsiteY16" fmla="*/ 131731 h 174021"/>
                <a:gd name="connsiteX17" fmla="*/ 86963 w 225075"/>
                <a:gd name="connsiteY17" fmla="*/ 14573 h 174021"/>
                <a:gd name="connsiteX18" fmla="*/ 132398 w 225075"/>
                <a:gd name="connsiteY18" fmla="*/ 41529 h 174021"/>
                <a:gd name="connsiteX19" fmla="*/ 60960 w 225075"/>
                <a:gd name="connsiteY19" fmla="*/ 159258 h 17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5075" h="174021">
                  <a:moveTo>
                    <a:pt x="175069" y="52483"/>
                  </a:moveTo>
                  <a:lnTo>
                    <a:pt x="138303" y="52483"/>
                  </a:lnTo>
                  <a:cubicBezTo>
                    <a:pt x="138303" y="52483"/>
                    <a:pt x="147257" y="37910"/>
                    <a:pt x="147257" y="37910"/>
                  </a:cubicBezTo>
                  <a:lnTo>
                    <a:pt x="83439" y="0"/>
                  </a:lnTo>
                  <a:lnTo>
                    <a:pt x="0" y="135350"/>
                  </a:lnTo>
                  <a:lnTo>
                    <a:pt x="64580" y="174022"/>
                  </a:lnTo>
                  <a:lnTo>
                    <a:pt x="75343" y="156210"/>
                  </a:lnTo>
                  <a:lnTo>
                    <a:pt x="82487" y="162211"/>
                  </a:lnTo>
                  <a:lnTo>
                    <a:pt x="89345" y="154019"/>
                  </a:lnTo>
                  <a:lnTo>
                    <a:pt x="80867" y="146875"/>
                  </a:lnTo>
                  <a:lnTo>
                    <a:pt x="131636" y="63246"/>
                  </a:lnTo>
                  <a:lnTo>
                    <a:pt x="176022" y="63056"/>
                  </a:lnTo>
                  <a:cubicBezTo>
                    <a:pt x="184214" y="61341"/>
                    <a:pt x="203740" y="57722"/>
                    <a:pt x="213551" y="59341"/>
                  </a:cubicBezTo>
                  <a:lnTo>
                    <a:pt x="225076" y="49911"/>
                  </a:lnTo>
                  <a:cubicBezTo>
                    <a:pt x="212122" y="44196"/>
                    <a:pt x="175546" y="50578"/>
                    <a:pt x="174974" y="52388"/>
                  </a:cubicBezTo>
                  <a:moveTo>
                    <a:pt x="60960" y="159353"/>
                  </a:moveTo>
                  <a:lnTo>
                    <a:pt x="14764" y="131731"/>
                  </a:lnTo>
                  <a:lnTo>
                    <a:pt x="86963" y="14573"/>
                  </a:lnTo>
                  <a:lnTo>
                    <a:pt x="132398" y="41529"/>
                  </a:lnTo>
                  <a:lnTo>
                    <a:pt x="60960" y="159258"/>
                  </a:lnTo>
                  <a:close/>
                </a:path>
              </a:pathLst>
            </a:custGeom>
            <a:grpFill/>
            <a:ln w="9525" cap="flat">
              <a:noFill/>
              <a:prstDash val="solid"/>
              <a:miter/>
            </a:ln>
          </p:spPr>
          <p:txBody>
            <a:bodyPr rtlCol="0" anchor="ctr"/>
            <a:lstStyle/>
            <a:p>
              <a:endParaRPr lang="en-US" dirty="0"/>
            </a:p>
          </p:txBody>
        </p:sp>
        <p:sp>
          <p:nvSpPr>
            <p:cNvPr id="1286" name="Freeform: Shape 1285">
              <a:extLst>
                <a:ext uri="{FF2B5EF4-FFF2-40B4-BE49-F238E27FC236}">
                  <a16:creationId xmlns:a16="http://schemas.microsoft.com/office/drawing/2014/main" id="{52AF6BAF-D205-DF2E-9C00-5D3F1B32E048}"/>
                </a:ext>
              </a:extLst>
            </p:cNvPr>
            <p:cNvSpPr/>
            <p:nvPr/>
          </p:nvSpPr>
          <p:spPr>
            <a:xfrm>
              <a:off x="1096464" y="3955592"/>
              <a:ext cx="134143" cy="126640"/>
            </a:xfrm>
            <a:custGeom>
              <a:avLst/>
              <a:gdLst>
                <a:gd name="connsiteX0" fmla="*/ 2720 w 134143"/>
                <a:gd name="connsiteY0" fmla="*/ 109582 h 126640"/>
                <a:gd name="connsiteX1" fmla="*/ 24533 w 134143"/>
                <a:gd name="connsiteY1" fmla="*/ 124632 h 126640"/>
                <a:gd name="connsiteX2" fmla="*/ 49964 w 134143"/>
                <a:gd name="connsiteY2" fmla="*/ 118345 h 126640"/>
                <a:gd name="connsiteX3" fmla="*/ 54632 w 134143"/>
                <a:gd name="connsiteY3" fmla="*/ 107868 h 126640"/>
                <a:gd name="connsiteX4" fmla="*/ 82064 w 134143"/>
                <a:gd name="connsiteY4" fmla="*/ 100057 h 126640"/>
                <a:gd name="connsiteX5" fmla="*/ 86540 w 134143"/>
                <a:gd name="connsiteY5" fmla="*/ 86722 h 126640"/>
                <a:gd name="connsiteX6" fmla="*/ 107400 w 134143"/>
                <a:gd name="connsiteY6" fmla="*/ 79102 h 126640"/>
                <a:gd name="connsiteX7" fmla="*/ 113020 w 134143"/>
                <a:gd name="connsiteY7" fmla="*/ 60814 h 126640"/>
                <a:gd name="connsiteX8" fmla="*/ 134070 w 134143"/>
                <a:gd name="connsiteY8" fmla="*/ 37002 h 126640"/>
                <a:gd name="connsiteX9" fmla="*/ 117306 w 134143"/>
                <a:gd name="connsiteY9" fmla="*/ 30049 h 126640"/>
                <a:gd name="connsiteX10" fmla="*/ 119687 w 134143"/>
                <a:gd name="connsiteY10" fmla="*/ 43860 h 126640"/>
                <a:gd name="connsiteX11" fmla="*/ 103685 w 134143"/>
                <a:gd name="connsiteY11" fmla="*/ 45003 h 126640"/>
                <a:gd name="connsiteX12" fmla="*/ 47869 w 134143"/>
                <a:gd name="connsiteY12" fmla="*/ 4903 h 126640"/>
                <a:gd name="connsiteX13" fmla="*/ 33962 w 134143"/>
                <a:gd name="connsiteY13" fmla="*/ 1950 h 126640"/>
                <a:gd name="connsiteX14" fmla="*/ 38058 w 134143"/>
                <a:gd name="connsiteY14" fmla="*/ 13189 h 126640"/>
                <a:gd name="connsiteX15" fmla="*/ 94732 w 134143"/>
                <a:gd name="connsiteY15" fmla="*/ 53861 h 126640"/>
                <a:gd name="connsiteX16" fmla="*/ 99018 w 134143"/>
                <a:gd name="connsiteY16" fmla="*/ 69006 h 126640"/>
                <a:gd name="connsiteX17" fmla="*/ 79111 w 134143"/>
                <a:gd name="connsiteY17" fmla="*/ 69006 h 126640"/>
                <a:gd name="connsiteX18" fmla="*/ 27390 w 134143"/>
                <a:gd name="connsiteY18" fmla="*/ 31858 h 126640"/>
                <a:gd name="connsiteX19" fmla="*/ 17675 w 134143"/>
                <a:gd name="connsiteY19" fmla="*/ 31858 h 126640"/>
                <a:gd name="connsiteX20" fmla="*/ 20437 w 134143"/>
                <a:gd name="connsiteY20" fmla="*/ 42336 h 126640"/>
                <a:gd name="connsiteX21" fmla="*/ 68729 w 134143"/>
                <a:gd name="connsiteY21" fmla="*/ 77102 h 126640"/>
                <a:gd name="connsiteX22" fmla="*/ 72062 w 134143"/>
                <a:gd name="connsiteY22" fmla="*/ 93295 h 126640"/>
                <a:gd name="connsiteX23" fmla="*/ 51965 w 134143"/>
                <a:gd name="connsiteY23" fmla="*/ 91390 h 126640"/>
                <a:gd name="connsiteX24" fmla="*/ 11102 w 134143"/>
                <a:gd name="connsiteY24" fmla="*/ 62053 h 126640"/>
                <a:gd name="connsiteX25" fmla="*/ 1673 w 134143"/>
                <a:gd name="connsiteY25" fmla="*/ 61100 h 126640"/>
                <a:gd name="connsiteX26" fmla="*/ 6149 w 134143"/>
                <a:gd name="connsiteY26" fmla="*/ 73864 h 126640"/>
                <a:gd name="connsiteX27" fmla="*/ 38915 w 134143"/>
                <a:gd name="connsiteY27" fmla="*/ 97390 h 126640"/>
                <a:gd name="connsiteX28" fmla="*/ 40630 w 134143"/>
                <a:gd name="connsiteY28" fmla="*/ 109487 h 126640"/>
                <a:gd name="connsiteX29" fmla="*/ 26533 w 134143"/>
                <a:gd name="connsiteY29" fmla="*/ 111202 h 126640"/>
                <a:gd name="connsiteX30" fmla="*/ 10626 w 134143"/>
                <a:gd name="connsiteY30" fmla="*/ 99772 h 126640"/>
                <a:gd name="connsiteX31" fmla="*/ 2816 w 134143"/>
                <a:gd name="connsiteY31" fmla="*/ 109487 h 126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4143" h="126640">
                  <a:moveTo>
                    <a:pt x="2720" y="109582"/>
                  </a:moveTo>
                  <a:lnTo>
                    <a:pt x="24533" y="124632"/>
                  </a:lnTo>
                  <a:cubicBezTo>
                    <a:pt x="24533" y="124632"/>
                    <a:pt x="38915" y="132061"/>
                    <a:pt x="49964" y="118345"/>
                  </a:cubicBezTo>
                  <a:cubicBezTo>
                    <a:pt x="49964" y="118345"/>
                    <a:pt x="54917" y="113297"/>
                    <a:pt x="54632" y="107868"/>
                  </a:cubicBezTo>
                  <a:cubicBezTo>
                    <a:pt x="54632" y="107868"/>
                    <a:pt x="72539" y="113202"/>
                    <a:pt x="82064" y="100057"/>
                  </a:cubicBezTo>
                  <a:cubicBezTo>
                    <a:pt x="82064" y="100057"/>
                    <a:pt x="87969" y="95104"/>
                    <a:pt x="86540" y="86722"/>
                  </a:cubicBezTo>
                  <a:cubicBezTo>
                    <a:pt x="86540" y="86722"/>
                    <a:pt x="97589" y="88818"/>
                    <a:pt x="107400" y="79102"/>
                  </a:cubicBezTo>
                  <a:cubicBezTo>
                    <a:pt x="107400" y="79102"/>
                    <a:pt x="115496" y="69482"/>
                    <a:pt x="113020" y="60814"/>
                  </a:cubicBezTo>
                  <a:cubicBezTo>
                    <a:pt x="113020" y="60814"/>
                    <a:pt x="135594" y="57766"/>
                    <a:pt x="134070" y="37002"/>
                  </a:cubicBezTo>
                  <a:lnTo>
                    <a:pt x="117306" y="30049"/>
                  </a:lnTo>
                  <a:cubicBezTo>
                    <a:pt x="117306" y="30049"/>
                    <a:pt x="125498" y="38050"/>
                    <a:pt x="119687" y="43860"/>
                  </a:cubicBezTo>
                  <a:cubicBezTo>
                    <a:pt x="119687" y="43860"/>
                    <a:pt x="113210" y="52909"/>
                    <a:pt x="103685" y="45003"/>
                  </a:cubicBezTo>
                  <a:lnTo>
                    <a:pt x="47869" y="4903"/>
                  </a:lnTo>
                  <a:cubicBezTo>
                    <a:pt x="47869" y="4903"/>
                    <a:pt x="38915" y="-3765"/>
                    <a:pt x="33962" y="1950"/>
                  </a:cubicBezTo>
                  <a:cubicBezTo>
                    <a:pt x="33962" y="1950"/>
                    <a:pt x="29105" y="6808"/>
                    <a:pt x="38058" y="13189"/>
                  </a:cubicBezTo>
                  <a:lnTo>
                    <a:pt x="94732" y="53861"/>
                  </a:lnTo>
                  <a:cubicBezTo>
                    <a:pt x="94732" y="53861"/>
                    <a:pt x="104924" y="60338"/>
                    <a:pt x="99018" y="69006"/>
                  </a:cubicBezTo>
                  <a:cubicBezTo>
                    <a:pt x="99018" y="69006"/>
                    <a:pt x="91684" y="80436"/>
                    <a:pt x="79111" y="69006"/>
                  </a:cubicBezTo>
                  <a:lnTo>
                    <a:pt x="27390" y="31858"/>
                  </a:lnTo>
                  <a:cubicBezTo>
                    <a:pt x="27390" y="31858"/>
                    <a:pt x="22723" y="26905"/>
                    <a:pt x="17675" y="31858"/>
                  </a:cubicBezTo>
                  <a:cubicBezTo>
                    <a:pt x="17675" y="31858"/>
                    <a:pt x="12436" y="35192"/>
                    <a:pt x="20437" y="42336"/>
                  </a:cubicBezTo>
                  <a:lnTo>
                    <a:pt x="68729" y="77102"/>
                  </a:lnTo>
                  <a:cubicBezTo>
                    <a:pt x="68729" y="77102"/>
                    <a:pt x="78920" y="83865"/>
                    <a:pt x="72062" y="93295"/>
                  </a:cubicBezTo>
                  <a:cubicBezTo>
                    <a:pt x="72062" y="93295"/>
                    <a:pt x="64633" y="102820"/>
                    <a:pt x="51965" y="91390"/>
                  </a:cubicBezTo>
                  <a:lnTo>
                    <a:pt x="11102" y="62053"/>
                  </a:lnTo>
                  <a:cubicBezTo>
                    <a:pt x="11102" y="62053"/>
                    <a:pt x="3768" y="57766"/>
                    <a:pt x="1673" y="61100"/>
                  </a:cubicBezTo>
                  <a:cubicBezTo>
                    <a:pt x="1673" y="61100"/>
                    <a:pt x="-4233" y="66434"/>
                    <a:pt x="6149" y="73864"/>
                  </a:cubicBezTo>
                  <a:cubicBezTo>
                    <a:pt x="16532" y="81293"/>
                    <a:pt x="38915" y="97390"/>
                    <a:pt x="38915" y="97390"/>
                  </a:cubicBezTo>
                  <a:cubicBezTo>
                    <a:pt x="38915" y="97390"/>
                    <a:pt x="44345" y="103010"/>
                    <a:pt x="40630" y="109487"/>
                  </a:cubicBezTo>
                  <a:cubicBezTo>
                    <a:pt x="40630" y="109487"/>
                    <a:pt x="35867" y="117869"/>
                    <a:pt x="26533" y="111202"/>
                  </a:cubicBezTo>
                  <a:lnTo>
                    <a:pt x="10626" y="99772"/>
                  </a:lnTo>
                  <a:lnTo>
                    <a:pt x="2816" y="109487"/>
                  </a:lnTo>
                  <a:close/>
                </a:path>
              </a:pathLst>
            </a:custGeom>
            <a:grpFill/>
            <a:ln w="9525" cap="flat">
              <a:noFill/>
              <a:prstDash val="solid"/>
              <a:miter/>
            </a:ln>
          </p:spPr>
          <p:txBody>
            <a:bodyPr rtlCol="0" anchor="ctr"/>
            <a:lstStyle/>
            <a:p>
              <a:endParaRPr lang="en-US" dirty="0"/>
            </a:p>
          </p:txBody>
        </p:sp>
        <p:sp>
          <p:nvSpPr>
            <p:cNvPr id="1287" name="Freeform: Shape 1286">
              <a:extLst>
                <a:ext uri="{FF2B5EF4-FFF2-40B4-BE49-F238E27FC236}">
                  <a16:creationId xmlns:a16="http://schemas.microsoft.com/office/drawing/2014/main" id="{5E106F16-9913-89EE-A86E-3CDADB4C3651}"/>
                </a:ext>
              </a:extLst>
            </p:cNvPr>
            <p:cNvSpPr/>
            <p:nvPr/>
          </p:nvSpPr>
          <p:spPr>
            <a:xfrm>
              <a:off x="1270920" y="3937920"/>
              <a:ext cx="18859" cy="21716"/>
            </a:xfrm>
            <a:custGeom>
              <a:avLst/>
              <a:gdLst>
                <a:gd name="connsiteX0" fmla="*/ 18859 w 18859"/>
                <a:gd name="connsiteY0" fmla="*/ 16288 h 21716"/>
                <a:gd name="connsiteX1" fmla="*/ 18859 w 18859"/>
                <a:gd name="connsiteY1" fmla="*/ 5429 h 21716"/>
                <a:gd name="connsiteX2" fmla="*/ 9430 w 18859"/>
                <a:gd name="connsiteY2" fmla="*/ 0 h 21716"/>
                <a:gd name="connsiteX3" fmla="*/ 0 w 18859"/>
                <a:gd name="connsiteY3" fmla="*/ 5429 h 21716"/>
                <a:gd name="connsiteX4" fmla="*/ 0 w 18859"/>
                <a:gd name="connsiteY4" fmla="*/ 16288 h 21716"/>
                <a:gd name="connsiteX5" fmla="*/ 9430 w 18859"/>
                <a:gd name="connsiteY5" fmla="*/ 21717 h 21716"/>
                <a:gd name="connsiteX6" fmla="*/ 18859 w 18859"/>
                <a:gd name="connsiteY6" fmla="*/ 16288 h 21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59" h="21716">
                  <a:moveTo>
                    <a:pt x="18859" y="16288"/>
                  </a:moveTo>
                  <a:lnTo>
                    <a:pt x="18859" y="5429"/>
                  </a:lnTo>
                  <a:lnTo>
                    <a:pt x="9430" y="0"/>
                  </a:lnTo>
                  <a:lnTo>
                    <a:pt x="0" y="5429"/>
                  </a:lnTo>
                  <a:lnTo>
                    <a:pt x="0" y="16288"/>
                  </a:lnTo>
                  <a:lnTo>
                    <a:pt x="9430" y="21717"/>
                  </a:lnTo>
                  <a:lnTo>
                    <a:pt x="18859" y="16288"/>
                  </a:lnTo>
                  <a:close/>
                </a:path>
              </a:pathLst>
            </a:custGeom>
            <a:grpFill/>
            <a:ln w="9525" cap="flat">
              <a:noFill/>
              <a:prstDash val="solid"/>
              <a:miter/>
            </a:ln>
          </p:spPr>
          <p:txBody>
            <a:bodyPr rtlCol="0" anchor="ctr"/>
            <a:lstStyle/>
            <a:p>
              <a:endParaRPr lang="en-US" dirty="0"/>
            </a:p>
          </p:txBody>
        </p:sp>
      </p:grpSp>
      <p:sp>
        <p:nvSpPr>
          <p:cNvPr id="1289" name="Text Placeholder 81">
            <a:extLst>
              <a:ext uri="{FF2B5EF4-FFF2-40B4-BE49-F238E27FC236}">
                <a16:creationId xmlns:a16="http://schemas.microsoft.com/office/drawing/2014/main" id="{04CBE876-2215-5270-19C8-A47C888F23FE}"/>
              </a:ext>
            </a:extLst>
          </p:cNvPr>
          <p:cNvSpPr txBox="1">
            <a:spLocks/>
          </p:cNvSpPr>
          <p:nvPr/>
        </p:nvSpPr>
        <p:spPr>
          <a:xfrm>
            <a:off x="10481494" y="6158269"/>
            <a:ext cx="1233925" cy="369204"/>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333" b="1">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solidFill>
                  <a:schemeClr val="bg1"/>
                </a:solidFill>
              </a:rPr>
              <a:t>PURPOSEFULL INNOVATION</a:t>
            </a:r>
          </a:p>
        </p:txBody>
      </p:sp>
      <p:sp>
        <p:nvSpPr>
          <p:cNvPr id="1291" name="Text Placeholder 81">
            <a:extLst>
              <a:ext uri="{FF2B5EF4-FFF2-40B4-BE49-F238E27FC236}">
                <a16:creationId xmlns:a16="http://schemas.microsoft.com/office/drawing/2014/main" id="{BEABE0CC-8E3B-4948-F20A-37907E43E915}"/>
              </a:ext>
            </a:extLst>
          </p:cNvPr>
          <p:cNvSpPr txBox="1">
            <a:spLocks/>
          </p:cNvSpPr>
          <p:nvPr/>
        </p:nvSpPr>
        <p:spPr>
          <a:xfrm>
            <a:off x="7416154" y="6158269"/>
            <a:ext cx="1097280" cy="369204"/>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333" b="1">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solidFill>
                  <a:schemeClr val="bg1"/>
                </a:solidFill>
              </a:rPr>
              <a:t>TEAM </a:t>
            </a:r>
            <a:br>
              <a:rPr lang="en-US" dirty="0">
                <a:solidFill>
                  <a:schemeClr val="bg1"/>
                </a:solidFill>
              </a:rPr>
            </a:br>
            <a:r>
              <a:rPr lang="en-US" dirty="0">
                <a:solidFill>
                  <a:schemeClr val="bg1"/>
                </a:solidFill>
              </a:rPr>
              <a:t>PTC</a:t>
            </a:r>
          </a:p>
        </p:txBody>
      </p:sp>
      <p:sp>
        <p:nvSpPr>
          <p:cNvPr id="1292" name="Text Placeholder 81">
            <a:extLst>
              <a:ext uri="{FF2B5EF4-FFF2-40B4-BE49-F238E27FC236}">
                <a16:creationId xmlns:a16="http://schemas.microsoft.com/office/drawing/2014/main" id="{D50A8321-9E7B-3BFF-0503-67C26A482D92}"/>
              </a:ext>
            </a:extLst>
          </p:cNvPr>
          <p:cNvSpPr txBox="1">
            <a:spLocks/>
          </p:cNvSpPr>
          <p:nvPr/>
        </p:nvSpPr>
        <p:spPr>
          <a:xfrm>
            <a:off x="6225344" y="6158269"/>
            <a:ext cx="1233925" cy="369204"/>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333" b="1">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solidFill>
                  <a:schemeClr val="bg1"/>
                </a:solidFill>
              </a:rPr>
              <a:t>CUSTOMERS MATTER</a:t>
            </a:r>
          </a:p>
        </p:txBody>
      </p:sp>
      <p:sp>
        <p:nvSpPr>
          <p:cNvPr id="1294" name="Text Placeholder 81">
            <a:extLst>
              <a:ext uri="{FF2B5EF4-FFF2-40B4-BE49-F238E27FC236}">
                <a16:creationId xmlns:a16="http://schemas.microsoft.com/office/drawing/2014/main" id="{ACF399C6-C68D-E865-7AD5-2757F9BFA660}"/>
              </a:ext>
            </a:extLst>
          </p:cNvPr>
          <p:cNvSpPr txBox="1">
            <a:spLocks/>
          </p:cNvSpPr>
          <p:nvPr/>
        </p:nvSpPr>
        <p:spPr>
          <a:xfrm>
            <a:off x="6128297" y="5342955"/>
            <a:ext cx="1554480" cy="230769"/>
          </a:xfrm>
          <a:prstGeom prst="rect">
            <a:avLst/>
          </a:prstGeom>
          <a:solidFill>
            <a:schemeClr val="tx1"/>
          </a:solidFill>
          <a:ln>
            <a:solidFill>
              <a:schemeClr val="accent1"/>
            </a:solidFill>
          </a:ln>
        </p:spPr>
        <p:txBody>
          <a:bodyPr vert="horz" wrap="square" lIns="0" tIns="4572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333" b="1" dirty="0">
                <a:solidFill>
                  <a:schemeClr val="bg1"/>
                </a:solidFill>
                <a:ea typeface="+mn-lt"/>
                <a:cs typeface="+mn-lt"/>
              </a:rPr>
              <a:t>PTC Values icons</a:t>
            </a:r>
            <a:endParaRPr lang="en-US" sz="1333" dirty="0">
              <a:solidFill>
                <a:schemeClr val="bg1"/>
              </a:solidFill>
              <a:ea typeface="+mn-lt"/>
              <a:cs typeface="+mn-lt"/>
            </a:endParaRPr>
          </a:p>
        </p:txBody>
      </p:sp>
      <p:grpSp>
        <p:nvGrpSpPr>
          <p:cNvPr id="87" name="Group 86">
            <a:extLst>
              <a:ext uri="{FF2B5EF4-FFF2-40B4-BE49-F238E27FC236}">
                <a16:creationId xmlns:a16="http://schemas.microsoft.com/office/drawing/2014/main" id="{FF6CB312-69C1-0588-4846-7EC3294D27A8}"/>
              </a:ext>
            </a:extLst>
          </p:cNvPr>
          <p:cNvGrpSpPr/>
          <p:nvPr/>
        </p:nvGrpSpPr>
        <p:grpSpPr>
          <a:xfrm>
            <a:off x="4808227" y="4430499"/>
            <a:ext cx="550545" cy="609599"/>
            <a:chOff x="4808227" y="4381746"/>
            <a:chExt cx="550545" cy="609599"/>
          </a:xfrm>
        </p:grpSpPr>
        <p:sp>
          <p:nvSpPr>
            <p:cNvPr id="7" name="Freeform: Shape 6">
              <a:extLst>
                <a:ext uri="{FF2B5EF4-FFF2-40B4-BE49-F238E27FC236}">
                  <a16:creationId xmlns:a16="http://schemas.microsoft.com/office/drawing/2014/main" id="{EB98F50A-ABAC-2654-0E39-362FB515D6AD}"/>
                </a:ext>
              </a:extLst>
            </p:cNvPr>
            <p:cNvSpPr/>
            <p:nvPr/>
          </p:nvSpPr>
          <p:spPr>
            <a:xfrm>
              <a:off x="4808227" y="4499855"/>
              <a:ext cx="550545" cy="174307"/>
            </a:xfrm>
            <a:custGeom>
              <a:avLst/>
              <a:gdLst>
                <a:gd name="connsiteX0" fmla="*/ 521970 w 550545"/>
                <a:gd name="connsiteY0" fmla="*/ 28575 h 174307"/>
                <a:gd name="connsiteX1" fmla="*/ 521970 w 550545"/>
                <a:gd name="connsiteY1" fmla="*/ 145733 h 174307"/>
                <a:gd name="connsiteX2" fmla="*/ 28575 w 550545"/>
                <a:gd name="connsiteY2" fmla="*/ 145733 h 174307"/>
                <a:gd name="connsiteX3" fmla="*/ 28575 w 550545"/>
                <a:gd name="connsiteY3" fmla="*/ 28575 h 174307"/>
                <a:gd name="connsiteX4" fmla="*/ 521970 w 550545"/>
                <a:gd name="connsiteY4" fmla="*/ 28575 h 174307"/>
                <a:gd name="connsiteX5" fmla="*/ 521970 w 550545"/>
                <a:gd name="connsiteY5" fmla="*/ 0 h 174307"/>
                <a:gd name="connsiteX6" fmla="*/ 28575 w 550545"/>
                <a:gd name="connsiteY6" fmla="*/ 0 h 174307"/>
                <a:gd name="connsiteX7" fmla="*/ 0 w 550545"/>
                <a:gd name="connsiteY7" fmla="*/ 28575 h 174307"/>
                <a:gd name="connsiteX8" fmla="*/ 0 w 550545"/>
                <a:gd name="connsiteY8" fmla="*/ 145733 h 174307"/>
                <a:gd name="connsiteX9" fmla="*/ 28575 w 550545"/>
                <a:gd name="connsiteY9" fmla="*/ 174308 h 174307"/>
                <a:gd name="connsiteX10" fmla="*/ 521970 w 550545"/>
                <a:gd name="connsiteY10" fmla="*/ 174308 h 174307"/>
                <a:gd name="connsiteX11" fmla="*/ 550545 w 550545"/>
                <a:gd name="connsiteY11" fmla="*/ 145733 h 174307"/>
                <a:gd name="connsiteX12" fmla="*/ 550545 w 550545"/>
                <a:gd name="connsiteY12" fmla="*/ 28575 h 174307"/>
                <a:gd name="connsiteX13" fmla="*/ 521970 w 550545"/>
                <a:gd name="connsiteY13" fmla="*/ 0 h 174307"/>
                <a:gd name="connsiteX14" fmla="*/ 521970 w 550545"/>
                <a:gd name="connsiteY14" fmla="*/ 0 h 17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0545" h="174307">
                  <a:moveTo>
                    <a:pt x="521970" y="28575"/>
                  </a:moveTo>
                  <a:lnTo>
                    <a:pt x="521970" y="145733"/>
                  </a:lnTo>
                  <a:lnTo>
                    <a:pt x="28575" y="145733"/>
                  </a:lnTo>
                  <a:lnTo>
                    <a:pt x="28575" y="28575"/>
                  </a:lnTo>
                  <a:lnTo>
                    <a:pt x="521970" y="28575"/>
                  </a:lnTo>
                  <a:moveTo>
                    <a:pt x="521970" y="0"/>
                  </a:moveTo>
                  <a:lnTo>
                    <a:pt x="28575" y="0"/>
                  </a:lnTo>
                  <a:cubicBezTo>
                    <a:pt x="12383" y="0"/>
                    <a:pt x="0" y="12383"/>
                    <a:pt x="0" y="28575"/>
                  </a:cubicBezTo>
                  <a:lnTo>
                    <a:pt x="0" y="145733"/>
                  </a:lnTo>
                  <a:cubicBezTo>
                    <a:pt x="0" y="161925"/>
                    <a:pt x="12383" y="174308"/>
                    <a:pt x="28575" y="174308"/>
                  </a:cubicBezTo>
                  <a:lnTo>
                    <a:pt x="521970" y="174308"/>
                  </a:lnTo>
                  <a:cubicBezTo>
                    <a:pt x="538163" y="174308"/>
                    <a:pt x="550545" y="161925"/>
                    <a:pt x="550545" y="145733"/>
                  </a:cubicBezTo>
                  <a:lnTo>
                    <a:pt x="550545" y="28575"/>
                  </a:lnTo>
                  <a:cubicBezTo>
                    <a:pt x="550545" y="12383"/>
                    <a:pt x="538163" y="0"/>
                    <a:pt x="521970" y="0"/>
                  </a:cubicBezTo>
                  <a:lnTo>
                    <a:pt x="521970" y="0"/>
                  </a:lnTo>
                  <a:close/>
                </a:path>
              </a:pathLst>
            </a:custGeom>
            <a:solidFill>
              <a:srgbClr val="3D4647"/>
            </a:solidFill>
            <a:ln w="9525"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0B1CB476-D72C-B35C-83E2-47C60C805E44}"/>
                </a:ext>
              </a:extLst>
            </p:cNvPr>
            <p:cNvSpPr/>
            <p:nvPr/>
          </p:nvSpPr>
          <p:spPr>
            <a:xfrm>
              <a:off x="4842041" y="4645588"/>
              <a:ext cx="482917" cy="345757"/>
            </a:xfrm>
            <a:custGeom>
              <a:avLst/>
              <a:gdLst>
                <a:gd name="connsiteX0" fmla="*/ 453390 w 482917"/>
                <a:gd name="connsiteY0" fmla="*/ 28575 h 345757"/>
                <a:gd name="connsiteX1" fmla="*/ 453390 w 482917"/>
                <a:gd name="connsiteY1" fmla="*/ 317183 h 345757"/>
                <a:gd name="connsiteX2" fmla="*/ 28575 w 482917"/>
                <a:gd name="connsiteY2" fmla="*/ 317183 h 345757"/>
                <a:gd name="connsiteX3" fmla="*/ 28575 w 482917"/>
                <a:gd name="connsiteY3" fmla="*/ 28575 h 345757"/>
                <a:gd name="connsiteX4" fmla="*/ 453390 w 482917"/>
                <a:gd name="connsiteY4" fmla="*/ 28575 h 345757"/>
                <a:gd name="connsiteX5" fmla="*/ 453390 w 482917"/>
                <a:gd name="connsiteY5" fmla="*/ 0 h 345757"/>
                <a:gd name="connsiteX6" fmla="*/ 28575 w 482917"/>
                <a:gd name="connsiteY6" fmla="*/ 0 h 345757"/>
                <a:gd name="connsiteX7" fmla="*/ 0 w 482917"/>
                <a:gd name="connsiteY7" fmla="*/ 28575 h 345757"/>
                <a:gd name="connsiteX8" fmla="*/ 0 w 482917"/>
                <a:gd name="connsiteY8" fmla="*/ 317183 h 345757"/>
                <a:gd name="connsiteX9" fmla="*/ 28575 w 482917"/>
                <a:gd name="connsiteY9" fmla="*/ 345758 h 345757"/>
                <a:gd name="connsiteX10" fmla="*/ 454343 w 482917"/>
                <a:gd name="connsiteY10" fmla="*/ 345758 h 345757"/>
                <a:gd name="connsiteX11" fmla="*/ 482918 w 482917"/>
                <a:gd name="connsiteY11" fmla="*/ 317183 h 345757"/>
                <a:gd name="connsiteX12" fmla="*/ 482918 w 482917"/>
                <a:gd name="connsiteY12" fmla="*/ 28575 h 345757"/>
                <a:gd name="connsiteX13" fmla="*/ 453390 w 482917"/>
                <a:gd name="connsiteY13" fmla="*/ 0 h 345757"/>
                <a:gd name="connsiteX14" fmla="*/ 453390 w 482917"/>
                <a:gd name="connsiteY14" fmla="*/ 0 h 34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2917" h="345757">
                  <a:moveTo>
                    <a:pt x="453390" y="28575"/>
                  </a:moveTo>
                  <a:lnTo>
                    <a:pt x="453390" y="317183"/>
                  </a:lnTo>
                  <a:lnTo>
                    <a:pt x="28575" y="317183"/>
                  </a:lnTo>
                  <a:lnTo>
                    <a:pt x="28575" y="28575"/>
                  </a:lnTo>
                  <a:lnTo>
                    <a:pt x="453390" y="28575"/>
                  </a:lnTo>
                  <a:moveTo>
                    <a:pt x="453390" y="0"/>
                  </a:moveTo>
                  <a:lnTo>
                    <a:pt x="28575" y="0"/>
                  </a:lnTo>
                  <a:cubicBezTo>
                    <a:pt x="12383" y="0"/>
                    <a:pt x="0" y="12382"/>
                    <a:pt x="0" y="28575"/>
                  </a:cubicBezTo>
                  <a:lnTo>
                    <a:pt x="0" y="317183"/>
                  </a:lnTo>
                  <a:cubicBezTo>
                    <a:pt x="0" y="333375"/>
                    <a:pt x="12383" y="345758"/>
                    <a:pt x="28575" y="345758"/>
                  </a:cubicBezTo>
                  <a:lnTo>
                    <a:pt x="454343" y="345758"/>
                  </a:lnTo>
                  <a:cubicBezTo>
                    <a:pt x="470535" y="345758"/>
                    <a:pt x="482918" y="333375"/>
                    <a:pt x="482918" y="317183"/>
                  </a:cubicBezTo>
                  <a:lnTo>
                    <a:pt x="482918" y="28575"/>
                  </a:lnTo>
                  <a:cubicBezTo>
                    <a:pt x="481965" y="13335"/>
                    <a:pt x="469583" y="0"/>
                    <a:pt x="453390" y="0"/>
                  </a:cubicBezTo>
                  <a:lnTo>
                    <a:pt x="453390" y="0"/>
                  </a:lnTo>
                  <a:close/>
                </a:path>
              </a:pathLst>
            </a:custGeom>
            <a:solidFill>
              <a:srgbClr val="3D4647"/>
            </a:solidFill>
            <a:ln w="9525" cap="flat">
              <a:noFill/>
              <a:prstDash val="solid"/>
              <a:miter/>
            </a:ln>
          </p:spPr>
          <p:txBody>
            <a:bodyPr rtlCol="0" anchor="ctr"/>
            <a:lstStyle/>
            <a:p>
              <a:endParaRPr lang="en-US" dirty="0"/>
            </a:p>
          </p:txBody>
        </p:sp>
        <p:grpSp>
          <p:nvGrpSpPr>
            <p:cNvPr id="13" name="Graphic 57">
              <a:extLst>
                <a:ext uri="{FF2B5EF4-FFF2-40B4-BE49-F238E27FC236}">
                  <a16:creationId xmlns:a16="http://schemas.microsoft.com/office/drawing/2014/main" id="{EA6EB04E-8C91-BDB3-5503-4435781B59EB}"/>
                </a:ext>
              </a:extLst>
            </p:cNvPr>
            <p:cNvGrpSpPr/>
            <p:nvPr/>
          </p:nvGrpSpPr>
          <p:grpSpPr>
            <a:xfrm>
              <a:off x="4952055" y="4381746"/>
              <a:ext cx="262889" cy="144779"/>
              <a:chOff x="4952055" y="4381746"/>
              <a:chExt cx="262889" cy="144779"/>
            </a:xfrm>
            <a:solidFill>
              <a:srgbClr val="3D4647"/>
            </a:solidFill>
          </p:grpSpPr>
          <p:sp>
            <p:nvSpPr>
              <p:cNvPr id="16" name="Freeform: Shape 15">
                <a:extLst>
                  <a:ext uri="{FF2B5EF4-FFF2-40B4-BE49-F238E27FC236}">
                    <a16:creationId xmlns:a16="http://schemas.microsoft.com/office/drawing/2014/main" id="{F4ADF3A6-E1A6-F9C3-FB93-303E7D47F4F1}"/>
                  </a:ext>
                </a:extLst>
              </p:cNvPr>
              <p:cNvSpPr/>
              <p:nvPr/>
            </p:nvSpPr>
            <p:spPr>
              <a:xfrm>
                <a:off x="4952055" y="4381746"/>
                <a:ext cx="144780" cy="144779"/>
              </a:xfrm>
              <a:custGeom>
                <a:avLst/>
                <a:gdLst>
                  <a:gd name="connsiteX0" fmla="*/ 72390 w 144780"/>
                  <a:gd name="connsiteY0" fmla="*/ 28575 h 144779"/>
                  <a:gd name="connsiteX1" fmla="*/ 116205 w 144780"/>
                  <a:gd name="connsiteY1" fmla="*/ 72390 h 144779"/>
                  <a:gd name="connsiteX2" fmla="*/ 72390 w 144780"/>
                  <a:gd name="connsiteY2" fmla="*/ 116205 h 144779"/>
                  <a:gd name="connsiteX3" fmla="*/ 28575 w 144780"/>
                  <a:gd name="connsiteY3" fmla="*/ 72390 h 144779"/>
                  <a:gd name="connsiteX4" fmla="*/ 72390 w 144780"/>
                  <a:gd name="connsiteY4" fmla="*/ 28575 h 144779"/>
                  <a:gd name="connsiteX5" fmla="*/ 72390 w 144780"/>
                  <a:gd name="connsiteY5" fmla="*/ 0 h 144779"/>
                  <a:gd name="connsiteX6" fmla="*/ 0 w 144780"/>
                  <a:gd name="connsiteY6" fmla="*/ 72390 h 144779"/>
                  <a:gd name="connsiteX7" fmla="*/ 72390 w 144780"/>
                  <a:gd name="connsiteY7" fmla="*/ 144780 h 144779"/>
                  <a:gd name="connsiteX8" fmla="*/ 144780 w 144780"/>
                  <a:gd name="connsiteY8" fmla="*/ 72390 h 144779"/>
                  <a:gd name="connsiteX9" fmla="*/ 72390 w 144780"/>
                  <a:gd name="connsiteY9" fmla="*/ 0 h 144779"/>
                  <a:gd name="connsiteX10" fmla="*/ 72390 w 144780"/>
                  <a:gd name="connsiteY10" fmla="*/ 0 h 14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780" h="144779">
                    <a:moveTo>
                      <a:pt x="72390" y="28575"/>
                    </a:moveTo>
                    <a:cubicBezTo>
                      <a:pt x="97155" y="28575"/>
                      <a:pt x="116205" y="48578"/>
                      <a:pt x="116205" y="72390"/>
                    </a:cubicBezTo>
                    <a:cubicBezTo>
                      <a:pt x="116205" y="96203"/>
                      <a:pt x="96202" y="116205"/>
                      <a:pt x="72390" y="116205"/>
                    </a:cubicBezTo>
                    <a:cubicBezTo>
                      <a:pt x="48577" y="116205"/>
                      <a:pt x="28575" y="96203"/>
                      <a:pt x="28575" y="72390"/>
                    </a:cubicBezTo>
                    <a:cubicBezTo>
                      <a:pt x="28575" y="48578"/>
                      <a:pt x="47625" y="28575"/>
                      <a:pt x="72390" y="28575"/>
                    </a:cubicBezTo>
                    <a:moveTo>
                      <a:pt x="72390" y="0"/>
                    </a:moveTo>
                    <a:cubicBezTo>
                      <a:pt x="32385" y="0"/>
                      <a:pt x="0" y="32385"/>
                      <a:pt x="0" y="72390"/>
                    </a:cubicBezTo>
                    <a:cubicBezTo>
                      <a:pt x="0" y="112395"/>
                      <a:pt x="32385" y="144780"/>
                      <a:pt x="72390" y="144780"/>
                    </a:cubicBezTo>
                    <a:cubicBezTo>
                      <a:pt x="112395" y="144780"/>
                      <a:pt x="144780" y="112395"/>
                      <a:pt x="144780" y="72390"/>
                    </a:cubicBezTo>
                    <a:cubicBezTo>
                      <a:pt x="144780" y="32385"/>
                      <a:pt x="112395" y="0"/>
                      <a:pt x="72390" y="0"/>
                    </a:cubicBezTo>
                    <a:lnTo>
                      <a:pt x="72390" y="0"/>
                    </a:lnTo>
                    <a:close/>
                  </a:path>
                </a:pathLst>
              </a:custGeom>
              <a:solidFill>
                <a:srgbClr val="3D4647"/>
              </a:solidFill>
              <a:ln w="9525"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E90BAABE-563E-D06B-5188-685BDAF40BD2}"/>
                  </a:ext>
                </a:extLst>
              </p:cNvPr>
              <p:cNvSpPr/>
              <p:nvPr/>
            </p:nvSpPr>
            <p:spPr>
              <a:xfrm>
                <a:off x="5070165" y="4381746"/>
                <a:ext cx="144779" cy="144779"/>
              </a:xfrm>
              <a:custGeom>
                <a:avLst/>
                <a:gdLst>
                  <a:gd name="connsiteX0" fmla="*/ 72390 w 144779"/>
                  <a:gd name="connsiteY0" fmla="*/ 28575 h 144779"/>
                  <a:gd name="connsiteX1" fmla="*/ 116205 w 144779"/>
                  <a:gd name="connsiteY1" fmla="*/ 72390 h 144779"/>
                  <a:gd name="connsiteX2" fmla="*/ 72390 w 144779"/>
                  <a:gd name="connsiteY2" fmla="*/ 116205 h 144779"/>
                  <a:gd name="connsiteX3" fmla="*/ 28575 w 144779"/>
                  <a:gd name="connsiteY3" fmla="*/ 72390 h 144779"/>
                  <a:gd name="connsiteX4" fmla="*/ 72390 w 144779"/>
                  <a:gd name="connsiteY4" fmla="*/ 28575 h 144779"/>
                  <a:gd name="connsiteX5" fmla="*/ 72390 w 144779"/>
                  <a:gd name="connsiteY5" fmla="*/ 0 h 144779"/>
                  <a:gd name="connsiteX6" fmla="*/ 0 w 144779"/>
                  <a:gd name="connsiteY6" fmla="*/ 72390 h 144779"/>
                  <a:gd name="connsiteX7" fmla="*/ 72390 w 144779"/>
                  <a:gd name="connsiteY7" fmla="*/ 144780 h 144779"/>
                  <a:gd name="connsiteX8" fmla="*/ 144780 w 144779"/>
                  <a:gd name="connsiteY8" fmla="*/ 72390 h 144779"/>
                  <a:gd name="connsiteX9" fmla="*/ 72390 w 144779"/>
                  <a:gd name="connsiteY9" fmla="*/ 0 h 144779"/>
                  <a:gd name="connsiteX10" fmla="*/ 72390 w 144779"/>
                  <a:gd name="connsiteY10" fmla="*/ 0 h 14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779" h="144779">
                    <a:moveTo>
                      <a:pt x="72390" y="28575"/>
                    </a:moveTo>
                    <a:cubicBezTo>
                      <a:pt x="97155" y="28575"/>
                      <a:pt x="116205" y="48578"/>
                      <a:pt x="116205" y="72390"/>
                    </a:cubicBezTo>
                    <a:cubicBezTo>
                      <a:pt x="116205" y="96203"/>
                      <a:pt x="96203" y="116205"/>
                      <a:pt x="72390" y="116205"/>
                    </a:cubicBezTo>
                    <a:cubicBezTo>
                      <a:pt x="48578" y="116205"/>
                      <a:pt x="28575" y="96203"/>
                      <a:pt x="28575" y="72390"/>
                    </a:cubicBezTo>
                    <a:cubicBezTo>
                      <a:pt x="28575" y="48578"/>
                      <a:pt x="48578" y="28575"/>
                      <a:pt x="72390" y="28575"/>
                    </a:cubicBezTo>
                    <a:moveTo>
                      <a:pt x="72390" y="0"/>
                    </a:moveTo>
                    <a:cubicBezTo>
                      <a:pt x="32385" y="0"/>
                      <a:pt x="0" y="32385"/>
                      <a:pt x="0" y="72390"/>
                    </a:cubicBezTo>
                    <a:cubicBezTo>
                      <a:pt x="0" y="112395"/>
                      <a:pt x="32385" y="144780"/>
                      <a:pt x="72390" y="144780"/>
                    </a:cubicBezTo>
                    <a:cubicBezTo>
                      <a:pt x="112395" y="144780"/>
                      <a:pt x="144780" y="112395"/>
                      <a:pt x="144780" y="72390"/>
                    </a:cubicBezTo>
                    <a:cubicBezTo>
                      <a:pt x="144780" y="32385"/>
                      <a:pt x="112395" y="0"/>
                      <a:pt x="72390" y="0"/>
                    </a:cubicBezTo>
                    <a:lnTo>
                      <a:pt x="72390" y="0"/>
                    </a:lnTo>
                    <a:close/>
                  </a:path>
                </a:pathLst>
              </a:custGeom>
              <a:solidFill>
                <a:srgbClr val="3D4647"/>
              </a:solidFill>
              <a:ln w="9525" cap="flat">
                <a:noFill/>
                <a:prstDash val="solid"/>
                <a:miter/>
              </a:ln>
            </p:spPr>
            <p:txBody>
              <a:bodyPr rtlCol="0" anchor="ctr"/>
              <a:lstStyle/>
              <a:p>
                <a:endParaRPr lang="en-US" dirty="0"/>
              </a:p>
            </p:txBody>
          </p:sp>
        </p:grpSp>
        <p:sp>
          <p:nvSpPr>
            <p:cNvPr id="23" name="Rectangle 22">
              <a:extLst>
                <a:ext uri="{FF2B5EF4-FFF2-40B4-BE49-F238E27FC236}">
                  <a16:creationId xmlns:a16="http://schemas.microsoft.com/office/drawing/2014/main" id="{C680384C-6DBC-814F-2B92-C6BD4649519E}"/>
                </a:ext>
              </a:extLst>
            </p:cNvPr>
            <p:cNvSpPr/>
            <p:nvPr/>
          </p:nvSpPr>
          <p:spPr>
            <a:xfrm>
              <a:off x="5069783" y="4496318"/>
              <a:ext cx="27432" cy="48291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grpSp>
        <p:nvGrpSpPr>
          <p:cNvPr id="1319" name="Group 1318">
            <a:extLst>
              <a:ext uri="{FF2B5EF4-FFF2-40B4-BE49-F238E27FC236}">
                <a16:creationId xmlns:a16="http://schemas.microsoft.com/office/drawing/2014/main" id="{EF906CDE-4B97-CA85-BFB7-9406A5E6E521}"/>
              </a:ext>
            </a:extLst>
          </p:cNvPr>
          <p:cNvGrpSpPr/>
          <p:nvPr/>
        </p:nvGrpSpPr>
        <p:grpSpPr>
          <a:xfrm>
            <a:off x="5010054" y="5699777"/>
            <a:ext cx="343471" cy="344272"/>
            <a:chOff x="5456664" y="5728182"/>
            <a:chExt cx="343471" cy="344272"/>
          </a:xfrm>
        </p:grpSpPr>
        <p:sp>
          <p:nvSpPr>
            <p:cNvPr id="1311" name="Freeform: Shape 1310">
              <a:extLst>
                <a:ext uri="{FF2B5EF4-FFF2-40B4-BE49-F238E27FC236}">
                  <a16:creationId xmlns:a16="http://schemas.microsoft.com/office/drawing/2014/main" id="{C08318CD-462C-1CC1-8096-A0F5E61C3A5B}"/>
                </a:ext>
              </a:extLst>
            </p:cNvPr>
            <p:cNvSpPr/>
            <p:nvPr/>
          </p:nvSpPr>
          <p:spPr>
            <a:xfrm>
              <a:off x="5456664" y="5728182"/>
              <a:ext cx="343471" cy="274879"/>
            </a:xfrm>
            <a:custGeom>
              <a:avLst/>
              <a:gdLst>
                <a:gd name="connsiteX0" fmla="*/ 86296 w 343471"/>
                <a:gd name="connsiteY0" fmla="*/ 247067 h 274879"/>
                <a:gd name="connsiteX1" fmla="*/ 82963 w 343471"/>
                <a:gd name="connsiteY1" fmla="*/ 243447 h 274879"/>
                <a:gd name="connsiteX2" fmla="*/ 55817 w 343471"/>
                <a:gd name="connsiteY2" fmla="*/ 195727 h 274879"/>
                <a:gd name="connsiteX3" fmla="*/ 54388 w 343471"/>
                <a:gd name="connsiteY3" fmla="*/ 191060 h 274879"/>
                <a:gd name="connsiteX4" fmla="*/ 18955 w 343471"/>
                <a:gd name="connsiteY4" fmla="*/ 180677 h 274879"/>
                <a:gd name="connsiteX5" fmla="*/ 18098 w 343471"/>
                <a:gd name="connsiteY5" fmla="*/ 179249 h 274879"/>
                <a:gd name="connsiteX6" fmla="*/ 18288 w 343471"/>
                <a:gd name="connsiteY6" fmla="*/ 141244 h 274879"/>
                <a:gd name="connsiteX7" fmla="*/ 19526 w 343471"/>
                <a:gd name="connsiteY7" fmla="*/ 139625 h 274879"/>
                <a:gd name="connsiteX8" fmla="*/ 54674 w 343471"/>
                <a:gd name="connsiteY8" fmla="*/ 129909 h 274879"/>
                <a:gd name="connsiteX9" fmla="*/ 56102 w 343471"/>
                <a:gd name="connsiteY9" fmla="*/ 125242 h 274879"/>
                <a:gd name="connsiteX10" fmla="*/ 67246 w 343471"/>
                <a:gd name="connsiteY10" fmla="*/ 99905 h 274879"/>
                <a:gd name="connsiteX11" fmla="*/ 83820 w 343471"/>
                <a:gd name="connsiteY11" fmla="*/ 77807 h 274879"/>
                <a:gd name="connsiteX12" fmla="*/ 87154 w 343471"/>
                <a:gd name="connsiteY12" fmla="*/ 74283 h 274879"/>
                <a:gd name="connsiteX13" fmla="*/ 78391 w 343471"/>
                <a:gd name="connsiteY13" fmla="*/ 38850 h 274879"/>
                <a:gd name="connsiteX14" fmla="*/ 79153 w 343471"/>
                <a:gd name="connsiteY14" fmla="*/ 36945 h 274879"/>
                <a:gd name="connsiteX15" fmla="*/ 112204 w 343471"/>
                <a:gd name="connsiteY15" fmla="*/ 18181 h 274879"/>
                <a:gd name="connsiteX16" fmla="*/ 114205 w 343471"/>
                <a:gd name="connsiteY16" fmla="*/ 18467 h 274879"/>
                <a:gd name="connsiteX17" fmla="*/ 140208 w 343471"/>
                <a:gd name="connsiteY17" fmla="*/ 44089 h 274879"/>
                <a:gd name="connsiteX18" fmla="*/ 144971 w 343471"/>
                <a:gd name="connsiteY18" fmla="*/ 43041 h 274879"/>
                <a:gd name="connsiteX19" fmla="*/ 199930 w 343471"/>
                <a:gd name="connsiteY19" fmla="*/ 43327 h 274879"/>
                <a:gd name="connsiteX20" fmla="*/ 204692 w 343471"/>
                <a:gd name="connsiteY20" fmla="*/ 44470 h 274879"/>
                <a:gd name="connsiteX21" fmla="*/ 230981 w 343471"/>
                <a:gd name="connsiteY21" fmla="*/ 19229 h 274879"/>
                <a:gd name="connsiteX22" fmla="*/ 232982 w 343471"/>
                <a:gd name="connsiteY22" fmla="*/ 19038 h 274879"/>
                <a:gd name="connsiteX23" fmla="*/ 265843 w 343471"/>
                <a:gd name="connsiteY23" fmla="*/ 38279 h 274879"/>
                <a:gd name="connsiteX24" fmla="*/ 266605 w 343471"/>
                <a:gd name="connsiteY24" fmla="*/ 40184 h 274879"/>
                <a:gd name="connsiteX25" fmla="*/ 257461 w 343471"/>
                <a:gd name="connsiteY25" fmla="*/ 75521 h 274879"/>
                <a:gd name="connsiteX26" fmla="*/ 260795 w 343471"/>
                <a:gd name="connsiteY26" fmla="*/ 79141 h 274879"/>
                <a:gd name="connsiteX27" fmla="*/ 287941 w 343471"/>
                <a:gd name="connsiteY27" fmla="*/ 126861 h 274879"/>
                <a:gd name="connsiteX28" fmla="*/ 289370 w 343471"/>
                <a:gd name="connsiteY28" fmla="*/ 131528 h 274879"/>
                <a:gd name="connsiteX29" fmla="*/ 324803 w 343471"/>
                <a:gd name="connsiteY29" fmla="*/ 141911 h 274879"/>
                <a:gd name="connsiteX30" fmla="*/ 325660 w 343471"/>
                <a:gd name="connsiteY30" fmla="*/ 143339 h 274879"/>
                <a:gd name="connsiteX31" fmla="*/ 325469 w 343471"/>
                <a:gd name="connsiteY31" fmla="*/ 181344 h 274879"/>
                <a:gd name="connsiteX32" fmla="*/ 324231 w 343471"/>
                <a:gd name="connsiteY32" fmla="*/ 182963 h 274879"/>
                <a:gd name="connsiteX33" fmla="*/ 289084 w 343471"/>
                <a:gd name="connsiteY33" fmla="*/ 192679 h 274879"/>
                <a:gd name="connsiteX34" fmla="*/ 287655 w 343471"/>
                <a:gd name="connsiteY34" fmla="*/ 197346 h 274879"/>
                <a:gd name="connsiteX35" fmla="*/ 276416 w 343471"/>
                <a:gd name="connsiteY35" fmla="*/ 222683 h 274879"/>
                <a:gd name="connsiteX36" fmla="*/ 259842 w 343471"/>
                <a:gd name="connsiteY36" fmla="*/ 244781 h 274879"/>
                <a:gd name="connsiteX37" fmla="*/ 256508 w 343471"/>
                <a:gd name="connsiteY37" fmla="*/ 248305 h 274879"/>
                <a:gd name="connsiteX38" fmla="*/ 263081 w 343471"/>
                <a:gd name="connsiteY38" fmla="*/ 274880 h 274879"/>
                <a:gd name="connsiteX39" fmla="*/ 281464 w 343471"/>
                <a:gd name="connsiteY39" fmla="*/ 274880 h 274879"/>
                <a:gd name="connsiteX40" fmla="*/ 276130 w 343471"/>
                <a:gd name="connsiteY40" fmla="*/ 253353 h 274879"/>
                <a:gd name="connsiteX41" fmla="*/ 291846 w 343471"/>
                <a:gd name="connsiteY41" fmla="*/ 231636 h 274879"/>
                <a:gd name="connsiteX42" fmla="*/ 303086 w 343471"/>
                <a:gd name="connsiteY42" fmla="*/ 207252 h 274879"/>
                <a:gd name="connsiteX43" fmla="*/ 328898 w 343471"/>
                <a:gd name="connsiteY43" fmla="*/ 200108 h 274879"/>
                <a:gd name="connsiteX44" fmla="*/ 343281 w 343471"/>
                <a:gd name="connsiteY44" fmla="*/ 181344 h 274879"/>
                <a:gd name="connsiteX45" fmla="*/ 343471 w 343471"/>
                <a:gd name="connsiteY45" fmla="*/ 143339 h 274879"/>
                <a:gd name="connsiteX46" fmla="*/ 333756 w 343471"/>
                <a:gd name="connsiteY46" fmla="*/ 126290 h 274879"/>
                <a:gd name="connsiteX47" fmla="*/ 329279 w 343471"/>
                <a:gd name="connsiteY47" fmla="*/ 124385 h 274879"/>
                <a:gd name="connsiteX48" fmla="*/ 303467 w 343471"/>
                <a:gd name="connsiteY48" fmla="*/ 116860 h 274879"/>
                <a:gd name="connsiteX49" fmla="*/ 277082 w 343471"/>
                <a:gd name="connsiteY49" fmla="*/ 70473 h 274879"/>
                <a:gd name="connsiteX50" fmla="*/ 283845 w 343471"/>
                <a:gd name="connsiteY50" fmla="*/ 44470 h 274879"/>
                <a:gd name="connsiteX51" fmla="*/ 274796 w 343471"/>
                <a:gd name="connsiteY51" fmla="*/ 22658 h 274879"/>
                <a:gd name="connsiteX52" fmla="*/ 242030 w 343471"/>
                <a:gd name="connsiteY52" fmla="*/ 3417 h 274879"/>
                <a:gd name="connsiteX53" fmla="*/ 218599 w 343471"/>
                <a:gd name="connsiteY53" fmla="*/ 6179 h 274879"/>
                <a:gd name="connsiteX54" fmla="*/ 199263 w 343471"/>
                <a:gd name="connsiteY54" fmla="*/ 24753 h 274879"/>
                <a:gd name="connsiteX55" fmla="*/ 145923 w 343471"/>
                <a:gd name="connsiteY55" fmla="*/ 24467 h 274879"/>
                <a:gd name="connsiteX56" fmla="*/ 126778 w 343471"/>
                <a:gd name="connsiteY56" fmla="*/ 5608 h 274879"/>
                <a:gd name="connsiteX57" fmla="*/ 122968 w 343471"/>
                <a:gd name="connsiteY57" fmla="*/ 2655 h 274879"/>
                <a:gd name="connsiteX58" fmla="*/ 103346 w 343471"/>
                <a:gd name="connsiteY58" fmla="*/ 2560 h 274879"/>
                <a:gd name="connsiteX59" fmla="*/ 70295 w 343471"/>
                <a:gd name="connsiteY59" fmla="*/ 21324 h 274879"/>
                <a:gd name="connsiteX60" fmla="*/ 60960 w 343471"/>
                <a:gd name="connsiteY60" fmla="*/ 43041 h 274879"/>
                <a:gd name="connsiteX61" fmla="*/ 67342 w 343471"/>
                <a:gd name="connsiteY61" fmla="*/ 69044 h 274879"/>
                <a:gd name="connsiteX62" fmla="*/ 51626 w 343471"/>
                <a:gd name="connsiteY62" fmla="*/ 90761 h 274879"/>
                <a:gd name="connsiteX63" fmla="*/ 40386 w 343471"/>
                <a:gd name="connsiteY63" fmla="*/ 115145 h 274879"/>
                <a:gd name="connsiteX64" fmla="*/ 14573 w 343471"/>
                <a:gd name="connsiteY64" fmla="*/ 122289 h 274879"/>
                <a:gd name="connsiteX65" fmla="*/ 191 w 343471"/>
                <a:gd name="connsiteY65" fmla="*/ 141053 h 274879"/>
                <a:gd name="connsiteX66" fmla="*/ 0 w 343471"/>
                <a:gd name="connsiteY66" fmla="*/ 179058 h 274879"/>
                <a:gd name="connsiteX67" fmla="*/ 9620 w 343471"/>
                <a:gd name="connsiteY67" fmla="*/ 196013 h 274879"/>
                <a:gd name="connsiteX68" fmla="*/ 14097 w 343471"/>
                <a:gd name="connsiteY68" fmla="*/ 197918 h 274879"/>
                <a:gd name="connsiteX69" fmla="*/ 39910 w 343471"/>
                <a:gd name="connsiteY69" fmla="*/ 205442 h 274879"/>
                <a:gd name="connsiteX70" fmla="*/ 66294 w 343471"/>
                <a:gd name="connsiteY70" fmla="*/ 251829 h 274879"/>
                <a:gd name="connsiteX71" fmla="*/ 60388 w 343471"/>
                <a:gd name="connsiteY71" fmla="*/ 274594 h 274879"/>
                <a:gd name="connsiteX72" fmla="*/ 78867 w 343471"/>
                <a:gd name="connsiteY72" fmla="*/ 274594 h 274879"/>
                <a:gd name="connsiteX73" fmla="*/ 86011 w 343471"/>
                <a:gd name="connsiteY73" fmla="*/ 246971 h 27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43471" h="274879">
                  <a:moveTo>
                    <a:pt x="86296" y="247067"/>
                  </a:moveTo>
                  <a:lnTo>
                    <a:pt x="82963" y="243447"/>
                  </a:lnTo>
                  <a:cubicBezTo>
                    <a:pt x="70485" y="229922"/>
                    <a:pt x="61055" y="213443"/>
                    <a:pt x="55817" y="195727"/>
                  </a:cubicBezTo>
                  <a:lnTo>
                    <a:pt x="54388" y="191060"/>
                  </a:lnTo>
                  <a:lnTo>
                    <a:pt x="18955" y="180677"/>
                  </a:lnTo>
                  <a:cubicBezTo>
                    <a:pt x="18955" y="180677"/>
                    <a:pt x="18098" y="179915"/>
                    <a:pt x="18098" y="179249"/>
                  </a:cubicBezTo>
                  <a:lnTo>
                    <a:pt x="18288" y="141244"/>
                  </a:lnTo>
                  <a:cubicBezTo>
                    <a:pt x="18288" y="140482"/>
                    <a:pt x="18764" y="139815"/>
                    <a:pt x="19526" y="139625"/>
                  </a:cubicBezTo>
                  <a:lnTo>
                    <a:pt x="54674" y="129909"/>
                  </a:lnTo>
                  <a:lnTo>
                    <a:pt x="56102" y="125242"/>
                  </a:lnTo>
                  <a:cubicBezTo>
                    <a:pt x="58865" y="116479"/>
                    <a:pt x="62579" y="107906"/>
                    <a:pt x="67246" y="99905"/>
                  </a:cubicBezTo>
                  <a:cubicBezTo>
                    <a:pt x="71914" y="91904"/>
                    <a:pt x="77534" y="84475"/>
                    <a:pt x="83820" y="77807"/>
                  </a:cubicBezTo>
                  <a:lnTo>
                    <a:pt x="87154" y="74283"/>
                  </a:lnTo>
                  <a:lnTo>
                    <a:pt x="78391" y="38850"/>
                  </a:lnTo>
                  <a:cubicBezTo>
                    <a:pt x="78200" y="38088"/>
                    <a:pt x="78581" y="37326"/>
                    <a:pt x="79153" y="36945"/>
                  </a:cubicBezTo>
                  <a:lnTo>
                    <a:pt x="112204" y="18181"/>
                  </a:lnTo>
                  <a:cubicBezTo>
                    <a:pt x="112871" y="17800"/>
                    <a:pt x="113538" y="17990"/>
                    <a:pt x="114205" y="18467"/>
                  </a:cubicBezTo>
                  <a:lnTo>
                    <a:pt x="140208" y="44089"/>
                  </a:lnTo>
                  <a:lnTo>
                    <a:pt x="144971" y="43041"/>
                  </a:lnTo>
                  <a:cubicBezTo>
                    <a:pt x="162973" y="38945"/>
                    <a:pt x="182023" y="39041"/>
                    <a:pt x="199930" y="43327"/>
                  </a:cubicBezTo>
                  <a:lnTo>
                    <a:pt x="204692" y="44470"/>
                  </a:lnTo>
                  <a:lnTo>
                    <a:pt x="230981" y="19229"/>
                  </a:lnTo>
                  <a:cubicBezTo>
                    <a:pt x="231553" y="18752"/>
                    <a:pt x="232315" y="18562"/>
                    <a:pt x="232982" y="19038"/>
                  </a:cubicBezTo>
                  <a:lnTo>
                    <a:pt x="265843" y="38279"/>
                  </a:lnTo>
                  <a:cubicBezTo>
                    <a:pt x="266510" y="38660"/>
                    <a:pt x="266795" y="39422"/>
                    <a:pt x="266605" y="40184"/>
                  </a:cubicBezTo>
                  <a:lnTo>
                    <a:pt x="257461" y="75521"/>
                  </a:lnTo>
                  <a:lnTo>
                    <a:pt x="260795" y="79141"/>
                  </a:lnTo>
                  <a:cubicBezTo>
                    <a:pt x="273272" y="92666"/>
                    <a:pt x="282702" y="109145"/>
                    <a:pt x="287941" y="126861"/>
                  </a:cubicBezTo>
                  <a:lnTo>
                    <a:pt x="289370" y="131528"/>
                  </a:lnTo>
                  <a:lnTo>
                    <a:pt x="324803" y="141911"/>
                  </a:lnTo>
                  <a:cubicBezTo>
                    <a:pt x="324803" y="141911"/>
                    <a:pt x="325660" y="142673"/>
                    <a:pt x="325660" y="143339"/>
                  </a:cubicBezTo>
                  <a:lnTo>
                    <a:pt x="325469" y="181344"/>
                  </a:lnTo>
                  <a:cubicBezTo>
                    <a:pt x="325469" y="182106"/>
                    <a:pt x="324993" y="182773"/>
                    <a:pt x="324231" y="182963"/>
                  </a:cubicBezTo>
                  <a:lnTo>
                    <a:pt x="289084" y="192679"/>
                  </a:lnTo>
                  <a:lnTo>
                    <a:pt x="287655" y="197346"/>
                  </a:lnTo>
                  <a:cubicBezTo>
                    <a:pt x="284893" y="206109"/>
                    <a:pt x="281178" y="214682"/>
                    <a:pt x="276416" y="222683"/>
                  </a:cubicBezTo>
                  <a:cubicBezTo>
                    <a:pt x="271748" y="230684"/>
                    <a:pt x="266129" y="238113"/>
                    <a:pt x="259842" y="244781"/>
                  </a:cubicBezTo>
                  <a:lnTo>
                    <a:pt x="256508" y="248305"/>
                  </a:lnTo>
                  <a:lnTo>
                    <a:pt x="263081" y="274880"/>
                  </a:lnTo>
                  <a:lnTo>
                    <a:pt x="281464" y="274880"/>
                  </a:lnTo>
                  <a:lnTo>
                    <a:pt x="276130" y="253353"/>
                  </a:lnTo>
                  <a:cubicBezTo>
                    <a:pt x="282035" y="246686"/>
                    <a:pt x="287274" y="239351"/>
                    <a:pt x="291846" y="231636"/>
                  </a:cubicBezTo>
                  <a:cubicBezTo>
                    <a:pt x="296418" y="223921"/>
                    <a:pt x="300133" y="215729"/>
                    <a:pt x="303086" y="207252"/>
                  </a:cubicBezTo>
                  <a:lnTo>
                    <a:pt x="328898" y="200108"/>
                  </a:lnTo>
                  <a:cubicBezTo>
                    <a:pt x="337280" y="197727"/>
                    <a:pt x="343186" y="190107"/>
                    <a:pt x="343281" y="181344"/>
                  </a:cubicBezTo>
                  <a:lnTo>
                    <a:pt x="343471" y="143339"/>
                  </a:lnTo>
                  <a:cubicBezTo>
                    <a:pt x="343471" y="136386"/>
                    <a:pt x="339757" y="129814"/>
                    <a:pt x="333756" y="126290"/>
                  </a:cubicBezTo>
                  <a:cubicBezTo>
                    <a:pt x="332327" y="125432"/>
                    <a:pt x="330899" y="124861"/>
                    <a:pt x="329279" y="124385"/>
                  </a:cubicBezTo>
                  <a:lnTo>
                    <a:pt x="303467" y="116860"/>
                  </a:lnTo>
                  <a:cubicBezTo>
                    <a:pt x="297752" y="99905"/>
                    <a:pt x="288703" y="83999"/>
                    <a:pt x="277082" y="70473"/>
                  </a:cubicBezTo>
                  <a:lnTo>
                    <a:pt x="283845" y="44470"/>
                  </a:lnTo>
                  <a:cubicBezTo>
                    <a:pt x="286036" y="35993"/>
                    <a:pt x="282321" y="27039"/>
                    <a:pt x="274796" y="22658"/>
                  </a:cubicBezTo>
                  <a:lnTo>
                    <a:pt x="242030" y="3417"/>
                  </a:lnTo>
                  <a:cubicBezTo>
                    <a:pt x="234506" y="-964"/>
                    <a:pt x="224885" y="179"/>
                    <a:pt x="218599" y="6179"/>
                  </a:cubicBezTo>
                  <a:lnTo>
                    <a:pt x="199263" y="24753"/>
                  </a:lnTo>
                  <a:cubicBezTo>
                    <a:pt x="181737" y="21229"/>
                    <a:pt x="163449" y="21134"/>
                    <a:pt x="145923" y="24467"/>
                  </a:cubicBezTo>
                  <a:lnTo>
                    <a:pt x="126778" y="5608"/>
                  </a:lnTo>
                  <a:cubicBezTo>
                    <a:pt x="125635" y="4465"/>
                    <a:pt x="124301" y="3512"/>
                    <a:pt x="122968" y="2655"/>
                  </a:cubicBezTo>
                  <a:cubicBezTo>
                    <a:pt x="116967" y="-869"/>
                    <a:pt x="109442" y="-869"/>
                    <a:pt x="103346" y="2560"/>
                  </a:cubicBezTo>
                  <a:lnTo>
                    <a:pt x="70295" y="21324"/>
                  </a:lnTo>
                  <a:cubicBezTo>
                    <a:pt x="62675" y="25610"/>
                    <a:pt x="58865" y="34564"/>
                    <a:pt x="60960" y="43041"/>
                  </a:cubicBezTo>
                  <a:lnTo>
                    <a:pt x="67342" y="69044"/>
                  </a:lnTo>
                  <a:cubicBezTo>
                    <a:pt x="61436" y="75712"/>
                    <a:pt x="56198" y="83046"/>
                    <a:pt x="51626" y="90761"/>
                  </a:cubicBezTo>
                  <a:cubicBezTo>
                    <a:pt x="47054" y="98477"/>
                    <a:pt x="43339" y="106668"/>
                    <a:pt x="40386" y="115145"/>
                  </a:cubicBezTo>
                  <a:lnTo>
                    <a:pt x="14573" y="122289"/>
                  </a:lnTo>
                  <a:cubicBezTo>
                    <a:pt x="6191" y="124575"/>
                    <a:pt x="286" y="132290"/>
                    <a:pt x="191" y="141053"/>
                  </a:cubicBezTo>
                  <a:lnTo>
                    <a:pt x="0" y="179058"/>
                  </a:lnTo>
                  <a:cubicBezTo>
                    <a:pt x="0" y="186011"/>
                    <a:pt x="3715" y="192584"/>
                    <a:pt x="9620" y="196013"/>
                  </a:cubicBezTo>
                  <a:cubicBezTo>
                    <a:pt x="11049" y="196870"/>
                    <a:pt x="12573" y="197537"/>
                    <a:pt x="14097" y="197918"/>
                  </a:cubicBezTo>
                  <a:lnTo>
                    <a:pt x="39910" y="205442"/>
                  </a:lnTo>
                  <a:cubicBezTo>
                    <a:pt x="45625" y="222397"/>
                    <a:pt x="54674" y="238304"/>
                    <a:pt x="66294" y="251829"/>
                  </a:cubicBezTo>
                  <a:lnTo>
                    <a:pt x="60388" y="274594"/>
                  </a:lnTo>
                  <a:lnTo>
                    <a:pt x="78867" y="274594"/>
                  </a:lnTo>
                  <a:lnTo>
                    <a:pt x="86011" y="246971"/>
                  </a:lnTo>
                  <a:close/>
                </a:path>
              </a:pathLst>
            </a:custGeom>
            <a:solidFill>
              <a:schemeClr val="bg2"/>
            </a:solidFill>
            <a:ln w="9525" cap="flat">
              <a:noFill/>
              <a:prstDash val="solid"/>
              <a:miter/>
            </a:ln>
          </p:spPr>
          <p:txBody>
            <a:bodyPr rtlCol="0" anchor="ctr"/>
            <a:lstStyle/>
            <a:p>
              <a:endParaRPr lang="en-US" dirty="0"/>
            </a:p>
          </p:txBody>
        </p:sp>
        <p:grpSp>
          <p:nvGrpSpPr>
            <p:cNvPr id="1318" name="Group 1317">
              <a:extLst>
                <a:ext uri="{FF2B5EF4-FFF2-40B4-BE49-F238E27FC236}">
                  <a16:creationId xmlns:a16="http://schemas.microsoft.com/office/drawing/2014/main" id="{AC5C9D6F-345C-7A4C-659D-B14CE287886C}"/>
                </a:ext>
              </a:extLst>
            </p:cNvPr>
            <p:cNvGrpSpPr/>
            <p:nvPr/>
          </p:nvGrpSpPr>
          <p:grpSpPr>
            <a:xfrm>
              <a:off x="5536329" y="5798527"/>
              <a:ext cx="184140" cy="265367"/>
              <a:chOff x="5553169" y="5808053"/>
              <a:chExt cx="184140" cy="265367"/>
            </a:xfrm>
          </p:grpSpPr>
          <p:sp>
            <p:nvSpPr>
              <p:cNvPr id="1314" name="Freeform: Shape 1313">
                <a:extLst>
                  <a:ext uri="{FF2B5EF4-FFF2-40B4-BE49-F238E27FC236}">
                    <a16:creationId xmlns:a16="http://schemas.microsoft.com/office/drawing/2014/main" id="{F472F17B-3FEF-89EF-23B6-745C7F39C77D}"/>
                  </a:ext>
                </a:extLst>
              </p:cNvPr>
              <p:cNvSpPr/>
              <p:nvPr/>
            </p:nvSpPr>
            <p:spPr>
              <a:xfrm>
                <a:off x="5553169" y="5808053"/>
                <a:ext cx="184140" cy="226803"/>
              </a:xfrm>
              <a:custGeom>
                <a:avLst/>
                <a:gdLst>
                  <a:gd name="connsiteX0" fmla="*/ 184141 w 184140"/>
                  <a:gd name="connsiteY0" fmla="*/ 94163 h 226803"/>
                  <a:gd name="connsiteX1" fmla="*/ 92070 w 184140"/>
                  <a:gd name="connsiteY1" fmla="*/ 0 h 226803"/>
                  <a:gd name="connsiteX2" fmla="*/ 0 w 184140"/>
                  <a:gd name="connsiteY2" fmla="*/ 94163 h 226803"/>
                  <a:gd name="connsiteX3" fmla="*/ 0 w 184140"/>
                  <a:gd name="connsiteY3" fmla="*/ 97030 h 226803"/>
                  <a:gd name="connsiteX4" fmla="*/ 2762 w 184140"/>
                  <a:gd name="connsiteY4" fmla="*/ 117104 h 226803"/>
                  <a:gd name="connsiteX5" fmla="*/ 17368 w 184140"/>
                  <a:gd name="connsiteY5" fmla="*/ 149162 h 226803"/>
                  <a:gd name="connsiteX6" fmla="*/ 41850 w 184140"/>
                  <a:gd name="connsiteY6" fmla="*/ 184003 h 226803"/>
                  <a:gd name="connsiteX7" fmla="*/ 50806 w 184140"/>
                  <a:gd name="connsiteY7" fmla="*/ 218244 h 226803"/>
                  <a:gd name="connsiteX8" fmla="*/ 61687 w 184140"/>
                  <a:gd name="connsiteY8" fmla="*/ 226804 h 226803"/>
                  <a:gd name="connsiteX9" fmla="*/ 122412 w 184140"/>
                  <a:gd name="connsiteY9" fmla="*/ 226804 h 226803"/>
                  <a:gd name="connsiteX10" fmla="*/ 133293 w 184140"/>
                  <a:gd name="connsiteY10" fmla="*/ 218244 h 226803"/>
                  <a:gd name="connsiteX11" fmla="*/ 142249 w 184140"/>
                  <a:gd name="connsiteY11" fmla="*/ 184003 h 226803"/>
                  <a:gd name="connsiteX12" fmla="*/ 166731 w 184140"/>
                  <a:gd name="connsiteY12" fmla="*/ 149162 h 226803"/>
                  <a:gd name="connsiteX13" fmla="*/ 181337 w 184140"/>
                  <a:gd name="connsiteY13" fmla="*/ 117104 h 226803"/>
                  <a:gd name="connsiteX14" fmla="*/ 184099 w 184140"/>
                  <a:gd name="connsiteY14" fmla="*/ 97030 h 226803"/>
                  <a:gd name="connsiteX15" fmla="*/ 184099 w 184140"/>
                  <a:gd name="connsiteY15" fmla="*/ 94163 h 226803"/>
                  <a:gd name="connsiteX16" fmla="*/ 169284 w 184140"/>
                  <a:gd name="connsiteY16" fmla="*/ 113680 h 226803"/>
                  <a:gd name="connsiteX17" fmla="*/ 169284 w 184140"/>
                  <a:gd name="connsiteY17" fmla="*/ 113851 h 226803"/>
                  <a:gd name="connsiteX18" fmla="*/ 169200 w 184140"/>
                  <a:gd name="connsiteY18" fmla="*/ 114023 h 226803"/>
                  <a:gd name="connsiteX19" fmla="*/ 156604 w 184140"/>
                  <a:gd name="connsiteY19" fmla="*/ 141715 h 226803"/>
                  <a:gd name="connsiteX20" fmla="*/ 156352 w 184140"/>
                  <a:gd name="connsiteY20" fmla="*/ 142057 h 226803"/>
                  <a:gd name="connsiteX21" fmla="*/ 156143 w 184140"/>
                  <a:gd name="connsiteY21" fmla="*/ 142400 h 226803"/>
                  <a:gd name="connsiteX22" fmla="*/ 139236 w 184140"/>
                  <a:gd name="connsiteY22" fmla="*/ 166582 h 226803"/>
                  <a:gd name="connsiteX23" fmla="*/ 130740 w 184140"/>
                  <a:gd name="connsiteY23" fmla="*/ 178652 h 226803"/>
                  <a:gd name="connsiteX24" fmla="*/ 121491 w 184140"/>
                  <a:gd name="connsiteY24" fmla="*/ 214049 h 226803"/>
                  <a:gd name="connsiteX25" fmla="*/ 62733 w 184140"/>
                  <a:gd name="connsiteY25" fmla="*/ 214049 h 226803"/>
                  <a:gd name="connsiteX26" fmla="*/ 53485 w 184140"/>
                  <a:gd name="connsiteY26" fmla="*/ 178652 h 226803"/>
                  <a:gd name="connsiteX27" fmla="*/ 44989 w 184140"/>
                  <a:gd name="connsiteY27" fmla="*/ 166582 h 226803"/>
                  <a:gd name="connsiteX28" fmla="*/ 28081 w 184140"/>
                  <a:gd name="connsiteY28" fmla="*/ 142400 h 226803"/>
                  <a:gd name="connsiteX29" fmla="*/ 27872 w 184140"/>
                  <a:gd name="connsiteY29" fmla="*/ 142057 h 226803"/>
                  <a:gd name="connsiteX30" fmla="*/ 27621 w 184140"/>
                  <a:gd name="connsiteY30" fmla="*/ 141715 h 226803"/>
                  <a:gd name="connsiteX31" fmla="*/ 15024 w 184140"/>
                  <a:gd name="connsiteY31" fmla="*/ 114023 h 226803"/>
                  <a:gd name="connsiteX32" fmla="*/ 15024 w 184140"/>
                  <a:gd name="connsiteY32" fmla="*/ 113851 h 226803"/>
                  <a:gd name="connsiteX33" fmla="*/ 14941 w 184140"/>
                  <a:gd name="connsiteY33" fmla="*/ 113680 h 226803"/>
                  <a:gd name="connsiteX34" fmla="*/ 12639 w 184140"/>
                  <a:gd name="connsiteY34" fmla="*/ 97030 h 226803"/>
                  <a:gd name="connsiteX35" fmla="*/ 12639 w 184140"/>
                  <a:gd name="connsiteY35" fmla="*/ 94163 h 226803"/>
                  <a:gd name="connsiteX36" fmla="*/ 92154 w 184140"/>
                  <a:gd name="connsiteY36" fmla="*/ 12840 h 226803"/>
                  <a:gd name="connsiteX37" fmla="*/ 171670 w 184140"/>
                  <a:gd name="connsiteY37" fmla="*/ 94163 h 226803"/>
                  <a:gd name="connsiteX38" fmla="*/ 171670 w 184140"/>
                  <a:gd name="connsiteY38" fmla="*/ 97030 h 226803"/>
                  <a:gd name="connsiteX39" fmla="*/ 169368 w 184140"/>
                  <a:gd name="connsiteY39" fmla="*/ 113680 h 22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84140" h="226803">
                    <a:moveTo>
                      <a:pt x="184141" y="94163"/>
                    </a:moveTo>
                    <a:cubicBezTo>
                      <a:pt x="184141" y="42159"/>
                      <a:pt x="142919" y="0"/>
                      <a:pt x="92070" y="0"/>
                    </a:cubicBezTo>
                    <a:cubicBezTo>
                      <a:pt x="41222" y="0"/>
                      <a:pt x="0" y="42159"/>
                      <a:pt x="0" y="94163"/>
                    </a:cubicBezTo>
                    <a:cubicBezTo>
                      <a:pt x="0" y="94634"/>
                      <a:pt x="0" y="96560"/>
                      <a:pt x="0" y="97030"/>
                    </a:cubicBezTo>
                    <a:cubicBezTo>
                      <a:pt x="0" y="103964"/>
                      <a:pt x="1004" y="110641"/>
                      <a:pt x="2762" y="117104"/>
                    </a:cubicBezTo>
                    <a:cubicBezTo>
                      <a:pt x="5650" y="128832"/>
                      <a:pt x="10672" y="139660"/>
                      <a:pt x="17368" y="149162"/>
                    </a:cubicBezTo>
                    <a:cubicBezTo>
                      <a:pt x="21930" y="156610"/>
                      <a:pt x="39088" y="179894"/>
                      <a:pt x="41850" y="184003"/>
                    </a:cubicBezTo>
                    <a:lnTo>
                      <a:pt x="50806" y="218244"/>
                    </a:lnTo>
                    <a:cubicBezTo>
                      <a:pt x="52145" y="223294"/>
                      <a:pt x="56582" y="226804"/>
                      <a:pt x="61687" y="226804"/>
                    </a:cubicBezTo>
                    <a:lnTo>
                      <a:pt x="122412" y="226804"/>
                    </a:lnTo>
                    <a:cubicBezTo>
                      <a:pt x="127518" y="226804"/>
                      <a:pt x="131996" y="223294"/>
                      <a:pt x="133293" y="218244"/>
                    </a:cubicBezTo>
                    <a:lnTo>
                      <a:pt x="142249" y="184003"/>
                    </a:lnTo>
                    <a:cubicBezTo>
                      <a:pt x="145011" y="179851"/>
                      <a:pt x="162170" y="156610"/>
                      <a:pt x="166731" y="149162"/>
                    </a:cubicBezTo>
                    <a:cubicBezTo>
                      <a:pt x="173427" y="139660"/>
                      <a:pt x="178449" y="128832"/>
                      <a:pt x="181337" y="117104"/>
                    </a:cubicBezTo>
                    <a:cubicBezTo>
                      <a:pt x="183095" y="110641"/>
                      <a:pt x="184099" y="103964"/>
                      <a:pt x="184099" y="97030"/>
                    </a:cubicBezTo>
                    <a:cubicBezTo>
                      <a:pt x="184099" y="96517"/>
                      <a:pt x="184099" y="94591"/>
                      <a:pt x="184099" y="94163"/>
                    </a:cubicBezTo>
                    <a:close/>
                    <a:moveTo>
                      <a:pt x="169284" y="113680"/>
                    </a:moveTo>
                    <a:lnTo>
                      <a:pt x="169284" y="113851"/>
                    </a:lnTo>
                    <a:cubicBezTo>
                      <a:pt x="169284" y="113851"/>
                      <a:pt x="169200" y="114023"/>
                      <a:pt x="169200" y="114023"/>
                    </a:cubicBezTo>
                    <a:cubicBezTo>
                      <a:pt x="166773" y="123995"/>
                      <a:pt x="162504" y="133283"/>
                      <a:pt x="156604" y="141715"/>
                    </a:cubicBezTo>
                    <a:lnTo>
                      <a:pt x="156352" y="142057"/>
                    </a:lnTo>
                    <a:lnTo>
                      <a:pt x="156143" y="142400"/>
                    </a:lnTo>
                    <a:cubicBezTo>
                      <a:pt x="153423" y="146851"/>
                      <a:pt x="144885" y="158707"/>
                      <a:pt x="139236" y="166582"/>
                    </a:cubicBezTo>
                    <a:cubicBezTo>
                      <a:pt x="135260" y="172104"/>
                      <a:pt x="130740" y="178652"/>
                      <a:pt x="130740" y="178652"/>
                    </a:cubicBezTo>
                    <a:lnTo>
                      <a:pt x="121491" y="214049"/>
                    </a:lnTo>
                    <a:lnTo>
                      <a:pt x="62733" y="214049"/>
                    </a:lnTo>
                    <a:lnTo>
                      <a:pt x="53485" y="178652"/>
                    </a:lnTo>
                    <a:cubicBezTo>
                      <a:pt x="53485" y="178652"/>
                      <a:pt x="48965" y="172104"/>
                      <a:pt x="44989" y="166582"/>
                    </a:cubicBezTo>
                    <a:cubicBezTo>
                      <a:pt x="39339" y="158707"/>
                      <a:pt x="30802" y="146851"/>
                      <a:pt x="28081" y="142400"/>
                    </a:cubicBezTo>
                    <a:lnTo>
                      <a:pt x="27872" y="142057"/>
                    </a:lnTo>
                    <a:lnTo>
                      <a:pt x="27621" y="141715"/>
                    </a:lnTo>
                    <a:cubicBezTo>
                      <a:pt x="21678" y="133326"/>
                      <a:pt x="17452" y="123995"/>
                      <a:pt x="15024" y="114023"/>
                    </a:cubicBezTo>
                    <a:lnTo>
                      <a:pt x="15024" y="113851"/>
                    </a:lnTo>
                    <a:cubicBezTo>
                      <a:pt x="15024" y="113851"/>
                      <a:pt x="14941" y="113680"/>
                      <a:pt x="14941" y="113680"/>
                    </a:cubicBezTo>
                    <a:cubicBezTo>
                      <a:pt x="13392" y="107945"/>
                      <a:pt x="12639" y="102509"/>
                      <a:pt x="12639" y="97030"/>
                    </a:cubicBezTo>
                    <a:lnTo>
                      <a:pt x="12639" y="94163"/>
                    </a:lnTo>
                    <a:cubicBezTo>
                      <a:pt x="12639" y="49307"/>
                      <a:pt x="48295" y="12840"/>
                      <a:pt x="92154" y="12840"/>
                    </a:cubicBezTo>
                    <a:cubicBezTo>
                      <a:pt x="136013" y="12840"/>
                      <a:pt x="171670" y="49307"/>
                      <a:pt x="171670" y="94163"/>
                    </a:cubicBezTo>
                    <a:lnTo>
                      <a:pt x="171670" y="97030"/>
                    </a:lnTo>
                    <a:cubicBezTo>
                      <a:pt x="171670" y="102466"/>
                      <a:pt x="170916" y="107945"/>
                      <a:pt x="169368" y="113680"/>
                    </a:cubicBezTo>
                    <a:close/>
                  </a:path>
                </a:pathLst>
              </a:custGeom>
              <a:solidFill>
                <a:srgbClr val="3D4647"/>
              </a:solidFill>
              <a:ln w="4022" cap="flat">
                <a:noFill/>
                <a:prstDash val="solid"/>
                <a:miter/>
              </a:ln>
            </p:spPr>
            <p:txBody>
              <a:bodyPr rtlCol="0" anchor="ctr"/>
              <a:lstStyle/>
              <a:p>
                <a:endParaRPr lang="en-US" dirty="0"/>
              </a:p>
            </p:txBody>
          </p:sp>
          <p:sp>
            <p:nvSpPr>
              <p:cNvPr id="1315" name="Freeform: Shape 1314">
                <a:extLst>
                  <a:ext uri="{FF2B5EF4-FFF2-40B4-BE49-F238E27FC236}">
                    <a16:creationId xmlns:a16="http://schemas.microsoft.com/office/drawing/2014/main" id="{4BA58825-D25F-C68A-BE2B-C493A4916133}"/>
                  </a:ext>
                </a:extLst>
              </p:cNvPr>
              <p:cNvSpPr/>
              <p:nvPr/>
            </p:nvSpPr>
            <p:spPr>
              <a:xfrm>
                <a:off x="5607574" y="6047740"/>
                <a:ext cx="75288" cy="25680"/>
              </a:xfrm>
              <a:custGeom>
                <a:avLst/>
                <a:gdLst>
                  <a:gd name="connsiteX0" fmla="*/ 0 w 75288"/>
                  <a:gd name="connsiteY0" fmla="*/ 9031 h 25680"/>
                  <a:gd name="connsiteX1" fmla="*/ 16280 w 75288"/>
                  <a:gd name="connsiteY1" fmla="*/ 25681 h 25680"/>
                  <a:gd name="connsiteX2" fmla="*/ 59009 w 75288"/>
                  <a:gd name="connsiteY2" fmla="*/ 25681 h 25680"/>
                  <a:gd name="connsiteX3" fmla="*/ 75289 w 75288"/>
                  <a:gd name="connsiteY3" fmla="*/ 9031 h 25680"/>
                  <a:gd name="connsiteX4" fmla="*/ 75289 w 75288"/>
                  <a:gd name="connsiteY4" fmla="*/ 0 h 25680"/>
                  <a:gd name="connsiteX5" fmla="*/ 0 w 75288"/>
                  <a:gd name="connsiteY5" fmla="*/ 0 h 25680"/>
                  <a:gd name="connsiteX6" fmla="*/ 0 w 75288"/>
                  <a:gd name="connsiteY6" fmla="*/ 9031 h 2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288" h="25680">
                    <a:moveTo>
                      <a:pt x="0" y="9031"/>
                    </a:moveTo>
                    <a:cubicBezTo>
                      <a:pt x="0" y="18233"/>
                      <a:pt x="7282" y="25681"/>
                      <a:pt x="16280" y="25681"/>
                    </a:cubicBezTo>
                    <a:lnTo>
                      <a:pt x="59009" y="25681"/>
                    </a:lnTo>
                    <a:cubicBezTo>
                      <a:pt x="68007" y="25681"/>
                      <a:pt x="75289" y="18233"/>
                      <a:pt x="75289" y="9031"/>
                    </a:cubicBezTo>
                    <a:lnTo>
                      <a:pt x="75289" y="0"/>
                    </a:lnTo>
                    <a:lnTo>
                      <a:pt x="0" y="0"/>
                    </a:lnTo>
                    <a:lnTo>
                      <a:pt x="0" y="9031"/>
                    </a:lnTo>
                    <a:close/>
                  </a:path>
                </a:pathLst>
              </a:custGeom>
              <a:solidFill>
                <a:srgbClr val="3D4647"/>
              </a:solidFill>
              <a:ln w="4022" cap="flat">
                <a:noFill/>
                <a:prstDash val="solid"/>
                <a:miter/>
              </a:ln>
            </p:spPr>
            <p:txBody>
              <a:bodyPr rtlCol="0" anchor="ctr"/>
              <a:lstStyle/>
              <a:p>
                <a:endParaRPr lang="en-US" dirty="0"/>
              </a:p>
            </p:txBody>
          </p:sp>
        </p:grpSp>
        <p:sp>
          <p:nvSpPr>
            <p:cNvPr id="1316" name="Freeform: Shape 1315">
              <a:extLst>
                <a:ext uri="{FF2B5EF4-FFF2-40B4-BE49-F238E27FC236}">
                  <a16:creationId xmlns:a16="http://schemas.microsoft.com/office/drawing/2014/main" id="{8A373949-557E-5673-492B-C4D4260AAE1F}"/>
                </a:ext>
              </a:extLst>
            </p:cNvPr>
            <p:cNvSpPr/>
            <p:nvPr/>
          </p:nvSpPr>
          <p:spPr>
            <a:xfrm>
              <a:off x="5608583" y="6063894"/>
              <a:ext cx="39632" cy="8560"/>
            </a:xfrm>
            <a:custGeom>
              <a:avLst/>
              <a:gdLst>
                <a:gd name="connsiteX0" fmla="*/ 0 w 39632"/>
                <a:gd name="connsiteY0" fmla="*/ 0 h 8560"/>
                <a:gd name="connsiteX1" fmla="*/ 1088 w 39632"/>
                <a:gd name="connsiteY1" fmla="*/ 4066 h 8560"/>
                <a:gd name="connsiteX2" fmla="*/ 6780 w 39632"/>
                <a:gd name="connsiteY2" fmla="*/ 8560 h 8560"/>
                <a:gd name="connsiteX3" fmla="*/ 32852 w 39632"/>
                <a:gd name="connsiteY3" fmla="*/ 8560 h 8560"/>
                <a:gd name="connsiteX4" fmla="*/ 38544 w 39632"/>
                <a:gd name="connsiteY4" fmla="*/ 4066 h 8560"/>
                <a:gd name="connsiteX5" fmla="*/ 39632 w 39632"/>
                <a:gd name="connsiteY5" fmla="*/ 0 h 8560"/>
                <a:gd name="connsiteX6" fmla="*/ 0 w 39632"/>
                <a:gd name="connsiteY6" fmla="*/ 0 h 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32" h="8560">
                  <a:moveTo>
                    <a:pt x="0" y="0"/>
                  </a:moveTo>
                  <a:lnTo>
                    <a:pt x="1088" y="4066"/>
                  </a:lnTo>
                  <a:cubicBezTo>
                    <a:pt x="1800" y="6720"/>
                    <a:pt x="4143" y="8560"/>
                    <a:pt x="6780" y="8560"/>
                  </a:cubicBezTo>
                  <a:lnTo>
                    <a:pt x="32852" y="8560"/>
                  </a:lnTo>
                  <a:cubicBezTo>
                    <a:pt x="35531" y="8560"/>
                    <a:pt x="37874" y="6720"/>
                    <a:pt x="38544" y="4066"/>
                  </a:cubicBezTo>
                  <a:lnTo>
                    <a:pt x="39632" y="0"/>
                  </a:lnTo>
                  <a:lnTo>
                    <a:pt x="0" y="0"/>
                  </a:lnTo>
                  <a:close/>
                </a:path>
              </a:pathLst>
            </a:custGeom>
            <a:solidFill>
              <a:srgbClr val="3D4647"/>
            </a:solidFill>
            <a:ln w="4022" cap="flat">
              <a:noFill/>
              <a:prstDash val="solid"/>
              <a:miter/>
            </a:ln>
          </p:spPr>
          <p:txBody>
            <a:bodyPr rtlCol="0" anchor="ctr"/>
            <a:lstStyle/>
            <a:p>
              <a:endParaRPr lang="en-US" dirty="0"/>
            </a:p>
          </p:txBody>
        </p:sp>
        <p:sp>
          <p:nvSpPr>
            <p:cNvPr id="1317" name="Freeform: Shape 1316">
              <a:extLst>
                <a:ext uri="{FF2B5EF4-FFF2-40B4-BE49-F238E27FC236}">
                  <a16:creationId xmlns:a16="http://schemas.microsoft.com/office/drawing/2014/main" id="{2F8EB8EF-CDCF-8358-73C4-258880F2908B}"/>
                </a:ext>
              </a:extLst>
            </p:cNvPr>
            <p:cNvSpPr/>
            <p:nvPr/>
          </p:nvSpPr>
          <p:spPr>
            <a:xfrm>
              <a:off x="5574455" y="5835935"/>
              <a:ext cx="107889" cy="111240"/>
            </a:xfrm>
            <a:custGeom>
              <a:avLst/>
              <a:gdLst>
                <a:gd name="connsiteX0" fmla="*/ 97678 w 107889"/>
                <a:gd name="connsiteY0" fmla="*/ 93264 h 111240"/>
                <a:gd name="connsiteX1" fmla="*/ 107890 w 107889"/>
                <a:gd name="connsiteY1" fmla="*/ 75202 h 111240"/>
                <a:gd name="connsiteX2" fmla="*/ 95042 w 107889"/>
                <a:gd name="connsiteY2" fmla="*/ 64416 h 111240"/>
                <a:gd name="connsiteX3" fmla="*/ 95042 w 107889"/>
                <a:gd name="connsiteY3" fmla="*/ 46140 h 111240"/>
                <a:gd name="connsiteX4" fmla="*/ 107890 w 107889"/>
                <a:gd name="connsiteY4" fmla="*/ 35225 h 111240"/>
                <a:gd name="connsiteX5" fmla="*/ 97678 w 107889"/>
                <a:gd name="connsiteY5" fmla="*/ 17163 h 111240"/>
                <a:gd name="connsiteX6" fmla="*/ 82236 w 107889"/>
                <a:gd name="connsiteY6" fmla="*/ 23155 h 111240"/>
                <a:gd name="connsiteX7" fmla="*/ 66458 w 107889"/>
                <a:gd name="connsiteY7" fmla="*/ 14381 h 111240"/>
                <a:gd name="connsiteX8" fmla="*/ 64156 w 107889"/>
                <a:gd name="connsiteY8" fmla="*/ 0 h 111240"/>
                <a:gd name="connsiteX9" fmla="*/ 43775 w 107889"/>
                <a:gd name="connsiteY9" fmla="*/ 0 h 111240"/>
                <a:gd name="connsiteX10" fmla="*/ 41390 w 107889"/>
                <a:gd name="connsiteY10" fmla="*/ 14381 h 111240"/>
                <a:gd name="connsiteX11" fmla="*/ 25403 w 107889"/>
                <a:gd name="connsiteY11" fmla="*/ 23840 h 111240"/>
                <a:gd name="connsiteX12" fmla="*/ 10797 w 107889"/>
                <a:gd name="connsiteY12" fmla="*/ 18191 h 111240"/>
                <a:gd name="connsiteX13" fmla="*/ 586 w 107889"/>
                <a:gd name="connsiteY13" fmla="*/ 36253 h 111240"/>
                <a:gd name="connsiteX14" fmla="*/ 12764 w 107889"/>
                <a:gd name="connsiteY14" fmla="*/ 46482 h 111240"/>
                <a:gd name="connsiteX15" fmla="*/ 12764 w 107889"/>
                <a:gd name="connsiteY15" fmla="*/ 65058 h 111240"/>
                <a:gd name="connsiteX16" fmla="*/ 0 w 107889"/>
                <a:gd name="connsiteY16" fmla="*/ 75758 h 111240"/>
                <a:gd name="connsiteX17" fmla="*/ 10211 w 107889"/>
                <a:gd name="connsiteY17" fmla="*/ 93820 h 111240"/>
                <a:gd name="connsiteX18" fmla="*/ 25989 w 107889"/>
                <a:gd name="connsiteY18" fmla="*/ 87785 h 111240"/>
                <a:gd name="connsiteX19" fmla="*/ 41432 w 107889"/>
                <a:gd name="connsiteY19" fmla="*/ 96902 h 111240"/>
                <a:gd name="connsiteX20" fmla="*/ 43817 w 107889"/>
                <a:gd name="connsiteY20" fmla="*/ 111240 h 111240"/>
                <a:gd name="connsiteX21" fmla="*/ 64198 w 107889"/>
                <a:gd name="connsiteY21" fmla="*/ 111240 h 111240"/>
                <a:gd name="connsiteX22" fmla="*/ 66500 w 107889"/>
                <a:gd name="connsiteY22" fmla="*/ 96902 h 111240"/>
                <a:gd name="connsiteX23" fmla="*/ 82194 w 107889"/>
                <a:gd name="connsiteY23" fmla="*/ 87657 h 111240"/>
                <a:gd name="connsiteX24" fmla="*/ 97678 w 107889"/>
                <a:gd name="connsiteY24" fmla="*/ 93307 h 111240"/>
                <a:gd name="connsiteX25" fmla="*/ 64031 w 107889"/>
                <a:gd name="connsiteY25" fmla="*/ 73319 h 111240"/>
                <a:gd name="connsiteX26" fmla="*/ 51183 w 107889"/>
                <a:gd name="connsiteY26" fmla="*/ 75929 h 111240"/>
                <a:gd name="connsiteX27" fmla="*/ 39423 w 107889"/>
                <a:gd name="connsiteY27" fmla="*/ 69980 h 111240"/>
                <a:gd name="connsiteX28" fmla="*/ 33606 w 107889"/>
                <a:gd name="connsiteY28" fmla="*/ 57953 h 111240"/>
                <a:gd name="connsiteX29" fmla="*/ 36159 w 107889"/>
                <a:gd name="connsiteY29" fmla="*/ 44813 h 111240"/>
                <a:gd name="connsiteX30" fmla="*/ 45993 w 107889"/>
                <a:gd name="connsiteY30" fmla="*/ 35953 h 111240"/>
                <a:gd name="connsiteX31" fmla="*/ 59093 w 107889"/>
                <a:gd name="connsiteY31" fmla="*/ 35054 h 111240"/>
                <a:gd name="connsiteX32" fmla="*/ 70015 w 107889"/>
                <a:gd name="connsiteY32" fmla="*/ 42502 h 111240"/>
                <a:gd name="connsiteX33" fmla="*/ 74242 w 107889"/>
                <a:gd name="connsiteY33" fmla="*/ 55214 h 111240"/>
                <a:gd name="connsiteX34" fmla="*/ 71564 w 107889"/>
                <a:gd name="connsiteY34" fmla="*/ 65614 h 111240"/>
                <a:gd name="connsiteX35" fmla="*/ 64156 w 107889"/>
                <a:gd name="connsiteY35" fmla="*/ 73276 h 111240"/>
                <a:gd name="connsiteX36" fmla="*/ 64031 w 107889"/>
                <a:gd name="connsiteY36" fmla="*/ 73276 h 11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7889" h="111240">
                  <a:moveTo>
                    <a:pt x="97678" y="93264"/>
                  </a:moveTo>
                  <a:lnTo>
                    <a:pt x="107890" y="75202"/>
                  </a:lnTo>
                  <a:lnTo>
                    <a:pt x="95042" y="64416"/>
                  </a:lnTo>
                  <a:lnTo>
                    <a:pt x="95042" y="46140"/>
                  </a:lnTo>
                  <a:lnTo>
                    <a:pt x="107890" y="35225"/>
                  </a:lnTo>
                  <a:lnTo>
                    <a:pt x="97678" y="17163"/>
                  </a:lnTo>
                  <a:lnTo>
                    <a:pt x="82236" y="23155"/>
                  </a:lnTo>
                  <a:lnTo>
                    <a:pt x="66458" y="14381"/>
                  </a:lnTo>
                  <a:lnTo>
                    <a:pt x="64156" y="0"/>
                  </a:lnTo>
                  <a:lnTo>
                    <a:pt x="43775" y="0"/>
                  </a:lnTo>
                  <a:lnTo>
                    <a:pt x="41390" y="14381"/>
                  </a:lnTo>
                  <a:lnTo>
                    <a:pt x="25403" y="23840"/>
                  </a:lnTo>
                  <a:lnTo>
                    <a:pt x="10797" y="18191"/>
                  </a:lnTo>
                  <a:lnTo>
                    <a:pt x="586" y="36253"/>
                  </a:lnTo>
                  <a:lnTo>
                    <a:pt x="12764" y="46482"/>
                  </a:lnTo>
                  <a:lnTo>
                    <a:pt x="12764" y="65058"/>
                  </a:lnTo>
                  <a:lnTo>
                    <a:pt x="0" y="75758"/>
                  </a:lnTo>
                  <a:lnTo>
                    <a:pt x="10211" y="93820"/>
                  </a:lnTo>
                  <a:lnTo>
                    <a:pt x="25989" y="87785"/>
                  </a:lnTo>
                  <a:lnTo>
                    <a:pt x="41432" y="96902"/>
                  </a:lnTo>
                  <a:lnTo>
                    <a:pt x="43817" y="111240"/>
                  </a:lnTo>
                  <a:lnTo>
                    <a:pt x="64198" y="111240"/>
                  </a:lnTo>
                  <a:lnTo>
                    <a:pt x="66500" y="96902"/>
                  </a:lnTo>
                  <a:lnTo>
                    <a:pt x="82194" y="87657"/>
                  </a:lnTo>
                  <a:lnTo>
                    <a:pt x="97678" y="93307"/>
                  </a:lnTo>
                  <a:close/>
                  <a:moveTo>
                    <a:pt x="64031" y="73319"/>
                  </a:moveTo>
                  <a:cubicBezTo>
                    <a:pt x="60139" y="75630"/>
                    <a:pt x="55619" y="76529"/>
                    <a:pt x="51183" y="75929"/>
                  </a:cubicBezTo>
                  <a:cubicBezTo>
                    <a:pt x="46747" y="75330"/>
                    <a:pt x="42604" y="73233"/>
                    <a:pt x="39423" y="69980"/>
                  </a:cubicBezTo>
                  <a:cubicBezTo>
                    <a:pt x="36242" y="66727"/>
                    <a:pt x="34192" y="62490"/>
                    <a:pt x="33606" y="57953"/>
                  </a:cubicBezTo>
                  <a:cubicBezTo>
                    <a:pt x="33020" y="53416"/>
                    <a:pt x="33899" y="48793"/>
                    <a:pt x="36159" y="44813"/>
                  </a:cubicBezTo>
                  <a:cubicBezTo>
                    <a:pt x="38419" y="40832"/>
                    <a:pt x="41850" y="37708"/>
                    <a:pt x="45993" y="35953"/>
                  </a:cubicBezTo>
                  <a:cubicBezTo>
                    <a:pt x="50137" y="34198"/>
                    <a:pt x="54740" y="33899"/>
                    <a:pt x="59093" y="35054"/>
                  </a:cubicBezTo>
                  <a:cubicBezTo>
                    <a:pt x="63445" y="36253"/>
                    <a:pt x="67253" y="38864"/>
                    <a:pt x="70015" y="42502"/>
                  </a:cubicBezTo>
                  <a:cubicBezTo>
                    <a:pt x="72736" y="46140"/>
                    <a:pt x="74242" y="50591"/>
                    <a:pt x="74242" y="55214"/>
                  </a:cubicBezTo>
                  <a:cubicBezTo>
                    <a:pt x="74242" y="58852"/>
                    <a:pt x="73322" y="62447"/>
                    <a:pt x="71564" y="65614"/>
                  </a:cubicBezTo>
                  <a:cubicBezTo>
                    <a:pt x="69806" y="68782"/>
                    <a:pt x="67253" y="71435"/>
                    <a:pt x="64156" y="73276"/>
                  </a:cubicBezTo>
                  <a:lnTo>
                    <a:pt x="64031" y="73276"/>
                  </a:lnTo>
                  <a:close/>
                </a:path>
              </a:pathLst>
            </a:custGeom>
            <a:solidFill>
              <a:srgbClr val="40AA1D"/>
            </a:solidFill>
            <a:ln w="4022" cap="flat">
              <a:noFill/>
              <a:prstDash val="solid"/>
              <a:miter/>
            </a:ln>
          </p:spPr>
          <p:txBody>
            <a:bodyPr rtlCol="0" anchor="ctr"/>
            <a:lstStyle/>
            <a:p>
              <a:endParaRPr lang="en-US" dirty="0"/>
            </a:p>
          </p:txBody>
        </p:sp>
      </p:grpSp>
      <p:grpSp>
        <p:nvGrpSpPr>
          <p:cNvPr id="1320" name="Group 1319">
            <a:extLst>
              <a:ext uri="{FF2B5EF4-FFF2-40B4-BE49-F238E27FC236}">
                <a16:creationId xmlns:a16="http://schemas.microsoft.com/office/drawing/2014/main" id="{6CC9F8C6-1A29-0D64-CA30-301F218E0E96}"/>
              </a:ext>
            </a:extLst>
          </p:cNvPr>
          <p:cNvGrpSpPr/>
          <p:nvPr/>
        </p:nvGrpSpPr>
        <p:grpSpPr>
          <a:xfrm>
            <a:off x="10926720" y="5699777"/>
            <a:ext cx="343471" cy="344272"/>
            <a:chOff x="5456664" y="5728182"/>
            <a:chExt cx="343471" cy="344272"/>
          </a:xfrm>
          <a:solidFill>
            <a:schemeClr val="bg1"/>
          </a:solidFill>
        </p:grpSpPr>
        <p:sp>
          <p:nvSpPr>
            <p:cNvPr id="1321" name="Freeform: Shape 1320">
              <a:extLst>
                <a:ext uri="{FF2B5EF4-FFF2-40B4-BE49-F238E27FC236}">
                  <a16:creationId xmlns:a16="http://schemas.microsoft.com/office/drawing/2014/main" id="{3E9C5351-5AC0-7BA8-8E78-9404847E6221}"/>
                </a:ext>
              </a:extLst>
            </p:cNvPr>
            <p:cNvSpPr/>
            <p:nvPr/>
          </p:nvSpPr>
          <p:spPr>
            <a:xfrm>
              <a:off x="5456664" y="5728182"/>
              <a:ext cx="343471" cy="274879"/>
            </a:xfrm>
            <a:custGeom>
              <a:avLst/>
              <a:gdLst>
                <a:gd name="connsiteX0" fmla="*/ 86296 w 343471"/>
                <a:gd name="connsiteY0" fmla="*/ 247067 h 274879"/>
                <a:gd name="connsiteX1" fmla="*/ 82963 w 343471"/>
                <a:gd name="connsiteY1" fmla="*/ 243447 h 274879"/>
                <a:gd name="connsiteX2" fmla="*/ 55817 w 343471"/>
                <a:gd name="connsiteY2" fmla="*/ 195727 h 274879"/>
                <a:gd name="connsiteX3" fmla="*/ 54388 w 343471"/>
                <a:gd name="connsiteY3" fmla="*/ 191060 h 274879"/>
                <a:gd name="connsiteX4" fmla="*/ 18955 w 343471"/>
                <a:gd name="connsiteY4" fmla="*/ 180677 h 274879"/>
                <a:gd name="connsiteX5" fmla="*/ 18098 w 343471"/>
                <a:gd name="connsiteY5" fmla="*/ 179249 h 274879"/>
                <a:gd name="connsiteX6" fmla="*/ 18288 w 343471"/>
                <a:gd name="connsiteY6" fmla="*/ 141244 h 274879"/>
                <a:gd name="connsiteX7" fmla="*/ 19526 w 343471"/>
                <a:gd name="connsiteY7" fmla="*/ 139625 h 274879"/>
                <a:gd name="connsiteX8" fmla="*/ 54674 w 343471"/>
                <a:gd name="connsiteY8" fmla="*/ 129909 h 274879"/>
                <a:gd name="connsiteX9" fmla="*/ 56102 w 343471"/>
                <a:gd name="connsiteY9" fmla="*/ 125242 h 274879"/>
                <a:gd name="connsiteX10" fmla="*/ 67246 w 343471"/>
                <a:gd name="connsiteY10" fmla="*/ 99905 h 274879"/>
                <a:gd name="connsiteX11" fmla="*/ 83820 w 343471"/>
                <a:gd name="connsiteY11" fmla="*/ 77807 h 274879"/>
                <a:gd name="connsiteX12" fmla="*/ 87154 w 343471"/>
                <a:gd name="connsiteY12" fmla="*/ 74283 h 274879"/>
                <a:gd name="connsiteX13" fmla="*/ 78391 w 343471"/>
                <a:gd name="connsiteY13" fmla="*/ 38850 h 274879"/>
                <a:gd name="connsiteX14" fmla="*/ 79153 w 343471"/>
                <a:gd name="connsiteY14" fmla="*/ 36945 h 274879"/>
                <a:gd name="connsiteX15" fmla="*/ 112204 w 343471"/>
                <a:gd name="connsiteY15" fmla="*/ 18181 h 274879"/>
                <a:gd name="connsiteX16" fmla="*/ 114205 w 343471"/>
                <a:gd name="connsiteY16" fmla="*/ 18467 h 274879"/>
                <a:gd name="connsiteX17" fmla="*/ 140208 w 343471"/>
                <a:gd name="connsiteY17" fmla="*/ 44089 h 274879"/>
                <a:gd name="connsiteX18" fmla="*/ 144971 w 343471"/>
                <a:gd name="connsiteY18" fmla="*/ 43041 h 274879"/>
                <a:gd name="connsiteX19" fmla="*/ 199930 w 343471"/>
                <a:gd name="connsiteY19" fmla="*/ 43327 h 274879"/>
                <a:gd name="connsiteX20" fmla="*/ 204692 w 343471"/>
                <a:gd name="connsiteY20" fmla="*/ 44470 h 274879"/>
                <a:gd name="connsiteX21" fmla="*/ 230981 w 343471"/>
                <a:gd name="connsiteY21" fmla="*/ 19229 h 274879"/>
                <a:gd name="connsiteX22" fmla="*/ 232982 w 343471"/>
                <a:gd name="connsiteY22" fmla="*/ 19038 h 274879"/>
                <a:gd name="connsiteX23" fmla="*/ 265843 w 343471"/>
                <a:gd name="connsiteY23" fmla="*/ 38279 h 274879"/>
                <a:gd name="connsiteX24" fmla="*/ 266605 w 343471"/>
                <a:gd name="connsiteY24" fmla="*/ 40184 h 274879"/>
                <a:gd name="connsiteX25" fmla="*/ 257461 w 343471"/>
                <a:gd name="connsiteY25" fmla="*/ 75521 h 274879"/>
                <a:gd name="connsiteX26" fmla="*/ 260795 w 343471"/>
                <a:gd name="connsiteY26" fmla="*/ 79141 h 274879"/>
                <a:gd name="connsiteX27" fmla="*/ 287941 w 343471"/>
                <a:gd name="connsiteY27" fmla="*/ 126861 h 274879"/>
                <a:gd name="connsiteX28" fmla="*/ 289370 w 343471"/>
                <a:gd name="connsiteY28" fmla="*/ 131528 h 274879"/>
                <a:gd name="connsiteX29" fmla="*/ 324803 w 343471"/>
                <a:gd name="connsiteY29" fmla="*/ 141911 h 274879"/>
                <a:gd name="connsiteX30" fmla="*/ 325660 w 343471"/>
                <a:gd name="connsiteY30" fmla="*/ 143339 h 274879"/>
                <a:gd name="connsiteX31" fmla="*/ 325469 w 343471"/>
                <a:gd name="connsiteY31" fmla="*/ 181344 h 274879"/>
                <a:gd name="connsiteX32" fmla="*/ 324231 w 343471"/>
                <a:gd name="connsiteY32" fmla="*/ 182963 h 274879"/>
                <a:gd name="connsiteX33" fmla="*/ 289084 w 343471"/>
                <a:gd name="connsiteY33" fmla="*/ 192679 h 274879"/>
                <a:gd name="connsiteX34" fmla="*/ 287655 w 343471"/>
                <a:gd name="connsiteY34" fmla="*/ 197346 h 274879"/>
                <a:gd name="connsiteX35" fmla="*/ 276416 w 343471"/>
                <a:gd name="connsiteY35" fmla="*/ 222683 h 274879"/>
                <a:gd name="connsiteX36" fmla="*/ 259842 w 343471"/>
                <a:gd name="connsiteY36" fmla="*/ 244781 h 274879"/>
                <a:gd name="connsiteX37" fmla="*/ 256508 w 343471"/>
                <a:gd name="connsiteY37" fmla="*/ 248305 h 274879"/>
                <a:gd name="connsiteX38" fmla="*/ 263081 w 343471"/>
                <a:gd name="connsiteY38" fmla="*/ 274880 h 274879"/>
                <a:gd name="connsiteX39" fmla="*/ 281464 w 343471"/>
                <a:gd name="connsiteY39" fmla="*/ 274880 h 274879"/>
                <a:gd name="connsiteX40" fmla="*/ 276130 w 343471"/>
                <a:gd name="connsiteY40" fmla="*/ 253353 h 274879"/>
                <a:gd name="connsiteX41" fmla="*/ 291846 w 343471"/>
                <a:gd name="connsiteY41" fmla="*/ 231636 h 274879"/>
                <a:gd name="connsiteX42" fmla="*/ 303086 w 343471"/>
                <a:gd name="connsiteY42" fmla="*/ 207252 h 274879"/>
                <a:gd name="connsiteX43" fmla="*/ 328898 w 343471"/>
                <a:gd name="connsiteY43" fmla="*/ 200108 h 274879"/>
                <a:gd name="connsiteX44" fmla="*/ 343281 w 343471"/>
                <a:gd name="connsiteY44" fmla="*/ 181344 h 274879"/>
                <a:gd name="connsiteX45" fmla="*/ 343471 w 343471"/>
                <a:gd name="connsiteY45" fmla="*/ 143339 h 274879"/>
                <a:gd name="connsiteX46" fmla="*/ 333756 w 343471"/>
                <a:gd name="connsiteY46" fmla="*/ 126290 h 274879"/>
                <a:gd name="connsiteX47" fmla="*/ 329279 w 343471"/>
                <a:gd name="connsiteY47" fmla="*/ 124385 h 274879"/>
                <a:gd name="connsiteX48" fmla="*/ 303467 w 343471"/>
                <a:gd name="connsiteY48" fmla="*/ 116860 h 274879"/>
                <a:gd name="connsiteX49" fmla="*/ 277082 w 343471"/>
                <a:gd name="connsiteY49" fmla="*/ 70473 h 274879"/>
                <a:gd name="connsiteX50" fmla="*/ 283845 w 343471"/>
                <a:gd name="connsiteY50" fmla="*/ 44470 h 274879"/>
                <a:gd name="connsiteX51" fmla="*/ 274796 w 343471"/>
                <a:gd name="connsiteY51" fmla="*/ 22658 h 274879"/>
                <a:gd name="connsiteX52" fmla="*/ 242030 w 343471"/>
                <a:gd name="connsiteY52" fmla="*/ 3417 h 274879"/>
                <a:gd name="connsiteX53" fmla="*/ 218599 w 343471"/>
                <a:gd name="connsiteY53" fmla="*/ 6179 h 274879"/>
                <a:gd name="connsiteX54" fmla="*/ 199263 w 343471"/>
                <a:gd name="connsiteY54" fmla="*/ 24753 h 274879"/>
                <a:gd name="connsiteX55" fmla="*/ 145923 w 343471"/>
                <a:gd name="connsiteY55" fmla="*/ 24467 h 274879"/>
                <a:gd name="connsiteX56" fmla="*/ 126778 w 343471"/>
                <a:gd name="connsiteY56" fmla="*/ 5608 h 274879"/>
                <a:gd name="connsiteX57" fmla="*/ 122968 w 343471"/>
                <a:gd name="connsiteY57" fmla="*/ 2655 h 274879"/>
                <a:gd name="connsiteX58" fmla="*/ 103346 w 343471"/>
                <a:gd name="connsiteY58" fmla="*/ 2560 h 274879"/>
                <a:gd name="connsiteX59" fmla="*/ 70295 w 343471"/>
                <a:gd name="connsiteY59" fmla="*/ 21324 h 274879"/>
                <a:gd name="connsiteX60" fmla="*/ 60960 w 343471"/>
                <a:gd name="connsiteY60" fmla="*/ 43041 h 274879"/>
                <a:gd name="connsiteX61" fmla="*/ 67342 w 343471"/>
                <a:gd name="connsiteY61" fmla="*/ 69044 h 274879"/>
                <a:gd name="connsiteX62" fmla="*/ 51626 w 343471"/>
                <a:gd name="connsiteY62" fmla="*/ 90761 h 274879"/>
                <a:gd name="connsiteX63" fmla="*/ 40386 w 343471"/>
                <a:gd name="connsiteY63" fmla="*/ 115145 h 274879"/>
                <a:gd name="connsiteX64" fmla="*/ 14573 w 343471"/>
                <a:gd name="connsiteY64" fmla="*/ 122289 h 274879"/>
                <a:gd name="connsiteX65" fmla="*/ 191 w 343471"/>
                <a:gd name="connsiteY65" fmla="*/ 141053 h 274879"/>
                <a:gd name="connsiteX66" fmla="*/ 0 w 343471"/>
                <a:gd name="connsiteY66" fmla="*/ 179058 h 274879"/>
                <a:gd name="connsiteX67" fmla="*/ 9620 w 343471"/>
                <a:gd name="connsiteY67" fmla="*/ 196013 h 274879"/>
                <a:gd name="connsiteX68" fmla="*/ 14097 w 343471"/>
                <a:gd name="connsiteY68" fmla="*/ 197918 h 274879"/>
                <a:gd name="connsiteX69" fmla="*/ 39910 w 343471"/>
                <a:gd name="connsiteY69" fmla="*/ 205442 h 274879"/>
                <a:gd name="connsiteX70" fmla="*/ 66294 w 343471"/>
                <a:gd name="connsiteY70" fmla="*/ 251829 h 274879"/>
                <a:gd name="connsiteX71" fmla="*/ 60388 w 343471"/>
                <a:gd name="connsiteY71" fmla="*/ 274594 h 274879"/>
                <a:gd name="connsiteX72" fmla="*/ 78867 w 343471"/>
                <a:gd name="connsiteY72" fmla="*/ 274594 h 274879"/>
                <a:gd name="connsiteX73" fmla="*/ 86011 w 343471"/>
                <a:gd name="connsiteY73" fmla="*/ 246971 h 27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43471" h="274879">
                  <a:moveTo>
                    <a:pt x="86296" y="247067"/>
                  </a:moveTo>
                  <a:lnTo>
                    <a:pt x="82963" y="243447"/>
                  </a:lnTo>
                  <a:cubicBezTo>
                    <a:pt x="70485" y="229922"/>
                    <a:pt x="61055" y="213443"/>
                    <a:pt x="55817" y="195727"/>
                  </a:cubicBezTo>
                  <a:lnTo>
                    <a:pt x="54388" y="191060"/>
                  </a:lnTo>
                  <a:lnTo>
                    <a:pt x="18955" y="180677"/>
                  </a:lnTo>
                  <a:cubicBezTo>
                    <a:pt x="18955" y="180677"/>
                    <a:pt x="18098" y="179915"/>
                    <a:pt x="18098" y="179249"/>
                  </a:cubicBezTo>
                  <a:lnTo>
                    <a:pt x="18288" y="141244"/>
                  </a:lnTo>
                  <a:cubicBezTo>
                    <a:pt x="18288" y="140482"/>
                    <a:pt x="18764" y="139815"/>
                    <a:pt x="19526" y="139625"/>
                  </a:cubicBezTo>
                  <a:lnTo>
                    <a:pt x="54674" y="129909"/>
                  </a:lnTo>
                  <a:lnTo>
                    <a:pt x="56102" y="125242"/>
                  </a:lnTo>
                  <a:cubicBezTo>
                    <a:pt x="58865" y="116479"/>
                    <a:pt x="62579" y="107906"/>
                    <a:pt x="67246" y="99905"/>
                  </a:cubicBezTo>
                  <a:cubicBezTo>
                    <a:pt x="71914" y="91904"/>
                    <a:pt x="77534" y="84475"/>
                    <a:pt x="83820" y="77807"/>
                  </a:cubicBezTo>
                  <a:lnTo>
                    <a:pt x="87154" y="74283"/>
                  </a:lnTo>
                  <a:lnTo>
                    <a:pt x="78391" y="38850"/>
                  </a:lnTo>
                  <a:cubicBezTo>
                    <a:pt x="78200" y="38088"/>
                    <a:pt x="78581" y="37326"/>
                    <a:pt x="79153" y="36945"/>
                  </a:cubicBezTo>
                  <a:lnTo>
                    <a:pt x="112204" y="18181"/>
                  </a:lnTo>
                  <a:cubicBezTo>
                    <a:pt x="112871" y="17800"/>
                    <a:pt x="113538" y="17990"/>
                    <a:pt x="114205" y="18467"/>
                  </a:cubicBezTo>
                  <a:lnTo>
                    <a:pt x="140208" y="44089"/>
                  </a:lnTo>
                  <a:lnTo>
                    <a:pt x="144971" y="43041"/>
                  </a:lnTo>
                  <a:cubicBezTo>
                    <a:pt x="162973" y="38945"/>
                    <a:pt x="182023" y="39041"/>
                    <a:pt x="199930" y="43327"/>
                  </a:cubicBezTo>
                  <a:lnTo>
                    <a:pt x="204692" y="44470"/>
                  </a:lnTo>
                  <a:lnTo>
                    <a:pt x="230981" y="19229"/>
                  </a:lnTo>
                  <a:cubicBezTo>
                    <a:pt x="231553" y="18752"/>
                    <a:pt x="232315" y="18562"/>
                    <a:pt x="232982" y="19038"/>
                  </a:cubicBezTo>
                  <a:lnTo>
                    <a:pt x="265843" y="38279"/>
                  </a:lnTo>
                  <a:cubicBezTo>
                    <a:pt x="266510" y="38660"/>
                    <a:pt x="266795" y="39422"/>
                    <a:pt x="266605" y="40184"/>
                  </a:cubicBezTo>
                  <a:lnTo>
                    <a:pt x="257461" y="75521"/>
                  </a:lnTo>
                  <a:lnTo>
                    <a:pt x="260795" y="79141"/>
                  </a:lnTo>
                  <a:cubicBezTo>
                    <a:pt x="273272" y="92666"/>
                    <a:pt x="282702" y="109145"/>
                    <a:pt x="287941" y="126861"/>
                  </a:cubicBezTo>
                  <a:lnTo>
                    <a:pt x="289370" y="131528"/>
                  </a:lnTo>
                  <a:lnTo>
                    <a:pt x="324803" y="141911"/>
                  </a:lnTo>
                  <a:cubicBezTo>
                    <a:pt x="324803" y="141911"/>
                    <a:pt x="325660" y="142673"/>
                    <a:pt x="325660" y="143339"/>
                  </a:cubicBezTo>
                  <a:lnTo>
                    <a:pt x="325469" y="181344"/>
                  </a:lnTo>
                  <a:cubicBezTo>
                    <a:pt x="325469" y="182106"/>
                    <a:pt x="324993" y="182773"/>
                    <a:pt x="324231" y="182963"/>
                  </a:cubicBezTo>
                  <a:lnTo>
                    <a:pt x="289084" y="192679"/>
                  </a:lnTo>
                  <a:lnTo>
                    <a:pt x="287655" y="197346"/>
                  </a:lnTo>
                  <a:cubicBezTo>
                    <a:pt x="284893" y="206109"/>
                    <a:pt x="281178" y="214682"/>
                    <a:pt x="276416" y="222683"/>
                  </a:cubicBezTo>
                  <a:cubicBezTo>
                    <a:pt x="271748" y="230684"/>
                    <a:pt x="266129" y="238113"/>
                    <a:pt x="259842" y="244781"/>
                  </a:cubicBezTo>
                  <a:lnTo>
                    <a:pt x="256508" y="248305"/>
                  </a:lnTo>
                  <a:lnTo>
                    <a:pt x="263081" y="274880"/>
                  </a:lnTo>
                  <a:lnTo>
                    <a:pt x="281464" y="274880"/>
                  </a:lnTo>
                  <a:lnTo>
                    <a:pt x="276130" y="253353"/>
                  </a:lnTo>
                  <a:cubicBezTo>
                    <a:pt x="282035" y="246686"/>
                    <a:pt x="287274" y="239351"/>
                    <a:pt x="291846" y="231636"/>
                  </a:cubicBezTo>
                  <a:cubicBezTo>
                    <a:pt x="296418" y="223921"/>
                    <a:pt x="300133" y="215729"/>
                    <a:pt x="303086" y="207252"/>
                  </a:cubicBezTo>
                  <a:lnTo>
                    <a:pt x="328898" y="200108"/>
                  </a:lnTo>
                  <a:cubicBezTo>
                    <a:pt x="337280" y="197727"/>
                    <a:pt x="343186" y="190107"/>
                    <a:pt x="343281" y="181344"/>
                  </a:cubicBezTo>
                  <a:lnTo>
                    <a:pt x="343471" y="143339"/>
                  </a:lnTo>
                  <a:cubicBezTo>
                    <a:pt x="343471" y="136386"/>
                    <a:pt x="339757" y="129814"/>
                    <a:pt x="333756" y="126290"/>
                  </a:cubicBezTo>
                  <a:cubicBezTo>
                    <a:pt x="332327" y="125432"/>
                    <a:pt x="330899" y="124861"/>
                    <a:pt x="329279" y="124385"/>
                  </a:cubicBezTo>
                  <a:lnTo>
                    <a:pt x="303467" y="116860"/>
                  </a:lnTo>
                  <a:cubicBezTo>
                    <a:pt x="297752" y="99905"/>
                    <a:pt x="288703" y="83999"/>
                    <a:pt x="277082" y="70473"/>
                  </a:cubicBezTo>
                  <a:lnTo>
                    <a:pt x="283845" y="44470"/>
                  </a:lnTo>
                  <a:cubicBezTo>
                    <a:pt x="286036" y="35993"/>
                    <a:pt x="282321" y="27039"/>
                    <a:pt x="274796" y="22658"/>
                  </a:cubicBezTo>
                  <a:lnTo>
                    <a:pt x="242030" y="3417"/>
                  </a:lnTo>
                  <a:cubicBezTo>
                    <a:pt x="234506" y="-964"/>
                    <a:pt x="224885" y="179"/>
                    <a:pt x="218599" y="6179"/>
                  </a:cubicBezTo>
                  <a:lnTo>
                    <a:pt x="199263" y="24753"/>
                  </a:lnTo>
                  <a:cubicBezTo>
                    <a:pt x="181737" y="21229"/>
                    <a:pt x="163449" y="21134"/>
                    <a:pt x="145923" y="24467"/>
                  </a:cubicBezTo>
                  <a:lnTo>
                    <a:pt x="126778" y="5608"/>
                  </a:lnTo>
                  <a:cubicBezTo>
                    <a:pt x="125635" y="4465"/>
                    <a:pt x="124301" y="3512"/>
                    <a:pt x="122968" y="2655"/>
                  </a:cubicBezTo>
                  <a:cubicBezTo>
                    <a:pt x="116967" y="-869"/>
                    <a:pt x="109442" y="-869"/>
                    <a:pt x="103346" y="2560"/>
                  </a:cubicBezTo>
                  <a:lnTo>
                    <a:pt x="70295" y="21324"/>
                  </a:lnTo>
                  <a:cubicBezTo>
                    <a:pt x="62675" y="25610"/>
                    <a:pt x="58865" y="34564"/>
                    <a:pt x="60960" y="43041"/>
                  </a:cubicBezTo>
                  <a:lnTo>
                    <a:pt x="67342" y="69044"/>
                  </a:lnTo>
                  <a:cubicBezTo>
                    <a:pt x="61436" y="75712"/>
                    <a:pt x="56198" y="83046"/>
                    <a:pt x="51626" y="90761"/>
                  </a:cubicBezTo>
                  <a:cubicBezTo>
                    <a:pt x="47054" y="98477"/>
                    <a:pt x="43339" y="106668"/>
                    <a:pt x="40386" y="115145"/>
                  </a:cubicBezTo>
                  <a:lnTo>
                    <a:pt x="14573" y="122289"/>
                  </a:lnTo>
                  <a:cubicBezTo>
                    <a:pt x="6191" y="124575"/>
                    <a:pt x="286" y="132290"/>
                    <a:pt x="191" y="141053"/>
                  </a:cubicBezTo>
                  <a:lnTo>
                    <a:pt x="0" y="179058"/>
                  </a:lnTo>
                  <a:cubicBezTo>
                    <a:pt x="0" y="186011"/>
                    <a:pt x="3715" y="192584"/>
                    <a:pt x="9620" y="196013"/>
                  </a:cubicBezTo>
                  <a:cubicBezTo>
                    <a:pt x="11049" y="196870"/>
                    <a:pt x="12573" y="197537"/>
                    <a:pt x="14097" y="197918"/>
                  </a:cubicBezTo>
                  <a:lnTo>
                    <a:pt x="39910" y="205442"/>
                  </a:lnTo>
                  <a:cubicBezTo>
                    <a:pt x="45625" y="222397"/>
                    <a:pt x="54674" y="238304"/>
                    <a:pt x="66294" y="251829"/>
                  </a:cubicBezTo>
                  <a:lnTo>
                    <a:pt x="60388" y="274594"/>
                  </a:lnTo>
                  <a:lnTo>
                    <a:pt x="78867" y="274594"/>
                  </a:lnTo>
                  <a:lnTo>
                    <a:pt x="86011" y="246971"/>
                  </a:lnTo>
                  <a:close/>
                </a:path>
              </a:pathLst>
            </a:custGeom>
            <a:grpFill/>
            <a:ln w="9525" cap="flat">
              <a:noFill/>
              <a:prstDash val="solid"/>
              <a:miter/>
            </a:ln>
          </p:spPr>
          <p:txBody>
            <a:bodyPr rtlCol="0" anchor="ctr"/>
            <a:lstStyle/>
            <a:p>
              <a:endParaRPr lang="en-US" dirty="0"/>
            </a:p>
          </p:txBody>
        </p:sp>
        <p:grpSp>
          <p:nvGrpSpPr>
            <p:cNvPr id="1322" name="Group 1321">
              <a:extLst>
                <a:ext uri="{FF2B5EF4-FFF2-40B4-BE49-F238E27FC236}">
                  <a16:creationId xmlns:a16="http://schemas.microsoft.com/office/drawing/2014/main" id="{54874C19-9AB7-2E77-402B-5A81B539314A}"/>
                </a:ext>
              </a:extLst>
            </p:cNvPr>
            <p:cNvGrpSpPr/>
            <p:nvPr/>
          </p:nvGrpSpPr>
          <p:grpSpPr>
            <a:xfrm>
              <a:off x="5536329" y="5798527"/>
              <a:ext cx="184140" cy="265367"/>
              <a:chOff x="5553169" y="5808053"/>
              <a:chExt cx="184140" cy="265367"/>
            </a:xfrm>
            <a:grpFill/>
          </p:grpSpPr>
          <p:sp>
            <p:nvSpPr>
              <p:cNvPr id="1325" name="Freeform: Shape 1324">
                <a:extLst>
                  <a:ext uri="{FF2B5EF4-FFF2-40B4-BE49-F238E27FC236}">
                    <a16:creationId xmlns:a16="http://schemas.microsoft.com/office/drawing/2014/main" id="{5D864EE1-3B37-4CB5-7ECD-8535209CD16C}"/>
                  </a:ext>
                </a:extLst>
              </p:cNvPr>
              <p:cNvSpPr/>
              <p:nvPr/>
            </p:nvSpPr>
            <p:spPr>
              <a:xfrm>
                <a:off x="5553169" y="5808053"/>
                <a:ext cx="184140" cy="226803"/>
              </a:xfrm>
              <a:custGeom>
                <a:avLst/>
                <a:gdLst>
                  <a:gd name="connsiteX0" fmla="*/ 184141 w 184140"/>
                  <a:gd name="connsiteY0" fmla="*/ 94163 h 226803"/>
                  <a:gd name="connsiteX1" fmla="*/ 92070 w 184140"/>
                  <a:gd name="connsiteY1" fmla="*/ 0 h 226803"/>
                  <a:gd name="connsiteX2" fmla="*/ 0 w 184140"/>
                  <a:gd name="connsiteY2" fmla="*/ 94163 h 226803"/>
                  <a:gd name="connsiteX3" fmla="*/ 0 w 184140"/>
                  <a:gd name="connsiteY3" fmla="*/ 97030 h 226803"/>
                  <a:gd name="connsiteX4" fmla="*/ 2762 w 184140"/>
                  <a:gd name="connsiteY4" fmla="*/ 117104 h 226803"/>
                  <a:gd name="connsiteX5" fmla="*/ 17368 w 184140"/>
                  <a:gd name="connsiteY5" fmla="*/ 149162 h 226803"/>
                  <a:gd name="connsiteX6" fmla="*/ 41850 w 184140"/>
                  <a:gd name="connsiteY6" fmla="*/ 184003 h 226803"/>
                  <a:gd name="connsiteX7" fmla="*/ 50806 w 184140"/>
                  <a:gd name="connsiteY7" fmla="*/ 218244 h 226803"/>
                  <a:gd name="connsiteX8" fmla="*/ 61687 w 184140"/>
                  <a:gd name="connsiteY8" fmla="*/ 226804 h 226803"/>
                  <a:gd name="connsiteX9" fmla="*/ 122412 w 184140"/>
                  <a:gd name="connsiteY9" fmla="*/ 226804 h 226803"/>
                  <a:gd name="connsiteX10" fmla="*/ 133293 w 184140"/>
                  <a:gd name="connsiteY10" fmla="*/ 218244 h 226803"/>
                  <a:gd name="connsiteX11" fmla="*/ 142249 w 184140"/>
                  <a:gd name="connsiteY11" fmla="*/ 184003 h 226803"/>
                  <a:gd name="connsiteX12" fmla="*/ 166731 w 184140"/>
                  <a:gd name="connsiteY12" fmla="*/ 149162 h 226803"/>
                  <a:gd name="connsiteX13" fmla="*/ 181337 w 184140"/>
                  <a:gd name="connsiteY13" fmla="*/ 117104 h 226803"/>
                  <a:gd name="connsiteX14" fmla="*/ 184099 w 184140"/>
                  <a:gd name="connsiteY14" fmla="*/ 97030 h 226803"/>
                  <a:gd name="connsiteX15" fmla="*/ 184099 w 184140"/>
                  <a:gd name="connsiteY15" fmla="*/ 94163 h 226803"/>
                  <a:gd name="connsiteX16" fmla="*/ 169284 w 184140"/>
                  <a:gd name="connsiteY16" fmla="*/ 113680 h 226803"/>
                  <a:gd name="connsiteX17" fmla="*/ 169284 w 184140"/>
                  <a:gd name="connsiteY17" fmla="*/ 113851 h 226803"/>
                  <a:gd name="connsiteX18" fmla="*/ 169200 w 184140"/>
                  <a:gd name="connsiteY18" fmla="*/ 114023 h 226803"/>
                  <a:gd name="connsiteX19" fmla="*/ 156604 w 184140"/>
                  <a:gd name="connsiteY19" fmla="*/ 141715 h 226803"/>
                  <a:gd name="connsiteX20" fmla="*/ 156352 w 184140"/>
                  <a:gd name="connsiteY20" fmla="*/ 142057 h 226803"/>
                  <a:gd name="connsiteX21" fmla="*/ 156143 w 184140"/>
                  <a:gd name="connsiteY21" fmla="*/ 142400 h 226803"/>
                  <a:gd name="connsiteX22" fmla="*/ 139236 w 184140"/>
                  <a:gd name="connsiteY22" fmla="*/ 166582 h 226803"/>
                  <a:gd name="connsiteX23" fmla="*/ 130740 w 184140"/>
                  <a:gd name="connsiteY23" fmla="*/ 178652 h 226803"/>
                  <a:gd name="connsiteX24" fmla="*/ 121491 w 184140"/>
                  <a:gd name="connsiteY24" fmla="*/ 214049 h 226803"/>
                  <a:gd name="connsiteX25" fmla="*/ 62733 w 184140"/>
                  <a:gd name="connsiteY25" fmla="*/ 214049 h 226803"/>
                  <a:gd name="connsiteX26" fmla="*/ 53485 w 184140"/>
                  <a:gd name="connsiteY26" fmla="*/ 178652 h 226803"/>
                  <a:gd name="connsiteX27" fmla="*/ 44989 w 184140"/>
                  <a:gd name="connsiteY27" fmla="*/ 166582 h 226803"/>
                  <a:gd name="connsiteX28" fmla="*/ 28081 w 184140"/>
                  <a:gd name="connsiteY28" fmla="*/ 142400 h 226803"/>
                  <a:gd name="connsiteX29" fmla="*/ 27872 w 184140"/>
                  <a:gd name="connsiteY29" fmla="*/ 142057 h 226803"/>
                  <a:gd name="connsiteX30" fmla="*/ 27621 w 184140"/>
                  <a:gd name="connsiteY30" fmla="*/ 141715 h 226803"/>
                  <a:gd name="connsiteX31" fmla="*/ 15024 w 184140"/>
                  <a:gd name="connsiteY31" fmla="*/ 114023 h 226803"/>
                  <a:gd name="connsiteX32" fmla="*/ 15024 w 184140"/>
                  <a:gd name="connsiteY32" fmla="*/ 113851 h 226803"/>
                  <a:gd name="connsiteX33" fmla="*/ 14941 w 184140"/>
                  <a:gd name="connsiteY33" fmla="*/ 113680 h 226803"/>
                  <a:gd name="connsiteX34" fmla="*/ 12639 w 184140"/>
                  <a:gd name="connsiteY34" fmla="*/ 97030 h 226803"/>
                  <a:gd name="connsiteX35" fmla="*/ 12639 w 184140"/>
                  <a:gd name="connsiteY35" fmla="*/ 94163 h 226803"/>
                  <a:gd name="connsiteX36" fmla="*/ 92154 w 184140"/>
                  <a:gd name="connsiteY36" fmla="*/ 12840 h 226803"/>
                  <a:gd name="connsiteX37" fmla="*/ 171670 w 184140"/>
                  <a:gd name="connsiteY37" fmla="*/ 94163 h 226803"/>
                  <a:gd name="connsiteX38" fmla="*/ 171670 w 184140"/>
                  <a:gd name="connsiteY38" fmla="*/ 97030 h 226803"/>
                  <a:gd name="connsiteX39" fmla="*/ 169368 w 184140"/>
                  <a:gd name="connsiteY39" fmla="*/ 113680 h 22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84140" h="226803">
                    <a:moveTo>
                      <a:pt x="184141" y="94163"/>
                    </a:moveTo>
                    <a:cubicBezTo>
                      <a:pt x="184141" y="42159"/>
                      <a:pt x="142919" y="0"/>
                      <a:pt x="92070" y="0"/>
                    </a:cubicBezTo>
                    <a:cubicBezTo>
                      <a:pt x="41222" y="0"/>
                      <a:pt x="0" y="42159"/>
                      <a:pt x="0" y="94163"/>
                    </a:cubicBezTo>
                    <a:cubicBezTo>
                      <a:pt x="0" y="94634"/>
                      <a:pt x="0" y="96560"/>
                      <a:pt x="0" y="97030"/>
                    </a:cubicBezTo>
                    <a:cubicBezTo>
                      <a:pt x="0" y="103964"/>
                      <a:pt x="1004" y="110641"/>
                      <a:pt x="2762" y="117104"/>
                    </a:cubicBezTo>
                    <a:cubicBezTo>
                      <a:pt x="5650" y="128832"/>
                      <a:pt x="10672" y="139660"/>
                      <a:pt x="17368" y="149162"/>
                    </a:cubicBezTo>
                    <a:cubicBezTo>
                      <a:pt x="21930" y="156610"/>
                      <a:pt x="39088" y="179894"/>
                      <a:pt x="41850" y="184003"/>
                    </a:cubicBezTo>
                    <a:lnTo>
                      <a:pt x="50806" y="218244"/>
                    </a:lnTo>
                    <a:cubicBezTo>
                      <a:pt x="52145" y="223294"/>
                      <a:pt x="56582" y="226804"/>
                      <a:pt x="61687" y="226804"/>
                    </a:cubicBezTo>
                    <a:lnTo>
                      <a:pt x="122412" y="226804"/>
                    </a:lnTo>
                    <a:cubicBezTo>
                      <a:pt x="127518" y="226804"/>
                      <a:pt x="131996" y="223294"/>
                      <a:pt x="133293" y="218244"/>
                    </a:cubicBezTo>
                    <a:lnTo>
                      <a:pt x="142249" y="184003"/>
                    </a:lnTo>
                    <a:cubicBezTo>
                      <a:pt x="145011" y="179851"/>
                      <a:pt x="162170" y="156610"/>
                      <a:pt x="166731" y="149162"/>
                    </a:cubicBezTo>
                    <a:cubicBezTo>
                      <a:pt x="173427" y="139660"/>
                      <a:pt x="178449" y="128832"/>
                      <a:pt x="181337" y="117104"/>
                    </a:cubicBezTo>
                    <a:cubicBezTo>
                      <a:pt x="183095" y="110641"/>
                      <a:pt x="184099" y="103964"/>
                      <a:pt x="184099" y="97030"/>
                    </a:cubicBezTo>
                    <a:cubicBezTo>
                      <a:pt x="184099" y="96517"/>
                      <a:pt x="184099" y="94591"/>
                      <a:pt x="184099" y="94163"/>
                    </a:cubicBezTo>
                    <a:close/>
                    <a:moveTo>
                      <a:pt x="169284" y="113680"/>
                    </a:moveTo>
                    <a:lnTo>
                      <a:pt x="169284" y="113851"/>
                    </a:lnTo>
                    <a:cubicBezTo>
                      <a:pt x="169284" y="113851"/>
                      <a:pt x="169200" y="114023"/>
                      <a:pt x="169200" y="114023"/>
                    </a:cubicBezTo>
                    <a:cubicBezTo>
                      <a:pt x="166773" y="123995"/>
                      <a:pt x="162504" y="133283"/>
                      <a:pt x="156604" y="141715"/>
                    </a:cubicBezTo>
                    <a:lnTo>
                      <a:pt x="156352" y="142057"/>
                    </a:lnTo>
                    <a:lnTo>
                      <a:pt x="156143" y="142400"/>
                    </a:lnTo>
                    <a:cubicBezTo>
                      <a:pt x="153423" y="146851"/>
                      <a:pt x="144885" y="158707"/>
                      <a:pt x="139236" y="166582"/>
                    </a:cubicBezTo>
                    <a:cubicBezTo>
                      <a:pt x="135260" y="172104"/>
                      <a:pt x="130740" y="178652"/>
                      <a:pt x="130740" y="178652"/>
                    </a:cubicBezTo>
                    <a:lnTo>
                      <a:pt x="121491" y="214049"/>
                    </a:lnTo>
                    <a:lnTo>
                      <a:pt x="62733" y="214049"/>
                    </a:lnTo>
                    <a:lnTo>
                      <a:pt x="53485" y="178652"/>
                    </a:lnTo>
                    <a:cubicBezTo>
                      <a:pt x="53485" y="178652"/>
                      <a:pt x="48965" y="172104"/>
                      <a:pt x="44989" y="166582"/>
                    </a:cubicBezTo>
                    <a:cubicBezTo>
                      <a:pt x="39339" y="158707"/>
                      <a:pt x="30802" y="146851"/>
                      <a:pt x="28081" y="142400"/>
                    </a:cubicBezTo>
                    <a:lnTo>
                      <a:pt x="27872" y="142057"/>
                    </a:lnTo>
                    <a:lnTo>
                      <a:pt x="27621" y="141715"/>
                    </a:lnTo>
                    <a:cubicBezTo>
                      <a:pt x="21678" y="133326"/>
                      <a:pt x="17452" y="123995"/>
                      <a:pt x="15024" y="114023"/>
                    </a:cubicBezTo>
                    <a:lnTo>
                      <a:pt x="15024" y="113851"/>
                    </a:lnTo>
                    <a:cubicBezTo>
                      <a:pt x="15024" y="113851"/>
                      <a:pt x="14941" y="113680"/>
                      <a:pt x="14941" y="113680"/>
                    </a:cubicBezTo>
                    <a:cubicBezTo>
                      <a:pt x="13392" y="107945"/>
                      <a:pt x="12639" y="102509"/>
                      <a:pt x="12639" y="97030"/>
                    </a:cubicBezTo>
                    <a:lnTo>
                      <a:pt x="12639" y="94163"/>
                    </a:lnTo>
                    <a:cubicBezTo>
                      <a:pt x="12639" y="49307"/>
                      <a:pt x="48295" y="12840"/>
                      <a:pt x="92154" y="12840"/>
                    </a:cubicBezTo>
                    <a:cubicBezTo>
                      <a:pt x="136013" y="12840"/>
                      <a:pt x="171670" y="49307"/>
                      <a:pt x="171670" y="94163"/>
                    </a:cubicBezTo>
                    <a:lnTo>
                      <a:pt x="171670" y="97030"/>
                    </a:lnTo>
                    <a:cubicBezTo>
                      <a:pt x="171670" y="102466"/>
                      <a:pt x="170916" y="107945"/>
                      <a:pt x="169368" y="113680"/>
                    </a:cubicBezTo>
                    <a:close/>
                  </a:path>
                </a:pathLst>
              </a:custGeom>
              <a:grpFill/>
              <a:ln w="4022" cap="flat">
                <a:noFill/>
                <a:prstDash val="solid"/>
                <a:miter/>
              </a:ln>
            </p:spPr>
            <p:txBody>
              <a:bodyPr rtlCol="0" anchor="ctr"/>
              <a:lstStyle/>
              <a:p>
                <a:endParaRPr lang="en-US" dirty="0"/>
              </a:p>
            </p:txBody>
          </p:sp>
          <p:sp>
            <p:nvSpPr>
              <p:cNvPr id="1326" name="Freeform: Shape 1325">
                <a:extLst>
                  <a:ext uri="{FF2B5EF4-FFF2-40B4-BE49-F238E27FC236}">
                    <a16:creationId xmlns:a16="http://schemas.microsoft.com/office/drawing/2014/main" id="{656E27B2-1E1F-D979-6919-C0DFDC8B74C1}"/>
                  </a:ext>
                </a:extLst>
              </p:cNvPr>
              <p:cNvSpPr/>
              <p:nvPr/>
            </p:nvSpPr>
            <p:spPr>
              <a:xfrm>
                <a:off x="5607574" y="6047740"/>
                <a:ext cx="75288" cy="25680"/>
              </a:xfrm>
              <a:custGeom>
                <a:avLst/>
                <a:gdLst>
                  <a:gd name="connsiteX0" fmla="*/ 0 w 75288"/>
                  <a:gd name="connsiteY0" fmla="*/ 9031 h 25680"/>
                  <a:gd name="connsiteX1" fmla="*/ 16280 w 75288"/>
                  <a:gd name="connsiteY1" fmla="*/ 25681 h 25680"/>
                  <a:gd name="connsiteX2" fmla="*/ 59009 w 75288"/>
                  <a:gd name="connsiteY2" fmla="*/ 25681 h 25680"/>
                  <a:gd name="connsiteX3" fmla="*/ 75289 w 75288"/>
                  <a:gd name="connsiteY3" fmla="*/ 9031 h 25680"/>
                  <a:gd name="connsiteX4" fmla="*/ 75289 w 75288"/>
                  <a:gd name="connsiteY4" fmla="*/ 0 h 25680"/>
                  <a:gd name="connsiteX5" fmla="*/ 0 w 75288"/>
                  <a:gd name="connsiteY5" fmla="*/ 0 h 25680"/>
                  <a:gd name="connsiteX6" fmla="*/ 0 w 75288"/>
                  <a:gd name="connsiteY6" fmla="*/ 9031 h 2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288" h="25680">
                    <a:moveTo>
                      <a:pt x="0" y="9031"/>
                    </a:moveTo>
                    <a:cubicBezTo>
                      <a:pt x="0" y="18233"/>
                      <a:pt x="7282" y="25681"/>
                      <a:pt x="16280" y="25681"/>
                    </a:cubicBezTo>
                    <a:lnTo>
                      <a:pt x="59009" y="25681"/>
                    </a:lnTo>
                    <a:cubicBezTo>
                      <a:pt x="68007" y="25681"/>
                      <a:pt x="75289" y="18233"/>
                      <a:pt x="75289" y="9031"/>
                    </a:cubicBezTo>
                    <a:lnTo>
                      <a:pt x="75289" y="0"/>
                    </a:lnTo>
                    <a:lnTo>
                      <a:pt x="0" y="0"/>
                    </a:lnTo>
                    <a:lnTo>
                      <a:pt x="0" y="9031"/>
                    </a:lnTo>
                    <a:close/>
                  </a:path>
                </a:pathLst>
              </a:custGeom>
              <a:grpFill/>
              <a:ln w="4022" cap="flat">
                <a:noFill/>
                <a:prstDash val="solid"/>
                <a:miter/>
              </a:ln>
            </p:spPr>
            <p:txBody>
              <a:bodyPr rtlCol="0" anchor="ctr"/>
              <a:lstStyle/>
              <a:p>
                <a:endParaRPr lang="en-US" dirty="0"/>
              </a:p>
            </p:txBody>
          </p:sp>
        </p:grpSp>
        <p:sp>
          <p:nvSpPr>
            <p:cNvPr id="1323" name="Freeform: Shape 1322">
              <a:extLst>
                <a:ext uri="{FF2B5EF4-FFF2-40B4-BE49-F238E27FC236}">
                  <a16:creationId xmlns:a16="http://schemas.microsoft.com/office/drawing/2014/main" id="{11A04BD1-1A42-4DCD-4CEE-C1A7C7A81997}"/>
                </a:ext>
              </a:extLst>
            </p:cNvPr>
            <p:cNvSpPr/>
            <p:nvPr/>
          </p:nvSpPr>
          <p:spPr>
            <a:xfrm>
              <a:off x="5608583" y="6063894"/>
              <a:ext cx="39632" cy="8560"/>
            </a:xfrm>
            <a:custGeom>
              <a:avLst/>
              <a:gdLst>
                <a:gd name="connsiteX0" fmla="*/ 0 w 39632"/>
                <a:gd name="connsiteY0" fmla="*/ 0 h 8560"/>
                <a:gd name="connsiteX1" fmla="*/ 1088 w 39632"/>
                <a:gd name="connsiteY1" fmla="*/ 4066 h 8560"/>
                <a:gd name="connsiteX2" fmla="*/ 6780 w 39632"/>
                <a:gd name="connsiteY2" fmla="*/ 8560 h 8560"/>
                <a:gd name="connsiteX3" fmla="*/ 32852 w 39632"/>
                <a:gd name="connsiteY3" fmla="*/ 8560 h 8560"/>
                <a:gd name="connsiteX4" fmla="*/ 38544 w 39632"/>
                <a:gd name="connsiteY4" fmla="*/ 4066 h 8560"/>
                <a:gd name="connsiteX5" fmla="*/ 39632 w 39632"/>
                <a:gd name="connsiteY5" fmla="*/ 0 h 8560"/>
                <a:gd name="connsiteX6" fmla="*/ 0 w 39632"/>
                <a:gd name="connsiteY6" fmla="*/ 0 h 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32" h="8560">
                  <a:moveTo>
                    <a:pt x="0" y="0"/>
                  </a:moveTo>
                  <a:lnTo>
                    <a:pt x="1088" y="4066"/>
                  </a:lnTo>
                  <a:cubicBezTo>
                    <a:pt x="1800" y="6720"/>
                    <a:pt x="4143" y="8560"/>
                    <a:pt x="6780" y="8560"/>
                  </a:cubicBezTo>
                  <a:lnTo>
                    <a:pt x="32852" y="8560"/>
                  </a:lnTo>
                  <a:cubicBezTo>
                    <a:pt x="35531" y="8560"/>
                    <a:pt x="37874" y="6720"/>
                    <a:pt x="38544" y="4066"/>
                  </a:cubicBezTo>
                  <a:lnTo>
                    <a:pt x="39632" y="0"/>
                  </a:lnTo>
                  <a:lnTo>
                    <a:pt x="0" y="0"/>
                  </a:lnTo>
                  <a:close/>
                </a:path>
              </a:pathLst>
            </a:custGeom>
            <a:grpFill/>
            <a:ln w="4022" cap="flat">
              <a:noFill/>
              <a:prstDash val="solid"/>
              <a:miter/>
            </a:ln>
          </p:spPr>
          <p:txBody>
            <a:bodyPr rtlCol="0" anchor="ctr"/>
            <a:lstStyle/>
            <a:p>
              <a:endParaRPr lang="en-US" dirty="0"/>
            </a:p>
          </p:txBody>
        </p:sp>
        <p:sp>
          <p:nvSpPr>
            <p:cNvPr id="1324" name="Freeform: Shape 1323">
              <a:extLst>
                <a:ext uri="{FF2B5EF4-FFF2-40B4-BE49-F238E27FC236}">
                  <a16:creationId xmlns:a16="http://schemas.microsoft.com/office/drawing/2014/main" id="{A46B92BC-D3DE-83B5-7D6F-B91AFC39001B}"/>
                </a:ext>
              </a:extLst>
            </p:cNvPr>
            <p:cNvSpPr/>
            <p:nvPr/>
          </p:nvSpPr>
          <p:spPr>
            <a:xfrm>
              <a:off x="5574455" y="5835935"/>
              <a:ext cx="107889" cy="111240"/>
            </a:xfrm>
            <a:custGeom>
              <a:avLst/>
              <a:gdLst>
                <a:gd name="connsiteX0" fmla="*/ 97678 w 107889"/>
                <a:gd name="connsiteY0" fmla="*/ 93264 h 111240"/>
                <a:gd name="connsiteX1" fmla="*/ 107890 w 107889"/>
                <a:gd name="connsiteY1" fmla="*/ 75202 h 111240"/>
                <a:gd name="connsiteX2" fmla="*/ 95042 w 107889"/>
                <a:gd name="connsiteY2" fmla="*/ 64416 h 111240"/>
                <a:gd name="connsiteX3" fmla="*/ 95042 w 107889"/>
                <a:gd name="connsiteY3" fmla="*/ 46140 h 111240"/>
                <a:gd name="connsiteX4" fmla="*/ 107890 w 107889"/>
                <a:gd name="connsiteY4" fmla="*/ 35225 h 111240"/>
                <a:gd name="connsiteX5" fmla="*/ 97678 w 107889"/>
                <a:gd name="connsiteY5" fmla="*/ 17163 h 111240"/>
                <a:gd name="connsiteX6" fmla="*/ 82236 w 107889"/>
                <a:gd name="connsiteY6" fmla="*/ 23155 h 111240"/>
                <a:gd name="connsiteX7" fmla="*/ 66458 w 107889"/>
                <a:gd name="connsiteY7" fmla="*/ 14381 h 111240"/>
                <a:gd name="connsiteX8" fmla="*/ 64156 w 107889"/>
                <a:gd name="connsiteY8" fmla="*/ 0 h 111240"/>
                <a:gd name="connsiteX9" fmla="*/ 43775 w 107889"/>
                <a:gd name="connsiteY9" fmla="*/ 0 h 111240"/>
                <a:gd name="connsiteX10" fmla="*/ 41390 w 107889"/>
                <a:gd name="connsiteY10" fmla="*/ 14381 h 111240"/>
                <a:gd name="connsiteX11" fmla="*/ 25403 w 107889"/>
                <a:gd name="connsiteY11" fmla="*/ 23840 h 111240"/>
                <a:gd name="connsiteX12" fmla="*/ 10797 w 107889"/>
                <a:gd name="connsiteY12" fmla="*/ 18191 h 111240"/>
                <a:gd name="connsiteX13" fmla="*/ 586 w 107889"/>
                <a:gd name="connsiteY13" fmla="*/ 36253 h 111240"/>
                <a:gd name="connsiteX14" fmla="*/ 12764 w 107889"/>
                <a:gd name="connsiteY14" fmla="*/ 46482 h 111240"/>
                <a:gd name="connsiteX15" fmla="*/ 12764 w 107889"/>
                <a:gd name="connsiteY15" fmla="*/ 65058 h 111240"/>
                <a:gd name="connsiteX16" fmla="*/ 0 w 107889"/>
                <a:gd name="connsiteY16" fmla="*/ 75758 h 111240"/>
                <a:gd name="connsiteX17" fmla="*/ 10211 w 107889"/>
                <a:gd name="connsiteY17" fmla="*/ 93820 h 111240"/>
                <a:gd name="connsiteX18" fmla="*/ 25989 w 107889"/>
                <a:gd name="connsiteY18" fmla="*/ 87785 h 111240"/>
                <a:gd name="connsiteX19" fmla="*/ 41432 w 107889"/>
                <a:gd name="connsiteY19" fmla="*/ 96902 h 111240"/>
                <a:gd name="connsiteX20" fmla="*/ 43817 w 107889"/>
                <a:gd name="connsiteY20" fmla="*/ 111240 h 111240"/>
                <a:gd name="connsiteX21" fmla="*/ 64198 w 107889"/>
                <a:gd name="connsiteY21" fmla="*/ 111240 h 111240"/>
                <a:gd name="connsiteX22" fmla="*/ 66500 w 107889"/>
                <a:gd name="connsiteY22" fmla="*/ 96902 h 111240"/>
                <a:gd name="connsiteX23" fmla="*/ 82194 w 107889"/>
                <a:gd name="connsiteY23" fmla="*/ 87657 h 111240"/>
                <a:gd name="connsiteX24" fmla="*/ 97678 w 107889"/>
                <a:gd name="connsiteY24" fmla="*/ 93307 h 111240"/>
                <a:gd name="connsiteX25" fmla="*/ 64031 w 107889"/>
                <a:gd name="connsiteY25" fmla="*/ 73319 h 111240"/>
                <a:gd name="connsiteX26" fmla="*/ 51183 w 107889"/>
                <a:gd name="connsiteY26" fmla="*/ 75929 h 111240"/>
                <a:gd name="connsiteX27" fmla="*/ 39423 w 107889"/>
                <a:gd name="connsiteY27" fmla="*/ 69980 h 111240"/>
                <a:gd name="connsiteX28" fmla="*/ 33606 w 107889"/>
                <a:gd name="connsiteY28" fmla="*/ 57953 h 111240"/>
                <a:gd name="connsiteX29" fmla="*/ 36159 w 107889"/>
                <a:gd name="connsiteY29" fmla="*/ 44813 h 111240"/>
                <a:gd name="connsiteX30" fmla="*/ 45993 w 107889"/>
                <a:gd name="connsiteY30" fmla="*/ 35953 h 111240"/>
                <a:gd name="connsiteX31" fmla="*/ 59093 w 107889"/>
                <a:gd name="connsiteY31" fmla="*/ 35054 h 111240"/>
                <a:gd name="connsiteX32" fmla="*/ 70015 w 107889"/>
                <a:gd name="connsiteY32" fmla="*/ 42502 h 111240"/>
                <a:gd name="connsiteX33" fmla="*/ 74242 w 107889"/>
                <a:gd name="connsiteY33" fmla="*/ 55214 h 111240"/>
                <a:gd name="connsiteX34" fmla="*/ 71564 w 107889"/>
                <a:gd name="connsiteY34" fmla="*/ 65614 h 111240"/>
                <a:gd name="connsiteX35" fmla="*/ 64156 w 107889"/>
                <a:gd name="connsiteY35" fmla="*/ 73276 h 111240"/>
                <a:gd name="connsiteX36" fmla="*/ 64031 w 107889"/>
                <a:gd name="connsiteY36" fmla="*/ 73276 h 11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7889" h="111240">
                  <a:moveTo>
                    <a:pt x="97678" y="93264"/>
                  </a:moveTo>
                  <a:lnTo>
                    <a:pt x="107890" y="75202"/>
                  </a:lnTo>
                  <a:lnTo>
                    <a:pt x="95042" y="64416"/>
                  </a:lnTo>
                  <a:lnTo>
                    <a:pt x="95042" y="46140"/>
                  </a:lnTo>
                  <a:lnTo>
                    <a:pt x="107890" y="35225"/>
                  </a:lnTo>
                  <a:lnTo>
                    <a:pt x="97678" y="17163"/>
                  </a:lnTo>
                  <a:lnTo>
                    <a:pt x="82236" y="23155"/>
                  </a:lnTo>
                  <a:lnTo>
                    <a:pt x="66458" y="14381"/>
                  </a:lnTo>
                  <a:lnTo>
                    <a:pt x="64156" y="0"/>
                  </a:lnTo>
                  <a:lnTo>
                    <a:pt x="43775" y="0"/>
                  </a:lnTo>
                  <a:lnTo>
                    <a:pt x="41390" y="14381"/>
                  </a:lnTo>
                  <a:lnTo>
                    <a:pt x="25403" y="23840"/>
                  </a:lnTo>
                  <a:lnTo>
                    <a:pt x="10797" y="18191"/>
                  </a:lnTo>
                  <a:lnTo>
                    <a:pt x="586" y="36253"/>
                  </a:lnTo>
                  <a:lnTo>
                    <a:pt x="12764" y="46482"/>
                  </a:lnTo>
                  <a:lnTo>
                    <a:pt x="12764" y="65058"/>
                  </a:lnTo>
                  <a:lnTo>
                    <a:pt x="0" y="75758"/>
                  </a:lnTo>
                  <a:lnTo>
                    <a:pt x="10211" y="93820"/>
                  </a:lnTo>
                  <a:lnTo>
                    <a:pt x="25989" y="87785"/>
                  </a:lnTo>
                  <a:lnTo>
                    <a:pt x="41432" y="96902"/>
                  </a:lnTo>
                  <a:lnTo>
                    <a:pt x="43817" y="111240"/>
                  </a:lnTo>
                  <a:lnTo>
                    <a:pt x="64198" y="111240"/>
                  </a:lnTo>
                  <a:lnTo>
                    <a:pt x="66500" y="96902"/>
                  </a:lnTo>
                  <a:lnTo>
                    <a:pt x="82194" y="87657"/>
                  </a:lnTo>
                  <a:lnTo>
                    <a:pt x="97678" y="93307"/>
                  </a:lnTo>
                  <a:close/>
                  <a:moveTo>
                    <a:pt x="64031" y="73319"/>
                  </a:moveTo>
                  <a:cubicBezTo>
                    <a:pt x="60139" y="75630"/>
                    <a:pt x="55619" y="76529"/>
                    <a:pt x="51183" y="75929"/>
                  </a:cubicBezTo>
                  <a:cubicBezTo>
                    <a:pt x="46747" y="75330"/>
                    <a:pt x="42604" y="73233"/>
                    <a:pt x="39423" y="69980"/>
                  </a:cubicBezTo>
                  <a:cubicBezTo>
                    <a:pt x="36242" y="66727"/>
                    <a:pt x="34192" y="62490"/>
                    <a:pt x="33606" y="57953"/>
                  </a:cubicBezTo>
                  <a:cubicBezTo>
                    <a:pt x="33020" y="53416"/>
                    <a:pt x="33899" y="48793"/>
                    <a:pt x="36159" y="44813"/>
                  </a:cubicBezTo>
                  <a:cubicBezTo>
                    <a:pt x="38419" y="40832"/>
                    <a:pt x="41850" y="37708"/>
                    <a:pt x="45993" y="35953"/>
                  </a:cubicBezTo>
                  <a:cubicBezTo>
                    <a:pt x="50137" y="34198"/>
                    <a:pt x="54740" y="33899"/>
                    <a:pt x="59093" y="35054"/>
                  </a:cubicBezTo>
                  <a:cubicBezTo>
                    <a:pt x="63445" y="36253"/>
                    <a:pt x="67253" y="38864"/>
                    <a:pt x="70015" y="42502"/>
                  </a:cubicBezTo>
                  <a:cubicBezTo>
                    <a:pt x="72736" y="46140"/>
                    <a:pt x="74242" y="50591"/>
                    <a:pt x="74242" y="55214"/>
                  </a:cubicBezTo>
                  <a:cubicBezTo>
                    <a:pt x="74242" y="58852"/>
                    <a:pt x="73322" y="62447"/>
                    <a:pt x="71564" y="65614"/>
                  </a:cubicBezTo>
                  <a:cubicBezTo>
                    <a:pt x="69806" y="68782"/>
                    <a:pt x="67253" y="71435"/>
                    <a:pt x="64156" y="73276"/>
                  </a:cubicBezTo>
                  <a:lnTo>
                    <a:pt x="64031" y="73276"/>
                  </a:lnTo>
                  <a:close/>
                </a:path>
              </a:pathLst>
            </a:custGeom>
            <a:grpFill/>
            <a:ln w="4022" cap="flat">
              <a:noFill/>
              <a:prstDash val="solid"/>
              <a:miter/>
            </a:ln>
          </p:spPr>
          <p:txBody>
            <a:bodyPr rtlCol="0" anchor="ctr"/>
            <a:lstStyle/>
            <a:p>
              <a:endParaRPr lang="en-US" dirty="0"/>
            </a:p>
          </p:txBody>
        </p:sp>
      </p:grpSp>
      <p:sp>
        <p:nvSpPr>
          <p:cNvPr id="108" name="Text Placeholder 81">
            <a:extLst>
              <a:ext uri="{FF2B5EF4-FFF2-40B4-BE49-F238E27FC236}">
                <a16:creationId xmlns:a16="http://schemas.microsoft.com/office/drawing/2014/main" id="{3575F905-9A35-336C-0D3F-A06588475300}"/>
              </a:ext>
            </a:extLst>
          </p:cNvPr>
          <p:cNvSpPr txBox="1">
            <a:spLocks/>
          </p:cNvSpPr>
          <p:nvPr/>
        </p:nvSpPr>
        <p:spPr>
          <a:xfrm>
            <a:off x="3459582" y="6118941"/>
            <a:ext cx="914400" cy="369204"/>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333" b="1">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TC </a:t>
            </a:r>
            <a:br>
              <a:rPr lang="en-US" dirty="0"/>
            </a:br>
            <a:r>
              <a:rPr lang="en-US" dirty="0"/>
              <a:t>FOR ALL</a:t>
            </a:r>
          </a:p>
        </p:txBody>
      </p:sp>
      <p:grpSp>
        <p:nvGrpSpPr>
          <p:cNvPr id="1497" name="Group 1496">
            <a:extLst>
              <a:ext uri="{FF2B5EF4-FFF2-40B4-BE49-F238E27FC236}">
                <a16:creationId xmlns:a16="http://schemas.microsoft.com/office/drawing/2014/main" id="{6FB41C32-750D-C6E2-C55D-6D96D821F5ED}"/>
              </a:ext>
            </a:extLst>
          </p:cNvPr>
          <p:cNvGrpSpPr/>
          <p:nvPr/>
        </p:nvGrpSpPr>
        <p:grpSpPr>
          <a:xfrm>
            <a:off x="3716892" y="5715413"/>
            <a:ext cx="379751" cy="336899"/>
            <a:chOff x="3396579" y="5738273"/>
            <a:chExt cx="379751" cy="336899"/>
          </a:xfrm>
        </p:grpSpPr>
        <p:sp>
          <p:nvSpPr>
            <p:cNvPr id="1476" name="Freeform: Shape 1475">
              <a:extLst>
                <a:ext uri="{FF2B5EF4-FFF2-40B4-BE49-F238E27FC236}">
                  <a16:creationId xmlns:a16="http://schemas.microsoft.com/office/drawing/2014/main" id="{3EBF3C94-D57B-6F53-A018-79FF96D335D2}"/>
                </a:ext>
              </a:extLst>
            </p:cNvPr>
            <p:cNvSpPr/>
            <p:nvPr/>
          </p:nvSpPr>
          <p:spPr>
            <a:xfrm>
              <a:off x="3561828" y="5879434"/>
              <a:ext cx="2000" cy="1756"/>
            </a:xfrm>
            <a:custGeom>
              <a:avLst/>
              <a:gdLst>
                <a:gd name="connsiteX0" fmla="*/ 1524 w 2000"/>
                <a:gd name="connsiteY0" fmla="*/ 191 h 1756"/>
                <a:gd name="connsiteX1" fmla="*/ 1238 w 2000"/>
                <a:gd name="connsiteY1" fmla="*/ 191 h 1756"/>
                <a:gd name="connsiteX2" fmla="*/ 0 w 2000"/>
                <a:gd name="connsiteY2" fmla="*/ 1619 h 1756"/>
                <a:gd name="connsiteX3" fmla="*/ 0 w 2000"/>
                <a:gd name="connsiteY3" fmla="*/ 1715 h 1756"/>
                <a:gd name="connsiteX4" fmla="*/ 95 w 2000"/>
                <a:gd name="connsiteY4" fmla="*/ 1715 h 1756"/>
                <a:gd name="connsiteX5" fmla="*/ 1809 w 2000"/>
                <a:gd name="connsiteY5" fmla="*/ 953 h 1756"/>
                <a:gd name="connsiteX6" fmla="*/ 2000 w 2000"/>
                <a:gd name="connsiteY6" fmla="*/ 571 h 1756"/>
                <a:gd name="connsiteX7" fmla="*/ 1524 w 2000"/>
                <a:gd name="connsiteY7" fmla="*/ 0 h 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 h="1756">
                  <a:moveTo>
                    <a:pt x="1524" y="191"/>
                  </a:moveTo>
                  <a:cubicBezTo>
                    <a:pt x="1524" y="191"/>
                    <a:pt x="1238" y="191"/>
                    <a:pt x="1238" y="191"/>
                  </a:cubicBezTo>
                  <a:cubicBezTo>
                    <a:pt x="762" y="667"/>
                    <a:pt x="381" y="1143"/>
                    <a:pt x="0" y="1619"/>
                  </a:cubicBezTo>
                  <a:cubicBezTo>
                    <a:pt x="0" y="1619"/>
                    <a:pt x="0" y="1715"/>
                    <a:pt x="0" y="1715"/>
                  </a:cubicBezTo>
                  <a:cubicBezTo>
                    <a:pt x="0" y="1715"/>
                    <a:pt x="0" y="1810"/>
                    <a:pt x="95" y="1715"/>
                  </a:cubicBezTo>
                  <a:cubicBezTo>
                    <a:pt x="762" y="1715"/>
                    <a:pt x="1333" y="1429"/>
                    <a:pt x="1809" y="953"/>
                  </a:cubicBezTo>
                  <a:cubicBezTo>
                    <a:pt x="1905" y="857"/>
                    <a:pt x="1905" y="667"/>
                    <a:pt x="2000" y="571"/>
                  </a:cubicBezTo>
                  <a:cubicBezTo>
                    <a:pt x="2000" y="286"/>
                    <a:pt x="1714" y="0"/>
                    <a:pt x="1524" y="0"/>
                  </a:cubicBezTo>
                  <a:close/>
                </a:path>
              </a:pathLst>
            </a:custGeom>
            <a:solidFill>
              <a:schemeClr val="accent5"/>
            </a:solidFill>
            <a:ln w="9525" cap="flat">
              <a:noFill/>
              <a:prstDash val="solid"/>
              <a:miter/>
            </a:ln>
          </p:spPr>
          <p:txBody>
            <a:bodyPr rtlCol="0" anchor="ctr"/>
            <a:lstStyle/>
            <a:p>
              <a:endParaRPr lang="en-US" dirty="0"/>
            </a:p>
          </p:txBody>
        </p:sp>
        <p:sp>
          <p:nvSpPr>
            <p:cNvPr id="1494" name="Freeform: Shape 1493">
              <a:extLst>
                <a:ext uri="{FF2B5EF4-FFF2-40B4-BE49-F238E27FC236}">
                  <a16:creationId xmlns:a16="http://schemas.microsoft.com/office/drawing/2014/main" id="{D8CD57A4-4845-127D-B2F5-9BBEC2870E1B}"/>
                </a:ext>
              </a:extLst>
            </p:cNvPr>
            <p:cNvSpPr/>
            <p:nvPr/>
          </p:nvSpPr>
          <p:spPr>
            <a:xfrm>
              <a:off x="3453624" y="5738273"/>
              <a:ext cx="322706" cy="336899"/>
            </a:xfrm>
            <a:custGeom>
              <a:avLst/>
              <a:gdLst>
                <a:gd name="connsiteX0" fmla="*/ 154305 w 322706"/>
                <a:gd name="connsiteY0" fmla="*/ 0 h 336899"/>
                <a:gd name="connsiteX1" fmla="*/ 0 w 322706"/>
                <a:gd name="connsiteY1" fmla="*/ 101441 h 336899"/>
                <a:gd name="connsiteX2" fmla="*/ 571 w 322706"/>
                <a:gd name="connsiteY2" fmla="*/ 101918 h 336899"/>
                <a:gd name="connsiteX3" fmla="*/ 4096 w 322706"/>
                <a:gd name="connsiteY3" fmla="*/ 105251 h 336899"/>
                <a:gd name="connsiteX4" fmla="*/ 8001 w 322706"/>
                <a:gd name="connsiteY4" fmla="*/ 108966 h 336899"/>
                <a:gd name="connsiteX5" fmla="*/ 10478 w 322706"/>
                <a:gd name="connsiteY5" fmla="*/ 106680 h 336899"/>
                <a:gd name="connsiteX6" fmla="*/ 10478 w 322706"/>
                <a:gd name="connsiteY6" fmla="*/ 106680 h 336899"/>
                <a:gd name="connsiteX7" fmla="*/ 13145 w 322706"/>
                <a:gd name="connsiteY7" fmla="*/ 105061 h 336899"/>
                <a:gd name="connsiteX8" fmla="*/ 36481 w 322706"/>
                <a:gd name="connsiteY8" fmla="*/ 68009 h 336899"/>
                <a:gd name="connsiteX9" fmla="*/ 74771 w 322706"/>
                <a:gd name="connsiteY9" fmla="*/ 88011 h 336899"/>
                <a:gd name="connsiteX10" fmla="*/ 71628 w 322706"/>
                <a:gd name="connsiteY10" fmla="*/ 96393 h 336899"/>
                <a:gd name="connsiteX11" fmla="*/ 82391 w 322706"/>
                <a:gd name="connsiteY11" fmla="*/ 105918 h 336899"/>
                <a:gd name="connsiteX12" fmla="*/ 87535 w 322706"/>
                <a:gd name="connsiteY12" fmla="*/ 92488 h 336899"/>
                <a:gd name="connsiteX13" fmla="*/ 147638 w 322706"/>
                <a:gd name="connsiteY13" fmla="*/ 102584 h 336899"/>
                <a:gd name="connsiteX14" fmla="*/ 147638 w 322706"/>
                <a:gd name="connsiteY14" fmla="*/ 161639 h 336899"/>
                <a:gd name="connsiteX15" fmla="*/ 91154 w 322706"/>
                <a:gd name="connsiteY15" fmla="*/ 161639 h 336899"/>
                <a:gd name="connsiteX16" fmla="*/ 88582 w 322706"/>
                <a:gd name="connsiteY16" fmla="*/ 167259 h 336899"/>
                <a:gd name="connsiteX17" fmla="*/ 88011 w 322706"/>
                <a:gd name="connsiteY17" fmla="*/ 168307 h 336899"/>
                <a:gd name="connsiteX18" fmla="*/ 82391 w 322706"/>
                <a:gd name="connsiteY18" fmla="*/ 175165 h 336899"/>
                <a:gd name="connsiteX19" fmla="*/ 147638 w 322706"/>
                <a:gd name="connsiteY19" fmla="*/ 175165 h 336899"/>
                <a:gd name="connsiteX20" fmla="*/ 147638 w 322706"/>
                <a:gd name="connsiteY20" fmla="*/ 234220 h 336899"/>
                <a:gd name="connsiteX21" fmla="*/ 87535 w 322706"/>
                <a:gd name="connsiteY21" fmla="*/ 244316 h 336899"/>
                <a:gd name="connsiteX22" fmla="*/ 72866 w 322706"/>
                <a:gd name="connsiteY22" fmla="*/ 186023 h 336899"/>
                <a:gd name="connsiteX23" fmla="*/ 60960 w 322706"/>
                <a:gd name="connsiteY23" fmla="*/ 199549 h 336899"/>
                <a:gd name="connsiteX24" fmla="*/ 74771 w 322706"/>
                <a:gd name="connsiteY24" fmla="*/ 248793 h 336899"/>
                <a:gd name="connsiteX25" fmla="*/ 36481 w 322706"/>
                <a:gd name="connsiteY25" fmla="*/ 268796 h 336899"/>
                <a:gd name="connsiteX26" fmla="*/ 20003 w 322706"/>
                <a:gd name="connsiteY26" fmla="*/ 245174 h 336899"/>
                <a:gd name="connsiteX27" fmla="*/ 12763 w 322706"/>
                <a:gd name="connsiteY27" fmla="*/ 253175 h 336899"/>
                <a:gd name="connsiteX28" fmla="*/ 10954 w 322706"/>
                <a:gd name="connsiteY28" fmla="*/ 255175 h 336899"/>
                <a:gd name="connsiteX29" fmla="*/ 10573 w 322706"/>
                <a:gd name="connsiteY29" fmla="*/ 255651 h 336899"/>
                <a:gd name="connsiteX30" fmla="*/ 154305 w 322706"/>
                <a:gd name="connsiteY30" fmla="*/ 336899 h 336899"/>
                <a:gd name="connsiteX31" fmla="*/ 322707 w 322706"/>
                <a:gd name="connsiteY31" fmla="*/ 168497 h 336899"/>
                <a:gd name="connsiteX32" fmla="*/ 154305 w 322706"/>
                <a:gd name="connsiteY32" fmla="*/ 95 h 336899"/>
                <a:gd name="connsiteX33" fmla="*/ 45720 w 322706"/>
                <a:gd name="connsiteY33" fmla="*/ 278797 h 336899"/>
                <a:gd name="connsiteX34" fmla="*/ 80486 w 322706"/>
                <a:gd name="connsiteY34" fmla="*/ 260985 h 336899"/>
                <a:gd name="connsiteX35" fmla="*/ 130397 w 322706"/>
                <a:gd name="connsiteY35" fmla="*/ 321469 h 336899"/>
                <a:gd name="connsiteX36" fmla="*/ 45720 w 322706"/>
                <a:gd name="connsiteY36" fmla="*/ 278797 h 336899"/>
                <a:gd name="connsiteX37" fmla="*/ 147542 w 322706"/>
                <a:gd name="connsiteY37" fmla="*/ 317278 h 336899"/>
                <a:gd name="connsiteX38" fmla="*/ 93440 w 322706"/>
                <a:gd name="connsiteY38" fmla="*/ 256604 h 336899"/>
                <a:gd name="connsiteX39" fmla="*/ 147542 w 322706"/>
                <a:gd name="connsiteY39" fmla="*/ 247745 h 336899"/>
                <a:gd name="connsiteX40" fmla="*/ 147542 w 322706"/>
                <a:gd name="connsiteY40" fmla="*/ 317278 h 336899"/>
                <a:gd name="connsiteX41" fmla="*/ 80486 w 322706"/>
                <a:gd name="connsiteY41" fmla="*/ 75819 h 336899"/>
                <a:gd name="connsiteX42" fmla="*/ 45720 w 322706"/>
                <a:gd name="connsiteY42" fmla="*/ 58007 h 336899"/>
                <a:gd name="connsiteX43" fmla="*/ 130397 w 322706"/>
                <a:gd name="connsiteY43" fmla="*/ 15335 h 336899"/>
                <a:gd name="connsiteX44" fmla="*/ 80486 w 322706"/>
                <a:gd name="connsiteY44" fmla="*/ 75819 h 336899"/>
                <a:gd name="connsiteX45" fmla="*/ 147542 w 322706"/>
                <a:gd name="connsiteY45" fmla="*/ 89154 h 336899"/>
                <a:gd name="connsiteX46" fmla="*/ 93440 w 322706"/>
                <a:gd name="connsiteY46" fmla="*/ 80296 h 336899"/>
                <a:gd name="connsiteX47" fmla="*/ 147542 w 322706"/>
                <a:gd name="connsiteY47" fmla="*/ 19622 h 336899"/>
                <a:gd name="connsiteX48" fmla="*/ 147542 w 322706"/>
                <a:gd name="connsiteY48" fmla="*/ 89154 h 336899"/>
                <a:gd name="connsiteX49" fmla="*/ 308991 w 322706"/>
                <a:gd name="connsiteY49" fmla="*/ 161639 h 336899"/>
                <a:gd name="connsiteX50" fmla="*/ 250032 w 322706"/>
                <a:gd name="connsiteY50" fmla="*/ 161639 h 336899"/>
                <a:gd name="connsiteX51" fmla="*/ 233744 w 322706"/>
                <a:gd name="connsiteY51" fmla="*/ 88011 h 336899"/>
                <a:gd name="connsiteX52" fmla="*/ 272034 w 322706"/>
                <a:gd name="connsiteY52" fmla="*/ 68009 h 336899"/>
                <a:gd name="connsiteX53" fmla="*/ 308991 w 322706"/>
                <a:gd name="connsiteY53" fmla="*/ 161639 h 336899"/>
                <a:gd name="connsiteX54" fmla="*/ 262795 w 322706"/>
                <a:gd name="connsiteY54" fmla="*/ 58007 h 336899"/>
                <a:gd name="connsiteX55" fmla="*/ 228028 w 322706"/>
                <a:gd name="connsiteY55" fmla="*/ 75819 h 336899"/>
                <a:gd name="connsiteX56" fmla="*/ 178213 w 322706"/>
                <a:gd name="connsiteY56" fmla="*/ 15431 h 336899"/>
                <a:gd name="connsiteX57" fmla="*/ 262795 w 322706"/>
                <a:gd name="connsiteY57" fmla="*/ 58103 h 336899"/>
                <a:gd name="connsiteX58" fmla="*/ 160972 w 322706"/>
                <a:gd name="connsiteY58" fmla="*/ 19526 h 336899"/>
                <a:gd name="connsiteX59" fmla="*/ 215074 w 322706"/>
                <a:gd name="connsiteY59" fmla="*/ 80201 h 336899"/>
                <a:gd name="connsiteX60" fmla="*/ 160972 w 322706"/>
                <a:gd name="connsiteY60" fmla="*/ 89059 h 336899"/>
                <a:gd name="connsiteX61" fmla="*/ 160972 w 322706"/>
                <a:gd name="connsiteY61" fmla="*/ 19526 h 336899"/>
                <a:gd name="connsiteX62" fmla="*/ 160972 w 322706"/>
                <a:gd name="connsiteY62" fmla="*/ 102584 h 336899"/>
                <a:gd name="connsiteX63" fmla="*/ 221075 w 322706"/>
                <a:gd name="connsiteY63" fmla="*/ 92488 h 336899"/>
                <a:gd name="connsiteX64" fmla="*/ 236601 w 322706"/>
                <a:gd name="connsiteY64" fmla="*/ 161639 h 336899"/>
                <a:gd name="connsiteX65" fmla="*/ 160972 w 322706"/>
                <a:gd name="connsiteY65" fmla="*/ 161639 h 336899"/>
                <a:gd name="connsiteX66" fmla="*/ 160972 w 322706"/>
                <a:gd name="connsiteY66" fmla="*/ 102584 h 336899"/>
                <a:gd name="connsiteX67" fmla="*/ 160972 w 322706"/>
                <a:gd name="connsiteY67" fmla="*/ 175165 h 336899"/>
                <a:gd name="connsiteX68" fmla="*/ 236601 w 322706"/>
                <a:gd name="connsiteY68" fmla="*/ 175165 h 336899"/>
                <a:gd name="connsiteX69" fmla="*/ 221075 w 322706"/>
                <a:gd name="connsiteY69" fmla="*/ 244316 h 336899"/>
                <a:gd name="connsiteX70" fmla="*/ 160972 w 322706"/>
                <a:gd name="connsiteY70" fmla="*/ 234220 h 336899"/>
                <a:gd name="connsiteX71" fmla="*/ 160972 w 322706"/>
                <a:gd name="connsiteY71" fmla="*/ 175165 h 336899"/>
                <a:gd name="connsiteX72" fmla="*/ 160972 w 322706"/>
                <a:gd name="connsiteY72" fmla="*/ 247745 h 336899"/>
                <a:gd name="connsiteX73" fmla="*/ 215074 w 322706"/>
                <a:gd name="connsiteY73" fmla="*/ 256604 h 336899"/>
                <a:gd name="connsiteX74" fmla="*/ 160972 w 322706"/>
                <a:gd name="connsiteY74" fmla="*/ 317278 h 336899"/>
                <a:gd name="connsiteX75" fmla="*/ 160972 w 322706"/>
                <a:gd name="connsiteY75" fmla="*/ 247745 h 336899"/>
                <a:gd name="connsiteX76" fmla="*/ 178213 w 322706"/>
                <a:gd name="connsiteY76" fmla="*/ 321469 h 336899"/>
                <a:gd name="connsiteX77" fmla="*/ 228028 w 322706"/>
                <a:gd name="connsiteY77" fmla="*/ 260985 h 336899"/>
                <a:gd name="connsiteX78" fmla="*/ 262795 w 322706"/>
                <a:gd name="connsiteY78" fmla="*/ 278797 h 336899"/>
                <a:gd name="connsiteX79" fmla="*/ 178213 w 322706"/>
                <a:gd name="connsiteY79" fmla="*/ 321469 h 336899"/>
                <a:gd name="connsiteX80" fmla="*/ 272129 w 322706"/>
                <a:gd name="connsiteY80" fmla="*/ 268796 h 336899"/>
                <a:gd name="connsiteX81" fmla="*/ 233839 w 322706"/>
                <a:gd name="connsiteY81" fmla="*/ 248793 h 336899"/>
                <a:gd name="connsiteX82" fmla="*/ 250126 w 322706"/>
                <a:gd name="connsiteY82" fmla="*/ 175165 h 336899"/>
                <a:gd name="connsiteX83" fmla="*/ 309086 w 322706"/>
                <a:gd name="connsiteY83" fmla="*/ 175165 h 336899"/>
                <a:gd name="connsiteX84" fmla="*/ 272129 w 322706"/>
                <a:gd name="connsiteY84" fmla="*/ 268891 h 336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22706" h="336899">
                  <a:moveTo>
                    <a:pt x="154305" y="0"/>
                  </a:moveTo>
                  <a:cubicBezTo>
                    <a:pt x="85249" y="0"/>
                    <a:pt x="26003" y="41815"/>
                    <a:pt x="0" y="101441"/>
                  </a:cubicBezTo>
                  <a:cubicBezTo>
                    <a:pt x="190" y="101632"/>
                    <a:pt x="381" y="101727"/>
                    <a:pt x="571" y="101918"/>
                  </a:cubicBezTo>
                  <a:lnTo>
                    <a:pt x="4096" y="105251"/>
                  </a:lnTo>
                  <a:lnTo>
                    <a:pt x="8001" y="108966"/>
                  </a:lnTo>
                  <a:lnTo>
                    <a:pt x="10478" y="106680"/>
                  </a:lnTo>
                  <a:lnTo>
                    <a:pt x="10478" y="106680"/>
                  </a:lnTo>
                  <a:cubicBezTo>
                    <a:pt x="11335" y="106013"/>
                    <a:pt x="12192" y="105537"/>
                    <a:pt x="13145" y="105061"/>
                  </a:cubicBezTo>
                  <a:cubicBezTo>
                    <a:pt x="19240" y="91631"/>
                    <a:pt x="27051" y="79058"/>
                    <a:pt x="36481" y="68009"/>
                  </a:cubicBezTo>
                  <a:cubicBezTo>
                    <a:pt x="48292" y="76010"/>
                    <a:pt x="61055" y="82677"/>
                    <a:pt x="74771" y="88011"/>
                  </a:cubicBezTo>
                  <a:cubicBezTo>
                    <a:pt x="73628" y="90773"/>
                    <a:pt x="72580" y="93631"/>
                    <a:pt x="71628" y="96393"/>
                  </a:cubicBezTo>
                  <a:cubicBezTo>
                    <a:pt x="75629" y="98965"/>
                    <a:pt x="79248" y="102203"/>
                    <a:pt x="82391" y="105918"/>
                  </a:cubicBezTo>
                  <a:cubicBezTo>
                    <a:pt x="83915" y="101346"/>
                    <a:pt x="85630" y="96869"/>
                    <a:pt x="87535" y="92488"/>
                  </a:cubicBezTo>
                  <a:cubicBezTo>
                    <a:pt x="106775" y="98584"/>
                    <a:pt x="126873" y="102013"/>
                    <a:pt x="147638" y="102584"/>
                  </a:cubicBezTo>
                  <a:lnTo>
                    <a:pt x="147638" y="161639"/>
                  </a:lnTo>
                  <a:lnTo>
                    <a:pt x="91154" y="161639"/>
                  </a:lnTo>
                  <a:cubicBezTo>
                    <a:pt x="90392" y="163544"/>
                    <a:pt x="89535" y="165449"/>
                    <a:pt x="88582" y="167259"/>
                  </a:cubicBezTo>
                  <a:lnTo>
                    <a:pt x="88011" y="168307"/>
                  </a:lnTo>
                  <a:cubicBezTo>
                    <a:pt x="87154" y="169545"/>
                    <a:pt x="85154" y="171926"/>
                    <a:pt x="82391" y="175165"/>
                  </a:cubicBezTo>
                  <a:lnTo>
                    <a:pt x="147638" y="175165"/>
                  </a:lnTo>
                  <a:lnTo>
                    <a:pt x="147638" y="234220"/>
                  </a:lnTo>
                  <a:cubicBezTo>
                    <a:pt x="126968" y="234791"/>
                    <a:pt x="106775" y="238220"/>
                    <a:pt x="87535" y="244316"/>
                  </a:cubicBezTo>
                  <a:cubicBezTo>
                    <a:pt x="79629" y="226124"/>
                    <a:pt x="74771" y="206312"/>
                    <a:pt x="72866" y="186023"/>
                  </a:cubicBezTo>
                  <a:cubicBezTo>
                    <a:pt x="69342" y="190024"/>
                    <a:pt x="65342" y="194596"/>
                    <a:pt x="60960" y="199549"/>
                  </a:cubicBezTo>
                  <a:cubicBezTo>
                    <a:pt x="63532" y="216599"/>
                    <a:pt x="68104" y="233267"/>
                    <a:pt x="74771" y="248793"/>
                  </a:cubicBezTo>
                  <a:cubicBezTo>
                    <a:pt x="61055" y="254127"/>
                    <a:pt x="48292" y="260890"/>
                    <a:pt x="36481" y="268796"/>
                  </a:cubicBezTo>
                  <a:cubicBezTo>
                    <a:pt x="30289" y="261461"/>
                    <a:pt x="24765" y="253556"/>
                    <a:pt x="20003" y="245174"/>
                  </a:cubicBezTo>
                  <a:cubicBezTo>
                    <a:pt x="17621" y="247841"/>
                    <a:pt x="15145" y="250508"/>
                    <a:pt x="12763" y="253175"/>
                  </a:cubicBezTo>
                  <a:cubicBezTo>
                    <a:pt x="12192" y="253841"/>
                    <a:pt x="11621" y="254508"/>
                    <a:pt x="10954" y="255175"/>
                  </a:cubicBezTo>
                  <a:lnTo>
                    <a:pt x="10573" y="255651"/>
                  </a:lnTo>
                  <a:cubicBezTo>
                    <a:pt x="40100" y="304229"/>
                    <a:pt x="93345" y="336899"/>
                    <a:pt x="154305" y="336899"/>
                  </a:cubicBezTo>
                  <a:cubicBezTo>
                    <a:pt x="247174" y="336899"/>
                    <a:pt x="322707" y="261366"/>
                    <a:pt x="322707" y="168497"/>
                  </a:cubicBezTo>
                  <a:cubicBezTo>
                    <a:pt x="322707" y="75629"/>
                    <a:pt x="247174" y="95"/>
                    <a:pt x="154305" y="95"/>
                  </a:cubicBezTo>
                  <a:close/>
                  <a:moveTo>
                    <a:pt x="45720" y="278797"/>
                  </a:moveTo>
                  <a:cubicBezTo>
                    <a:pt x="56483" y="271748"/>
                    <a:pt x="68104" y="265748"/>
                    <a:pt x="80486" y="260985"/>
                  </a:cubicBezTo>
                  <a:cubicBezTo>
                    <a:pt x="92869" y="284893"/>
                    <a:pt x="110109" y="305657"/>
                    <a:pt x="130397" y="321469"/>
                  </a:cubicBezTo>
                  <a:cubicBezTo>
                    <a:pt x="97631" y="316421"/>
                    <a:pt x="68294" y="300990"/>
                    <a:pt x="45720" y="278797"/>
                  </a:cubicBezTo>
                  <a:close/>
                  <a:moveTo>
                    <a:pt x="147542" y="317278"/>
                  </a:moveTo>
                  <a:cubicBezTo>
                    <a:pt x="125349" y="302514"/>
                    <a:pt x="106585" y="281369"/>
                    <a:pt x="93440" y="256604"/>
                  </a:cubicBezTo>
                  <a:cubicBezTo>
                    <a:pt x="110776" y="251270"/>
                    <a:pt x="128969" y="248317"/>
                    <a:pt x="147542" y="247745"/>
                  </a:cubicBezTo>
                  <a:lnTo>
                    <a:pt x="147542" y="317278"/>
                  </a:lnTo>
                  <a:close/>
                  <a:moveTo>
                    <a:pt x="80486" y="75819"/>
                  </a:moveTo>
                  <a:cubicBezTo>
                    <a:pt x="68104" y="71057"/>
                    <a:pt x="56483" y="65056"/>
                    <a:pt x="45720" y="58007"/>
                  </a:cubicBezTo>
                  <a:cubicBezTo>
                    <a:pt x="68294" y="35814"/>
                    <a:pt x="97727" y="20384"/>
                    <a:pt x="130397" y="15335"/>
                  </a:cubicBezTo>
                  <a:cubicBezTo>
                    <a:pt x="110014" y="31147"/>
                    <a:pt x="92869" y="51911"/>
                    <a:pt x="80486" y="75819"/>
                  </a:cubicBezTo>
                  <a:close/>
                  <a:moveTo>
                    <a:pt x="147542" y="89154"/>
                  </a:moveTo>
                  <a:cubicBezTo>
                    <a:pt x="128873" y="88583"/>
                    <a:pt x="110776" y="85630"/>
                    <a:pt x="93440" y="80296"/>
                  </a:cubicBezTo>
                  <a:cubicBezTo>
                    <a:pt x="106585" y="55436"/>
                    <a:pt x="125444" y="34385"/>
                    <a:pt x="147542" y="19622"/>
                  </a:cubicBezTo>
                  <a:lnTo>
                    <a:pt x="147542" y="89154"/>
                  </a:lnTo>
                  <a:close/>
                  <a:moveTo>
                    <a:pt x="308991" y="161639"/>
                  </a:moveTo>
                  <a:lnTo>
                    <a:pt x="250032" y="161639"/>
                  </a:lnTo>
                  <a:cubicBezTo>
                    <a:pt x="249174" y="136112"/>
                    <a:pt x="243649" y="110871"/>
                    <a:pt x="233744" y="88011"/>
                  </a:cubicBezTo>
                  <a:cubicBezTo>
                    <a:pt x="247460" y="82677"/>
                    <a:pt x="260223" y="75914"/>
                    <a:pt x="272034" y="68009"/>
                  </a:cubicBezTo>
                  <a:cubicBezTo>
                    <a:pt x="293751" y="93440"/>
                    <a:pt x="307467" y="126016"/>
                    <a:pt x="308991" y="161639"/>
                  </a:cubicBezTo>
                  <a:close/>
                  <a:moveTo>
                    <a:pt x="262795" y="58007"/>
                  </a:moveTo>
                  <a:cubicBezTo>
                    <a:pt x="252031" y="65056"/>
                    <a:pt x="240411" y="71057"/>
                    <a:pt x="228028" y="75819"/>
                  </a:cubicBezTo>
                  <a:cubicBezTo>
                    <a:pt x="215551" y="51626"/>
                    <a:pt x="198596" y="31147"/>
                    <a:pt x="178213" y="15431"/>
                  </a:cubicBezTo>
                  <a:cubicBezTo>
                    <a:pt x="210883" y="20479"/>
                    <a:pt x="240221" y="35909"/>
                    <a:pt x="262795" y="58103"/>
                  </a:cubicBezTo>
                  <a:close/>
                  <a:moveTo>
                    <a:pt x="160972" y="19526"/>
                  </a:moveTo>
                  <a:cubicBezTo>
                    <a:pt x="183071" y="34290"/>
                    <a:pt x="201930" y="55436"/>
                    <a:pt x="215074" y="80201"/>
                  </a:cubicBezTo>
                  <a:cubicBezTo>
                    <a:pt x="197739" y="85535"/>
                    <a:pt x="179546" y="88487"/>
                    <a:pt x="160972" y="89059"/>
                  </a:cubicBezTo>
                  <a:lnTo>
                    <a:pt x="160972" y="19526"/>
                  </a:lnTo>
                  <a:close/>
                  <a:moveTo>
                    <a:pt x="160972" y="102584"/>
                  </a:moveTo>
                  <a:cubicBezTo>
                    <a:pt x="181642" y="102013"/>
                    <a:pt x="201834" y="98584"/>
                    <a:pt x="221075" y="92488"/>
                  </a:cubicBezTo>
                  <a:cubicBezTo>
                    <a:pt x="230409" y="113919"/>
                    <a:pt x="235744" y="137636"/>
                    <a:pt x="236601" y="161639"/>
                  </a:cubicBezTo>
                  <a:lnTo>
                    <a:pt x="160972" y="161639"/>
                  </a:lnTo>
                  <a:lnTo>
                    <a:pt x="160972" y="102584"/>
                  </a:lnTo>
                  <a:close/>
                  <a:moveTo>
                    <a:pt x="160972" y="175165"/>
                  </a:moveTo>
                  <a:lnTo>
                    <a:pt x="236601" y="175165"/>
                  </a:lnTo>
                  <a:cubicBezTo>
                    <a:pt x="235744" y="199168"/>
                    <a:pt x="230409" y="222885"/>
                    <a:pt x="221075" y="244316"/>
                  </a:cubicBezTo>
                  <a:cubicBezTo>
                    <a:pt x="201834" y="238220"/>
                    <a:pt x="181737" y="234791"/>
                    <a:pt x="160972" y="234220"/>
                  </a:cubicBezTo>
                  <a:lnTo>
                    <a:pt x="160972" y="175165"/>
                  </a:lnTo>
                  <a:close/>
                  <a:moveTo>
                    <a:pt x="160972" y="247745"/>
                  </a:moveTo>
                  <a:cubicBezTo>
                    <a:pt x="179642" y="248317"/>
                    <a:pt x="197739" y="251270"/>
                    <a:pt x="215074" y="256604"/>
                  </a:cubicBezTo>
                  <a:cubicBezTo>
                    <a:pt x="201930" y="281464"/>
                    <a:pt x="183071" y="302514"/>
                    <a:pt x="160972" y="317278"/>
                  </a:cubicBezTo>
                  <a:lnTo>
                    <a:pt x="160972" y="247745"/>
                  </a:lnTo>
                  <a:close/>
                  <a:moveTo>
                    <a:pt x="178213" y="321469"/>
                  </a:moveTo>
                  <a:cubicBezTo>
                    <a:pt x="198596" y="305753"/>
                    <a:pt x="215551" y="285179"/>
                    <a:pt x="228028" y="260985"/>
                  </a:cubicBezTo>
                  <a:cubicBezTo>
                    <a:pt x="240411" y="265748"/>
                    <a:pt x="252031" y="271748"/>
                    <a:pt x="262795" y="278797"/>
                  </a:cubicBezTo>
                  <a:cubicBezTo>
                    <a:pt x="240221" y="300990"/>
                    <a:pt x="210883" y="316325"/>
                    <a:pt x="178213" y="321469"/>
                  </a:cubicBezTo>
                  <a:close/>
                  <a:moveTo>
                    <a:pt x="272129" y="268796"/>
                  </a:moveTo>
                  <a:cubicBezTo>
                    <a:pt x="260318" y="260795"/>
                    <a:pt x="247555" y="254127"/>
                    <a:pt x="233839" y="248793"/>
                  </a:cubicBezTo>
                  <a:cubicBezTo>
                    <a:pt x="243745" y="225838"/>
                    <a:pt x="249269" y="200692"/>
                    <a:pt x="250126" y="175165"/>
                  </a:cubicBezTo>
                  <a:lnTo>
                    <a:pt x="309086" y="175165"/>
                  </a:lnTo>
                  <a:cubicBezTo>
                    <a:pt x="307562" y="210788"/>
                    <a:pt x="293942" y="243364"/>
                    <a:pt x="272129" y="268891"/>
                  </a:cubicBezTo>
                  <a:close/>
                </a:path>
              </a:pathLst>
            </a:custGeom>
            <a:solidFill>
              <a:schemeClr val="tx1"/>
            </a:solidFill>
            <a:ln w="9525" cap="flat">
              <a:noFill/>
              <a:prstDash val="solid"/>
              <a:miter/>
            </a:ln>
          </p:spPr>
          <p:txBody>
            <a:bodyPr rtlCol="0" anchor="ctr"/>
            <a:lstStyle/>
            <a:p>
              <a:endParaRPr lang="en-US" dirty="0"/>
            </a:p>
          </p:txBody>
        </p:sp>
        <p:sp>
          <p:nvSpPr>
            <p:cNvPr id="1495" name="Freeform: Shape 1494">
              <a:extLst>
                <a:ext uri="{FF2B5EF4-FFF2-40B4-BE49-F238E27FC236}">
                  <a16:creationId xmlns:a16="http://schemas.microsoft.com/office/drawing/2014/main" id="{23678AC8-79F9-6D63-8AB5-01B1C6BDCAF3}"/>
                </a:ext>
              </a:extLst>
            </p:cNvPr>
            <p:cNvSpPr/>
            <p:nvPr/>
          </p:nvSpPr>
          <p:spPr>
            <a:xfrm>
              <a:off x="3474770" y="5836476"/>
              <a:ext cx="9525" cy="95"/>
            </a:xfrm>
            <a:custGeom>
              <a:avLst/>
              <a:gdLst>
                <a:gd name="connsiteX0" fmla="*/ 0 w 9525"/>
                <a:gd name="connsiteY0" fmla="*/ 95 h 95"/>
                <a:gd name="connsiteX1" fmla="*/ 0 w 9525"/>
                <a:gd name="connsiteY1" fmla="*/ 0 h 95"/>
                <a:gd name="connsiteX2" fmla="*/ 0 w 9525"/>
                <a:gd name="connsiteY2" fmla="*/ 0 h 95"/>
                <a:gd name="connsiteX3" fmla="*/ 0 w 9525"/>
                <a:gd name="connsiteY3" fmla="*/ 95 h 95"/>
              </a:gdLst>
              <a:ahLst/>
              <a:cxnLst>
                <a:cxn ang="0">
                  <a:pos x="connsiteX0" y="connsiteY0"/>
                </a:cxn>
                <a:cxn ang="0">
                  <a:pos x="connsiteX1" y="connsiteY1"/>
                </a:cxn>
                <a:cxn ang="0">
                  <a:pos x="connsiteX2" y="connsiteY2"/>
                </a:cxn>
                <a:cxn ang="0">
                  <a:pos x="connsiteX3" y="connsiteY3"/>
                </a:cxn>
              </a:cxnLst>
              <a:rect l="l" t="t" r="r" b="b"/>
              <a:pathLst>
                <a:path w="9525" h="95">
                  <a:moveTo>
                    <a:pt x="0" y="95"/>
                  </a:moveTo>
                  <a:lnTo>
                    <a:pt x="0" y="0"/>
                  </a:lnTo>
                  <a:lnTo>
                    <a:pt x="0" y="0"/>
                  </a:lnTo>
                  <a:lnTo>
                    <a:pt x="0" y="95"/>
                  </a:lnTo>
                  <a:close/>
                </a:path>
              </a:pathLst>
            </a:custGeom>
            <a:solidFill>
              <a:schemeClr val="accent5"/>
            </a:solidFill>
            <a:ln w="9525" cap="flat">
              <a:noFill/>
              <a:prstDash val="solid"/>
              <a:miter/>
            </a:ln>
          </p:spPr>
          <p:txBody>
            <a:bodyPr rtlCol="0" anchor="ctr"/>
            <a:lstStyle/>
            <a:p>
              <a:endParaRPr lang="en-US" dirty="0"/>
            </a:p>
          </p:txBody>
        </p:sp>
        <p:sp>
          <p:nvSpPr>
            <p:cNvPr id="1496" name="Freeform: Shape 1495">
              <a:extLst>
                <a:ext uri="{FF2B5EF4-FFF2-40B4-BE49-F238E27FC236}">
                  <a16:creationId xmlns:a16="http://schemas.microsoft.com/office/drawing/2014/main" id="{EA84D6BE-E10A-373C-A48E-26220FD50325}"/>
                </a:ext>
              </a:extLst>
            </p:cNvPr>
            <p:cNvSpPr/>
            <p:nvPr/>
          </p:nvSpPr>
          <p:spPr>
            <a:xfrm>
              <a:off x="3396579" y="5849494"/>
              <a:ext cx="132969" cy="119157"/>
            </a:xfrm>
            <a:custGeom>
              <a:avLst/>
              <a:gdLst>
                <a:gd name="connsiteX0" fmla="*/ 60293 w 132969"/>
                <a:gd name="connsiteY0" fmla="*/ 9049 h 119157"/>
                <a:gd name="connsiteX1" fmla="*/ 60293 w 132969"/>
                <a:gd name="connsiteY1" fmla="*/ 9049 h 119157"/>
                <a:gd name="connsiteX2" fmla="*/ 36386 w 132969"/>
                <a:gd name="connsiteY2" fmla="*/ 95 h 119157"/>
                <a:gd name="connsiteX3" fmla="*/ 0 w 132969"/>
                <a:gd name="connsiteY3" fmla="*/ 36576 h 119157"/>
                <a:gd name="connsiteX4" fmla="*/ 5144 w 132969"/>
                <a:gd name="connsiteY4" fmla="*/ 55340 h 119157"/>
                <a:gd name="connsiteX5" fmla="*/ 5429 w 132969"/>
                <a:gd name="connsiteY5" fmla="*/ 55816 h 119157"/>
                <a:gd name="connsiteX6" fmla="*/ 5620 w 132969"/>
                <a:gd name="connsiteY6" fmla="*/ 56007 h 119157"/>
                <a:gd name="connsiteX7" fmla="*/ 64675 w 132969"/>
                <a:gd name="connsiteY7" fmla="*/ 117348 h 119157"/>
                <a:gd name="connsiteX8" fmla="*/ 66485 w 132969"/>
                <a:gd name="connsiteY8" fmla="*/ 119158 h 119157"/>
                <a:gd name="connsiteX9" fmla="*/ 68294 w 132969"/>
                <a:gd name="connsiteY9" fmla="*/ 117348 h 119157"/>
                <a:gd name="connsiteX10" fmla="*/ 127349 w 132969"/>
                <a:gd name="connsiteY10" fmla="*/ 56007 h 119157"/>
                <a:gd name="connsiteX11" fmla="*/ 127826 w 132969"/>
                <a:gd name="connsiteY11" fmla="*/ 55245 h 119157"/>
                <a:gd name="connsiteX12" fmla="*/ 132969 w 132969"/>
                <a:gd name="connsiteY12" fmla="*/ 36481 h 119157"/>
                <a:gd name="connsiteX13" fmla="*/ 96584 w 132969"/>
                <a:gd name="connsiteY13" fmla="*/ 0 h 119157"/>
                <a:gd name="connsiteX14" fmla="*/ 76105 w 132969"/>
                <a:gd name="connsiteY14" fmla="*/ 6382 h 119157"/>
                <a:gd name="connsiteX15" fmla="*/ 76105 w 132969"/>
                <a:gd name="connsiteY15" fmla="*/ 6382 h 119157"/>
                <a:gd name="connsiteX16" fmla="*/ 66485 w 132969"/>
                <a:gd name="connsiteY16" fmla="*/ 14478 h 119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2969" h="119157">
                  <a:moveTo>
                    <a:pt x="60293" y="9049"/>
                  </a:moveTo>
                  <a:lnTo>
                    <a:pt x="60293" y="9049"/>
                  </a:lnTo>
                  <a:cubicBezTo>
                    <a:pt x="53626" y="3334"/>
                    <a:pt x="45244" y="95"/>
                    <a:pt x="36386" y="95"/>
                  </a:cubicBezTo>
                  <a:cubicBezTo>
                    <a:pt x="16288" y="95"/>
                    <a:pt x="0" y="16478"/>
                    <a:pt x="0" y="36576"/>
                  </a:cubicBezTo>
                  <a:cubicBezTo>
                    <a:pt x="0" y="43148"/>
                    <a:pt x="1810" y="49625"/>
                    <a:pt x="5144" y="55340"/>
                  </a:cubicBezTo>
                  <a:lnTo>
                    <a:pt x="5429" y="55816"/>
                  </a:lnTo>
                  <a:lnTo>
                    <a:pt x="5620" y="56007"/>
                  </a:lnTo>
                  <a:cubicBezTo>
                    <a:pt x="9335" y="60769"/>
                    <a:pt x="38005" y="90202"/>
                    <a:pt x="64675" y="117348"/>
                  </a:cubicBezTo>
                  <a:lnTo>
                    <a:pt x="66485" y="119158"/>
                  </a:lnTo>
                  <a:lnTo>
                    <a:pt x="68294" y="117348"/>
                  </a:lnTo>
                  <a:cubicBezTo>
                    <a:pt x="94964" y="90297"/>
                    <a:pt x="123539" y="60769"/>
                    <a:pt x="127349" y="56007"/>
                  </a:cubicBezTo>
                  <a:lnTo>
                    <a:pt x="127826" y="55245"/>
                  </a:lnTo>
                  <a:cubicBezTo>
                    <a:pt x="131254" y="49625"/>
                    <a:pt x="132969" y="43148"/>
                    <a:pt x="132969" y="36481"/>
                  </a:cubicBezTo>
                  <a:cubicBezTo>
                    <a:pt x="132969" y="16383"/>
                    <a:pt x="116586" y="0"/>
                    <a:pt x="96584" y="0"/>
                  </a:cubicBezTo>
                  <a:cubicBezTo>
                    <a:pt x="89249" y="0"/>
                    <a:pt x="82106" y="2191"/>
                    <a:pt x="76105" y="6382"/>
                  </a:cubicBezTo>
                  <a:lnTo>
                    <a:pt x="76105" y="6382"/>
                  </a:lnTo>
                  <a:lnTo>
                    <a:pt x="66485" y="14478"/>
                  </a:lnTo>
                </a:path>
              </a:pathLst>
            </a:custGeom>
            <a:solidFill>
              <a:schemeClr val="bg2"/>
            </a:solidFill>
            <a:ln w="9525" cap="flat">
              <a:noFill/>
              <a:prstDash val="solid"/>
              <a:miter/>
            </a:ln>
          </p:spPr>
          <p:txBody>
            <a:bodyPr rtlCol="0" anchor="ctr"/>
            <a:lstStyle/>
            <a:p>
              <a:endParaRPr lang="en-US" dirty="0"/>
            </a:p>
          </p:txBody>
        </p:sp>
      </p:grpSp>
      <p:sp>
        <p:nvSpPr>
          <p:cNvPr id="1290" name="Text Placeholder 81">
            <a:extLst>
              <a:ext uri="{FF2B5EF4-FFF2-40B4-BE49-F238E27FC236}">
                <a16:creationId xmlns:a16="http://schemas.microsoft.com/office/drawing/2014/main" id="{88F1A655-BF97-D9E5-B45A-F30B467DB239}"/>
              </a:ext>
            </a:extLst>
          </p:cNvPr>
          <p:cNvSpPr txBox="1">
            <a:spLocks/>
          </p:cNvSpPr>
          <p:nvPr/>
        </p:nvSpPr>
        <p:spPr>
          <a:xfrm>
            <a:off x="9377504" y="6158269"/>
            <a:ext cx="914400" cy="369204"/>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333" b="1">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solidFill>
                  <a:schemeClr val="bg1"/>
                </a:solidFill>
              </a:rPr>
              <a:t>PTC </a:t>
            </a:r>
            <a:br>
              <a:rPr lang="en-US" dirty="0">
                <a:solidFill>
                  <a:schemeClr val="bg1"/>
                </a:solidFill>
              </a:rPr>
            </a:br>
            <a:r>
              <a:rPr lang="en-US" dirty="0">
                <a:solidFill>
                  <a:schemeClr val="bg1"/>
                </a:solidFill>
              </a:rPr>
              <a:t>FOR ALL</a:t>
            </a:r>
          </a:p>
        </p:txBody>
      </p:sp>
      <p:grpSp>
        <p:nvGrpSpPr>
          <p:cNvPr id="1498" name="Group 1497">
            <a:extLst>
              <a:ext uri="{FF2B5EF4-FFF2-40B4-BE49-F238E27FC236}">
                <a16:creationId xmlns:a16="http://schemas.microsoft.com/office/drawing/2014/main" id="{608A17C4-C642-8430-FF42-EE3653E58C49}"/>
              </a:ext>
            </a:extLst>
          </p:cNvPr>
          <p:cNvGrpSpPr/>
          <p:nvPr/>
        </p:nvGrpSpPr>
        <p:grpSpPr>
          <a:xfrm>
            <a:off x="9637052" y="5715413"/>
            <a:ext cx="379751" cy="336899"/>
            <a:chOff x="3396579" y="5738273"/>
            <a:chExt cx="379751" cy="336899"/>
          </a:xfrm>
          <a:solidFill>
            <a:schemeClr val="bg1"/>
          </a:solidFill>
        </p:grpSpPr>
        <p:sp>
          <p:nvSpPr>
            <p:cNvPr id="1499" name="Freeform: Shape 1498">
              <a:extLst>
                <a:ext uri="{FF2B5EF4-FFF2-40B4-BE49-F238E27FC236}">
                  <a16:creationId xmlns:a16="http://schemas.microsoft.com/office/drawing/2014/main" id="{1E894ED3-576E-C08B-401A-66FE7DF84B32}"/>
                </a:ext>
              </a:extLst>
            </p:cNvPr>
            <p:cNvSpPr/>
            <p:nvPr/>
          </p:nvSpPr>
          <p:spPr>
            <a:xfrm>
              <a:off x="3561828" y="5879434"/>
              <a:ext cx="2000" cy="1756"/>
            </a:xfrm>
            <a:custGeom>
              <a:avLst/>
              <a:gdLst>
                <a:gd name="connsiteX0" fmla="*/ 1524 w 2000"/>
                <a:gd name="connsiteY0" fmla="*/ 191 h 1756"/>
                <a:gd name="connsiteX1" fmla="*/ 1238 w 2000"/>
                <a:gd name="connsiteY1" fmla="*/ 191 h 1756"/>
                <a:gd name="connsiteX2" fmla="*/ 0 w 2000"/>
                <a:gd name="connsiteY2" fmla="*/ 1619 h 1756"/>
                <a:gd name="connsiteX3" fmla="*/ 0 w 2000"/>
                <a:gd name="connsiteY3" fmla="*/ 1715 h 1756"/>
                <a:gd name="connsiteX4" fmla="*/ 95 w 2000"/>
                <a:gd name="connsiteY4" fmla="*/ 1715 h 1756"/>
                <a:gd name="connsiteX5" fmla="*/ 1809 w 2000"/>
                <a:gd name="connsiteY5" fmla="*/ 953 h 1756"/>
                <a:gd name="connsiteX6" fmla="*/ 2000 w 2000"/>
                <a:gd name="connsiteY6" fmla="*/ 571 h 1756"/>
                <a:gd name="connsiteX7" fmla="*/ 1524 w 2000"/>
                <a:gd name="connsiteY7" fmla="*/ 0 h 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 h="1756">
                  <a:moveTo>
                    <a:pt x="1524" y="191"/>
                  </a:moveTo>
                  <a:cubicBezTo>
                    <a:pt x="1524" y="191"/>
                    <a:pt x="1238" y="191"/>
                    <a:pt x="1238" y="191"/>
                  </a:cubicBezTo>
                  <a:cubicBezTo>
                    <a:pt x="762" y="667"/>
                    <a:pt x="381" y="1143"/>
                    <a:pt x="0" y="1619"/>
                  </a:cubicBezTo>
                  <a:cubicBezTo>
                    <a:pt x="0" y="1619"/>
                    <a:pt x="0" y="1715"/>
                    <a:pt x="0" y="1715"/>
                  </a:cubicBezTo>
                  <a:cubicBezTo>
                    <a:pt x="0" y="1715"/>
                    <a:pt x="0" y="1810"/>
                    <a:pt x="95" y="1715"/>
                  </a:cubicBezTo>
                  <a:cubicBezTo>
                    <a:pt x="762" y="1715"/>
                    <a:pt x="1333" y="1429"/>
                    <a:pt x="1809" y="953"/>
                  </a:cubicBezTo>
                  <a:cubicBezTo>
                    <a:pt x="1905" y="857"/>
                    <a:pt x="1905" y="667"/>
                    <a:pt x="2000" y="571"/>
                  </a:cubicBezTo>
                  <a:cubicBezTo>
                    <a:pt x="2000" y="286"/>
                    <a:pt x="1714" y="0"/>
                    <a:pt x="1524" y="0"/>
                  </a:cubicBezTo>
                  <a:close/>
                </a:path>
              </a:pathLst>
            </a:custGeom>
            <a:grpFill/>
            <a:ln w="9525" cap="flat">
              <a:noFill/>
              <a:prstDash val="solid"/>
              <a:miter/>
            </a:ln>
          </p:spPr>
          <p:txBody>
            <a:bodyPr rtlCol="0" anchor="ctr"/>
            <a:lstStyle/>
            <a:p>
              <a:endParaRPr lang="en-US" dirty="0"/>
            </a:p>
          </p:txBody>
        </p:sp>
        <p:sp>
          <p:nvSpPr>
            <p:cNvPr id="1500" name="Freeform: Shape 1499">
              <a:extLst>
                <a:ext uri="{FF2B5EF4-FFF2-40B4-BE49-F238E27FC236}">
                  <a16:creationId xmlns:a16="http://schemas.microsoft.com/office/drawing/2014/main" id="{92E65E85-5BB7-8FD4-E252-71965ADBDBD5}"/>
                </a:ext>
              </a:extLst>
            </p:cNvPr>
            <p:cNvSpPr/>
            <p:nvPr/>
          </p:nvSpPr>
          <p:spPr>
            <a:xfrm>
              <a:off x="3453624" y="5738273"/>
              <a:ext cx="322706" cy="336899"/>
            </a:xfrm>
            <a:custGeom>
              <a:avLst/>
              <a:gdLst>
                <a:gd name="connsiteX0" fmla="*/ 154305 w 322706"/>
                <a:gd name="connsiteY0" fmla="*/ 0 h 336899"/>
                <a:gd name="connsiteX1" fmla="*/ 0 w 322706"/>
                <a:gd name="connsiteY1" fmla="*/ 101441 h 336899"/>
                <a:gd name="connsiteX2" fmla="*/ 571 w 322706"/>
                <a:gd name="connsiteY2" fmla="*/ 101918 h 336899"/>
                <a:gd name="connsiteX3" fmla="*/ 4096 w 322706"/>
                <a:gd name="connsiteY3" fmla="*/ 105251 h 336899"/>
                <a:gd name="connsiteX4" fmla="*/ 8001 w 322706"/>
                <a:gd name="connsiteY4" fmla="*/ 108966 h 336899"/>
                <a:gd name="connsiteX5" fmla="*/ 10478 w 322706"/>
                <a:gd name="connsiteY5" fmla="*/ 106680 h 336899"/>
                <a:gd name="connsiteX6" fmla="*/ 10478 w 322706"/>
                <a:gd name="connsiteY6" fmla="*/ 106680 h 336899"/>
                <a:gd name="connsiteX7" fmla="*/ 13145 w 322706"/>
                <a:gd name="connsiteY7" fmla="*/ 105061 h 336899"/>
                <a:gd name="connsiteX8" fmla="*/ 36481 w 322706"/>
                <a:gd name="connsiteY8" fmla="*/ 68009 h 336899"/>
                <a:gd name="connsiteX9" fmla="*/ 74771 w 322706"/>
                <a:gd name="connsiteY9" fmla="*/ 88011 h 336899"/>
                <a:gd name="connsiteX10" fmla="*/ 71628 w 322706"/>
                <a:gd name="connsiteY10" fmla="*/ 96393 h 336899"/>
                <a:gd name="connsiteX11" fmla="*/ 82391 w 322706"/>
                <a:gd name="connsiteY11" fmla="*/ 105918 h 336899"/>
                <a:gd name="connsiteX12" fmla="*/ 87535 w 322706"/>
                <a:gd name="connsiteY12" fmla="*/ 92488 h 336899"/>
                <a:gd name="connsiteX13" fmla="*/ 147638 w 322706"/>
                <a:gd name="connsiteY13" fmla="*/ 102584 h 336899"/>
                <a:gd name="connsiteX14" fmla="*/ 147638 w 322706"/>
                <a:gd name="connsiteY14" fmla="*/ 161639 h 336899"/>
                <a:gd name="connsiteX15" fmla="*/ 91154 w 322706"/>
                <a:gd name="connsiteY15" fmla="*/ 161639 h 336899"/>
                <a:gd name="connsiteX16" fmla="*/ 88582 w 322706"/>
                <a:gd name="connsiteY16" fmla="*/ 167259 h 336899"/>
                <a:gd name="connsiteX17" fmla="*/ 88011 w 322706"/>
                <a:gd name="connsiteY17" fmla="*/ 168307 h 336899"/>
                <a:gd name="connsiteX18" fmla="*/ 82391 w 322706"/>
                <a:gd name="connsiteY18" fmla="*/ 175165 h 336899"/>
                <a:gd name="connsiteX19" fmla="*/ 147638 w 322706"/>
                <a:gd name="connsiteY19" fmla="*/ 175165 h 336899"/>
                <a:gd name="connsiteX20" fmla="*/ 147638 w 322706"/>
                <a:gd name="connsiteY20" fmla="*/ 234220 h 336899"/>
                <a:gd name="connsiteX21" fmla="*/ 87535 w 322706"/>
                <a:gd name="connsiteY21" fmla="*/ 244316 h 336899"/>
                <a:gd name="connsiteX22" fmla="*/ 72866 w 322706"/>
                <a:gd name="connsiteY22" fmla="*/ 186023 h 336899"/>
                <a:gd name="connsiteX23" fmla="*/ 60960 w 322706"/>
                <a:gd name="connsiteY23" fmla="*/ 199549 h 336899"/>
                <a:gd name="connsiteX24" fmla="*/ 74771 w 322706"/>
                <a:gd name="connsiteY24" fmla="*/ 248793 h 336899"/>
                <a:gd name="connsiteX25" fmla="*/ 36481 w 322706"/>
                <a:gd name="connsiteY25" fmla="*/ 268796 h 336899"/>
                <a:gd name="connsiteX26" fmla="*/ 20003 w 322706"/>
                <a:gd name="connsiteY26" fmla="*/ 245174 h 336899"/>
                <a:gd name="connsiteX27" fmla="*/ 12763 w 322706"/>
                <a:gd name="connsiteY27" fmla="*/ 253175 h 336899"/>
                <a:gd name="connsiteX28" fmla="*/ 10954 w 322706"/>
                <a:gd name="connsiteY28" fmla="*/ 255175 h 336899"/>
                <a:gd name="connsiteX29" fmla="*/ 10573 w 322706"/>
                <a:gd name="connsiteY29" fmla="*/ 255651 h 336899"/>
                <a:gd name="connsiteX30" fmla="*/ 154305 w 322706"/>
                <a:gd name="connsiteY30" fmla="*/ 336899 h 336899"/>
                <a:gd name="connsiteX31" fmla="*/ 322707 w 322706"/>
                <a:gd name="connsiteY31" fmla="*/ 168497 h 336899"/>
                <a:gd name="connsiteX32" fmla="*/ 154305 w 322706"/>
                <a:gd name="connsiteY32" fmla="*/ 95 h 336899"/>
                <a:gd name="connsiteX33" fmla="*/ 45720 w 322706"/>
                <a:gd name="connsiteY33" fmla="*/ 278797 h 336899"/>
                <a:gd name="connsiteX34" fmla="*/ 80486 w 322706"/>
                <a:gd name="connsiteY34" fmla="*/ 260985 h 336899"/>
                <a:gd name="connsiteX35" fmla="*/ 130397 w 322706"/>
                <a:gd name="connsiteY35" fmla="*/ 321469 h 336899"/>
                <a:gd name="connsiteX36" fmla="*/ 45720 w 322706"/>
                <a:gd name="connsiteY36" fmla="*/ 278797 h 336899"/>
                <a:gd name="connsiteX37" fmla="*/ 147542 w 322706"/>
                <a:gd name="connsiteY37" fmla="*/ 317278 h 336899"/>
                <a:gd name="connsiteX38" fmla="*/ 93440 w 322706"/>
                <a:gd name="connsiteY38" fmla="*/ 256604 h 336899"/>
                <a:gd name="connsiteX39" fmla="*/ 147542 w 322706"/>
                <a:gd name="connsiteY39" fmla="*/ 247745 h 336899"/>
                <a:gd name="connsiteX40" fmla="*/ 147542 w 322706"/>
                <a:gd name="connsiteY40" fmla="*/ 317278 h 336899"/>
                <a:gd name="connsiteX41" fmla="*/ 80486 w 322706"/>
                <a:gd name="connsiteY41" fmla="*/ 75819 h 336899"/>
                <a:gd name="connsiteX42" fmla="*/ 45720 w 322706"/>
                <a:gd name="connsiteY42" fmla="*/ 58007 h 336899"/>
                <a:gd name="connsiteX43" fmla="*/ 130397 w 322706"/>
                <a:gd name="connsiteY43" fmla="*/ 15335 h 336899"/>
                <a:gd name="connsiteX44" fmla="*/ 80486 w 322706"/>
                <a:gd name="connsiteY44" fmla="*/ 75819 h 336899"/>
                <a:gd name="connsiteX45" fmla="*/ 147542 w 322706"/>
                <a:gd name="connsiteY45" fmla="*/ 89154 h 336899"/>
                <a:gd name="connsiteX46" fmla="*/ 93440 w 322706"/>
                <a:gd name="connsiteY46" fmla="*/ 80296 h 336899"/>
                <a:gd name="connsiteX47" fmla="*/ 147542 w 322706"/>
                <a:gd name="connsiteY47" fmla="*/ 19622 h 336899"/>
                <a:gd name="connsiteX48" fmla="*/ 147542 w 322706"/>
                <a:gd name="connsiteY48" fmla="*/ 89154 h 336899"/>
                <a:gd name="connsiteX49" fmla="*/ 308991 w 322706"/>
                <a:gd name="connsiteY49" fmla="*/ 161639 h 336899"/>
                <a:gd name="connsiteX50" fmla="*/ 250032 w 322706"/>
                <a:gd name="connsiteY50" fmla="*/ 161639 h 336899"/>
                <a:gd name="connsiteX51" fmla="*/ 233744 w 322706"/>
                <a:gd name="connsiteY51" fmla="*/ 88011 h 336899"/>
                <a:gd name="connsiteX52" fmla="*/ 272034 w 322706"/>
                <a:gd name="connsiteY52" fmla="*/ 68009 h 336899"/>
                <a:gd name="connsiteX53" fmla="*/ 308991 w 322706"/>
                <a:gd name="connsiteY53" fmla="*/ 161639 h 336899"/>
                <a:gd name="connsiteX54" fmla="*/ 262795 w 322706"/>
                <a:gd name="connsiteY54" fmla="*/ 58007 h 336899"/>
                <a:gd name="connsiteX55" fmla="*/ 228028 w 322706"/>
                <a:gd name="connsiteY55" fmla="*/ 75819 h 336899"/>
                <a:gd name="connsiteX56" fmla="*/ 178213 w 322706"/>
                <a:gd name="connsiteY56" fmla="*/ 15431 h 336899"/>
                <a:gd name="connsiteX57" fmla="*/ 262795 w 322706"/>
                <a:gd name="connsiteY57" fmla="*/ 58103 h 336899"/>
                <a:gd name="connsiteX58" fmla="*/ 160972 w 322706"/>
                <a:gd name="connsiteY58" fmla="*/ 19526 h 336899"/>
                <a:gd name="connsiteX59" fmla="*/ 215074 w 322706"/>
                <a:gd name="connsiteY59" fmla="*/ 80201 h 336899"/>
                <a:gd name="connsiteX60" fmla="*/ 160972 w 322706"/>
                <a:gd name="connsiteY60" fmla="*/ 89059 h 336899"/>
                <a:gd name="connsiteX61" fmla="*/ 160972 w 322706"/>
                <a:gd name="connsiteY61" fmla="*/ 19526 h 336899"/>
                <a:gd name="connsiteX62" fmla="*/ 160972 w 322706"/>
                <a:gd name="connsiteY62" fmla="*/ 102584 h 336899"/>
                <a:gd name="connsiteX63" fmla="*/ 221075 w 322706"/>
                <a:gd name="connsiteY63" fmla="*/ 92488 h 336899"/>
                <a:gd name="connsiteX64" fmla="*/ 236601 w 322706"/>
                <a:gd name="connsiteY64" fmla="*/ 161639 h 336899"/>
                <a:gd name="connsiteX65" fmla="*/ 160972 w 322706"/>
                <a:gd name="connsiteY65" fmla="*/ 161639 h 336899"/>
                <a:gd name="connsiteX66" fmla="*/ 160972 w 322706"/>
                <a:gd name="connsiteY66" fmla="*/ 102584 h 336899"/>
                <a:gd name="connsiteX67" fmla="*/ 160972 w 322706"/>
                <a:gd name="connsiteY67" fmla="*/ 175165 h 336899"/>
                <a:gd name="connsiteX68" fmla="*/ 236601 w 322706"/>
                <a:gd name="connsiteY68" fmla="*/ 175165 h 336899"/>
                <a:gd name="connsiteX69" fmla="*/ 221075 w 322706"/>
                <a:gd name="connsiteY69" fmla="*/ 244316 h 336899"/>
                <a:gd name="connsiteX70" fmla="*/ 160972 w 322706"/>
                <a:gd name="connsiteY70" fmla="*/ 234220 h 336899"/>
                <a:gd name="connsiteX71" fmla="*/ 160972 w 322706"/>
                <a:gd name="connsiteY71" fmla="*/ 175165 h 336899"/>
                <a:gd name="connsiteX72" fmla="*/ 160972 w 322706"/>
                <a:gd name="connsiteY72" fmla="*/ 247745 h 336899"/>
                <a:gd name="connsiteX73" fmla="*/ 215074 w 322706"/>
                <a:gd name="connsiteY73" fmla="*/ 256604 h 336899"/>
                <a:gd name="connsiteX74" fmla="*/ 160972 w 322706"/>
                <a:gd name="connsiteY74" fmla="*/ 317278 h 336899"/>
                <a:gd name="connsiteX75" fmla="*/ 160972 w 322706"/>
                <a:gd name="connsiteY75" fmla="*/ 247745 h 336899"/>
                <a:gd name="connsiteX76" fmla="*/ 178213 w 322706"/>
                <a:gd name="connsiteY76" fmla="*/ 321469 h 336899"/>
                <a:gd name="connsiteX77" fmla="*/ 228028 w 322706"/>
                <a:gd name="connsiteY77" fmla="*/ 260985 h 336899"/>
                <a:gd name="connsiteX78" fmla="*/ 262795 w 322706"/>
                <a:gd name="connsiteY78" fmla="*/ 278797 h 336899"/>
                <a:gd name="connsiteX79" fmla="*/ 178213 w 322706"/>
                <a:gd name="connsiteY79" fmla="*/ 321469 h 336899"/>
                <a:gd name="connsiteX80" fmla="*/ 272129 w 322706"/>
                <a:gd name="connsiteY80" fmla="*/ 268796 h 336899"/>
                <a:gd name="connsiteX81" fmla="*/ 233839 w 322706"/>
                <a:gd name="connsiteY81" fmla="*/ 248793 h 336899"/>
                <a:gd name="connsiteX82" fmla="*/ 250126 w 322706"/>
                <a:gd name="connsiteY82" fmla="*/ 175165 h 336899"/>
                <a:gd name="connsiteX83" fmla="*/ 309086 w 322706"/>
                <a:gd name="connsiteY83" fmla="*/ 175165 h 336899"/>
                <a:gd name="connsiteX84" fmla="*/ 272129 w 322706"/>
                <a:gd name="connsiteY84" fmla="*/ 268891 h 336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22706" h="336899">
                  <a:moveTo>
                    <a:pt x="154305" y="0"/>
                  </a:moveTo>
                  <a:cubicBezTo>
                    <a:pt x="85249" y="0"/>
                    <a:pt x="26003" y="41815"/>
                    <a:pt x="0" y="101441"/>
                  </a:cubicBezTo>
                  <a:cubicBezTo>
                    <a:pt x="190" y="101632"/>
                    <a:pt x="381" y="101727"/>
                    <a:pt x="571" y="101918"/>
                  </a:cubicBezTo>
                  <a:lnTo>
                    <a:pt x="4096" y="105251"/>
                  </a:lnTo>
                  <a:lnTo>
                    <a:pt x="8001" y="108966"/>
                  </a:lnTo>
                  <a:lnTo>
                    <a:pt x="10478" y="106680"/>
                  </a:lnTo>
                  <a:lnTo>
                    <a:pt x="10478" y="106680"/>
                  </a:lnTo>
                  <a:cubicBezTo>
                    <a:pt x="11335" y="106013"/>
                    <a:pt x="12192" y="105537"/>
                    <a:pt x="13145" y="105061"/>
                  </a:cubicBezTo>
                  <a:cubicBezTo>
                    <a:pt x="19240" y="91631"/>
                    <a:pt x="27051" y="79058"/>
                    <a:pt x="36481" y="68009"/>
                  </a:cubicBezTo>
                  <a:cubicBezTo>
                    <a:pt x="48292" y="76010"/>
                    <a:pt x="61055" y="82677"/>
                    <a:pt x="74771" y="88011"/>
                  </a:cubicBezTo>
                  <a:cubicBezTo>
                    <a:pt x="73628" y="90773"/>
                    <a:pt x="72580" y="93631"/>
                    <a:pt x="71628" y="96393"/>
                  </a:cubicBezTo>
                  <a:cubicBezTo>
                    <a:pt x="75629" y="98965"/>
                    <a:pt x="79248" y="102203"/>
                    <a:pt x="82391" y="105918"/>
                  </a:cubicBezTo>
                  <a:cubicBezTo>
                    <a:pt x="83915" y="101346"/>
                    <a:pt x="85630" y="96869"/>
                    <a:pt x="87535" y="92488"/>
                  </a:cubicBezTo>
                  <a:cubicBezTo>
                    <a:pt x="106775" y="98584"/>
                    <a:pt x="126873" y="102013"/>
                    <a:pt x="147638" y="102584"/>
                  </a:cubicBezTo>
                  <a:lnTo>
                    <a:pt x="147638" y="161639"/>
                  </a:lnTo>
                  <a:lnTo>
                    <a:pt x="91154" y="161639"/>
                  </a:lnTo>
                  <a:cubicBezTo>
                    <a:pt x="90392" y="163544"/>
                    <a:pt x="89535" y="165449"/>
                    <a:pt x="88582" y="167259"/>
                  </a:cubicBezTo>
                  <a:lnTo>
                    <a:pt x="88011" y="168307"/>
                  </a:lnTo>
                  <a:cubicBezTo>
                    <a:pt x="87154" y="169545"/>
                    <a:pt x="85154" y="171926"/>
                    <a:pt x="82391" y="175165"/>
                  </a:cubicBezTo>
                  <a:lnTo>
                    <a:pt x="147638" y="175165"/>
                  </a:lnTo>
                  <a:lnTo>
                    <a:pt x="147638" y="234220"/>
                  </a:lnTo>
                  <a:cubicBezTo>
                    <a:pt x="126968" y="234791"/>
                    <a:pt x="106775" y="238220"/>
                    <a:pt x="87535" y="244316"/>
                  </a:cubicBezTo>
                  <a:cubicBezTo>
                    <a:pt x="79629" y="226124"/>
                    <a:pt x="74771" y="206312"/>
                    <a:pt x="72866" y="186023"/>
                  </a:cubicBezTo>
                  <a:cubicBezTo>
                    <a:pt x="69342" y="190024"/>
                    <a:pt x="65342" y="194596"/>
                    <a:pt x="60960" y="199549"/>
                  </a:cubicBezTo>
                  <a:cubicBezTo>
                    <a:pt x="63532" y="216599"/>
                    <a:pt x="68104" y="233267"/>
                    <a:pt x="74771" y="248793"/>
                  </a:cubicBezTo>
                  <a:cubicBezTo>
                    <a:pt x="61055" y="254127"/>
                    <a:pt x="48292" y="260890"/>
                    <a:pt x="36481" y="268796"/>
                  </a:cubicBezTo>
                  <a:cubicBezTo>
                    <a:pt x="30289" y="261461"/>
                    <a:pt x="24765" y="253556"/>
                    <a:pt x="20003" y="245174"/>
                  </a:cubicBezTo>
                  <a:cubicBezTo>
                    <a:pt x="17621" y="247841"/>
                    <a:pt x="15145" y="250508"/>
                    <a:pt x="12763" y="253175"/>
                  </a:cubicBezTo>
                  <a:cubicBezTo>
                    <a:pt x="12192" y="253841"/>
                    <a:pt x="11621" y="254508"/>
                    <a:pt x="10954" y="255175"/>
                  </a:cubicBezTo>
                  <a:lnTo>
                    <a:pt x="10573" y="255651"/>
                  </a:lnTo>
                  <a:cubicBezTo>
                    <a:pt x="40100" y="304229"/>
                    <a:pt x="93345" y="336899"/>
                    <a:pt x="154305" y="336899"/>
                  </a:cubicBezTo>
                  <a:cubicBezTo>
                    <a:pt x="247174" y="336899"/>
                    <a:pt x="322707" y="261366"/>
                    <a:pt x="322707" y="168497"/>
                  </a:cubicBezTo>
                  <a:cubicBezTo>
                    <a:pt x="322707" y="75629"/>
                    <a:pt x="247174" y="95"/>
                    <a:pt x="154305" y="95"/>
                  </a:cubicBezTo>
                  <a:close/>
                  <a:moveTo>
                    <a:pt x="45720" y="278797"/>
                  </a:moveTo>
                  <a:cubicBezTo>
                    <a:pt x="56483" y="271748"/>
                    <a:pt x="68104" y="265748"/>
                    <a:pt x="80486" y="260985"/>
                  </a:cubicBezTo>
                  <a:cubicBezTo>
                    <a:pt x="92869" y="284893"/>
                    <a:pt x="110109" y="305657"/>
                    <a:pt x="130397" y="321469"/>
                  </a:cubicBezTo>
                  <a:cubicBezTo>
                    <a:pt x="97631" y="316421"/>
                    <a:pt x="68294" y="300990"/>
                    <a:pt x="45720" y="278797"/>
                  </a:cubicBezTo>
                  <a:close/>
                  <a:moveTo>
                    <a:pt x="147542" y="317278"/>
                  </a:moveTo>
                  <a:cubicBezTo>
                    <a:pt x="125349" y="302514"/>
                    <a:pt x="106585" y="281369"/>
                    <a:pt x="93440" y="256604"/>
                  </a:cubicBezTo>
                  <a:cubicBezTo>
                    <a:pt x="110776" y="251270"/>
                    <a:pt x="128969" y="248317"/>
                    <a:pt x="147542" y="247745"/>
                  </a:cubicBezTo>
                  <a:lnTo>
                    <a:pt x="147542" y="317278"/>
                  </a:lnTo>
                  <a:close/>
                  <a:moveTo>
                    <a:pt x="80486" y="75819"/>
                  </a:moveTo>
                  <a:cubicBezTo>
                    <a:pt x="68104" y="71057"/>
                    <a:pt x="56483" y="65056"/>
                    <a:pt x="45720" y="58007"/>
                  </a:cubicBezTo>
                  <a:cubicBezTo>
                    <a:pt x="68294" y="35814"/>
                    <a:pt x="97727" y="20384"/>
                    <a:pt x="130397" y="15335"/>
                  </a:cubicBezTo>
                  <a:cubicBezTo>
                    <a:pt x="110014" y="31147"/>
                    <a:pt x="92869" y="51911"/>
                    <a:pt x="80486" y="75819"/>
                  </a:cubicBezTo>
                  <a:close/>
                  <a:moveTo>
                    <a:pt x="147542" y="89154"/>
                  </a:moveTo>
                  <a:cubicBezTo>
                    <a:pt x="128873" y="88583"/>
                    <a:pt x="110776" y="85630"/>
                    <a:pt x="93440" y="80296"/>
                  </a:cubicBezTo>
                  <a:cubicBezTo>
                    <a:pt x="106585" y="55436"/>
                    <a:pt x="125444" y="34385"/>
                    <a:pt x="147542" y="19622"/>
                  </a:cubicBezTo>
                  <a:lnTo>
                    <a:pt x="147542" y="89154"/>
                  </a:lnTo>
                  <a:close/>
                  <a:moveTo>
                    <a:pt x="308991" y="161639"/>
                  </a:moveTo>
                  <a:lnTo>
                    <a:pt x="250032" y="161639"/>
                  </a:lnTo>
                  <a:cubicBezTo>
                    <a:pt x="249174" y="136112"/>
                    <a:pt x="243649" y="110871"/>
                    <a:pt x="233744" y="88011"/>
                  </a:cubicBezTo>
                  <a:cubicBezTo>
                    <a:pt x="247460" y="82677"/>
                    <a:pt x="260223" y="75914"/>
                    <a:pt x="272034" y="68009"/>
                  </a:cubicBezTo>
                  <a:cubicBezTo>
                    <a:pt x="293751" y="93440"/>
                    <a:pt x="307467" y="126016"/>
                    <a:pt x="308991" y="161639"/>
                  </a:cubicBezTo>
                  <a:close/>
                  <a:moveTo>
                    <a:pt x="262795" y="58007"/>
                  </a:moveTo>
                  <a:cubicBezTo>
                    <a:pt x="252031" y="65056"/>
                    <a:pt x="240411" y="71057"/>
                    <a:pt x="228028" y="75819"/>
                  </a:cubicBezTo>
                  <a:cubicBezTo>
                    <a:pt x="215551" y="51626"/>
                    <a:pt x="198596" y="31147"/>
                    <a:pt x="178213" y="15431"/>
                  </a:cubicBezTo>
                  <a:cubicBezTo>
                    <a:pt x="210883" y="20479"/>
                    <a:pt x="240221" y="35909"/>
                    <a:pt x="262795" y="58103"/>
                  </a:cubicBezTo>
                  <a:close/>
                  <a:moveTo>
                    <a:pt x="160972" y="19526"/>
                  </a:moveTo>
                  <a:cubicBezTo>
                    <a:pt x="183071" y="34290"/>
                    <a:pt x="201930" y="55436"/>
                    <a:pt x="215074" y="80201"/>
                  </a:cubicBezTo>
                  <a:cubicBezTo>
                    <a:pt x="197739" y="85535"/>
                    <a:pt x="179546" y="88487"/>
                    <a:pt x="160972" y="89059"/>
                  </a:cubicBezTo>
                  <a:lnTo>
                    <a:pt x="160972" y="19526"/>
                  </a:lnTo>
                  <a:close/>
                  <a:moveTo>
                    <a:pt x="160972" y="102584"/>
                  </a:moveTo>
                  <a:cubicBezTo>
                    <a:pt x="181642" y="102013"/>
                    <a:pt x="201834" y="98584"/>
                    <a:pt x="221075" y="92488"/>
                  </a:cubicBezTo>
                  <a:cubicBezTo>
                    <a:pt x="230409" y="113919"/>
                    <a:pt x="235744" y="137636"/>
                    <a:pt x="236601" y="161639"/>
                  </a:cubicBezTo>
                  <a:lnTo>
                    <a:pt x="160972" y="161639"/>
                  </a:lnTo>
                  <a:lnTo>
                    <a:pt x="160972" y="102584"/>
                  </a:lnTo>
                  <a:close/>
                  <a:moveTo>
                    <a:pt x="160972" y="175165"/>
                  </a:moveTo>
                  <a:lnTo>
                    <a:pt x="236601" y="175165"/>
                  </a:lnTo>
                  <a:cubicBezTo>
                    <a:pt x="235744" y="199168"/>
                    <a:pt x="230409" y="222885"/>
                    <a:pt x="221075" y="244316"/>
                  </a:cubicBezTo>
                  <a:cubicBezTo>
                    <a:pt x="201834" y="238220"/>
                    <a:pt x="181737" y="234791"/>
                    <a:pt x="160972" y="234220"/>
                  </a:cubicBezTo>
                  <a:lnTo>
                    <a:pt x="160972" y="175165"/>
                  </a:lnTo>
                  <a:close/>
                  <a:moveTo>
                    <a:pt x="160972" y="247745"/>
                  </a:moveTo>
                  <a:cubicBezTo>
                    <a:pt x="179642" y="248317"/>
                    <a:pt x="197739" y="251270"/>
                    <a:pt x="215074" y="256604"/>
                  </a:cubicBezTo>
                  <a:cubicBezTo>
                    <a:pt x="201930" y="281464"/>
                    <a:pt x="183071" y="302514"/>
                    <a:pt x="160972" y="317278"/>
                  </a:cubicBezTo>
                  <a:lnTo>
                    <a:pt x="160972" y="247745"/>
                  </a:lnTo>
                  <a:close/>
                  <a:moveTo>
                    <a:pt x="178213" y="321469"/>
                  </a:moveTo>
                  <a:cubicBezTo>
                    <a:pt x="198596" y="305753"/>
                    <a:pt x="215551" y="285179"/>
                    <a:pt x="228028" y="260985"/>
                  </a:cubicBezTo>
                  <a:cubicBezTo>
                    <a:pt x="240411" y="265748"/>
                    <a:pt x="252031" y="271748"/>
                    <a:pt x="262795" y="278797"/>
                  </a:cubicBezTo>
                  <a:cubicBezTo>
                    <a:pt x="240221" y="300990"/>
                    <a:pt x="210883" y="316325"/>
                    <a:pt x="178213" y="321469"/>
                  </a:cubicBezTo>
                  <a:close/>
                  <a:moveTo>
                    <a:pt x="272129" y="268796"/>
                  </a:moveTo>
                  <a:cubicBezTo>
                    <a:pt x="260318" y="260795"/>
                    <a:pt x="247555" y="254127"/>
                    <a:pt x="233839" y="248793"/>
                  </a:cubicBezTo>
                  <a:cubicBezTo>
                    <a:pt x="243745" y="225838"/>
                    <a:pt x="249269" y="200692"/>
                    <a:pt x="250126" y="175165"/>
                  </a:cubicBezTo>
                  <a:lnTo>
                    <a:pt x="309086" y="175165"/>
                  </a:lnTo>
                  <a:cubicBezTo>
                    <a:pt x="307562" y="210788"/>
                    <a:pt x="293942" y="243364"/>
                    <a:pt x="272129" y="268891"/>
                  </a:cubicBezTo>
                  <a:close/>
                </a:path>
              </a:pathLst>
            </a:custGeom>
            <a:grpFill/>
            <a:ln w="9525" cap="flat">
              <a:noFill/>
              <a:prstDash val="solid"/>
              <a:miter/>
            </a:ln>
          </p:spPr>
          <p:txBody>
            <a:bodyPr rtlCol="0" anchor="ctr"/>
            <a:lstStyle/>
            <a:p>
              <a:endParaRPr lang="en-US" dirty="0"/>
            </a:p>
          </p:txBody>
        </p:sp>
        <p:sp>
          <p:nvSpPr>
            <p:cNvPr id="1501" name="Freeform: Shape 1500">
              <a:extLst>
                <a:ext uri="{FF2B5EF4-FFF2-40B4-BE49-F238E27FC236}">
                  <a16:creationId xmlns:a16="http://schemas.microsoft.com/office/drawing/2014/main" id="{4930612C-52F4-E82A-2DD9-66B70C8AE1A8}"/>
                </a:ext>
              </a:extLst>
            </p:cNvPr>
            <p:cNvSpPr/>
            <p:nvPr/>
          </p:nvSpPr>
          <p:spPr>
            <a:xfrm>
              <a:off x="3474770" y="5836476"/>
              <a:ext cx="9525" cy="95"/>
            </a:xfrm>
            <a:custGeom>
              <a:avLst/>
              <a:gdLst>
                <a:gd name="connsiteX0" fmla="*/ 0 w 9525"/>
                <a:gd name="connsiteY0" fmla="*/ 95 h 95"/>
                <a:gd name="connsiteX1" fmla="*/ 0 w 9525"/>
                <a:gd name="connsiteY1" fmla="*/ 0 h 95"/>
                <a:gd name="connsiteX2" fmla="*/ 0 w 9525"/>
                <a:gd name="connsiteY2" fmla="*/ 0 h 95"/>
                <a:gd name="connsiteX3" fmla="*/ 0 w 9525"/>
                <a:gd name="connsiteY3" fmla="*/ 95 h 95"/>
              </a:gdLst>
              <a:ahLst/>
              <a:cxnLst>
                <a:cxn ang="0">
                  <a:pos x="connsiteX0" y="connsiteY0"/>
                </a:cxn>
                <a:cxn ang="0">
                  <a:pos x="connsiteX1" y="connsiteY1"/>
                </a:cxn>
                <a:cxn ang="0">
                  <a:pos x="connsiteX2" y="connsiteY2"/>
                </a:cxn>
                <a:cxn ang="0">
                  <a:pos x="connsiteX3" y="connsiteY3"/>
                </a:cxn>
              </a:cxnLst>
              <a:rect l="l" t="t" r="r" b="b"/>
              <a:pathLst>
                <a:path w="9525" h="95">
                  <a:moveTo>
                    <a:pt x="0" y="95"/>
                  </a:moveTo>
                  <a:lnTo>
                    <a:pt x="0" y="0"/>
                  </a:lnTo>
                  <a:lnTo>
                    <a:pt x="0" y="0"/>
                  </a:lnTo>
                  <a:lnTo>
                    <a:pt x="0" y="95"/>
                  </a:lnTo>
                  <a:close/>
                </a:path>
              </a:pathLst>
            </a:custGeom>
            <a:grpFill/>
            <a:ln w="9525" cap="flat">
              <a:noFill/>
              <a:prstDash val="solid"/>
              <a:miter/>
            </a:ln>
          </p:spPr>
          <p:txBody>
            <a:bodyPr rtlCol="0" anchor="ctr"/>
            <a:lstStyle/>
            <a:p>
              <a:endParaRPr lang="en-US" dirty="0"/>
            </a:p>
          </p:txBody>
        </p:sp>
        <p:sp>
          <p:nvSpPr>
            <p:cNvPr id="1502" name="Freeform: Shape 1501">
              <a:extLst>
                <a:ext uri="{FF2B5EF4-FFF2-40B4-BE49-F238E27FC236}">
                  <a16:creationId xmlns:a16="http://schemas.microsoft.com/office/drawing/2014/main" id="{F2089F9D-43C6-EFD9-6339-CE3200A11DBD}"/>
                </a:ext>
              </a:extLst>
            </p:cNvPr>
            <p:cNvSpPr/>
            <p:nvPr/>
          </p:nvSpPr>
          <p:spPr>
            <a:xfrm>
              <a:off x="3396579" y="5849494"/>
              <a:ext cx="132969" cy="119157"/>
            </a:xfrm>
            <a:custGeom>
              <a:avLst/>
              <a:gdLst>
                <a:gd name="connsiteX0" fmla="*/ 60293 w 132969"/>
                <a:gd name="connsiteY0" fmla="*/ 9049 h 119157"/>
                <a:gd name="connsiteX1" fmla="*/ 60293 w 132969"/>
                <a:gd name="connsiteY1" fmla="*/ 9049 h 119157"/>
                <a:gd name="connsiteX2" fmla="*/ 36386 w 132969"/>
                <a:gd name="connsiteY2" fmla="*/ 95 h 119157"/>
                <a:gd name="connsiteX3" fmla="*/ 0 w 132969"/>
                <a:gd name="connsiteY3" fmla="*/ 36576 h 119157"/>
                <a:gd name="connsiteX4" fmla="*/ 5144 w 132969"/>
                <a:gd name="connsiteY4" fmla="*/ 55340 h 119157"/>
                <a:gd name="connsiteX5" fmla="*/ 5429 w 132969"/>
                <a:gd name="connsiteY5" fmla="*/ 55816 h 119157"/>
                <a:gd name="connsiteX6" fmla="*/ 5620 w 132969"/>
                <a:gd name="connsiteY6" fmla="*/ 56007 h 119157"/>
                <a:gd name="connsiteX7" fmla="*/ 64675 w 132969"/>
                <a:gd name="connsiteY7" fmla="*/ 117348 h 119157"/>
                <a:gd name="connsiteX8" fmla="*/ 66485 w 132969"/>
                <a:gd name="connsiteY8" fmla="*/ 119158 h 119157"/>
                <a:gd name="connsiteX9" fmla="*/ 68294 w 132969"/>
                <a:gd name="connsiteY9" fmla="*/ 117348 h 119157"/>
                <a:gd name="connsiteX10" fmla="*/ 127349 w 132969"/>
                <a:gd name="connsiteY10" fmla="*/ 56007 h 119157"/>
                <a:gd name="connsiteX11" fmla="*/ 127826 w 132969"/>
                <a:gd name="connsiteY11" fmla="*/ 55245 h 119157"/>
                <a:gd name="connsiteX12" fmla="*/ 132969 w 132969"/>
                <a:gd name="connsiteY12" fmla="*/ 36481 h 119157"/>
                <a:gd name="connsiteX13" fmla="*/ 96584 w 132969"/>
                <a:gd name="connsiteY13" fmla="*/ 0 h 119157"/>
                <a:gd name="connsiteX14" fmla="*/ 76105 w 132969"/>
                <a:gd name="connsiteY14" fmla="*/ 6382 h 119157"/>
                <a:gd name="connsiteX15" fmla="*/ 76105 w 132969"/>
                <a:gd name="connsiteY15" fmla="*/ 6382 h 119157"/>
                <a:gd name="connsiteX16" fmla="*/ 66485 w 132969"/>
                <a:gd name="connsiteY16" fmla="*/ 14478 h 119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2969" h="119157">
                  <a:moveTo>
                    <a:pt x="60293" y="9049"/>
                  </a:moveTo>
                  <a:lnTo>
                    <a:pt x="60293" y="9049"/>
                  </a:lnTo>
                  <a:cubicBezTo>
                    <a:pt x="53626" y="3334"/>
                    <a:pt x="45244" y="95"/>
                    <a:pt x="36386" y="95"/>
                  </a:cubicBezTo>
                  <a:cubicBezTo>
                    <a:pt x="16288" y="95"/>
                    <a:pt x="0" y="16478"/>
                    <a:pt x="0" y="36576"/>
                  </a:cubicBezTo>
                  <a:cubicBezTo>
                    <a:pt x="0" y="43148"/>
                    <a:pt x="1810" y="49625"/>
                    <a:pt x="5144" y="55340"/>
                  </a:cubicBezTo>
                  <a:lnTo>
                    <a:pt x="5429" y="55816"/>
                  </a:lnTo>
                  <a:lnTo>
                    <a:pt x="5620" y="56007"/>
                  </a:lnTo>
                  <a:cubicBezTo>
                    <a:pt x="9335" y="60769"/>
                    <a:pt x="38005" y="90202"/>
                    <a:pt x="64675" y="117348"/>
                  </a:cubicBezTo>
                  <a:lnTo>
                    <a:pt x="66485" y="119158"/>
                  </a:lnTo>
                  <a:lnTo>
                    <a:pt x="68294" y="117348"/>
                  </a:lnTo>
                  <a:cubicBezTo>
                    <a:pt x="94964" y="90297"/>
                    <a:pt x="123539" y="60769"/>
                    <a:pt x="127349" y="56007"/>
                  </a:cubicBezTo>
                  <a:lnTo>
                    <a:pt x="127826" y="55245"/>
                  </a:lnTo>
                  <a:cubicBezTo>
                    <a:pt x="131254" y="49625"/>
                    <a:pt x="132969" y="43148"/>
                    <a:pt x="132969" y="36481"/>
                  </a:cubicBezTo>
                  <a:cubicBezTo>
                    <a:pt x="132969" y="16383"/>
                    <a:pt x="116586" y="0"/>
                    <a:pt x="96584" y="0"/>
                  </a:cubicBezTo>
                  <a:cubicBezTo>
                    <a:pt x="89249" y="0"/>
                    <a:pt x="82106" y="2191"/>
                    <a:pt x="76105" y="6382"/>
                  </a:cubicBezTo>
                  <a:lnTo>
                    <a:pt x="76105" y="6382"/>
                  </a:lnTo>
                  <a:lnTo>
                    <a:pt x="66485" y="14478"/>
                  </a:lnTo>
                </a:path>
              </a:pathLst>
            </a:custGeom>
            <a:grpFill/>
            <a:ln w="9525" cap="flat">
              <a:noFill/>
              <a:prstDash val="solid"/>
              <a:miter/>
            </a:ln>
          </p:spPr>
          <p:txBody>
            <a:bodyPr rtlCol="0" anchor="ctr"/>
            <a:lstStyle/>
            <a:p>
              <a:endParaRPr lang="en-US" dirty="0"/>
            </a:p>
          </p:txBody>
        </p:sp>
      </p:grpSp>
      <p:grpSp>
        <p:nvGrpSpPr>
          <p:cNvPr id="1519" name="Group 1518">
            <a:extLst>
              <a:ext uri="{FF2B5EF4-FFF2-40B4-BE49-F238E27FC236}">
                <a16:creationId xmlns:a16="http://schemas.microsoft.com/office/drawing/2014/main" id="{3D44A2F8-EAFD-6500-1B27-7A25220C1A83}"/>
              </a:ext>
            </a:extLst>
          </p:cNvPr>
          <p:cNvGrpSpPr/>
          <p:nvPr/>
        </p:nvGrpSpPr>
        <p:grpSpPr>
          <a:xfrm>
            <a:off x="9839801" y="4367835"/>
            <a:ext cx="781050" cy="544285"/>
            <a:chOff x="9839801" y="4367835"/>
            <a:chExt cx="781050" cy="544285"/>
          </a:xfrm>
        </p:grpSpPr>
        <p:grpSp>
          <p:nvGrpSpPr>
            <p:cNvPr id="92" name="Graphic 112">
              <a:extLst>
                <a:ext uri="{FF2B5EF4-FFF2-40B4-BE49-F238E27FC236}">
                  <a16:creationId xmlns:a16="http://schemas.microsoft.com/office/drawing/2014/main" id="{B2A66912-56E8-D0EA-EE66-51411B2A383C}"/>
                </a:ext>
              </a:extLst>
            </p:cNvPr>
            <p:cNvGrpSpPr/>
            <p:nvPr/>
          </p:nvGrpSpPr>
          <p:grpSpPr>
            <a:xfrm>
              <a:off x="9859803" y="4733595"/>
              <a:ext cx="262890" cy="77152"/>
              <a:chOff x="9859803" y="4733595"/>
              <a:chExt cx="262890" cy="77152"/>
            </a:xfrm>
            <a:solidFill>
              <a:srgbClr val="3D4647"/>
            </a:solidFill>
          </p:grpSpPr>
          <p:sp>
            <p:nvSpPr>
              <p:cNvPr id="1076" name="Freeform: Shape 1075">
                <a:extLst>
                  <a:ext uri="{FF2B5EF4-FFF2-40B4-BE49-F238E27FC236}">
                    <a16:creationId xmlns:a16="http://schemas.microsoft.com/office/drawing/2014/main" id="{E3020409-0916-F274-7F7C-B054A01E49BE}"/>
                  </a:ext>
                </a:extLst>
              </p:cNvPr>
              <p:cNvSpPr/>
              <p:nvPr/>
            </p:nvSpPr>
            <p:spPr>
              <a:xfrm>
                <a:off x="9859803" y="4733595"/>
                <a:ext cx="262890" cy="36194"/>
              </a:xfrm>
              <a:custGeom>
                <a:avLst/>
                <a:gdLst>
                  <a:gd name="connsiteX0" fmla="*/ 0 w 262890"/>
                  <a:gd name="connsiteY0" fmla="*/ 0 h 36194"/>
                  <a:gd name="connsiteX1" fmla="*/ 262890 w 262890"/>
                  <a:gd name="connsiteY1" fmla="*/ 0 h 36194"/>
                  <a:gd name="connsiteX2" fmla="*/ 262890 w 262890"/>
                  <a:gd name="connsiteY2" fmla="*/ 36195 h 36194"/>
                  <a:gd name="connsiteX3" fmla="*/ 0 w 262890"/>
                  <a:gd name="connsiteY3" fmla="*/ 36195 h 36194"/>
                </a:gdLst>
                <a:ahLst/>
                <a:cxnLst>
                  <a:cxn ang="0">
                    <a:pos x="connsiteX0" y="connsiteY0"/>
                  </a:cxn>
                  <a:cxn ang="0">
                    <a:pos x="connsiteX1" y="connsiteY1"/>
                  </a:cxn>
                  <a:cxn ang="0">
                    <a:pos x="connsiteX2" y="connsiteY2"/>
                  </a:cxn>
                  <a:cxn ang="0">
                    <a:pos x="connsiteX3" y="connsiteY3"/>
                  </a:cxn>
                </a:cxnLst>
                <a:rect l="l" t="t" r="r" b="b"/>
                <a:pathLst>
                  <a:path w="262890" h="36194">
                    <a:moveTo>
                      <a:pt x="0" y="0"/>
                    </a:moveTo>
                    <a:lnTo>
                      <a:pt x="262890" y="0"/>
                    </a:lnTo>
                    <a:lnTo>
                      <a:pt x="262890" y="36195"/>
                    </a:lnTo>
                    <a:lnTo>
                      <a:pt x="0" y="36195"/>
                    </a:lnTo>
                    <a:close/>
                  </a:path>
                </a:pathLst>
              </a:custGeom>
              <a:solidFill>
                <a:srgbClr val="3D4647"/>
              </a:solidFill>
              <a:ln w="9525" cap="flat">
                <a:noFill/>
                <a:prstDash val="solid"/>
                <a:miter/>
              </a:ln>
            </p:spPr>
            <p:txBody>
              <a:bodyPr rtlCol="0" anchor="ctr"/>
              <a:lstStyle/>
              <a:p>
                <a:endParaRPr lang="en-US" dirty="0"/>
              </a:p>
            </p:txBody>
          </p:sp>
          <p:sp>
            <p:nvSpPr>
              <p:cNvPr id="580" name="Freeform: Shape 579">
                <a:extLst>
                  <a:ext uri="{FF2B5EF4-FFF2-40B4-BE49-F238E27FC236}">
                    <a16:creationId xmlns:a16="http://schemas.microsoft.com/office/drawing/2014/main" id="{DA476D4A-D76C-5D30-A8D9-804469C67B40}"/>
                  </a:ext>
                </a:extLst>
              </p:cNvPr>
              <p:cNvSpPr/>
              <p:nvPr/>
            </p:nvSpPr>
            <p:spPr>
              <a:xfrm>
                <a:off x="9859803" y="4769790"/>
                <a:ext cx="262890" cy="40957"/>
              </a:xfrm>
              <a:custGeom>
                <a:avLst/>
                <a:gdLst>
                  <a:gd name="connsiteX0" fmla="*/ 139065 w 262890"/>
                  <a:gd name="connsiteY0" fmla="*/ 40957 h 40957"/>
                  <a:gd name="connsiteX1" fmla="*/ 123825 w 262890"/>
                  <a:gd name="connsiteY1" fmla="*/ 40957 h 40957"/>
                  <a:gd name="connsiteX2" fmla="*/ 0 w 262890"/>
                  <a:gd name="connsiteY2" fmla="*/ 0 h 40957"/>
                  <a:gd name="connsiteX3" fmla="*/ 262890 w 262890"/>
                  <a:gd name="connsiteY3" fmla="*/ 0 h 40957"/>
                </a:gdLst>
                <a:ahLst/>
                <a:cxnLst>
                  <a:cxn ang="0">
                    <a:pos x="connsiteX0" y="connsiteY0"/>
                  </a:cxn>
                  <a:cxn ang="0">
                    <a:pos x="connsiteX1" y="connsiteY1"/>
                  </a:cxn>
                  <a:cxn ang="0">
                    <a:pos x="connsiteX2" y="connsiteY2"/>
                  </a:cxn>
                  <a:cxn ang="0">
                    <a:pos x="connsiteX3" y="connsiteY3"/>
                  </a:cxn>
                </a:cxnLst>
                <a:rect l="l" t="t" r="r" b="b"/>
                <a:pathLst>
                  <a:path w="262890" h="40957">
                    <a:moveTo>
                      <a:pt x="139065" y="40957"/>
                    </a:moveTo>
                    <a:lnTo>
                      <a:pt x="123825" y="40957"/>
                    </a:lnTo>
                    <a:lnTo>
                      <a:pt x="0" y="0"/>
                    </a:lnTo>
                    <a:lnTo>
                      <a:pt x="262890" y="0"/>
                    </a:lnTo>
                    <a:close/>
                  </a:path>
                </a:pathLst>
              </a:custGeom>
              <a:solidFill>
                <a:srgbClr val="3D4647"/>
              </a:solidFill>
              <a:ln w="9525" cap="flat">
                <a:noFill/>
                <a:prstDash val="solid"/>
                <a:miter/>
              </a:ln>
            </p:spPr>
            <p:txBody>
              <a:bodyPr rtlCol="0" anchor="ctr"/>
              <a:lstStyle/>
              <a:p>
                <a:endParaRPr lang="en-US" dirty="0"/>
              </a:p>
            </p:txBody>
          </p:sp>
        </p:grpSp>
        <p:grpSp>
          <p:nvGrpSpPr>
            <p:cNvPr id="581" name="Graphic 112">
              <a:extLst>
                <a:ext uri="{FF2B5EF4-FFF2-40B4-BE49-F238E27FC236}">
                  <a16:creationId xmlns:a16="http://schemas.microsoft.com/office/drawing/2014/main" id="{07CFA1C9-E324-D577-6DA5-26BFA6CD9C37}"/>
                </a:ext>
              </a:extLst>
            </p:cNvPr>
            <p:cNvGrpSpPr/>
            <p:nvPr/>
          </p:nvGrpSpPr>
          <p:grpSpPr>
            <a:xfrm>
              <a:off x="9839801" y="4367835"/>
              <a:ext cx="781050" cy="304800"/>
              <a:chOff x="9839801" y="4367835"/>
              <a:chExt cx="781050" cy="304800"/>
            </a:xfrm>
            <a:solidFill>
              <a:srgbClr val="40AA1D"/>
            </a:solidFill>
          </p:grpSpPr>
          <p:sp>
            <p:nvSpPr>
              <p:cNvPr id="582" name="Freeform: Shape 581">
                <a:extLst>
                  <a:ext uri="{FF2B5EF4-FFF2-40B4-BE49-F238E27FC236}">
                    <a16:creationId xmlns:a16="http://schemas.microsoft.com/office/drawing/2014/main" id="{C7FD0E7E-15B9-E781-A684-AE24C55E73A4}"/>
                  </a:ext>
                </a:extLst>
              </p:cNvPr>
              <p:cNvSpPr/>
              <p:nvPr/>
            </p:nvSpPr>
            <p:spPr>
              <a:xfrm>
                <a:off x="9839801" y="4367835"/>
                <a:ext cx="303847" cy="304800"/>
              </a:xfrm>
              <a:custGeom>
                <a:avLst/>
                <a:gdLst>
                  <a:gd name="connsiteX0" fmla="*/ 303848 w 303847"/>
                  <a:gd name="connsiteY0" fmla="*/ 201930 h 304800"/>
                  <a:gd name="connsiteX1" fmla="*/ 151448 w 303847"/>
                  <a:gd name="connsiteY1" fmla="*/ 0 h 304800"/>
                  <a:gd name="connsiteX2" fmla="*/ 0 w 303847"/>
                  <a:gd name="connsiteY2" fmla="*/ 201930 h 304800"/>
                  <a:gd name="connsiteX3" fmla="*/ 38100 w 303847"/>
                  <a:gd name="connsiteY3" fmla="*/ 201930 h 304800"/>
                  <a:gd name="connsiteX4" fmla="*/ 38100 w 303847"/>
                  <a:gd name="connsiteY4" fmla="*/ 304800 h 304800"/>
                  <a:gd name="connsiteX5" fmla="*/ 109538 w 303847"/>
                  <a:gd name="connsiteY5" fmla="*/ 304800 h 304800"/>
                  <a:gd name="connsiteX6" fmla="*/ 109538 w 303847"/>
                  <a:gd name="connsiteY6" fmla="*/ 213360 h 304800"/>
                  <a:gd name="connsiteX7" fmla="*/ 190500 w 303847"/>
                  <a:gd name="connsiteY7" fmla="*/ 213360 h 304800"/>
                  <a:gd name="connsiteX8" fmla="*/ 190500 w 303847"/>
                  <a:gd name="connsiteY8" fmla="*/ 251460 h 304800"/>
                  <a:gd name="connsiteX9" fmla="*/ 190500 w 303847"/>
                  <a:gd name="connsiteY9" fmla="*/ 304800 h 304800"/>
                  <a:gd name="connsiteX10" fmla="*/ 264795 w 303847"/>
                  <a:gd name="connsiteY10" fmla="*/ 304800 h 304800"/>
                  <a:gd name="connsiteX11" fmla="*/ 264795 w 303847"/>
                  <a:gd name="connsiteY11" fmla="*/ 20193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3847" h="304800">
                    <a:moveTo>
                      <a:pt x="303848" y="201930"/>
                    </a:moveTo>
                    <a:lnTo>
                      <a:pt x="151448" y="0"/>
                    </a:lnTo>
                    <a:lnTo>
                      <a:pt x="0" y="201930"/>
                    </a:lnTo>
                    <a:lnTo>
                      <a:pt x="38100" y="201930"/>
                    </a:lnTo>
                    <a:lnTo>
                      <a:pt x="38100" y="304800"/>
                    </a:lnTo>
                    <a:lnTo>
                      <a:pt x="109538" y="304800"/>
                    </a:lnTo>
                    <a:lnTo>
                      <a:pt x="109538" y="213360"/>
                    </a:lnTo>
                    <a:lnTo>
                      <a:pt x="190500" y="213360"/>
                    </a:lnTo>
                    <a:lnTo>
                      <a:pt x="190500" y="251460"/>
                    </a:lnTo>
                    <a:lnTo>
                      <a:pt x="190500" y="304800"/>
                    </a:lnTo>
                    <a:lnTo>
                      <a:pt x="264795" y="304800"/>
                    </a:lnTo>
                    <a:lnTo>
                      <a:pt x="264795" y="201930"/>
                    </a:lnTo>
                    <a:close/>
                  </a:path>
                </a:pathLst>
              </a:custGeom>
              <a:solidFill>
                <a:srgbClr val="40AA1D"/>
              </a:solidFill>
              <a:ln w="9525" cap="flat">
                <a:noFill/>
                <a:prstDash val="solid"/>
                <a:miter/>
              </a:ln>
            </p:spPr>
            <p:txBody>
              <a:bodyPr rtlCol="0" anchor="ctr"/>
              <a:lstStyle/>
              <a:p>
                <a:endParaRPr lang="en-US" dirty="0"/>
              </a:p>
            </p:txBody>
          </p:sp>
          <p:grpSp>
            <p:nvGrpSpPr>
              <p:cNvPr id="583" name="Graphic 112">
                <a:extLst>
                  <a:ext uri="{FF2B5EF4-FFF2-40B4-BE49-F238E27FC236}">
                    <a16:creationId xmlns:a16="http://schemas.microsoft.com/office/drawing/2014/main" id="{32618336-21A6-8214-D112-A637CF40F08A}"/>
                  </a:ext>
                </a:extLst>
              </p:cNvPr>
              <p:cNvGrpSpPr/>
              <p:nvPr/>
            </p:nvGrpSpPr>
            <p:grpSpPr>
              <a:xfrm>
                <a:off x="10316051" y="4444035"/>
                <a:ext cx="304800" cy="228600"/>
                <a:chOff x="10316051" y="4444035"/>
                <a:chExt cx="304800" cy="228600"/>
              </a:xfrm>
              <a:solidFill>
                <a:srgbClr val="40AA1D"/>
              </a:solidFill>
            </p:grpSpPr>
            <p:sp>
              <p:nvSpPr>
                <p:cNvPr id="584" name="Freeform: Shape 583">
                  <a:extLst>
                    <a:ext uri="{FF2B5EF4-FFF2-40B4-BE49-F238E27FC236}">
                      <a16:creationId xmlns:a16="http://schemas.microsoft.com/office/drawing/2014/main" id="{F8E10083-4544-0551-10EF-CE4174A2ED37}"/>
                    </a:ext>
                  </a:extLst>
                </p:cNvPr>
                <p:cNvSpPr/>
                <p:nvPr/>
              </p:nvSpPr>
              <p:spPr>
                <a:xfrm>
                  <a:off x="10335101" y="4444035"/>
                  <a:ext cx="266700" cy="171450"/>
                </a:xfrm>
                <a:custGeom>
                  <a:avLst/>
                  <a:gdLst>
                    <a:gd name="connsiteX0" fmla="*/ 0 w 266700"/>
                    <a:gd name="connsiteY0" fmla="*/ 0 h 171450"/>
                    <a:gd name="connsiteX1" fmla="*/ 266700 w 266700"/>
                    <a:gd name="connsiteY1" fmla="*/ 0 h 171450"/>
                    <a:gd name="connsiteX2" fmla="*/ 266700 w 266700"/>
                    <a:gd name="connsiteY2" fmla="*/ 171450 h 171450"/>
                    <a:gd name="connsiteX3" fmla="*/ 0 w 26670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266700" h="171450">
                      <a:moveTo>
                        <a:pt x="0" y="0"/>
                      </a:moveTo>
                      <a:lnTo>
                        <a:pt x="266700" y="0"/>
                      </a:lnTo>
                      <a:lnTo>
                        <a:pt x="266700" y="171450"/>
                      </a:lnTo>
                      <a:lnTo>
                        <a:pt x="0" y="171450"/>
                      </a:lnTo>
                      <a:close/>
                    </a:path>
                  </a:pathLst>
                </a:custGeom>
                <a:solidFill>
                  <a:srgbClr val="40AA1D"/>
                </a:solidFill>
                <a:ln w="9525" cap="flat">
                  <a:noFill/>
                  <a:prstDash val="solid"/>
                  <a:miter/>
                </a:ln>
              </p:spPr>
              <p:txBody>
                <a:bodyPr rtlCol="0" anchor="ctr"/>
                <a:lstStyle/>
                <a:p>
                  <a:endParaRPr lang="en-US" dirty="0"/>
                </a:p>
              </p:txBody>
            </p:sp>
            <p:sp>
              <p:nvSpPr>
                <p:cNvPr id="585" name="Freeform: Shape 584">
                  <a:extLst>
                    <a:ext uri="{FF2B5EF4-FFF2-40B4-BE49-F238E27FC236}">
                      <a16:creationId xmlns:a16="http://schemas.microsoft.com/office/drawing/2014/main" id="{D9C6BF45-4609-C4BA-443D-B86495345D75}"/>
                    </a:ext>
                  </a:extLst>
                </p:cNvPr>
                <p:cNvSpPr/>
                <p:nvPr/>
              </p:nvSpPr>
              <p:spPr>
                <a:xfrm>
                  <a:off x="10316051" y="4634535"/>
                  <a:ext cx="304800" cy="38100"/>
                </a:xfrm>
                <a:custGeom>
                  <a:avLst/>
                  <a:gdLst>
                    <a:gd name="connsiteX0" fmla="*/ 190500 w 304800"/>
                    <a:gd name="connsiteY0" fmla="*/ 0 h 38100"/>
                    <a:gd name="connsiteX1" fmla="*/ 190500 w 304800"/>
                    <a:gd name="connsiteY1" fmla="*/ 19050 h 38100"/>
                    <a:gd name="connsiteX2" fmla="*/ 114300 w 304800"/>
                    <a:gd name="connsiteY2" fmla="*/ 19050 h 38100"/>
                    <a:gd name="connsiteX3" fmla="*/ 114300 w 304800"/>
                    <a:gd name="connsiteY3" fmla="*/ 0 h 38100"/>
                    <a:gd name="connsiteX4" fmla="*/ 0 w 304800"/>
                    <a:gd name="connsiteY4" fmla="*/ 0 h 38100"/>
                    <a:gd name="connsiteX5" fmla="*/ 0 w 304800"/>
                    <a:gd name="connsiteY5" fmla="*/ 38100 h 38100"/>
                    <a:gd name="connsiteX6" fmla="*/ 304800 w 304800"/>
                    <a:gd name="connsiteY6" fmla="*/ 38100 h 38100"/>
                    <a:gd name="connsiteX7" fmla="*/ 304800 w 304800"/>
                    <a:gd name="connsiteY7"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38100">
                      <a:moveTo>
                        <a:pt x="190500" y="0"/>
                      </a:moveTo>
                      <a:lnTo>
                        <a:pt x="190500" y="19050"/>
                      </a:lnTo>
                      <a:lnTo>
                        <a:pt x="114300" y="19050"/>
                      </a:lnTo>
                      <a:lnTo>
                        <a:pt x="114300" y="0"/>
                      </a:lnTo>
                      <a:lnTo>
                        <a:pt x="0" y="0"/>
                      </a:lnTo>
                      <a:lnTo>
                        <a:pt x="0" y="38100"/>
                      </a:lnTo>
                      <a:lnTo>
                        <a:pt x="304800" y="38100"/>
                      </a:lnTo>
                      <a:lnTo>
                        <a:pt x="304800" y="0"/>
                      </a:lnTo>
                      <a:close/>
                    </a:path>
                  </a:pathLst>
                </a:custGeom>
                <a:solidFill>
                  <a:srgbClr val="40AA1D"/>
                </a:solidFill>
                <a:ln w="9525" cap="flat">
                  <a:noFill/>
                  <a:prstDash val="solid"/>
                  <a:miter/>
                </a:ln>
              </p:spPr>
              <p:txBody>
                <a:bodyPr rtlCol="0" anchor="ctr"/>
                <a:lstStyle/>
                <a:p>
                  <a:endParaRPr lang="en-US" dirty="0"/>
                </a:p>
              </p:txBody>
            </p:sp>
          </p:grpSp>
        </p:grpSp>
        <p:grpSp>
          <p:nvGrpSpPr>
            <p:cNvPr id="1123" name="Graphic 112">
              <a:extLst>
                <a:ext uri="{FF2B5EF4-FFF2-40B4-BE49-F238E27FC236}">
                  <a16:creationId xmlns:a16="http://schemas.microsoft.com/office/drawing/2014/main" id="{90949791-4446-20E9-3C7D-82E1903C73F9}"/>
                </a:ext>
              </a:extLst>
            </p:cNvPr>
            <p:cNvGrpSpPr/>
            <p:nvPr/>
          </p:nvGrpSpPr>
          <p:grpSpPr>
            <a:xfrm>
              <a:off x="10337006" y="4733595"/>
              <a:ext cx="262890" cy="77152"/>
              <a:chOff x="10337006" y="4733595"/>
              <a:chExt cx="262890" cy="77152"/>
            </a:xfrm>
            <a:solidFill>
              <a:srgbClr val="3D4647"/>
            </a:solidFill>
          </p:grpSpPr>
          <p:sp>
            <p:nvSpPr>
              <p:cNvPr id="1124" name="Freeform: Shape 1123">
                <a:extLst>
                  <a:ext uri="{FF2B5EF4-FFF2-40B4-BE49-F238E27FC236}">
                    <a16:creationId xmlns:a16="http://schemas.microsoft.com/office/drawing/2014/main" id="{C6094B4C-6B61-173C-6FFE-A08EAFE0161B}"/>
                  </a:ext>
                </a:extLst>
              </p:cNvPr>
              <p:cNvSpPr/>
              <p:nvPr/>
            </p:nvSpPr>
            <p:spPr>
              <a:xfrm>
                <a:off x="10337006" y="4733595"/>
                <a:ext cx="262890" cy="36194"/>
              </a:xfrm>
              <a:custGeom>
                <a:avLst/>
                <a:gdLst>
                  <a:gd name="connsiteX0" fmla="*/ 0 w 262890"/>
                  <a:gd name="connsiteY0" fmla="*/ 0 h 36194"/>
                  <a:gd name="connsiteX1" fmla="*/ 262890 w 262890"/>
                  <a:gd name="connsiteY1" fmla="*/ 0 h 36194"/>
                  <a:gd name="connsiteX2" fmla="*/ 262890 w 262890"/>
                  <a:gd name="connsiteY2" fmla="*/ 36195 h 36194"/>
                  <a:gd name="connsiteX3" fmla="*/ 0 w 262890"/>
                  <a:gd name="connsiteY3" fmla="*/ 36195 h 36194"/>
                </a:gdLst>
                <a:ahLst/>
                <a:cxnLst>
                  <a:cxn ang="0">
                    <a:pos x="connsiteX0" y="connsiteY0"/>
                  </a:cxn>
                  <a:cxn ang="0">
                    <a:pos x="connsiteX1" y="connsiteY1"/>
                  </a:cxn>
                  <a:cxn ang="0">
                    <a:pos x="connsiteX2" y="connsiteY2"/>
                  </a:cxn>
                  <a:cxn ang="0">
                    <a:pos x="connsiteX3" y="connsiteY3"/>
                  </a:cxn>
                </a:cxnLst>
                <a:rect l="l" t="t" r="r" b="b"/>
                <a:pathLst>
                  <a:path w="262890" h="36194">
                    <a:moveTo>
                      <a:pt x="0" y="0"/>
                    </a:moveTo>
                    <a:lnTo>
                      <a:pt x="262890" y="0"/>
                    </a:lnTo>
                    <a:lnTo>
                      <a:pt x="262890" y="36195"/>
                    </a:lnTo>
                    <a:lnTo>
                      <a:pt x="0" y="36195"/>
                    </a:lnTo>
                    <a:close/>
                  </a:path>
                </a:pathLst>
              </a:custGeom>
              <a:solidFill>
                <a:srgbClr val="3D4647"/>
              </a:solidFill>
              <a:ln w="9525" cap="flat">
                <a:noFill/>
                <a:prstDash val="solid"/>
                <a:miter/>
              </a:ln>
            </p:spPr>
            <p:txBody>
              <a:bodyPr rtlCol="0" anchor="ctr"/>
              <a:lstStyle/>
              <a:p>
                <a:endParaRPr lang="en-US" dirty="0"/>
              </a:p>
            </p:txBody>
          </p:sp>
          <p:sp>
            <p:nvSpPr>
              <p:cNvPr id="1126" name="Freeform: Shape 1125">
                <a:extLst>
                  <a:ext uri="{FF2B5EF4-FFF2-40B4-BE49-F238E27FC236}">
                    <a16:creationId xmlns:a16="http://schemas.microsoft.com/office/drawing/2014/main" id="{E6D94C57-8624-5687-4385-BF0C621787A5}"/>
                  </a:ext>
                </a:extLst>
              </p:cNvPr>
              <p:cNvSpPr/>
              <p:nvPr/>
            </p:nvSpPr>
            <p:spPr>
              <a:xfrm>
                <a:off x="10337006" y="4769790"/>
                <a:ext cx="262890" cy="40957"/>
              </a:xfrm>
              <a:custGeom>
                <a:avLst/>
                <a:gdLst>
                  <a:gd name="connsiteX0" fmla="*/ 139065 w 262890"/>
                  <a:gd name="connsiteY0" fmla="*/ 40957 h 40957"/>
                  <a:gd name="connsiteX1" fmla="*/ 123825 w 262890"/>
                  <a:gd name="connsiteY1" fmla="*/ 40957 h 40957"/>
                  <a:gd name="connsiteX2" fmla="*/ 0 w 262890"/>
                  <a:gd name="connsiteY2" fmla="*/ 0 h 40957"/>
                  <a:gd name="connsiteX3" fmla="*/ 262890 w 262890"/>
                  <a:gd name="connsiteY3" fmla="*/ 0 h 40957"/>
                </a:gdLst>
                <a:ahLst/>
                <a:cxnLst>
                  <a:cxn ang="0">
                    <a:pos x="connsiteX0" y="connsiteY0"/>
                  </a:cxn>
                  <a:cxn ang="0">
                    <a:pos x="connsiteX1" y="connsiteY1"/>
                  </a:cxn>
                  <a:cxn ang="0">
                    <a:pos x="connsiteX2" y="connsiteY2"/>
                  </a:cxn>
                  <a:cxn ang="0">
                    <a:pos x="connsiteX3" y="connsiteY3"/>
                  </a:cxn>
                </a:cxnLst>
                <a:rect l="l" t="t" r="r" b="b"/>
                <a:pathLst>
                  <a:path w="262890" h="40957">
                    <a:moveTo>
                      <a:pt x="139065" y="40957"/>
                    </a:moveTo>
                    <a:lnTo>
                      <a:pt x="123825" y="40957"/>
                    </a:lnTo>
                    <a:lnTo>
                      <a:pt x="0" y="0"/>
                    </a:lnTo>
                    <a:lnTo>
                      <a:pt x="262890" y="0"/>
                    </a:lnTo>
                    <a:close/>
                  </a:path>
                </a:pathLst>
              </a:custGeom>
              <a:solidFill>
                <a:srgbClr val="3D4647"/>
              </a:solidFill>
              <a:ln w="9525" cap="flat">
                <a:noFill/>
                <a:prstDash val="solid"/>
                <a:miter/>
              </a:ln>
            </p:spPr>
            <p:txBody>
              <a:bodyPr rtlCol="0" anchor="ctr"/>
              <a:lstStyle/>
              <a:p>
                <a:endParaRPr lang="en-US" dirty="0"/>
              </a:p>
            </p:txBody>
          </p:sp>
        </p:grpSp>
        <p:sp>
          <p:nvSpPr>
            <p:cNvPr id="1299" name="Rectangle 1298">
              <a:extLst>
                <a:ext uri="{FF2B5EF4-FFF2-40B4-BE49-F238E27FC236}">
                  <a16:creationId xmlns:a16="http://schemas.microsoft.com/office/drawing/2014/main" id="{3835CFD9-5B72-C6F3-D576-7EFE8223611F}"/>
                </a:ext>
              </a:extLst>
            </p:cNvPr>
            <p:cNvSpPr/>
            <p:nvPr/>
          </p:nvSpPr>
          <p:spPr>
            <a:xfrm rot="10800000">
              <a:off x="9978925" y="4765308"/>
              <a:ext cx="27432" cy="9144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300" name="Rectangle 1299">
              <a:extLst>
                <a:ext uri="{FF2B5EF4-FFF2-40B4-BE49-F238E27FC236}">
                  <a16:creationId xmlns:a16="http://schemas.microsoft.com/office/drawing/2014/main" id="{D2CA8B7D-8E11-4D34-B497-E774FA370FD7}"/>
                </a:ext>
              </a:extLst>
            </p:cNvPr>
            <p:cNvSpPr/>
            <p:nvPr/>
          </p:nvSpPr>
          <p:spPr>
            <a:xfrm rot="10800000">
              <a:off x="10450544" y="4765308"/>
              <a:ext cx="27432" cy="9144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516" name="Freeform: Shape 1515">
              <a:extLst>
                <a:ext uri="{FF2B5EF4-FFF2-40B4-BE49-F238E27FC236}">
                  <a16:creationId xmlns:a16="http://schemas.microsoft.com/office/drawing/2014/main" id="{F08F67F9-A366-F1D3-5F47-91C1D0DF39CC}"/>
                </a:ext>
              </a:extLst>
            </p:cNvPr>
            <p:cNvSpPr/>
            <p:nvPr/>
          </p:nvSpPr>
          <p:spPr>
            <a:xfrm>
              <a:off x="9901802" y="4841508"/>
              <a:ext cx="282805" cy="27432"/>
            </a:xfrm>
            <a:custGeom>
              <a:avLst/>
              <a:gdLst>
                <a:gd name="connsiteX0" fmla="*/ 0 w 282805"/>
                <a:gd name="connsiteY0" fmla="*/ 0 h 27432"/>
                <a:gd name="connsiteX1" fmla="*/ 282805 w 282805"/>
                <a:gd name="connsiteY1" fmla="*/ 0 h 27432"/>
                <a:gd name="connsiteX2" fmla="*/ 282805 w 282805"/>
                <a:gd name="connsiteY2" fmla="*/ 27432 h 27432"/>
                <a:gd name="connsiteX3" fmla="*/ 0 w 282805"/>
                <a:gd name="connsiteY3" fmla="*/ 27432 h 27432"/>
                <a:gd name="connsiteX4" fmla="*/ 0 w 282805"/>
                <a:gd name="connsiteY4" fmla="*/ 0 h 2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05" h="27432">
                  <a:moveTo>
                    <a:pt x="0" y="0"/>
                  </a:moveTo>
                  <a:lnTo>
                    <a:pt x="282805" y="0"/>
                  </a:lnTo>
                  <a:lnTo>
                    <a:pt x="282805" y="27432"/>
                  </a:lnTo>
                  <a:lnTo>
                    <a:pt x="0" y="27432"/>
                  </a:lnTo>
                  <a:lnTo>
                    <a:pt x="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515" name="Freeform: Shape 1514">
              <a:extLst>
                <a:ext uri="{FF2B5EF4-FFF2-40B4-BE49-F238E27FC236}">
                  <a16:creationId xmlns:a16="http://schemas.microsoft.com/office/drawing/2014/main" id="{2E157EFD-625D-6800-CF53-E34293543453}"/>
                </a:ext>
              </a:extLst>
            </p:cNvPr>
            <p:cNvSpPr/>
            <p:nvPr/>
          </p:nvSpPr>
          <p:spPr>
            <a:xfrm>
              <a:off x="10267663" y="4841508"/>
              <a:ext cx="292506" cy="27432"/>
            </a:xfrm>
            <a:custGeom>
              <a:avLst/>
              <a:gdLst>
                <a:gd name="connsiteX0" fmla="*/ 0 w 292506"/>
                <a:gd name="connsiteY0" fmla="*/ 0 h 27432"/>
                <a:gd name="connsiteX1" fmla="*/ 292506 w 292506"/>
                <a:gd name="connsiteY1" fmla="*/ 0 h 27432"/>
                <a:gd name="connsiteX2" fmla="*/ 292506 w 292506"/>
                <a:gd name="connsiteY2" fmla="*/ 27432 h 27432"/>
                <a:gd name="connsiteX3" fmla="*/ 0 w 292506"/>
                <a:gd name="connsiteY3" fmla="*/ 27432 h 27432"/>
                <a:gd name="connsiteX4" fmla="*/ 0 w 292506"/>
                <a:gd name="connsiteY4" fmla="*/ 0 h 2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506" h="27432">
                  <a:moveTo>
                    <a:pt x="0" y="0"/>
                  </a:moveTo>
                  <a:lnTo>
                    <a:pt x="292506" y="0"/>
                  </a:lnTo>
                  <a:lnTo>
                    <a:pt x="292506" y="27432"/>
                  </a:lnTo>
                  <a:lnTo>
                    <a:pt x="0" y="27432"/>
                  </a:lnTo>
                  <a:lnTo>
                    <a:pt x="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298" name="Freeform: Shape 1297">
              <a:extLst>
                <a:ext uri="{FF2B5EF4-FFF2-40B4-BE49-F238E27FC236}">
                  <a16:creationId xmlns:a16="http://schemas.microsoft.com/office/drawing/2014/main" id="{51DFBB78-458D-6708-A238-CA9003C99412}"/>
                </a:ext>
              </a:extLst>
            </p:cNvPr>
            <p:cNvSpPr/>
            <p:nvPr/>
          </p:nvSpPr>
          <p:spPr>
            <a:xfrm>
              <a:off x="10175081" y="4802583"/>
              <a:ext cx="110489" cy="109537"/>
            </a:xfrm>
            <a:custGeom>
              <a:avLst/>
              <a:gdLst>
                <a:gd name="connsiteX0" fmla="*/ 55245 w 110489"/>
                <a:gd name="connsiteY0" fmla="*/ 28575 h 109537"/>
                <a:gd name="connsiteX1" fmla="*/ 81915 w 110489"/>
                <a:gd name="connsiteY1" fmla="*/ 55245 h 109537"/>
                <a:gd name="connsiteX2" fmla="*/ 55245 w 110489"/>
                <a:gd name="connsiteY2" fmla="*/ 80963 h 109537"/>
                <a:gd name="connsiteX3" fmla="*/ 28575 w 110489"/>
                <a:gd name="connsiteY3" fmla="*/ 54293 h 109537"/>
                <a:gd name="connsiteX4" fmla="*/ 55245 w 110489"/>
                <a:gd name="connsiteY4" fmla="*/ 28575 h 109537"/>
                <a:gd name="connsiteX5" fmla="*/ 55245 w 110489"/>
                <a:gd name="connsiteY5" fmla="*/ 0 h 109537"/>
                <a:gd name="connsiteX6" fmla="*/ 0 w 110489"/>
                <a:gd name="connsiteY6" fmla="*/ 55245 h 109537"/>
                <a:gd name="connsiteX7" fmla="*/ 55245 w 110489"/>
                <a:gd name="connsiteY7" fmla="*/ 109538 h 109537"/>
                <a:gd name="connsiteX8" fmla="*/ 110490 w 110489"/>
                <a:gd name="connsiteY8" fmla="*/ 54293 h 109537"/>
                <a:gd name="connsiteX9" fmla="*/ 55245 w 110489"/>
                <a:gd name="connsiteY9" fmla="*/ 0 h 109537"/>
                <a:gd name="connsiteX10" fmla="*/ 55245 w 110489"/>
                <a:gd name="connsiteY10" fmla="*/ 0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489" h="109537">
                  <a:moveTo>
                    <a:pt x="55245" y="28575"/>
                  </a:moveTo>
                  <a:cubicBezTo>
                    <a:pt x="69532" y="28575"/>
                    <a:pt x="81915" y="40005"/>
                    <a:pt x="81915" y="55245"/>
                  </a:cubicBezTo>
                  <a:cubicBezTo>
                    <a:pt x="81915" y="70485"/>
                    <a:pt x="69532" y="80963"/>
                    <a:pt x="55245" y="80963"/>
                  </a:cubicBezTo>
                  <a:cubicBezTo>
                    <a:pt x="40957" y="80963"/>
                    <a:pt x="28575" y="69532"/>
                    <a:pt x="28575" y="54293"/>
                  </a:cubicBezTo>
                  <a:cubicBezTo>
                    <a:pt x="28575" y="39052"/>
                    <a:pt x="40957" y="28575"/>
                    <a:pt x="55245" y="28575"/>
                  </a:cubicBezTo>
                  <a:moveTo>
                    <a:pt x="55245" y="0"/>
                  </a:moveTo>
                  <a:cubicBezTo>
                    <a:pt x="24765" y="0"/>
                    <a:pt x="0" y="24765"/>
                    <a:pt x="0" y="55245"/>
                  </a:cubicBezTo>
                  <a:cubicBezTo>
                    <a:pt x="0" y="85725"/>
                    <a:pt x="24765" y="109538"/>
                    <a:pt x="55245" y="109538"/>
                  </a:cubicBezTo>
                  <a:cubicBezTo>
                    <a:pt x="85725" y="109538"/>
                    <a:pt x="110490" y="84773"/>
                    <a:pt x="110490" y="54293"/>
                  </a:cubicBezTo>
                  <a:cubicBezTo>
                    <a:pt x="110490" y="23813"/>
                    <a:pt x="85725" y="0"/>
                    <a:pt x="55245" y="0"/>
                  </a:cubicBezTo>
                  <a:lnTo>
                    <a:pt x="55245" y="0"/>
                  </a:lnTo>
                  <a:close/>
                </a:path>
              </a:pathLst>
            </a:custGeom>
            <a:solidFill>
              <a:schemeClr val="bg2"/>
            </a:solidFill>
            <a:ln w="9525" cap="flat">
              <a:noFill/>
              <a:prstDash val="solid"/>
              <a:miter/>
            </a:ln>
          </p:spPr>
          <p:txBody>
            <a:bodyPr rtlCol="0" anchor="ctr"/>
            <a:lstStyle/>
            <a:p>
              <a:endParaRPr lang="en-US" dirty="0"/>
            </a:p>
          </p:txBody>
        </p:sp>
      </p:grpSp>
      <p:grpSp>
        <p:nvGrpSpPr>
          <p:cNvPr id="1552" name="Group 1551">
            <a:extLst>
              <a:ext uri="{FF2B5EF4-FFF2-40B4-BE49-F238E27FC236}">
                <a16:creationId xmlns:a16="http://schemas.microsoft.com/office/drawing/2014/main" id="{B054D19A-0133-5E8C-16A0-BD6BA09DC1A6}"/>
              </a:ext>
            </a:extLst>
          </p:cNvPr>
          <p:cNvGrpSpPr/>
          <p:nvPr/>
        </p:nvGrpSpPr>
        <p:grpSpPr>
          <a:xfrm>
            <a:off x="1644774" y="5670462"/>
            <a:ext cx="698503" cy="402713"/>
            <a:chOff x="4069951" y="200390"/>
            <a:chExt cx="1463076" cy="843517"/>
          </a:xfrm>
          <a:solidFill>
            <a:schemeClr val="tx1"/>
          </a:solidFill>
        </p:grpSpPr>
        <p:sp>
          <p:nvSpPr>
            <p:cNvPr id="89" name="Freeform: Shape 88">
              <a:extLst>
                <a:ext uri="{FF2B5EF4-FFF2-40B4-BE49-F238E27FC236}">
                  <a16:creationId xmlns:a16="http://schemas.microsoft.com/office/drawing/2014/main" id="{E0D912C4-4776-C2AA-B2FF-B6AA573C0D44}"/>
                </a:ext>
              </a:extLst>
            </p:cNvPr>
            <p:cNvSpPr/>
            <p:nvPr/>
          </p:nvSpPr>
          <p:spPr>
            <a:xfrm>
              <a:off x="5367383" y="439781"/>
              <a:ext cx="3600" cy="4234"/>
            </a:xfrm>
            <a:custGeom>
              <a:avLst/>
              <a:gdLst>
                <a:gd name="connsiteX0" fmla="*/ 1429 w 1619"/>
                <a:gd name="connsiteY0" fmla="*/ 1905 h 1904"/>
                <a:gd name="connsiteX1" fmla="*/ 1619 w 1619"/>
                <a:gd name="connsiteY1" fmla="*/ 1334 h 1904"/>
                <a:gd name="connsiteX2" fmla="*/ 1238 w 1619"/>
                <a:gd name="connsiteY2" fmla="*/ 953 h 1904"/>
                <a:gd name="connsiteX3" fmla="*/ 0 w 1619"/>
                <a:gd name="connsiteY3" fmla="*/ 0 h 1904"/>
                <a:gd name="connsiteX4" fmla="*/ 1238 w 1619"/>
                <a:gd name="connsiteY4" fmla="*/ 1715 h 1904"/>
                <a:gd name="connsiteX5" fmla="*/ 1334 w 1619"/>
                <a:gd name="connsiteY5" fmla="*/ 1905 h 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9" h="1904">
                  <a:moveTo>
                    <a:pt x="1429" y="1905"/>
                  </a:moveTo>
                  <a:cubicBezTo>
                    <a:pt x="1429" y="1905"/>
                    <a:pt x="1619" y="1524"/>
                    <a:pt x="1619" y="1334"/>
                  </a:cubicBezTo>
                  <a:cubicBezTo>
                    <a:pt x="1619" y="1143"/>
                    <a:pt x="1334" y="1048"/>
                    <a:pt x="1238" y="953"/>
                  </a:cubicBezTo>
                  <a:cubicBezTo>
                    <a:pt x="762" y="667"/>
                    <a:pt x="381" y="286"/>
                    <a:pt x="0" y="0"/>
                  </a:cubicBezTo>
                  <a:cubicBezTo>
                    <a:pt x="476" y="572"/>
                    <a:pt x="857" y="1143"/>
                    <a:pt x="1238" y="1715"/>
                  </a:cubicBezTo>
                  <a:cubicBezTo>
                    <a:pt x="1238" y="1715"/>
                    <a:pt x="1334" y="1905"/>
                    <a:pt x="1334" y="1905"/>
                  </a:cubicBezTo>
                  <a:close/>
                </a:path>
              </a:pathLst>
            </a:custGeom>
            <a:grpFill/>
            <a:ln w="9525" cap="flat">
              <a:no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F9A50367-B947-299C-453B-462BF7314DEA}"/>
                </a:ext>
              </a:extLst>
            </p:cNvPr>
            <p:cNvSpPr/>
            <p:nvPr/>
          </p:nvSpPr>
          <p:spPr>
            <a:xfrm>
              <a:off x="5055151" y="641016"/>
              <a:ext cx="2117" cy="1692"/>
            </a:xfrm>
            <a:custGeom>
              <a:avLst/>
              <a:gdLst>
                <a:gd name="connsiteX0" fmla="*/ 190 w 952"/>
                <a:gd name="connsiteY0" fmla="*/ 762 h 761"/>
                <a:gd name="connsiteX1" fmla="*/ 952 w 952"/>
                <a:gd name="connsiteY1" fmla="*/ 762 h 761"/>
                <a:gd name="connsiteX2" fmla="*/ 0 w 952"/>
                <a:gd name="connsiteY2" fmla="*/ 0 h 761"/>
                <a:gd name="connsiteX3" fmla="*/ 190 w 952"/>
                <a:gd name="connsiteY3" fmla="*/ 762 h 761"/>
              </a:gdLst>
              <a:ahLst/>
              <a:cxnLst>
                <a:cxn ang="0">
                  <a:pos x="connsiteX0" y="connsiteY0"/>
                </a:cxn>
                <a:cxn ang="0">
                  <a:pos x="connsiteX1" y="connsiteY1"/>
                </a:cxn>
                <a:cxn ang="0">
                  <a:pos x="connsiteX2" y="connsiteY2"/>
                </a:cxn>
                <a:cxn ang="0">
                  <a:pos x="connsiteX3" y="connsiteY3"/>
                </a:cxn>
              </a:cxnLst>
              <a:rect l="l" t="t" r="r" b="b"/>
              <a:pathLst>
                <a:path w="952" h="761">
                  <a:moveTo>
                    <a:pt x="190" y="762"/>
                  </a:moveTo>
                  <a:lnTo>
                    <a:pt x="952" y="762"/>
                  </a:lnTo>
                  <a:cubicBezTo>
                    <a:pt x="952" y="762"/>
                    <a:pt x="0" y="0"/>
                    <a:pt x="0" y="0"/>
                  </a:cubicBezTo>
                  <a:cubicBezTo>
                    <a:pt x="95" y="190"/>
                    <a:pt x="190" y="476"/>
                    <a:pt x="190" y="762"/>
                  </a:cubicBezTo>
                  <a:close/>
                </a:path>
              </a:pathLst>
            </a:custGeom>
            <a:grpFill/>
            <a:ln w="9525" cap="flat">
              <a:no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C354F350-1B87-BA6D-B4B7-6E988B8CD211}"/>
                </a:ext>
              </a:extLst>
            </p:cNvPr>
            <p:cNvSpPr/>
            <p:nvPr/>
          </p:nvSpPr>
          <p:spPr>
            <a:xfrm>
              <a:off x="5361027" y="567512"/>
              <a:ext cx="10379" cy="1788"/>
            </a:xfrm>
            <a:custGeom>
              <a:avLst/>
              <a:gdLst>
                <a:gd name="connsiteX0" fmla="*/ 762 w 4667"/>
                <a:gd name="connsiteY0" fmla="*/ 762 h 804"/>
                <a:gd name="connsiteX1" fmla="*/ 2476 w 4667"/>
                <a:gd name="connsiteY1" fmla="*/ 762 h 804"/>
                <a:gd name="connsiteX2" fmla="*/ 2381 w 4667"/>
                <a:gd name="connsiteY2" fmla="*/ 762 h 804"/>
                <a:gd name="connsiteX3" fmla="*/ 3143 w 4667"/>
                <a:gd name="connsiteY3" fmla="*/ 762 h 804"/>
                <a:gd name="connsiteX4" fmla="*/ 4667 w 4667"/>
                <a:gd name="connsiteY4" fmla="*/ 667 h 804"/>
                <a:gd name="connsiteX5" fmla="*/ 0 w 4667"/>
                <a:gd name="connsiteY5" fmla="*/ 0 h 804"/>
                <a:gd name="connsiteX6" fmla="*/ 0 w 4667"/>
                <a:gd name="connsiteY6" fmla="*/ 572 h 804"/>
                <a:gd name="connsiteX7" fmla="*/ 667 w 4667"/>
                <a:gd name="connsiteY7" fmla="*/ 667 h 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7" h="804">
                  <a:moveTo>
                    <a:pt x="762" y="762"/>
                  </a:moveTo>
                  <a:cubicBezTo>
                    <a:pt x="1333" y="762"/>
                    <a:pt x="1905" y="857"/>
                    <a:pt x="2476" y="762"/>
                  </a:cubicBezTo>
                  <a:cubicBezTo>
                    <a:pt x="2476" y="762"/>
                    <a:pt x="2476" y="762"/>
                    <a:pt x="2381" y="762"/>
                  </a:cubicBezTo>
                  <a:cubicBezTo>
                    <a:pt x="2667" y="762"/>
                    <a:pt x="2953" y="762"/>
                    <a:pt x="3143" y="762"/>
                  </a:cubicBezTo>
                  <a:cubicBezTo>
                    <a:pt x="3619" y="762"/>
                    <a:pt x="4191" y="762"/>
                    <a:pt x="4667" y="667"/>
                  </a:cubicBezTo>
                  <a:cubicBezTo>
                    <a:pt x="3048" y="762"/>
                    <a:pt x="1524" y="476"/>
                    <a:pt x="0" y="0"/>
                  </a:cubicBezTo>
                  <a:cubicBezTo>
                    <a:pt x="0" y="95"/>
                    <a:pt x="0" y="476"/>
                    <a:pt x="0" y="572"/>
                  </a:cubicBezTo>
                  <a:cubicBezTo>
                    <a:pt x="95" y="667"/>
                    <a:pt x="476" y="572"/>
                    <a:pt x="667" y="667"/>
                  </a:cubicBezTo>
                  <a:close/>
                </a:path>
              </a:pathLst>
            </a:custGeom>
            <a:grpFill/>
            <a:ln w="9525" cap="flat">
              <a:noFill/>
              <a:prstDash val="solid"/>
              <a:miter/>
            </a:ln>
          </p:spPr>
          <p:txBody>
            <a:bodyPr rtlCol="0" anchor="ctr"/>
            <a:lstStyle/>
            <a:p>
              <a:endParaRPr lang="en-US" dirty="0"/>
            </a:p>
          </p:txBody>
        </p:sp>
        <p:sp>
          <p:nvSpPr>
            <p:cNvPr id="99" name="Freeform: Shape 98">
              <a:extLst>
                <a:ext uri="{FF2B5EF4-FFF2-40B4-BE49-F238E27FC236}">
                  <a16:creationId xmlns:a16="http://schemas.microsoft.com/office/drawing/2014/main" id="{0F2BF5DC-47B2-4D57-04D8-57D87559C4EC}"/>
                </a:ext>
              </a:extLst>
            </p:cNvPr>
            <p:cNvSpPr/>
            <p:nvPr/>
          </p:nvSpPr>
          <p:spPr>
            <a:xfrm>
              <a:off x="4913863" y="411186"/>
              <a:ext cx="11649" cy="6354"/>
            </a:xfrm>
            <a:custGeom>
              <a:avLst/>
              <a:gdLst>
                <a:gd name="connsiteX0" fmla="*/ 190 w 5238"/>
                <a:gd name="connsiteY0" fmla="*/ 2762 h 2857"/>
                <a:gd name="connsiteX1" fmla="*/ 286 w 5238"/>
                <a:gd name="connsiteY1" fmla="*/ 2762 h 2857"/>
                <a:gd name="connsiteX2" fmla="*/ 5239 w 5238"/>
                <a:gd name="connsiteY2" fmla="*/ 1143 h 2857"/>
                <a:gd name="connsiteX3" fmla="*/ 0 w 5238"/>
                <a:gd name="connsiteY3" fmla="*/ 0 h 2857"/>
                <a:gd name="connsiteX4" fmla="*/ 190 w 5238"/>
                <a:gd name="connsiteY4" fmla="*/ 2857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 h="2857">
                  <a:moveTo>
                    <a:pt x="190" y="2762"/>
                  </a:moveTo>
                  <a:cubicBezTo>
                    <a:pt x="190" y="2762"/>
                    <a:pt x="190" y="2762"/>
                    <a:pt x="286" y="2762"/>
                  </a:cubicBezTo>
                  <a:cubicBezTo>
                    <a:pt x="1429" y="2476"/>
                    <a:pt x="4191" y="1619"/>
                    <a:pt x="5239" y="1143"/>
                  </a:cubicBezTo>
                  <a:cubicBezTo>
                    <a:pt x="4001" y="762"/>
                    <a:pt x="1143" y="667"/>
                    <a:pt x="0" y="0"/>
                  </a:cubicBezTo>
                  <a:cubicBezTo>
                    <a:pt x="381" y="857"/>
                    <a:pt x="381" y="1905"/>
                    <a:pt x="190" y="2857"/>
                  </a:cubicBezTo>
                  <a:close/>
                </a:path>
              </a:pathLst>
            </a:custGeom>
            <a:grpFill/>
            <a:ln w="9525" cap="flat">
              <a:no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F3344E2D-EA02-CE4A-CAC3-26D07B274111}"/>
                </a:ext>
              </a:extLst>
            </p:cNvPr>
            <p:cNvSpPr/>
            <p:nvPr/>
          </p:nvSpPr>
          <p:spPr>
            <a:xfrm>
              <a:off x="5312731" y="614750"/>
              <a:ext cx="12707" cy="6776"/>
            </a:xfrm>
            <a:custGeom>
              <a:avLst/>
              <a:gdLst>
                <a:gd name="connsiteX0" fmla="*/ 0 w 5714"/>
                <a:gd name="connsiteY0" fmla="*/ 2095 h 3047"/>
                <a:gd name="connsiteX1" fmla="*/ 3143 w 5714"/>
                <a:gd name="connsiteY1" fmla="*/ 2381 h 3047"/>
                <a:gd name="connsiteX2" fmla="*/ 5715 w 5714"/>
                <a:gd name="connsiteY2" fmla="*/ 3048 h 3047"/>
                <a:gd name="connsiteX3" fmla="*/ 1143 w 5714"/>
                <a:gd name="connsiteY3" fmla="*/ 0 h 3047"/>
                <a:gd name="connsiteX4" fmla="*/ 0 w 5714"/>
                <a:gd name="connsiteY4" fmla="*/ 2095 h 3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3047">
                  <a:moveTo>
                    <a:pt x="0" y="2095"/>
                  </a:moveTo>
                  <a:cubicBezTo>
                    <a:pt x="1048" y="2000"/>
                    <a:pt x="3238" y="2381"/>
                    <a:pt x="3143" y="2381"/>
                  </a:cubicBezTo>
                  <a:cubicBezTo>
                    <a:pt x="3143" y="2381"/>
                    <a:pt x="4858" y="2857"/>
                    <a:pt x="5715" y="3048"/>
                  </a:cubicBezTo>
                  <a:cubicBezTo>
                    <a:pt x="4096" y="2191"/>
                    <a:pt x="2572" y="1143"/>
                    <a:pt x="1143" y="0"/>
                  </a:cubicBezTo>
                  <a:cubicBezTo>
                    <a:pt x="857" y="762"/>
                    <a:pt x="476" y="1429"/>
                    <a:pt x="0" y="2095"/>
                  </a:cubicBezTo>
                  <a:close/>
                </a:path>
              </a:pathLst>
            </a:custGeom>
            <a:grpFill/>
            <a:ln w="9525" cap="flat">
              <a:noFill/>
              <a:prstDash val="solid"/>
              <a:miter/>
            </a:ln>
          </p:spPr>
          <p:txBody>
            <a:bodyPr rtlCol="0" anchor="ctr"/>
            <a:lstStyle/>
            <a:p>
              <a:endParaRPr lang="en-US" dirty="0"/>
            </a:p>
          </p:txBody>
        </p:sp>
        <p:sp>
          <p:nvSpPr>
            <p:cNvPr id="101" name="Freeform: Shape 100">
              <a:extLst>
                <a:ext uri="{FF2B5EF4-FFF2-40B4-BE49-F238E27FC236}">
                  <a16:creationId xmlns:a16="http://schemas.microsoft.com/office/drawing/2014/main" id="{0E846F91-B6BD-97D3-24E3-B65F60A392DC}"/>
                </a:ext>
              </a:extLst>
            </p:cNvPr>
            <p:cNvSpPr/>
            <p:nvPr/>
          </p:nvSpPr>
          <p:spPr>
            <a:xfrm>
              <a:off x="4813459" y="436391"/>
              <a:ext cx="14402" cy="34315"/>
            </a:xfrm>
            <a:custGeom>
              <a:avLst/>
              <a:gdLst>
                <a:gd name="connsiteX0" fmla="*/ 5334 w 6476"/>
                <a:gd name="connsiteY0" fmla="*/ 11621 h 15430"/>
                <a:gd name="connsiteX1" fmla="*/ 0 w 6476"/>
                <a:gd name="connsiteY1" fmla="*/ 0 h 15430"/>
                <a:gd name="connsiteX2" fmla="*/ 4477 w 6476"/>
                <a:gd name="connsiteY2" fmla="*/ 14669 h 15430"/>
                <a:gd name="connsiteX3" fmla="*/ 6477 w 6476"/>
                <a:gd name="connsiteY3" fmla="*/ 15430 h 15430"/>
                <a:gd name="connsiteX4" fmla="*/ 5239 w 6476"/>
                <a:gd name="connsiteY4" fmla="*/ 11621 h 15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6" h="15430">
                  <a:moveTo>
                    <a:pt x="5334" y="11621"/>
                  </a:moveTo>
                  <a:cubicBezTo>
                    <a:pt x="2572" y="4667"/>
                    <a:pt x="0" y="0"/>
                    <a:pt x="0" y="0"/>
                  </a:cubicBezTo>
                  <a:lnTo>
                    <a:pt x="4477" y="14669"/>
                  </a:lnTo>
                  <a:cubicBezTo>
                    <a:pt x="5144" y="14954"/>
                    <a:pt x="5810" y="15240"/>
                    <a:pt x="6477" y="15430"/>
                  </a:cubicBezTo>
                  <a:cubicBezTo>
                    <a:pt x="6096" y="14192"/>
                    <a:pt x="5715" y="12859"/>
                    <a:pt x="5239" y="11621"/>
                  </a:cubicBezTo>
                  <a:close/>
                </a:path>
              </a:pathLst>
            </a:custGeom>
            <a:grpFill/>
            <a:ln w="9525" cap="flat">
              <a:noFill/>
              <a:prstDash val="solid"/>
              <a:miter/>
            </a:ln>
          </p:spPr>
          <p:txBody>
            <a:bodyPr rtlCol="0" anchor="ctr"/>
            <a:lstStyle/>
            <a:p>
              <a:endParaRPr lang="en-US" dirty="0"/>
            </a:p>
          </p:txBody>
        </p:sp>
        <p:sp>
          <p:nvSpPr>
            <p:cNvPr id="102" name="Freeform: Shape 101">
              <a:extLst>
                <a:ext uri="{FF2B5EF4-FFF2-40B4-BE49-F238E27FC236}">
                  <a16:creationId xmlns:a16="http://schemas.microsoft.com/office/drawing/2014/main" id="{85B307D3-6E5F-FC0F-2B05-99CC22B690E4}"/>
                </a:ext>
              </a:extLst>
            </p:cNvPr>
            <p:cNvSpPr/>
            <p:nvPr/>
          </p:nvSpPr>
          <p:spPr>
            <a:xfrm>
              <a:off x="5334549" y="312899"/>
              <a:ext cx="9954" cy="7201"/>
            </a:xfrm>
            <a:custGeom>
              <a:avLst/>
              <a:gdLst>
                <a:gd name="connsiteX0" fmla="*/ 1238 w 4476"/>
                <a:gd name="connsiteY0" fmla="*/ 0 h 3238"/>
                <a:gd name="connsiteX1" fmla="*/ 0 w 4476"/>
                <a:gd name="connsiteY1" fmla="*/ 3239 h 3238"/>
                <a:gd name="connsiteX2" fmla="*/ 4477 w 4476"/>
                <a:gd name="connsiteY2" fmla="*/ 2667 h 3238"/>
                <a:gd name="connsiteX3" fmla="*/ 1333 w 4476"/>
                <a:gd name="connsiteY3" fmla="*/ 95 h 3238"/>
              </a:gdLst>
              <a:ahLst/>
              <a:cxnLst>
                <a:cxn ang="0">
                  <a:pos x="connsiteX0" y="connsiteY0"/>
                </a:cxn>
                <a:cxn ang="0">
                  <a:pos x="connsiteX1" y="connsiteY1"/>
                </a:cxn>
                <a:cxn ang="0">
                  <a:pos x="connsiteX2" y="connsiteY2"/>
                </a:cxn>
                <a:cxn ang="0">
                  <a:pos x="connsiteX3" y="connsiteY3"/>
                </a:cxn>
              </a:cxnLst>
              <a:rect l="l" t="t" r="r" b="b"/>
              <a:pathLst>
                <a:path w="4476" h="3238">
                  <a:moveTo>
                    <a:pt x="1238" y="0"/>
                  </a:moveTo>
                  <a:cubicBezTo>
                    <a:pt x="857" y="1048"/>
                    <a:pt x="476" y="2191"/>
                    <a:pt x="0" y="3239"/>
                  </a:cubicBezTo>
                  <a:cubicBezTo>
                    <a:pt x="1429" y="2953"/>
                    <a:pt x="2953" y="2762"/>
                    <a:pt x="4477" y="2667"/>
                  </a:cubicBezTo>
                  <a:cubicBezTo>
                    <a:pt x="3238" y="2096"/>
                    <a:pt x="2096" y="1238"/>
                    <a:pt x="1333" y="95"/>
                  </a:cubicBezTo>
                  <a:close/>
                </a:path>
              </a:pathLst>
            </a:custGeom>
            <a:grpFill/>
            <a:ln w="9525" cap="flat">
              <a:noFill/>
              <a:prstDash val="solid"/>
              <a:miter/>
            </a:ln>
          </p:spPr>
          <p:txBody>
            <a:bodyPr rtlCol="0" anchor="ctr"/>
            <a:lstStyle/>
            <a:p>
              <a:endParaRPr lang="en-US" dirty="0"/>
            </a:p>
          </p:txBody>
        </p:sp>
        <p:sp>
          <p:nvSpPr>
            <p:cNvPr id="103" name="Freeform: Shape 102">
              <a:extLst>
                <a:ext uri="{FF2B5EF4-FFF2-40B4-BE49-F238E27FC236}">
                  <a16:creationId xmlns:a16="http://schemas.microsoft.com/office/drawing/2014/main" id="{0F09781B-054D-8D8E-B987-FBFD25ED2402}"/>
                </a:ext>
              </a:extLst>
            </p:cNvPr>
            <p:cNvSpPr/>
            <p:nvPr/>
          </p:nvSpPr>
          <p:spPr>
            <a:xfrm>
              <a:off x="5062566" y="652878"/>
              <a:ext cx="21183" cy="634"/>
            </a:xfrm>
            <a:custGeom>
              <a:avLst/>
              <a:gdLst>
                <a:gd name="connsiteX0" fmla="*/ 0 w 9525"/>
                <a:gd name="connsiteY0" fmla="*/ 0 h 285"/>
                <a:gd name="connsiteX1" fmla="*/ 0 w 9525"/>
                <a:gd name="connsiteY1" fmla="*/ 286 h 285"/>
                <a:gd name="connsiteX2" fmla="*/ 0 w 9525"/>
                <a:gd name="connsiteY2" fmla="*/ 0 h 285"/>
                <a:gd name="connsiteX3" fmla="*/ 0 w 9525"/>
                <a:gd name="connsiteY3" fmla="*/ 0 h 285"/>
              </a:gdLst>
              <a:ahLst/>
              <a:cxnLst>
                <a:cxn ang="0">
                  <a:pos x="connsiteX0" y="connsiteY0"/>
                </a:cxn>
                <a:cxn ang="0">
                  <a:pos x="connsiteX1" y="connsiteY1"/>
                </a:cxn>
                <a:cxn ang="0">
                  <a:pos x="connsiteX2" y="connsiteY2"/>
                </a:cxn>
                <a:cxn ang="0">
                  <a:pos x="connsiteX3" y="connsiteY3"/>
                </a:cxn>
              </a:cxnLst>
              <a:rect l="l" t="t" r="r" b="b"/>
              <a:pathLst>
                <a:path w="9525" h="285">
                  <a:moveTo>
                    <a:pt x="0" y="0"/>
                  </a:moveTo>
                  <a:cubicBezTo>
                    <a:pt x="0" y="0"/>
                    <a:pt x="0" y="191"/>
                    <a:pt x="0" y="286"/>
                  </a:cubicBezTo>
                  <a:lnTo>
                    <a:pt x="0" y="0"/>
                  </a:lnTo>
                  <a:cubicBezTo>
                    <a:pt x="0" y="0"/>
                    <a:pt x="0" y="0"/>
                    <a:pt x="0" y="0"/>
                  </a:cubicBezTo>
                  <a:close/>
                </a:path>
              </a:pathLst>
            </a:custGeom>
            <a:grpFill/>
            <a:ln w="9525" cap="flat">
              <a:noFill/>
              <a:prstDash val="solid"/>
              <a:miter/>
            </a:ln>
          </p:spPr>
          <p:txBody>
            <a:bodyPr rtlCol="0" anchor="ctr"/>
            <a:lstStyle/>
            <a:p>
              <a:endParaRPr lang="en-US" dirty="0"/>
            </a:p>
          </p:txBody>
        </p:sp>
        <p:sp>
          <p:nvSpPr>
            <p:cNvPr id="104" name="Freeform: Shape 103">
              <a:extLst>
                <a:ext uri="{FF2B5EF4-FFF2-40B4-BE49-F238E27FC236}">
                  <a16:creationId xmlns:a16="http://schemas.microsoft.com/office/drawing/2014/main" id="{8A07F56D-E2D4-B1E7-791B-00063FD17C7B}"/>
                </a:ext>
              </a:extLst>
            </p:cNvPr>
            <p:cNvSpPr/>
            <p:nvPr/>
          </p:nvSpPr>
          <p:spPr>
            <a:xfrm>
              <a:off x="5270155" y="248079"/>
              <a:ext cx="11437" cy="11649"/>
            </a:xfrm>
            <a:custGeom>
              <a:avLst/>
              <a:gdLst>
                <a:gd name="connsiteX0" fmla="*/ 0 w 5143"/>
                <a:gd name="connsiteY0" fmla="*/ 5143 h 5238"/>
                <a:gd name="connsiteX1" fmla="*/ 2762 w 5143"/>
                <a:gd name="connsiteY1" fmla="*/ 2286 h 5238"/>
                <a:gd name="connsiteX2" fmla="*/ 5144 w 5143"/>
                <a:gd name="connsiteY2" fmla="*/ 381 h 5238"/>
                <a:gd name="connsiteX3" fmla="*/ 2857 w 5143"/>
                <a:gd name="connsiteY3" fmla="*/ 0 h 5238"/>
                <a:gd name="connsiteX4" fmla="*/ 0 w 5143"/>
                <a:gd name="connsiteY4" fmla="*/ 5239 h 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 h="5238">
                  <a:moveTo>
                    <a:pt x="0" y="5143"/>
                  </a:moveTo>
                  <a:cubicBezTo>
                    <a:pt x="857" y="4096"/>
                    <a:pt x="1810" y="3143"/>
                    <a:pt x="2762" y="2286"/>
                  </a:cubicBezTo>
                  <a:cubicBezTo>
                    <a:pt x="3429" y="1619"/>
                    <a:pt x="4286" y="952"/>
                    <a:pt x="5144" y="381"/>
                  </a:cubicBezTo>
                  <a:cubicBezTo>
                    <a:pt x="4381" y="381"/>
                    <a:pt x="3524" y="381"/>
                    <a:pt x="2857" y="0"/>
                  </a:cubicBezTo>
                  <a:cubicBezTo>
                    <a:pt x="2857" y="2667"/>
                    <a:pt x="1238" y="2953"/>
                    <a:pt x="0" y="5239"/>
                  </a:cubicBezTo>
                  <a:close/>
                </a:path>
              </a:pathLst>
            </a:custGeom>
            <a:grpFill/>
            <a:ln w="9525" cap="flat">
              <a:noFill/>
              <a:prstDash val="solid"/>
              <a:miter/>
            </a:ln>
          </p:spPr>
          <p:txBody>
            <a:bodyPr rtlCol="0" anchor="ctr"/>
            <a:lstStyle/>
            <a:p>
              <a:endParaRPr lang="en-US" dirty="0"/>
            </a:p>
          </p:txBody>
        </p:sp>
        <p:sp>
          <p:nvSpPr>
            <p:cNvPr id="105" name="Freeform: Shape 104">
              <a:extLst>
                <a:ext uri="{FF2B5EF4-FFF2-40B4-BE49-F238E27FC236}">
                  <a16:creationId xmlns:a16="http://schemas.microsoft.com/office/drawing/2014/main" id="{F4CBFE54-6803-A026-8470-F834E0A6907C}"/>
                </a:ext>
              </a:extLst>
            </p:cNvPr>
            <p:cNvSpPr/>
            <p:nvPr/>
          </p:nvSpPr>
          <p:spPr>
            <a:xfrm>
              <a:off x="5281592" y="246173"/>
              <a:ext cx="6776" cy="2753"/>
            </a:xfrm>
            <a:custGeom>
              <a:avLst/>
              <a:gdLst>
                <a:gd name="connsiteX0" fmla="*/ 3048 w 3047"/>
                <a:gd name="connsiteY0" fmla="*/ 0 h 1238"/>
                <a:gd name="connsiteX1" fmla="*/ 0 w 3047"/>
                <a:gd name="connsiteY1" fmla="*/ 1238 h 1238"/>
                <a:gd name="connsiteX2" fmla="*/ 3048 w 3047"/>
                <a:gd name="connsiteY2" fmla="*/ 0 h 1238"/>
              </a:gdLst>
              <a:ahLst/>
              <a:cxnLst>
                <a:cxn ang="0">
                  <a:pos x="connsiteX0" y="connsiteY0"/>
                </a:cxn>
                <a:cxn ang="0">
                  <a:pos x="connsiteX1" y="connsiteY1"/>
                </a:cxn>
                <a:cxn ang="0">
                  <a:pos x="connsiteX2" y="connsiteY2"/>
                </a:cxn>
              </a:cxnLst>
              <a:rect l="l" t="t" r="r" b="b"/>
              <a:pathLst>
                <a:path w="3047" h="1238">
                  <a:moveTo>
                    <a:pt x="3048" y="0"/>
                  </a:moveTo>
                  <a:cubicBezTo>
                    <a:pt x="2000" y="95"/>
                    <a:pt x="952" y="571"/>
                    <a:pt x="0" y="1238"/>
                  </a:cubicBezTo>
                  <a:cubicBezTo>
                    <a:pt x="1143" y="1238"/>
                    <a:pt x="2191" y="762"/>
                    <a:pt x="3048" y="0"/>
                  </a:cubicBezTo>
                  <a:close/>
                </a:path>
              </a:pathLst>
            </a:custGeom>
            <a:grpFill/>
            <a:ln w="9525" cap="flat">
              <a:noFill/>
              <a:prstDash val="solid"/>
              <a:miter/>
            </a:ln>
          </p:spPr>
          <p:txBody>
            <a:bodyPr rtlCol="0" anchor="ctr"/>
            <a:lstStyle/>
            <a:p>
              <a:endParaRPr lang="en-US" dirty="0"/>
            </a:p>
          </p:txBody>
        </p:sp>
        <p:sp>
          <p:nvSpPr>
            <p:cNvPr id="106" name="Freeform: Shape 105">
              <a:extLst>
                <a:ext uri="{FF2B5EF4-FFF2-40B4-BE49-F238E27FC236}">
                  <a16:creationId xmlns:a16="http://schemas.microsoft.com/office/drawing/2014/main" id="{6FFF9E47-ACCF-D739-DB69-2B61C8110F74}"/>
                </a:ext>
              </a:extLst>
            </p:cNvPr>
            <p:cNvSpPr/>
            <p:nvPr/>
          </p:nvSpPr>
          <p:spPr>
            <a:xfrm>
              <a:off x="5305952" y="280183"/>
              <a:ext cx="5718" cy="941"/>
            </a:xfrm>
            <a:custGeom>
              <a:avLst/>
              <a:gdLst>
                <a:gd name="connsiteX0" fmla="*/ 2572 w 2571"/>
                <a:gd name="connsiteY0" fmla="*/ 42 h 423"/>
                <a:gd name="connsiteX1" fmla="*/ 953 w 2571"/>
                <a:gd name="connsiteY1" fmla="*/ 42 h 423"/>
                <a:gd name="connsiteX2" fmla="*/ 0 w 2571"/>
                <a:gd name="connsiteY2" fmla="*/ 423 h 423"/>
                <a:gd name="connsiteX3" fmla="*/ 286 w 2571"/>
                <a:gd name="connsiteY3" fmla="*/ 423 h 423"/>
                <a:gd name="connsiteX4" fmla="*/ 2572 w 2571"/>
                <a:gd name="connsiteY4" fmla="*/ 233 h 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 h="423">
                  <a:moveTo>
                    <a:pt x="2572" y="42"/>
                  </a:moveTo>
                  <a:cubicBezTo>
                    <a:pt x="2096" y="42"/>
                    <a:pt x="1524" y="-53"/>
                    <a:pt x="953" y="42"/>
                  </a:cubicBezTo>
                  <a:cubicBezTo>
                    <a:pt x="762" y="42"/>
                    <a:pt x="0" y="328"/>
                    <a:pt x="0" y="423"/>
                  </a:cubicBezTo>
                  <a:cubicBezTo>
                    <a:pt x="0" y="423"/>
                    <a:pt x="190" y="423"/>
                    <a:pt x="286" y="423"/>
                  </a:cubicBezTo>
                  <a:cubicBezTo>
                    <a:pt x="1048" y="328"/>
                    <a:pt x="1810" y="233"/>
                    <a:pt x="2572" y="233"/>
                  </a:cubicBezTo>
                  <a:close/>
                </a:path>
              </a:pathLst>
            </a:custGeom>
            <a:grpFill/>
            <a:ln w="9525" cap="flat">
              <a:noFill/>
              <a:prstDash val="solid"/>
              <a:miter/>
            </a:ln>
          </p:spPr>
          <p:txBody>
            <a:bodyPr rtlCol="0" anchor="ctr"/>
            <a:lstStyle/>
            <a:p>
              <a:endParaRPr lang="en-US" dirty="0"/>
            </a:p>
          </p:txBody>
        </p:sp>
        <p:sp>
          <p:nvSpPr>
            <p:cNvPr id="107" name="Freeform: Shape 106">
              <a:extLst>
                <a:ext uri="{FF2B5EF4-FFF2-40B4-BE49-F238E27FC236}">
                  <a16:creationId xmlns:a16="http://schemas.microsoft.com/office/drawing/2014/main" id="{2D7EE10B-3D82-3F5A-2128-A5434AD4F5B5}"/>
                </a:ext>
              </a:extLst>
            </p:cNvPr>
            <p:cNvSpPr/>
            <p:nvPr/>
          </p:nvSpPr>
          <p:spPr>
            <a:xfrm>
              <a:off x="5075658" y="228289"/>
              <a:ext cx="11477" cy="7781"/>
            </a:xfrm>
            <a:custGeom>
              <a:avLst/>
              <a:gdLst>
                <a:gd name="connsiteX0" fmla="*/ 1828 w 5161"/>
                <a:gd name="connsiteY0" fmla="*/ 136 h 3499"/>
                <a:gd name="connsiteX1" fmla="*/ 18 w 5161"/>
                <a:gd name="connsiteY1" fmla="*/ 1946 h 3499"/>
                <a:gd name="connsiteX2" fmla="*/ 3924 w 5161"/>
                <a:gd name="connsiteY2" fmla="*/ 2993 h 3499"/>
                <a:gd name="connsiteX3" fmla="*/ 5162 w 5161"/>
                <a:gd name="connsiteY3" fmla="*/ 2231 h 3499"/>
                <a:gd name="connsiteX4" fmla="*/ 1828 w 5161"/>
                <a:gd name="connsiteY4" fmla="*/ 136 h 3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1" h="3499">
                  <a:moveTo>
                    <a:pt x="1828" y="136"/>
                  </a:moveTo>
                  <a:cubicBezTo>
                    <a:pt x="1161" y="326"/>
                    <a:pt x="-172" y="1088"/>
                    <a:pt x="18" y="1946"/>
                  </a:cubicBezTo>
                  <a:cubicBezTo>
                    <a:pt x="18" y="2422"/>
                    <a:pt x="1352" y="4422"/>
                    <a:pt x="3924" y="2993"/>
                  </a:cubicBezTo>
                  <a:cubicBezTo>
                    <a:pt x="4114" y="2993"/>
                    <a:pt x="4686" y="2612"/>
                    <a:pt x="5162" y="2231"/>
                  </a:cubicBezTo>
                  <a:cubicBezTo>
                    <a:pt x="5162" y="898"/>
                    <a:pt x="3352" y="-436"/>
                    <a:pt x="1828" y="136"/>
                  </a:cubicBezTo>
                  <a:close/>
                </a:path>
              </a:pathLst>
            </a:custGeom>
            <a:grpFill/>
            <a:ln w="9525" cap="flat">
              <a:noFill/>
              <a:prstDash val="solid"/>
              <a:miter/>
            </a:ln>
          </p:spPr>
          <p:txBody>
            <a:bodyPr rtlCol="0" anchor="ctr"/>
            <a:lstStyle/>
            <a:p>
              <a:endParaRPr lang="en-US" dirty="0"/>
            </a:p>
          </p:txBody>
        </p:sp>
        <p:sp>
          <p:nvSpPr>
            <p:cNvPr id="110" name="Freeform: Shape 109">
              <a:extLst>
                <a:ext uri="{FF2B5EF4-FFF2-40B4-BE49-F238E27FC236}">
                  <a16:creationId xmlns:a16="http://schemas.microsoft.com/office/drawing/2014/main" id="{0250B83B-C010-934F-81F3-0A5D4D6030EE}"/>
                </a:ext>
              </a:extLst>
            </p:cNvPr>
            <p:cNvSpPr/>
            <p:nvPr/>
          </p:nvSpPr>
          <p:spPr>
            <a:xfrm>
              <a:off x="5087349" y="233252"/>
              <a:ext cx="21183" cy="634"/>
            </a:xfrm>
            <a:custGeom>
              <a:avLst/>
              <a:gdLst>
                <a:gd name="connsiteX0" fmla="*/ 0 w 9525"/>
                <a:gd name="connsiteY0" fmla="*/ 286 h 285"/>
                <a:gd name="connsiteX1" fmla="*/ 0 w 9525"/>
                <a:gd name="connsiteY1" fmla="*/ 0 h 285"/>
                <a:gd name="connsiteX2" fmla="*/ 0 w 9525"/>
                <a:gd name="connsiteY2" fmla="*/ 0 h 285"/>
                <a:gd name="connsiteX3" fmla="*/ 0 w 9525"/>
                <a:gd name="connsiteY3" fmla="*/ 286 h 285"/>
              </a:gdLst>
              <a:ahLst/>
              <a:cxnLst>
                <a:cxn ang="0">
                  <a:pos x="connsiteX0" y="connsiteY0"/>
                </a:cxn>
                <a:cxn ang="0">
                  <a:pos x="connsiteX1" y="connsiteY1"/>
                </a:cxn>
                <a:cxn ang="0">
                  <a:pos x="connsiteX2" y="connsiteY2"/>
                </a:cxn>
                <a:cxn ang="0">
                  <a:pos x="connsiteX3" y="connsiteY3"/>
                </a:cxn>
              </a:cxnLst>
              <a:rect l="l" t="t" r="r" b="b"/>
              <a:pathLst>
                <a:path w="9525" h="285">
                  <a:moveTo>
                    <a:pt x="0" y="286"/>
                  </a:moveTo>
                  <a:cubicBezTo>
                    <a:pt x="0" y="286"/>
                    <a:pt x="0" y="190"/>
                    <a:pt x="0" y="0"/>
                  </a:cubicBezTo>
                  <a:cubicBezTo>
                    <a:pt x="0" y="0"/>
                    <a:pt x="0" y="0"/>
                    <a:pt x="0" y="0"/>
                  </a:cubicBezTo>
                  <a:cubicBezTo>
                    <a:pt x="0" y="0"/>
                    <a:pt x="0" y="190"/>
                    <a:pt x="0" y="286"/>
                  </a:cubicBezTo>
                  <a:close/>
                </a:path>
              </a:pathLst>
            </a:custGeom>
            <a:grpFill/>
            <a:ln w="9525" cap="flat">
              <a:noFill/>
              <a:prstDash val="solid"/>
              <a:miter/>
            </a:ln>
          </p:spPr>
          <p:txBody>
            <a:bodyPr rtlCol="0" anchor="ctr"/>
            <a:lstStyle/>
            <a:p>
              <a:endParaRPr lang="en-US" dirty="0"/>
            </a:p>
          </p:txBody>
        </p:sp>
        <p:sp>
          <p:nvSpPr>
            <p:cNvPr id="112" name="Freeform: Shape 111">
              <a:extLst>
                <a:ext uri="{FF2B5EF4-FFF2-40B4-BE49-F238E27FC236}">
                  <a16:creationId xmlns:a16="http://schemas.microsoft.com/office/drawing/2014/main" id="{8DC0425F-DA09-030A-FC6F-646E39058D70}"/>
                </a:ext>
              </a:extLst>
            </p:cNvPr>
            <p:cNvSpPr/>
            <p:nvPr/>
          </p:nvSpPr>
          <p:spPr>
            <a:xfrm>
              <a:off x="5354249" y="526630"/>
              <a:ext cx="7201" cy="7837"/>
            </a:xfrm>
            <a:custGeom>
              <a:avLst/>
              <a:gdLst>
                <a:gd name="connsiteX0" fmla="*/ 3238 w 3238"/>
                <a:gd name="connsiteY0" fmla="*/ 1524 h 3524"/>
                <a:gd name="connsiteX1" fmla="*/ 2857 w 3238"/>
                <a:gd name="connsiteY1" fmla="*/ 1429 h 3524"/>
                <a:gd name="connsiteX2" fmla="*/ 0 w 3238"/>
                <a:gd name="connsiteY2" fmla="*/ 0 h 3524"/>
                <a:gd name="connsiteX3" fmla="*/ 381 w 3238"/>
                <a:gd name="connsiteY3" fmla="*/ 3524 h 3524"/>
                <a:gd name="connsiteX4" fmla="*/ 3238 w 3238"/>
                <a:gd name="connsiteY4" fmla="*/ 1524 h 3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3524">
                  <a:moveTo>
                    <a:pt x="3238" y="1524"/>
                  </a:moveTo>
                  <a:cubicBezTo>
                    <a:pt x="3238" y="1524"/>
                    <a:pt x="2953" y="1429"/>
                    <a:pt x="2857" y="1429"/>
                  </a:cubicBezTo>
                  <a:cubicBezTo>
                    <a:pt x="1905" y="1048"/>
                    <a:pt x="953" y="571"/>
                    <a:pt x="0" y="0"/>
                  </a:cubicBezTo>
                  <a:cubicBezTo>
                    <a:pt x="190" y="1143"/>
                    <a:pt x="286" y="2381"/>
                    <a:pt x="381" y="3524"/>
                  </a:cubicBezTo>
                  <a:cubicBezTo>
                    <a:pt x="1143" y="2572"/>
                    <a:pt x="2191" y="2096"/>
                    <a:pt x="3238" y="1524"/>
                  </a:cubicBezTo>
                  <a:close/>
                </a:path>
              </a:pathLst>
            </a:custGeom>
            <a:grpFill/>
            <a:ln w="9525" cap="flat">
              <a:noFill/>
              <a:prstDash val="solid"/>
              <a:miter/>
            </a:ln>
          </p:spPr>
          <p:txBody>
            <a:bodyPr rtlCol="0" anchor="ctr"/>
            <a:lstStyle/>
            <a:p>
              <a:endParaRPr lang="en-US" dirty="0"/>
            </a:p>
          </p:txBody>
        </p:sp>
        <p:sp>
          <p:nvSpPr>
            <p:cNvPr id="113" name="Freeform: Shape 112">
              <a:extLst>
                <a:ext uri="{FF2B5EF4-FFF2-40B4-BE49-F238E27FC236}">
                  <a16:creationId xmlns:a16="http://schemas.microsoft.com/office/drawing/2014/main" id="{75588A28-E528-BDFA-5487-B5BF5136D45E}"/>
                </a:ext>
              </a:extLst>
            </p:cNvPr>
            <p:cNvSpPr/>
            <p:nvPr/>
          </p:nvSpPr>
          <p:spPr>
            <a:xfrm>
              <a:off x="4922716" y="330519"/>
              <a:ext cx="21647" cy="13466"/>
            </a:xfrm>
            <a:custGeom>
              <a:avLst/>
              <a:gdLst>
                <a:gd name="connsiteX0" fmla="*/ 6020 w 9734"/>
                <a:gd name="connsiteY0" fmla="*/ 1126 h 6055"/>
                <a:gd name="connsiteX1" fmla="*/ 5068 w 9734"/>
                <a:gd name="connsiteY1" fmla="*/ 1411 h 6055"/>
                <a:gd name="connsiteX2" fmla="*/ 1353 w 9734"/>
                <a:gd name="connsiteY2" fmla="*/ 364 h 6055"/>
                <a:gd name="connsiteX3" fmla="*/ 115 w 9734"/>
                <a:gd name="connsiteY3" fmla="*/ 3697 h 6055"/>
                <a:gd name="connsiteX4" fmla="*/ 972 w 9734"/>
                <a:gd name="connsiteY4" fmla="*/ 5602 h 6055"/>
                <a:gd name="connsiteX5" fmla="*/ 3544 w 9734"/>
                <a:gd name="connsiteY5" fmla="*/ 5983 h 6055"/>
                <a:gd name="connsiteX6" fmla="*/ 9640 w 9734"/>
                <a:gd name="connsiteY6" fmla="*/ 5126 h 6055"/>
                <a:gd name="connsiteX7" fmla="*/ 9735 w 9734"/>
                <a:gd name="connsiteY7" fmla="*/ 5126 h 6055"/>
                <a:gd name="connsiteX8" fmla="*/ 6020 w 9734"/>
                <a:gd name="connsiteY8" fmla="*/ 1221 h 6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34" h="6055">
                  <a:moveTo>
                    <a:pt x="6020" y="1126"/>
                  </a:moveTo>
                  <a:cubicBezTo>
                    <a:pt x="6020" y="2840"/>
                    <a:pt x="5734" y="2935"/>
                    <a:pt x="5068" y="1411"/>
                  </a:cubicBezTo>
                  <a:cubicBezTo>
                    <a:pt x="4496" y="78"/>
                    <a:pt x="2496" y="-398"/>
                    <a:pt x="1353" y="364"/>
                  </a:cubicBezTo>
                  <a:cubicBezTo>
                    <a:pt x="20" y="1126"/>
                    <a:pt x="-171" y="2269"/>
                    <a:pt x="115" y="3697"/>
                  </a:cubicBezTo>
                  <a:cubicBezTo>
                    <a:pt x="210" y="4364"/>
                    <a:pt x="496" y="5126"/>
                    <a:pt x="972" y="5602"/>
                  </a:cubicBezTo>
                  <a:cubicBezTo>
                    <a:pt x="1639" y="6174"/>
                    <a:pt x="2687" y="6079"/>
                    <a:pt x="3544" y="5983"/>
                  </a:cubicBezTo>
                  <a:cubicBezTo>
                    <a:pt x="5544" y="5793"/>
                    <a:pt x="7544" y="5221"/>
                    <a:pt x="9640" y="5126"/>
                  </a:cubicBezTo>
                  <a:cubicBezTo>
                    <a:pt x="9640" y="5126"/>
                    <a:pt x="9640" y="5126"/>
                    <a:pt x="9735" y="5126"/>
                  </a:cubicBezTo>
                  <a:cubicBezTo>
                    <a:pt x="8402" y="3983"/>
                    <a:pt x="7068" y="2745"/>
                    <a:pt x="6020" y="1221"/>
                  </a:cubicBezTo>
                  <a:close/>
                </a:path>
              </a:pathLst>
            </a:custGeom>
            <a:grpFill/>
            <a:ln w="9525" cap="flat">
              <a:noFill/>
              <a:prstDash val="solid"/>
              <a:miter/>
            </a:ln>
          </p:spPr>
          <p:txBody>
            <a:bodyPr rtlCol="0" anchor="ctr"/>
            <a:lstStyle/>
            <a:p>
              <a:endParaRPr lang="en-US" dirty="0"/>
            </a:p>
          </p:txBody>
        </p:sp>
        <p:sp>
          <p:nvSpPr>
            <p:cNvPr id="114" name="Freeform: Shape 113">
              <a:extLst>
                <a:ext uri="{FF2B5EF4-FFF2-40B4-BE49-F238E27FC236}">
                  <a16:creationId xmlns:a16="http://schemas.microsoft.com/office/drawing/2014/main" id="{AF44D397-24FD-D46A-E038-7D566197FAE4}"/>
                </a:ext>
              </a:extLst>
            </p:cNvPr>
            <p:cNvSpPr/>
            <p:nvPr/>
          </p:nvSpPr>
          <p:spPr>
            <a:xfrm>
              <a:off x="4995765" y="588906"/>
              <a:ext cx="7277" cy="28172"/>
            </a:xfrm>
            <a:custGeom>
              <a:avLst/>
              <a:gdLst>
                <a:gd name="connsiteX0" fmla="*/ 1939 w 3272"/>
                <a:gd name="connsiteY0" fmla="*/ 6763 h 12668"/>
                <a:gd name="connsiteX1" fmla="*/ 2701 w 3272"/>
                <a:gd name="connsiteY1" fmla="*/ 0 h 12668"/>
                <a:gd name="connsiteX2" fmla="*/ 1177 w 3272"/>
                <a:gd name="connsiteY2" fmla="*/ 953 h 12668"/>
                <a:gd name="connsiteX3" fmla="*/ 701 w 3272"/>
                <a:gd name="connsiteY3" fmla="*/ 1619 h 12668"/>
                <a:gd name="connsiteX4" fmla="*/ 415 w 3272"/>
                <a:gd name="connsiteY4" fmla="*/ 2477 h 12668"/>
                <a:gd name="connsiteX5" fmla="*/ 34 w 3272"/>
                <a:gd name="connsiteY5" fmla="*/ 6382 h 12668"/>
                <a:gd name="connsiteX6" fmla="*/ 891 w 3272"/>
                <a:gd name="connsiteY6" fmla="*/ 10001 h 12668"/>
                <a:gd name="connsiteX7" fmla="*/ 2797 w 3272"/>
                <a:gd name="connsiteY7" fmla="*/ 12478 h 12668"/>
                <a:gd name="connsiteX8" fmla="*/ 2797 w 3272"/>
                <a:gd name="connsiteY8" fmla="*/ 12478 h 12668"/>
                <a:gd name="connsiteX9" fmla="*/ 2797 w 3272"/>
                <a:gd name="connsiteY9" fmla="*/ 12478 h 12668"/>
                <a:gd name="connsiteX10" fmla="*/ 2797 w 3272"/>
                <a:gd name="connsiteY10" fmla="*/ 12478 h 12668"/>
                <a:gd name="connsiteX11" fmla="*/ 3273 w 3272"/>
                <a:gd name="connsiteY11" fmla="*/ 12668 h 12668"/>
                <a:gd name="connsiteX12" fmla="*/ 1939 w 3272"/>
                <a:gd name="connsiteY12" fmla="*/ 6668 h 1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72" h="12668">
                  <a:moveTo>
                    <a:pt x="1939" y="6763"/>
                  </a:moveTo>
                  <a:cubicBezTo>
                    <a:pt x="1939" y="4477"/>
                    <a:pt x="2225" y="2286"/>
                    <a:pt x="2701" y="0"/>
                  </a:cubicBezTo>
                  <a:cubicBezTo>
                    <a:pt x="2130" y="286"/>
                    <a:pt x="1558" y="476"/>
                    <a:pt x="1177" y="953"/>
                  </a:cubicBezTo>
                  <a:cubicBezTo>
                    <a:pt x="987" y="1143"/>
                    <a:pt x="796" y="1238"/>
                    <a:pt x="701" y="1619"/>
                  </a:cubicBezTo>
                  <a:cubicBezTo>
                    <a:pt x="701" y="1905"/>
                    <a:pt x="511" y="2191"/>
                    <a:pt x="415" y="2477"/>
                  </a:cubicBezTo>
                  <a:cubicBezTo>
                    <a:pt x="34" y="3715"/>
                    <a:pt x="-61" y="5048"/>
                    <a:pt x="34" y="6382"/>
                  </a:cubicBezTo>
                  <a:cubicBezTo>
                    <a:pt x="34" y="7620"/>
                    <a:pt x="415" y="8858"/>
                    <a:pt x="891" y="10001"/>
                  </a:cubicBezTo>
                  <a:cubicBezTo>
                    <a:pt x="1273" y="10954"/>
                    <a:pt x="1939" y="11906"/>
                    <a:pt x="2797" y="12478"/>
                  </a:cubicBezTo>
                  <a:cubicBezTo>
                    <a:pt x="2606" y="12383"/>
                    <a:pt x="1939" y="12002"/>
                    <a:pt x="2797" y="12478"/>
                  </a:cubicBezTo>
                  <a:cubicBezTo>
                    <a:pt x="2797" y="12478"/>
                    <a:pt x="2797" y="12478"/>
                    <a:pt x="2797" y="12478"/>
                  </a:cubicBezTo>
                  <a:cubicBezTo>
                    <a:pt x="2797" y="12478"/>
                    <a:pt x="2797" y="12478"/>
                    <a:pt x="2797" y="12478"/>
                  </a:cubicBezTo>
                  <a:cubicBezTo>
                    <a:pt x="2987" y="12478"/>
                    <a:pt x="3082" y="12668"/>
                    <a:pt x="3273" y="12668"/>
                  </a:cubicBezTo>
                  <a:cubicBezTo>
                    <a:pt x="2225" y="10858"/>
                    <a:pt x="1939" y="8763"/>
                    <a:pt x="1939" y="6668"/>
                  </a:cubicBezTo>
                  <a:close/>
                </a:path>
              </a:pathLst>
            </a:custGeom>
            <a:grpFill/>
            <a:ln w="9525" cap="flat">
              <a:noFill/>
              <a:prstDash val="solid"/>
              <a:miter/>
            </a:ln>
          </p:spPr>
          <p:txBody>
            <a:bodyPr rtlCol="0" anchor="ctr"/>
            <a:lstStyle/>
            <a:p>
              <a:endParaRPr lang="en-US" dirty="0"/>
            </a:p>
          </p:txBody>
        </p:sp>
        <p:sp>
          <p:nvSpPr>
            <p:cNvPr id="116" name="Freeform: Shape 115">
              <a:extLst>
                <a:ext uri="{FF2B5EF4-FFF2-40B4-BE49-F238E27FC236}">
                  <a16:creationId xmlns:a16="http://schemas.microsoft.com/office/drawing/2014/main" id="{45917474-0D48-C7CB-D0E9-53718B738523}"/>
                </a:ext>
              </a:extLst>
            </p:cNvPr>
            <p:cNvSpPr/>
            <p:nvPr/>
          </p:nvSpPr>
          <p:spPr>
            <a:xfrm>
              <a:off x="5300444" y="272440"/>
              <a:ext cx="1695" cy="7201"/>
            </a:xfrm>
            <a:custGeom>
              <a:avLst/>
              <a:gdLst>
                <a:gd name="connsiteX0" fmla="*/ 667 w 762"/>
                <a:gd name="connsiteY0" fmla="*/ 2381 h 3238"/>
                <a:gd name="connsiteX1" fmla="*/ 476 w 762"/>
                <a:gd name="connsiteY1" fmla="*/ 1619 h 3238"/>
                <a:gd name="connsiteX2" fmla="*/ 95 w 762"/>
                <a:gd name="connsiteY2" fmla="*/ 0 h 3238"/>
                <a:gd name="connsiteX3" fmla="*/ 0 w 762"/>
                <a:gd name="connsiteY3" fmla="*/ 3238 h 3238"/>
                <a:gd name="connsiteX4" fmla="*/ 667 w 762"/>
                <a:gd name="connsiteY4" fmla="*/ 2857 h 3238"/>
                <a:gd name="connsiteX5" fmla="*/ 762 w 762"/>
                <a:gd name="connsiteY5" fmla="*/ 2381 h 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 h="3238">
                  <a:moveTo>
                    <a:pt x="667" y="2381"/>
                  </a:moveTo>
                  <a:cubicBezTo>
                    <a:pt x="667" y="2381"/>
                    <a:pt x="571" y="1905"/>
                    <a:pt x="476" y="1619"/>
                  </a:cubicBezTo>
                  <a:cubicBezTo>
                    <a:pt x="286" y="1048"/>
                    <a:pt x="190" y="476"/>
                    <a:pt x="95" y="0"/>
                  </a:cubicBezTo>
                  <a:cubicBezTo>
                    <a:pt x="95" y="1048"/>
                    <a:pt x="95" y="2191"/>
                    <a:pt x="0" y="3238"/>
                  </a:cubicBezTo>
                  <a:cubicBezTo>
                    <a:pt x="286" y="3238"/>
                    <a:pt x="571" y="2857"/>
                    <a:pt x="667" y="2857"/>
                  </a:cubicBezTo>
                  <a:cubicBezTo>
                    <a:pt x="667" y="2667"/>
                    <a:pt x="762" y="2572"/>
                    <a:pt x="762" y="2381"/>
                  </a:cubicBezTo>
                  <a:close/>
                </a:path>
              </a:pathLst>
            </a:custGeom>
            <a:grpFill/>
            <a:ln w="9525" cap="flat">
              <a:noFill/>
              <a:prstDash val="solid"/>
              <a:miter/>
            </a:ln>
          </p:spPr>
          <p:txBody>
            <a:bodyPr rtlCol="0" anchor="ctr"/>
            <a:lstStyle/>
            <a:p>
              <a:endParaRPr lang="en-US" dirty="0"/>
            </a:p>
          </p:txBody>
        </p:sp>
        <p:sp>
          <p:nvSpPr>
            <p:cNvPr id="117" name="Freeform: Shape 116">
              <a:extLst>
                <a:ext uri="{FF2B5EF4-FFF2-40B4-BE49-F238E27FC236}">
                  <a16:creationId xmlns:a16="http://schemas.microsoft.com/office/drawing/2014/main" id="{E26501FE-A569-F790-5879-13982F8A6235}"/>
                </a:ext>
              </a:extLst>
            </p:cNvPr>
            <p:cNvSpPr/>
            <p:nvPr/>
          </p:nvSpPr>
          <p:spPr>
            <a:xfrm>
              <a:off x="4904756" y="409447"/>
              <a:ext cx="8048" cy="8304"/>
            </a:xfrm>
            <a:custGeom>
              <a:avLst/>
              <a:gdLst>
                <a:gd name="connsiteX0" fmla="*/ 3048 w 3619"/>
                <a:gd name="connsiteY0" fmla="*/ 1925 h 3734"/>
                <a:gd name="connsiteX1" fmla="*/ 1429 w 3619"/>
                <a:gd name="connsiteY1" fmla="*/ 20 h 3734"/>
                <a:gd name="connsiteX2" fmla="*/ 0 w 3619"/>
                <a:gd name="connsiteY2" fmla="*/ 401 h 3734"/>
                <a:gd name="connsiteX3" fmla="*/ 190 w 3619"/>
                <a:gd name="connsiteY3" fmla="*/ 2782 h 3734"/>
                <a:gd name="connsiteX4" fmla="*/ 953 w 3619"/>
                <a:gd name="connsiteY4" fmla="*/ 3734 h 3734"/>
                <a:gd name="connsiteX5" fmla="*/ 1619 w 3619"/>
                <a:gd name="connsiteY5" fmla="*/ 3734 h 3734"/>
                <a:gd name="connsiteX6" fmla="*/ 2572 w 3619"/>
                <a:gd name="connsiteY6" fmla="*/ 3734 h 3734"/>
                <a:gd name="connsiteX7" fmla="*/ 2667 w 3619"/>
                <a:gd name="connsiteY7" fmla="*/ 3734 h 3734"/>
                <a:gd name="connsiteX8" fmla="*/ 3620 w 3619"/>
                <a:gd name="connsiteY8" fmla="*/ 3449 h 3734"/>
                <a:gd name="connsiteX9" fmla="*/ 3429 w 3619"/>
                <a:gd name="connsiteY9" fmla="*/ 2687 h 3734"/>
                <a:gd name="connsiteX10" fmla="*/ 3143 w 3619"/>
                <a:gd name="connsiteY10" fmla="*/ 1925 h 3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9" h="3734">
                  <a:moveTo>
                    <a:pt x="3048" y="1925"/>
                  </a:moveTo>
                  <a:cubicBezTo>
                    <a:pt x="2572" y="1067"/>
                    <a:pt x="2477" y="-171"/>
                    <a:pt x="1429" y="20"/>
                  </a:cubicBezTo>
                  <a:cubicBezTo>
                    <a:pt x="953" y="115"/>
                    <a:pt x="95" y="-171"/>
                    <a:pt x="0" y="401"/>
                  </a:cubicBezTo>
                  <a:cubicBezTo>
                    <a:pt x="0" y="877"/>
                    <a:pt x="0" y="2401"/>
                    <a:pt x="190" y="2782"/>
                  </a:cubicBezTo>
                  <a:cubicBezTo>
                    <a:pt x="381" y="3068"/>
                    <a:pt x="571" y="3544"/>
                    <a:pt x="953" y="3734"/>
                  </a:cubicBezTo>
                  <a:cubicBezTo>
                    <a:pt x="1143" y="3734"/>
                    <a:pt x="1333" y="3734"/>
                    <a:pt x="1619" y="3734"/>
                  </a:cubicBezTo>
                  <a:cubicBezTo>
                    <a:pt x="1905" y="3734"/>
                    <a:pt x="2286" y="3734"/>
                    <a:pt x="2572" y="3734"/>
                  </a:cubicBezTo>
                  <a:cubicBezTo>
                    <a:pt x="2286" y="3734"/>
                    <a:pt x="2667" y="3734"/>
                    <a:pt x="2667" y="3734"/>
                  </a:cubicBezTo>
                  <a:cubicBezTo>
                    <a:pt x="2953" y="3734"/>
                    <a:pt x="3524" y="3734"/>
                    <a:pt x="3620" y="3449"/>
                  </a:cubicBezTo>
                  <a:cubicBezTo>
                    <a:pt x="3620" y="3258"/>
                    <a:pt x="3524" y="2877"/>
                    <a:pt x="3429" y="2687"/>
                  </a:cubicBezTo>
                  <a:cubicBezTo>
                    <a:pt x="3429" y="2401"/>
                    <a:pt x="3238" y="2115"/>
                    <a:pt x="3143" y="1925"/>
                  </a:cubicBezTo>
                  <a:close/>
                </a:path>
              </a:pathLst>
            </a:custGeom>
            <a:grpFill/>
            <a:ln w="9525"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49CCFF06-E8BE-A616-3042-54007CE7FB28}"/>
                </a:ext>
              </a:extLst>
            </p:cNvPr>
            <p:cNvSpPr/>
            <p:nvPr/>
          </p:nvSpPr>
          <p:spPr>
            <a:xfrm>
              <a:off x="4940561" y="509262"/>
              <a:ext cx="6136" cy="19274"/>
            </a:xfrm>
            <a:custGeom>
              <a:avLst/>
              <a:gdLst>
                <a:gd name="connsiteX0" fmla="*/ 1807 w 2759"/>
                <a:gd name="connsiteY0" fmla="*/ 1333 h 8667"/>
                <a:gd name="connsiteX1" fmla="*/ 664 w 2759"/>
                <a:gd name="connsiteY1" fmla="*/ 3715 h 8667"/>
                <a:gd name="connsiteX2" fmla="*/ 283 w 2759"/>
                <a:gd name="connsiteY2" fmla="*/ 8668 h 8667"/>
                <a:gd name="connsiteX3" fmla="*/ 473 w 2759"/>
                <a:gd name="connsiteY3" fmla="*/ 7906 h 8667"/>
                <a:gd name="connsiteX4" fmla="*/ 473 w 2759"/>
                <a:gd name="connsiteY4" fmla="*/ 7620 h 8667"/>
                <a:gd name="connsiteX5" fmla="*/ 2759 w 2759"/>
                <a:gd name="connsiteY5" fmla="*/ 0 h 8667"/>
                <a:gd name="connsiteX6" fmla="*/ 1711 w 2759"/>
                <a:gd name="connsiteY6" fmla="*/ 1238 h 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9" h="8667">
                  <a:moveTo>
                    <a:pt x="1807" y="1333"/>
                  </a:moveTo>
                  <a:cubicBezTo>
                    <a:pt x="1330" y="2095"/>
                    <a:pt x="950" y="2857"/>
                    <a:pt x="664" y="3715"/>
                  </a:cubicBezTo>
                  <a:cubicBezTo>
                    <a:pt x="92" y="5239"/>
                    <a:pt x="-289" y="7144"/>
                    <a:pt x="283" y="8668"/>
                  </a:cubicBezTo>
                  <a:cubicBezTo>
                    <a:pt x="283" y="8382"/>
                    <a:pt x="378" y="8096"/>
                    <a:pt x="473" y="7906"/>
                  </a:cubicBezTo>
                  <a:cubicBezTo>
                    <a:pt x="473" y="7906"/>
                    <a:pt x="473" y="7715"/>
                    <a:pt x="473" y="7620"/>
                  </a:cubicBezTo>
                  <a:cubicBezTo>
                    <a:pt x="1045" y="5048"/>
                    <a:pt x="1902" y="2476"/>
                    <a:pt x="2759" y="0"/>
                  </a:cubicBezTo>
                  <a:cubicBezTo>
                    <a:pt x="2473" y="0"/>
                    <a:pt x="1902" y="1048"/>
                    <a:pt x="1711" y="1238"/>
                  </a:cubicBezTo>
                  <a:close/>
                </a:path>
              </a:pathLst>
            </a:custGeom>
            <a:grpFill/>
            <a:ln w="9525" cap="flat">
              <a:noFill/>
              <a:prstDash val="solid"/>
              <a:miter/>
            </a:ln>
          </p:spPr>
          <p:txBody>
            <a:bodyPr rtlCol="0" anchor="ctr"/>
            <a:lstStyle/>
            <a:p>
              <a:endParaRPr lang="en-US" dirty="0"/>
            </a:p>
          </p:txBody>
        </p:sp>
        <p:sp>
          <p:nvSpPr>
            <p:cNvPr id="119" name="Freeform: Shape 118">
              <a:extLst>
                <a:ext uri="{FF2B5EF4-FFF2-40B4-BE49-F238E27FC236}">
                  <a16:creationId xmlns:a16="http://schemas.microsoft.com/office/drawing/2014/main" id="{3F6ECB54-B4B0-BD8A-22E1-72825B2FCA1F}"/>
                </a:ext>
              </a:extLst>
            </p:cNvPr>
            <p:cNvSpPr/>
            <p:nvPr/>
          </p:nvSpPr>
          <p:spPr>
            <a:xfrm>
              <a:off x="4951240" y="569207"/>
              <a:ext cx="10495" cy="11264"/>
            </a:xfrm>
            <a:custGeom>
              <a:avLst/>
              <a:gdLst>
                <a:gd name="connsiteX0" fmla="*/ 4339 w 4719"/>
                <a:gd name="connsiteY0" fmla="*/ 762 h 5065"/>
                <a:gd name="connsiteX1" fmla="*/ 2624 w 4719"/>
                <a:gd name="connsiteY1" fmla="*/ 0 h 5065"/>
                <a:gd name="connsiteX2" fmla="*/ 148 w 4719"/>
                <a:gd name="connsiteY2" fmla="*/ 1619 h 5065"/>
                <a:gd name="connsiteX3" fmla="*/ 1196 w 4719"/>
                <a:gd name="connsiteY3" fmla="*/ 4382 h 5065"/>
                <a:gd name="connsiteX4" fmla="*/ 3767 w 4719"/>
                <a:gd name="connsiteY4" fmla="*/ 4763 h 5065"/>
                <a:gd name="connsiteX5" fmla="*/ 4720 w 4719"/>
                <a:gd name="connsiteY5" fmla="*/ 2191 h 5065"/>
                <a:gd name="connsiteX6" fmla="*/ 4720 w 4719"/>
                <a:gd name="connsiteY6" fmla="*/ 1810 h 5065"/>
                <a:gd name="connsiteX7" fmla="*/ 4720 w 4719"/>
                <a:gd name="connsiteY7" fmla="*/ 2000 h 5065"/>
                <a:gd name="connsiteX8" fmla="*/ 4243 w 4719"/>
                <a:gd name="connsiteY8" fmla="*/ 667 h 5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19" h="5065">
                  <a:moveTo>
                    <a:pt x="4339" y="762"/>
                  </a:moveTo>
                  <a:cubicBezTo>
                    <a:pt x="3863" y="286"/>
                    <a:pt x="3291" y="0"/>
                    <a:pt x="2624" y="0"/>
                  </a:cubicBezTo>
                  <a:cubicBezTo>
                    <a:pt x="1576" y="0"/>
                    <a:pt x="624" y="667"/>
                    <a:pt x="148" y="1619"/>
                  </a:cubicBezTo>
                  <a:cubicBezTo>
                    <a:pt x="-328" y="2667"/>
                    <a:pt x="433" y="3715"/>
                    <a:pt x="1196" y="4382"/>
                  </a:cubicBezTo>
                  <a:cubicBezTo>
                    <a:pt x="1862" y="4858"/>
                    <a:pt x="3005" y="5429"/>
                    <a:pt x="3767" y="4763"/>
                  </a:cubicBezTo>
                  <a:cubicBezTo>
                    <a:pt x="4434" y="4191"/>
                    <a:pt x="4624" y="3143"/>
                    <a:pt x="4720" y="2191"/>
                  </a:cubicBezTo>
                  <a:cubicBezTo>
                    <a:pt x="4720" y="2096"/>
                    <a:pt x="4720" y="1810"/>
                    <a:pt x="4720" y="1810"/>
                  </a:cubicBezTo>
                  <a:cubicBezTo>
                    <a:pt x="4720" y="1810"/>
                    <a:pt x="4720" y="1905"/>
                    <a:pt x="4720" y="2000"/>
                  </a:cubicBezTo>
                  <a:cubicBezTo>
                    <a:pt x="4720" y="1429"/>
                    <a:pt x="4720" y="1048"/>
                    <a:pt x="4243" y="667"/>
                  </a:cubicBezTo>
                  <a:close/>
                </a:path>
              </a:pathLst>
            </a:custGeom>
            <a:grpFill/>
            <a:ln w="9525" cap="flat">
              <a:noFill/>
              <a:prstDash val="solid"/>
              <a:miter/>
            </a:ln>
          </p:spPr>
          <p:txBody>
            <a:bodyPr rtlCol="0" anchor="ctr"/>
            <a:lstStyle/>
            <a:p>
              <a:endParaRPr lang="en-US" dirty="0"/>
            </a:p>
          </p:txBody>
        </p:sp>
        <p:sp>
          <p:nvSpPr>
            <p:cNvPr id="120" name="Freeform: Shape 119">
              <a:extLst>
                <a:ext uri="{FF2B5EF4-FFF2-40B4-BE49-F238E27FC236}">
                  <a16:creationId xmlns:a16="http://schemas.microsoft.com/office/drawing/2014/main" id="{8B209370-6656-FB2B-D5F9-9166EAC40218}"/>
                </a:ext>
              </a:extLst>
            </p:cNvPr>
            <p:cNvSpPr/>
            <p:nvPr/>
          </p:nvSpPr>
          <p:spPr>
            <a:xfrm>
              <a:off x="4968938" y="557558"/>
              <a:ext cx="2753" cy="10590"/>
            </a:xfrm>
            <a:custGeom>
              <a:avLst/>
              <a:gdLst>
                <a:gd name="connsiteX0" fmla="*/ 286 w 1238"/>
                <a:gd name="connsiteY0" fmla="*/ 1619 h 4762"/>
                <a:gd name="connsiteX1" fmla="*/ 0 w 1238"/>
                <a:gd name="connsiteY1" fmla="*/ 4572 h 4762"/>
                <a:gd name="connsiteX2" fmla="*/ 0 w 1238"/>
                <a:gd name="connsiteY2" fmla="*/ 4763 h 4762"/>
                <a:gd name="connsiteX3" fmla="*/ 190 w 1238"/>
                <a:gd name="connsiteY3" fmla="*/ 4096 h 4762"/>
                <a:gd name="connsiteX4" fmla="*/ 1238 w 1238"/>
                <a:gd name="connsiteY4" fmla="*/ 0 h 4762"/>
                <a:gd name="connsiteX5" fmla="*/ 571 w 1238"/>
                <a:gd name="connsiteY5" fmla="*/ 381 h 4762"/>
                <a:gd name="connsiteX6" fmla="*/ 286 w 1238"/>
                <a:gd name="connsiteY6" fmla="*/ 1619 h 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 h="4762">
                  <a:moveTo>
                    <a:pt x="286" y="1619"/>
                  </a:moveTo>
                  <a:cubicBezTo>
                    <a:pt x="95" y="2572"/>
                    <a:pt x="0" y="3524"/>
                    <a:pt x="0" y="4572"/>
                  </a:cubicBezTo>
                  <a:cubicBezTo>
                    <a:pt x="0" y="4572"/>
                    <a:pt x="0" y="4667"/>
                    <a:pt x="0" y="4763"/>
                  </a:cubicBezTo>
                  <a:cubicBezTo>
                    <a:pt x="0" y="4763"/>
                    <a:pt x="190" y="4286"/>
                    <a:pt x="190" y="4096"/>
                  </a:cubicBezTo>
                  <a:cubicBezTo>
                    <a:pt x="476" y="2762"/>
                    <a:pt x="857" y="1333"/>
                    <a:pt x="1238" y="0"/>
                  </a:cubicBezTo>
                  <a:cubicBezTo>
                    <a:pt x="1048" y="0"/>
                    <a:pt x="667" y="95"/>
                    <a:pt x="571" y="381"/>
                  </a:cubicBezTo>
                  <a:cubicBezTo>
                    <a:pt x="381" y="762"/>
                    <a:pt x="381" y="1238"/>
                    <a:pt x="286" y="1619"/>
                  </a:cubicBezTo>
                  <a:close/>
                </a:path>
              </a:pathLst>
            </a:custGeom>
            <a:grpFill/>
            <a:ln w="9525" cap="flat">
              <a:noFill/>
              <a:prstDash val="solid"/>
              <a:miter/>
            </a:ln>
          </p:spPr>
          <p:txBody>
            <a:bodyPr rtlCol="0" anchor="ctr"/>
            <a:lstStyle/>
            <a:p>
              <a:endParaRPr lang="en-US" dirty="0"/>
            </a:p>
          </p:txBody>
        </p:sp>
        <p:sp>
          <p:nvSpPr>
            <p:cNvPr id="121" name="Freeform: Shape 120">
              <a:extLst>
                <a:ext uri="{FF2B5EF4-FFF2-40B4-BE49-F238E27FC236}">
                  <a16:creationId xmlns:a16="http://schemas.microsoft.com/office/drawing/2014/main" id="{1E06BFA8-B212-E019-0982-7660388AB136}"/>
                </a:ext>
              </a:extLst>
            </p:cNvPr>
            <p:cNvSpPr/>
            <p:nvPr/>
          </p:nvSpPr>
          <p:spPr>
            <a:xfrm>
              <a:off x="4901919" y="431310"/>
              <a:ext cx="10036" cy="28595"/>
            </a:xfrm>
            <a:custGeom>
              <a:avLst/>
              <a:gdLst>
                <a:gd name="connsiteX0" fmla="*/ 2133 w 4513"/>
                <a:gd name="connsiteY0" fmla="*/ 2762 h 12858"/>
                <a:gd name="connsiteX1" fmla="*/ 37 w 4513"/>
                <a:gd name="connsiteY1" fmla="*/ 8668 h 12858"/>
                <a:gd name="connsiteX2" fmla="*/ 3657 w 4513"/>
                <a:gd name="connsiteY2" fmla="*/ 12668 h 12858"/>
                <a:gd name="connsiteX3" fmla="*/ 3657 w 4513"/>
                <a:gd name="connsiteY3" fmla="*/ 12668 h 12858"/>
                <a:gd name="connsiteX4" fmla="*/ 4514 w 4513"/>
                <a:gd name="connsiteY4" fmla="*/ 12859 h 12858"/>
                <a:gd name="connsiteX5" fmla="*/ 1561 w 4513"/>
                <a:gd name="connsiteY5" fmla="*/ 7239 h 12858"/>
                <a:gd name="connsiteX6" fmla="*/ 4514 w 4513"/>
                <a:gd name="connsiteY6" fmla="*/ 0 h 12858"/>
                <a:gd name="connsiteX7" fmla="*/ 2037 w 4513"/>
                <a:gd name="connsiteY7" fmla="*/ 2762 h 1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13" h="12858">
                  <a:moveTo>
                    <a:pt x="2133" y="2762"/>
                  </a:moveTo>
                  <a:cubicBezTo>
                    <a:pt x="1180" y="4477"/>
                    <a:pt x="-249" y="6667"/>
                    <a:pt x="37" y="8668"/>
                  </a:cubicBezTo>
                  <a:cubicBezTo>
                    <a:pt x="227" y="10763"/>
                    <a:pt x="1656" y="12287"/>
                    <a:pt x="3657" y="12668"/>
                  </a:cubicBezTo>
                  <a:cubicBezTo>
                    <a:pt x="2609" y="12478"/>
                    <a:pt x="3561" y="12668"/>
                    <a:pt x="3657" y="12668"/>
                  </a:cubicBezTo>
                  <a:cubicBezTo>
                    <a:pt x="3657" y="12668"/>
                    <a:pt x="4228" y="12764"/>
                    <a:pt x="4514" y="12859"/>
                  </a:cubicBezTo>
                  <a:cubicBezTo>
                    <a:pt x="2323" y="11716"/>
                    <a:pt x="1561" y="9811"/>
                    <a:pt x="1561" y="7239"/>
                  </a:cubicBezTo>
                  <a:cubicBezTo>
                    <a:pt x="1561" y="4572"/>
                    <a:pt x="2990" y="2096"/>
                    <a:pt x="4514" y="0"/>
                  </a:cubicBezTo>
                  <a:cubicBezTo>
                    <a:pt x="3657" y="857"/>
                    <a:pt x="2609" y="1810"/>
                    <a:pt x="2037" y="2762"/>
                  </a:cubicBezTo>
                  <a:close/>
                </a:path>
              </a:pathLst>
            </a:custGeom>
            <a:grpFill/>
            <a:ln w="9525" cap="flat">
              <a:noFill/>
              <a:prstDash val="solid"/>
              <a:miter/>
            </a:ln>
          </p:spPr>
          <p:txBody>
            <a:bodyPr rtlCol="0" anchor="ctr"/>
            <a:lstStyle/>
            <a:p>
              <a:endParaRPr lang="en-US" dirty="0"/>
            </a:p>
          </p:txBody>
        </p:sp>
        <p:sp>
          <p:nvSpPr>
            <p:cNvPr id="122" name="Freeform: Shape 121">
              <a:extLst>
                <a:ext uri="{FF2B5EF4-FFF2-40B4-BE49-F238E27FC236}">
                  <a16:creationId xmlns:a16="http://schemas.microsoft.com/office/drawing/2014/main" id="{0AE1FF35-5F3A-2406-E571-855CAF7E2879}"/>
                </a:ext>
              </a:extLst>
            </p:cNvPr>
            <p:cNvSpPr/>
            <p:nvPr/>
          </p:nvSpPr>
          <p:spPr>
            <a:xfrm>
              <a:off x="5178221" y="216400"/>
              <a:ext cx="27429" cy="14522"/>
            </a:xfrm>
            <a:custGeom>
              <a:avLst/>
              <a:gdLst>
                <a:gd name="connsiteX0" fmla="*/ 6858 w 12334"/>
                <a:gd name="connsiteY0" fmla="*/ 1863 h 6530"/>
                <a:gd name="connsiteX1" fmla="*/ 12192 w 12334"/>
                <a:gd name="connsiteY1" fmla="*/ 6530 h 6530"/>
                <a:gd name="connsiteX2" fmla="*/ 12192 w 12334"/>
                <a:gd name="connsiteY2" fmla="*/ 6149 h 6530"/>
                <a:gd name="connsiteX3" fmla="*/ 11525 w 12334"/>
                <a:gd name="connsiteY3" fmla="*/ 5387 h 6530"/>
                <a:gd name="connsiteX4" fmla="*/ 10287 w 12334"/>
                <a:gd name="connsiteY4" fmla="*/ 3673 h 6530"/>
                <a:gd name="connsiteX5" fmla="*/ 7429 w 12334"/>
                <a:gd name="connsiteY5" fmla="*/ 1101 h 6530"/>
                <a:gd name="connsiteX6" fmla="*/ 0 w 12334"/>
                <a:gd name="connsiteY6" fmla="*/ 720 h 6530"/>
                <a:gd name="connsiteX7" fmla="*/ 6858 w 12334"/>
                <a:gd name="connsiteY7" fmla="*/ 1958 h 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34" h="6530">
                  <a:moveTo>
                    <a:pt x="6858" y="1863"/>
                  </a:moveTo>
                  <a:cubicBezTo>
                    <a:pt x="8858" y="3101"/>
                    <a:pt x="10573" y="4720"/>
                    <a:pt x="12192" y="6530"/>
                  </a:cubicBezTo>
                  <a:cubicBezTo>
                    <a:pt x="12382" y="6340"/>
                    <a:pt x="12382" y="6340"/>
                    <a:pt x="12192" y="6149"/>
                  </a:cubicBezTo>
                  <a:cubicBezTo>
                    <a:pt x="12001" y="5959"/>
                    <a:pt x="11716" y="5673"/>
                    <a:pt x="11525" y="5387"/>
                  </a:cubicBezTo>
                  <a:cubicBezTo>
                    <a:pt x="11049" y="4816"/>
                    <a:pt x="10668" y="4244"/>
                    <a:pt x="10287" y="3673"/>
                  </a:cubicBezTo>
                  <a:cubicBezTo>
                    <a:pt x="9525" y="2625"/>
                    <a:pt x="8572" y="1768"/>
                    <a:pt x="7429" y="1101"/>
                  </a:cubicBezTo>
                  <a:cubicBezTo>
                    <a:pt x="5143" y="-137"/>
                    <a:pt x="2381" y="-423"/>
                    <a:pt x="0" y="720"/>
                  </a:cubicBezTo>
                  <a:cubicBezTo>
                    <a:pt x="2381" y="-137"/>
                    <a:pt x="4763" y="720"/>
                    <a:pt x="6858" y="1958"/>
                  </a:cubicBezTo>
                  <a:close/>
                </a:path>
              </a:pathLst>
            </a:custGeom>
            <a:grpFill/>
            <a:ln w="9525" cap="flat">
              <a:noFill/>
              <a:prstDash val="solid"/>
              <a:miter/>
            </a:ln>
          </p:spPr>
          <p:txBody>
            <a:bodyPr rtlCol="0" anchor="ctr"/>
            <a:lstStyle/>
            <a:p>
              <a:endParaRPr lang="en-US" dirty="0"/>
            </a:p>
          </p:txBody>
        </p:sp>
        <p:sp>
          <p:nvSpPr>
            <p:cNvPr id="123" name="Freeform: Shape 122">
              <a:extLst>
                <a:ext uri="{FF2B5EF4-FFF2-40B4-BE49-F238E27FC236}">
                  <a16:creationId xmlns:a16="http://schemas.microsoft.com/office/drawing/2014/main" id="{508BB7EF-C911-D842-4A88-DE81F90C7626}"/>
                </a:ext>
              </a:extLst>
            </p:cNvPr>
            <p:cNvSpPr/>
            <p:nvPr/>
          </p:nvSpPr>
          <p:spPr>
            <a:xfrm>
              <a:off x="5000288" y="278159"/>
              <a:ext cx="5929" cy="8896"/>
            </a:xfrm>
            <a:custGeom>
              <a:avLst/>
              <a:gdLst>
                <a:gd name="connsiteX0" fmla="*/ 2667 w 2666"/>
                <a:gd name="connsiteY0" fmla="*/ 2762 h 4000"/>
                <a:gd name="connsiteX1" fmla="*/ 2191 w 2666"/>
                <a:gd name="connsiteY1" fmla="*/ 2000 h 4000"/>
                <a:gd name="connsiteX2" fmla="*/ 1238 w 2666"/>
                <a:gd name="connsiteY2" fmla="*/ 0 h 4000"/>
                <a:gd name="connsiteX3" fmla="*/ 0 w 2666"/>
                <a:gd name="connsiteY3" fmla="*/ 2667 h 4000"/>
                <a:gd name="connsiteX4" fmla="*/ 2667 w 2666"/>
                <a:gd name="connsiteY4" fmla="*/ 4001 h 4000"/>
                <a:gd name="connsiteX5" fmla="*/ 2667 w 2666"/>
                <a:gd name="connsiteY5" fmla="*/ 2762 h 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6" h="4000">
                  <a:moveTo>
                    <a:pt x="2667" y="2762"/>
                  </a:moveTo>
                  <a:cubicBezTo>
                    <a:pt x="2667" y="2762"/>
                    <a:pt x="2381" y="2191"/>
                    <a:pt x="2191" y="2000"/>
                  </a:cubicBezTo>
                  <a:cubicBezTo>
                    <a:pt x="1809" y="1333"/>
                    <a:pt x="1429" y="667"/>
                    <a:pt x="1238" y="0"/>
                  </a:cubicBezTo>
                  <a:cubicBezTo>
                    <a:pt x="952" y="952"/>
                    <a:pt x="476" y="1810"/>
                    <a:pt x="0" y="2667"/>
                  </a:cubicBezTo>
                  <a:cubicBezTo>
                    <a:pt x="952" y="3048"/>
                    <a:pt x="1809" y="3524"/>
                    <a:pt x="2667" y="4001"/>
                  </a:cubicBezTo>
                  <a:cubicBezTo>
                    <a:pt x="2667" y="3620"/>
                    <a:pt x="2667" y="3143"/>
                    <a:pt x="2667" y="2762"/>
                  </a:cubicBezTo>
                  <a:close/>
                </a:path>
              </a:pathLst>
            </a:custGeom>
            <a:grpFill/>
            <a:ln w="9525"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C004FE7C-1CBD-43B0-7C20-968A05C3F738}"/>
                </a:ext>
              </a:extLst>
            </p:cNvPr>
            <p:cNvSpPr/>
            <p:nvPr/>
          </p:nvSpPr>
          <p:spPr>
            <a:xfrm>
              <a:off x="5119546" y="211625"/>
              <a:ext cx="9093" cy="24167"/>
            </a:xfrm>
            <a:custGeom>
              <a:avLst/>
              <a:gdLst>
                <a:gd name="connsiteX0" fmla="*/ 571 w 4089"/>
                <a:gd name="connsiteY0" fmla="*/ 10868 h 10867"/>
                <a:gd name="connsiteX1" fmla="*/ 3810 w 4089"/>
                <a:gd name="connsiteY1" fmla="*/ 4200 h 10867"/>
                <a:gd name="connsiteX2" fmla="*/ 3334 w 4089"/>
                <a:gd name="connsiteY2" fmla="*/ 1057 h 10867"/>
                <a:gd name="connsiteX3" fmla="*/ 2191 w 4089"/>
                <a:gd name="connsiteY3" fmla="*/ 9 h 10867"/>
                <a:gd name="connsiteX4" fmla="*/ 1048 w 4089"/>
                <a:gd name="connsiteY4" fmla="*/ 962 h 10867"/>
                <a:gd name="connsiteX5" fmla="*/ 0 w 4089"/>
                <a:gd name="connsiteY5" fmla="*/ 4391 h 10867"/>
                <a:gd name="connsiteX6" fmla="*/ 667 w 4089"/>
                <a:gd name="connsiteY6" fmla="*/ 10582 h 10867"/>
                <a:gd name="connsiteX7" fmla="*/ 667 w 4089"/>
                <a:gd name="connsiteY7" fmla="*/ 10868 h 1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9" h="10867">
                  <a:moveTo>
                    <a:pt x="571" y="10868"/>
                  </a:moveTo>
                  <a:cubicBezTo>
                    <a:pt x="1048" y="9248"/>
                    <a:pt x="3239" y="5629"/>
                    <a:pt x="3810" y="4200"/>
                  </a:cubicBezTo>
                  <a:cubicBezTo>
                    <a:pt x="4382" y="2867"/>
                    <a:pt x="4001" y="2009"/>
                    <a:pt x="3334" y="1057"/>
                  </a:cubicBezTo>
                  <a:cubicBezTo>
                    <a:pt x="3048" y="676"/>
                    <a:pt x="2667" y="104"/>
                    <a:pt x="2191" y="9"/>
                  </a:cubicBezTo>
                  <a:cubicBezTo>
                    <a:pt x="1715" y="-86"/>
                    <a:pt x="1238" y="581"/>
                    <a:pt x="1048" y="962"/>
                  </a:cubicBezTo>
                  <a:cubicBezTo>
                    <a:pt x="381" y="2009"/>
                    <a:pt x="0" y="3152"/>
                    <a:pt x="0" y="4391"/>
                  </a:cubicBezTo>
                  <a:cubicBezTo>
                    <a:pt x="0" y="4676"/>
                    <a:pt x="286" y="8963"/>
                    <a:pt x="667" y="10582"/>
                  </a:cubicBezTo>
                  <a:cubicBezTo>
                    <a:pt x="667" y="10582"/>
                    <a:pt x="667" y="10772"/>
                    <a:pt x="667" y="10868"/>
                  </a:cubicBezTo>
                  <a:close/>
                </a:path>
              </a:pathLst>
            </a:custGeom>
            <a:grpFill/>
            <a:ln w="9525" cap="flat">
              <a:noFill/>
              <a:prstDash val="solid"/>
              <a:miter/>
            </a:ln>
          </p:spPr>
          <p:txBody>
            <a:bodyPr rtlCol="0" anchor="ctr"/>
            <a:lstStyle/>
            <a:p>
              <a:endParaRPr lang="en-US" dirty="0"/>
            </a:p>
          </p:txBody>
        </p:sp>
        <p:sp>
          <p:nvSpPr>
            <p:cNvPr id="125" name="Freeform: Shape 124">
              <a:extLst>
                <a:ext uri="{FF2B5EF4-FFF2-40B4-BE49-F238E27FC236}">
                  <a16:creationId xmlns:a16="http://schemas.microsoft.com/office/drawing/2014/main" id="{A08EE800-A80B-86AB-E5C2-2382DC573A98}"/>
                </a:ext>
              </a:extLst>
            </p:cNvPr>
            <p:cNvSpPr/>
            <p:nvPr/>
          </p:nvSpPr>
          <p:spPr>
            <a:xfrm>
              <a:off x="5244735" y="230844"/>
              <a:ext cx="24994" cy="4948"/>
            </a:xfrm>
            <a:custGeom>
              <a:avLst/>
              <a:gdLst>
                <a:gd name="connsiteX0" fmla="*/ 11240 w 11239"/>
                <a:gd name="connsiteY0" fmla="*/ 2035 h 2225"/>
                <a:gd name="connsiteX1" fmla="*/ 5715 w 11239"/>
                <a:gd name="connsiteY1" fmla="*/ 35 h 2225"/>
                <a:gd name="connsiteX2" fmla="*/ 2096 w 11239"/>
                <a:gd name="connsiteY2" fmla="*/ 892 h 2225"/>
                <a:gd name="connsiteX3" fmla="*/ 0 w 11239"/>
                <a:gd name="connsiteY3" fmla="*/ 2226 h 2225"/>
                <a:gd name="connsiteX4" fmla="*/ 5810 w 11239"/>
                <a:gd name="connsiteY4" fmla="*/ 1464 h 2225"/>
                <a:gd name="connsiteX5" fmla="*/ 11240 w 11239"/>
                <a:gd name="connsiteY5" fmla="*/ 2035 h 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39" h="2225">
                  <a:moveTo>
                    <a:pt x="11240" y="2035"/>
                  </a:moveTo>
                  <a:cubicBezTo>
                    <a:pt x="9906" y="416"/>
                    <a:pt x="7715" y="-155"/>
                    <a:pt x="5715" y="35"/>
                  </a:cubicBezTo>
                  <a:cubicBezTo>
                    <a:pt x="4477" y="130"/>
                    <a:pt x="3334" y="511"/>
                    <a:pt x="2096" y="892"/>
                  </a:cubicBezTo>
                  <a:cubicBezTo>
                    <a:pt x="1334" y="1178"/>
                    <a:pt x="381" y="1464"/>
                    <a:pt x="0" y="2226"/>
                  </a:cubicBezTo>
                  <a:cubicBezTo>
                    <a:pt x="0" y="2226"/>
                    <a:pt x="4191" y="1559"/>
                    <a:pt x="5810" y="1464"/>
                  </a:cubicBezTo>
                  <a:cubicBezTo>
                    <a:pt x="7620" y="1464"/>
                    <a:pt x="9525" y="1464"/>
                    <a:pt x="11240" y="2035"/>
                  </a:cubicBezTo>
                  <a:close/>
                </a:path>
              </a:pathLst>
            </a:custGeom>
            <a:grpFill/>
            <a:ln w="9525" cap="flat">
              <a:noFill/>
              <a:prstDash val="solid"/>
              <a:miter/>
            </a:ln>
          </p:spPr>
          <p:txBody>
            <a:bodyPr rtlCol="0" anchor="ctr"/>
            <a:lstStyle/>
            <a:p>
              <a:endParaRPr lang="en-US" dirty="0"/>
            </a:p>
          </p:txBody>
        </p:sp>
        <p:sp>
          <p:nvSpPr>
            <p:cNvPr id="126" name="Freeform: Shape 125">
              <a:extLst>
                <a:ext uri="{FF2B5EF4-FFF2-40B4-BE49-F238E27FC236}">
                  <a16:creationId xmlns:a16="http://schemas.microsoft.com/office/drawing/2014/main" id="{783020E2-0E15-0F24-39BA-3C51D6131695}"/>
                </a:ext>
              </a:extLst>
            </p:cNvPr>
            <p:cNvSpPr/>
            <p:nvPr/>
          </p:nvSpPr>
          <p:spPr>
            <a:xfrm>
              <a:off x="5075486" y="243827"/>
              <a:ext cx="9320" cy="8700"/>
            </a:xfrm>
            <a:custGeom>
              <a:avLst/>
              <a:gdLst>
                <a:gd name="connsiteX0" fmla="*/ 4191 w 4191"/>
                <a:gd name="connsiteY0" fmla="*/ 769 h 3912"/>
                <a:gd name="connsiteX1" fmla="*/ 2857 w 4191"/>
                <a:gd name="connsiteY1" fmla="*/ 7 h 3912"/>
                <a:gd name="connsiteX2" fmla="*/ 2286 w 4191"/>
                <a:gd name="connsiteY2" fmla="*/ 388 h 3912"/>
                <a:gd name="connsiteX3" fmla="*/ 1333 w 4191"/>
                <a:gd name="connsiteY3" fmla="*/ 1341 h 3912"/>
                <a:gd name="connsiteX4" fmla="*/ 286 w 4191"/>
                <a:gd name="connsiteY4" fmla="*/ 3055 h 3912"/>
                <a:gd name="connsiteX5" fmla="*/ 0 w 4191"/>
                <a:gd name="connsiteY5" fmla="*/ 3913 h 3912"/>
                <a:gd name="connsiteX6" fmla="*/ 4096 w 4191"/>
                <a:gd name="connsiteY6" fmla="*/ 769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1" h="3912">
                  <a:moveTo>
                    <a:pt x="4191" y="769"/>
                  </a:moveTo>
                  <a:cubicBezTo>
                    <a:pt x="4191" y="769"/>
                    <a:pt x="3143" y="-88"/>
                    <a:pt x="2857" y="7"/>
                  </a:cubicBezTo>
                  <a:cubicBezTo>
                    <a:pt x="2667" y="7"/>
                    <a:pt x="2477" y="293"/>
                    <a:pt x="2286" y="388"/>
                  </a:cubicBezTo>
                  <a:cubicBezTo>
                    <a:pt x="1905" y="674"/>
                    <a:pt x="1619" y="960"/>
                    <a:pt x="1333" y="1341"/>
                  </a:cubicBezTo>
                  <a:cubicBezTo>
                    <a:pt x="953" y="1817"/>
                    <a:pt x="571" y="2389"/>
                    <a:pt x="286" y="3055"/>
                  </a:cubicBezTo>
                  <a:cubicBezTo>
                    <a:pt x="190" y="3341"/>
                    <a:pt x="95" y="3817"/>
                    <a:pt x="0" y="3913"/>
                  </a:cubicBezTo>
                  <a:cubicBezTo>
                    <a:pt x="762" y="2389"/>
                    <a:pt x="2667" y="1722"/>
                    <a:pt x="4096" y="769"/>
                  </a:cubicBezTo>
                  <a:close/>
                </a:path>
              </a:pathLst>
            </a:custGeom>
            <a:grpFill/>
            <a:ln w="9525" cap="flat">
              <a:noFill/>
              <a:prstDash val="solid"/>
              <a:miter/>
            </a:ln>
          </p:spPr>
          <p:txBody>
            <a:bodyPr rtlCol="0" anchor="ctr"/>
            <a:lstStyle/>
            <a:p>
              <a:endParaRPr lang="en-US" dirty="0"/>
            </a:p>
          </p:txBody>
        </p:sp>
        <p:sp>
          <p:nvSpPr>
            <p:cNvPr id="127" name="Freeform: Shape 126">
              <a:extLst>
                <a:ext uri="{FF2B5EF4-FFF2-40B4-BE49-F238E27FC236}">
                  <a16:creationId xmlns:a16="http://schemas.microsoft.com/office/drawing/2014/main" id="{D45D3BE8-8B4C-2193-8CEA-882613B90594}"/>
                </a:ext>
              </a:extLst>
            </p:cNvPr>
            <p:cNvSpPr/>
            <p:nvPr/>
          </p:nvSpPr>
          <p:spPr>
            <a:xfrm>
              <a:off x="5094763" y="239230"/>
              <a:ext cx="24147" cy="7154"/>
            </a:xfrm>
            <a:custGeom>
              <a:avLst/>
              <a:gdLst>
                <a:gd name="connsiteX0" fmla="*/ 6191 w 10858"/>
                <a:gd name="connsiteY0" fmla="*/ 265 h 3217"/>
                <a:gd name="connsiteX1" fmla="*/ 381 w 10858"/>
                <a:gd name="connsiteY1" fmla="*/ 646 h 3217"/>
                <a:gd name="connsiteX2" fmla="*/ 0 w 10858"/>
                <a:gd name="connsiteY2" fmla="*/ 741 h 3217"/>
                <a:gd name="connsiteX3" fmla="*/ 10858 w 10858"/>
                <a:gd name="connsiteY3" fmla="*/ 3217 h 3217"/>
                <a:gd name="connsiteX4" fmla="*/ 6191 w 10858"/>
                <a:gd name="connsiteY4" fmla="*/ 265 h 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8" h="3217">
                  <a:moveTo>
                    <a:pt x="6191" y="265"/>
                  </a:moveTo>
                  <a:cubicBezTo>
                    <a:pt x="4286" y="-212"/>
                    <a:pt x="2191" y="-21"/>
                    <a:pt x="381" y="646"/>
                  </a:cubicBezTo>
                  <a:cubicBezTo>
                    <a:pt x="286" y="646"/>
                    <a:pt x="95" y="646"/>
                    <a:pt x="0" y="741"/>
                  </a:cubicBezTo>
                  <a:cubicBezTo>
                    <a:pt x="3715" y="741"/>
                    <a:pt x="7429" y="1884"/>
                    <a:pt x="10858" y="3217"/>
                  </a:cubicBezTo>
                  <a:cubicBezTo>
                    <a:pt x="9620" y="1789"/>
                    <a:pt x="8001" y="741"/>
                    <a:pt x="6191" y="265"/>
                  </a:cubicBezTo>
                  <a:close/>
                </a:path>
              </a:pathLst>
            </a:custGeom>
            <a:grpFill/>
            <a:ln w="9525" cap="flat">
              <a:noFill/>
              <a:prstDash val="solid"/>
              <a:miter/>
            </a:ln>
          </p:spPr>
          <p:txBody>
            <a:bodyPr rtlCol="0" anchor="ctr"/>
            <a:lstStyle/>
            <a:p>
              <a:endParaRPr lang="en-US" dirty="0"/>
            </a:p>
          </p:txBody>
        </p:sp>
        <p:sp>
          <p:nvSpPr>
            <p:cNvPr id="1024" name="Freeform: Shape 1023">
              <a:extLst>
                <a:ext uri="{FF2B5EF4-FFF2-40B4-BE49-F238E27FC236}">
                  <a16:creationId xmlns:a16="http://schemas.microsoft.com/office/drawing/2014/main" id="{52B8DD06-14F4-4E93-CEAC-47CDB4BB155C}"/>
                </a:ext>
              </a:extLst>
            </p:cNvPr>
            <p:cNvSpPr/>
            <p:nvPr/>
          </p:nvSpPr>
          <p:spPr>
            <a:xfrm>
              <a:off x="5370136" y="325608"/>
              <a:ext cx="4250" cy="8684"/>
            </a:xfrm>
            <a:custGeom>
              <a:avLst/>
              <a:gdLst>
                <a:gd name="connsiteX0" fmla="*/ 476 w 1911"/>
                <a:gd name="connsiteY0" fmla="*/ 3810 h 3905"/>
                <a:gd name="connsiteX1" fmla="*/ 1905 w 1911"/>
                <a:gd name="connsiteY1" fmla="*/ 1524 h 3905"/>
                <a:gd name="connsiteX2" fmla="*/ 381 w 1911"/>
                <a:gd name="connsiteY2" fmla="*/ 0 h 3905"/>
                <a:gd name="connsiteX3" fmla="*/ 0 w 1911"/>
                <a:gd name="connsiteY3" fmla="*/ 0 h 3905"/>
                <a:gd name="connsiteX4" fmla="*/ 476 w 1911"/>
                <a:gd name="connsiteY4" fmla="*/ 3905 h 3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 h="3905">
                  <a:moveTo>
                    <a:pt x="476" y="3810"/>
                  </a:moveTo>
                  <a:cubicBezTo>
                    <a:pt x="1048" y="3143"/>
                    <a:pt x="2000" y="2477"/>
                    <a:pt x="1905" y="1524"/>
                  </a:cubicBezTo>
                  <a:cubicBezTo>
                    <a:pt x="1905" y="762"/>
                    <a:pt x="1048" y="286"/>
                    <a:pt x="381" y="0"/>
                  </a:cubicBezTo>
                  <a:cubicBezTo>
                    <a:pt x="571" y="0"/>
                    <a:pt x="0" y="0"/>
                    <a:pt x="0" y="0"/>
                  </a:cubicBezTo>
                  <a:cubicBezTo>
                    <a:pt x="667" y="1143"/>
                    <a:pt x="667" y="2572"/>
                    <a:pt x="476" y="3905"/>
                  </a:cubicBezTo>
                  <a:close/>
                </a:path>
              </a:pathLst>
            </a:custGeom>
            <a:grpFill/>
            <a:ln w="9525" cap="flat">
              <a:noFill/>
              <a:prstDash val="solid"/>
              <a:miter/>
            </a:ln>
          </p:spPr>
          <p:txBody>
            <a:bodyPr rtlCol="0" anchor="ctr"/>
            <a:lstStyle/>
            <a:p>
              <a:endParaRPr lang="en-US" dirty="0"/>
            </a:p>
          </p:txBody>
        </p:sp>
        <p:sp>
          <p:nvSpPr>
            <p:cNvPr id="1025" name="Freeform: Shape 1024">
              <a:extLst>
                <a:ext uri="{FF2B5EF4-FFF2-40B4-BE49-F238E27FC236}">
                  <a16:creationId xmlns:a16="http://schemas.microsoft.com/office/drawing/2014/main" id="{29046E60-4216-A8CF-6CB9-E9974988667B}"/>
                </a:ext>
              </a:extLst>
            </p:cNvPr>
            <p:cNvSpPr/>
            <p:nvPr/>
          </p:nvSpPr>
          <p:spPr>
            <a:xfrm>
              <a:off x="5049856" y="639533"/>
              <a:ext cx="5506" cy="3176"/>
            </a:xfrm>
            <a:custGeom>
              <a:avLst/>
              <a:gdLst>
                <a:gd name="connsiteX0" fmla="*/ 1048 w 2476"/>
                <a:gd name="connsiteY0" fmla="*/ 0 h 1428"/>
                <a:gd name="connsiteX1" fmla="*/ 190 w 2476"/>
                <a:gd name="connsiteY1" fmla="*/ 191 h 1428"/>
                <a:gd name="connsiteX2" fmla="*/ 0 w 2476"/>
                <a:gd name="connsiteY2" fmla="*/ 476 h 1428"/>
                <a:gd name="connsiteX3" fmla="*/ 2476 w 2476"/>
                <a:gd name="connsiteY3" fmla="*/ 1429 h 1428"/>
                <a:gd name="connsiteX4" fmla="*/ 1143 w 2476"/>
                <a:gd name="connsiteY4" fmla="*/ 95 h 1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6" h="1428">
                  <a:moveTo>
                    <a:pt x="1048" y="0"/>
                  </a:moveTo>
                  <a:cubicBezTo>
                    <a:pt x="1048" y="0"/>
                    <a:pt x="476" y="0"/>
                    <a:pt x="190" y="191"/>
                  </a:cubicBezTo>
                  <a:cubicBezTo>
                    <a:pt x="190" y="191"/>
                    <a:pt x="95" y="381"/>
                    <a:pt x="0" y="476"/>
                  </a:cubicBezTo>
                  <a:cubicBezTo>
                    <a:pt x="857" y="1048"/>
                    <a:pt x="1714" y="1334"/>
                    <a:pt x="2476" y="1429"/>
                  </a:cubicBezTo>
                  <a:cubicBezTo>
                    <a:pt x="2096" y="857"/>
                    <a:pt x="1619" y="572"/>
                    <a:pt x="1143" y="95"/>
                  </a:cubicBezTo>
                  <a:close/>
                </a:path>
              </a:pathLst>
            </a:custGeom>
            <a:grpFill/>
            <a:ln w="9525" cap="flat">
              <a:noFill/>
              <a:prstDash val="solid"/>
              <a:miter/>
            </a:ln>
          </p:spPr>
          <p:txBody>
            <a:bodyPr rtlCol="0" anchor="ctr"/>
            <a:lstStyle/>
            <a:p>
              <a:endParaRPr lang="en-US" dirty="0"/>
            </a:p>
          </p:txBody>
        </p:sp>
        <p:sp>
          <p:nvSpPr>
            <p:cNvPr id="1026" name="Freeform: Shape 1025">
              <a:extLst>
                <a:ext uri="{FF2B5EF4-FFF2-40B4-BE49-F238E27FC236}">
                  <a16:creationId xmlns:a16="http://schemas.microsoft.com/office/drawing/2014/main" id="{15C518D3-0F64-C45A-3D60-469D01C870D9}"/>
                </a:ext>
              </a:extLst>
            </p:cNvPr>
            <p:cNvSpPr/>
            <p:nvPr/>
          </p:nvSpPr>
          <p:spPr>
            <a:xfrm>
              <a:off x="5044772" y="625976"/>
              <a:ext cx="7201" cy="12710"/>
            </a:xfrm>
            <a:custGeom>
              <a:avLst/>
              <a:gdLst>
                <a:gd name="connsiteX0" fmla="*/ 2953 w 3238"/>
                <a:gd name="connsiteY0" fmla="*/ 5524 h 5715"/>
                <a:gd name="connsiteX1" fmla="*/ 3238 w 3238"/>
                <a:gd name="connsiteY1" fmla="*/ 5524 h 5715"/>
                <a:gd name="connsiteX2" fmla="*/ 667 w 3238"/>
                <a:gd name="connsiteY2" fmla="*/ 3239 h 5715"/>
                <a:gd name="connsiteX3" fmla="*/ 476 w 3238"/>
                <a:gd name="connsiteY3" fmla="*/ 0 h 5715"/>
                <a:gd name="connsiteX4" fmla="*/ 0 w 3238"/>
                <a:gd name="connsiteY4" fmla="*/ 0 h 5715"/>
                <a:gd name="connsiteX5" fmla="*/ 667 w 3238"/>
                <a:gd name="connsiteY5" fmla="*/ 3715 h 5715"/>
                <a:gd name="connsiteX6" fmla="*/ 1619 w 3238"/>
                <a:gd name="connsiteY6" fmla="*/ 5715 h 5715"/>
                <a:gd name="connsiteX7" fmla="*/ 1619 w 3238"/>
                <a:gd name="connsiteY7" fmla="*/ 5620 h 5715"/>
                <a:gd name="connsiteX8" fmla="*/ 2953 w 3238"/>
                <a:gd name="connsiteY8" fmla="*/ 5429 h 5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8" h="5715">
                  <a:moveTo>
                    <a:pt x="2953" y="5524"/>
                  </a:moveTo>
                  <a:cubicBezTo>
                    <a:pt x="2953" y="5524"/>
                    <a:pt x="3143" y="5524"/>
                    <a:pt x="3238" y="5524"/>
                  </a:cubicBezTo>
                  <a:lnTo>
                    <a:pt x="667" y="3239"/>
                  </a:lnTo>
                  <a:lnTo>
                    <a:pt x="476" y="0"/>
                  </a:lnTo>
                  <a:cubicBezTo>
                    <a:pt x="476" y="0"/>
                    <a:pt x="191" y="0"/>
                    <a:pt x="0" y="0"/>
                  </a:cubicBezTo>
                  <a:cubicBezTo>
                    <a:pt x="191" y="1143"/>
                    <a:pt x="381" y="2381"/>
                    <a:pt x="667" y="3715"/>
                  </a:cubicBezTo>
                  <a:cubicBezTo>
                    <a:pt x="762" y="4572"/>
                    <a:pt x="1143" y="5239"/>
                    <a:pt x="1619" y="5715"/>
                  </a:cubicBezTo>
                  <a:cubicBezTo>
                    <a:pt x="1619" y="5715"/>
                    <a:pt x="1619" y="5715"/>
                    <a:pt x="1619" y="5620"/>
                  </a:cubicBezTo>
                  <a:cubicBezTo>
                    <a:pt x="2000" y="5334"/>
                    <a:pt x="2477" y="5524"/>
                    <a:pt x="2953" y="5429"/>
                  </a:cubicBezTo>
                  <a:close/>
                </a:path>
              </a:pathLst>
            </a:custGeom>
            <a:grpFill/>
            <a:ln w="9525" cap="flat">
              <a:noFill/>
              <a:prstDash val="solid"/>
              <a:miter/>
            </a:ln>
          </p:spPr>
          <p:txBody>
            <a:bodyPr rtlCol="0" anchor="ctr"/>
            <a:lstStyle/>
            <a:p>
              <a:endParaRPr lang="en-US" dirty="0"/>
            </a:p>
          </p:txBody>
        </p:sp>
        <p:sp>
          <p:nvSpPr>
            <p:cNvPr id="1027" name="Freeform: Shape 1026">
              <a:extLst>
                <a:ext uri="{FF2B5EF4-FFF2-40B4-BE49-F238E27FC236}">
                  <a16:creationId xmlns:a16="http://schemas.microsoft.com/office/drawing/2014/main" id="{245D31FF-0A14-D3B7-132C-44C075362A25}"/>
                </a:ext>
              </a:extLst>
            </p:cNvPr>
            <p:cNvSpPr/>
            <p:nvPr/>
          </p:nvSpPr>
          <p:spPr>
            <a:xfrm>
              <a:off x="4454203" y="757944"/>
              <a:ext cx="6565" cy="4870"/>
            </a:xfrm>
            <a:custGeom>
              <a:avLst/>
              <a:gdLst>
                <a:gd name="connsiteX0" fmla="*/ 2953 w 2952"/>
                <a:gd name="connsiteY0" fmla="*/ 2191 h 2190"/>
                <a:gd name="connsiteX1" fmla="*/ 0 w 2952"/>
                <a:gd name="connsiteY1" fmla="*/ 0 h 2190"/>
                <a:gd name="connsiteX2" fmla="*/ 2953 w 2952"/>
                <a:gd name="connsiteY2" fmla="*/ 2191 h 2190"/>
              </a:gdLst>
              <a:ahLst/>
              <a:cxnLst>
                <a:cxn ang="0">
                  <a:pos x="connsiteX0" y="connsiteY0"/>
                </a:cxn>
                <a:cxn ang="0">
                  <a:pos x="connsiteX1" y="connsiteY1"/>
                </a:cxn>
                <a:cxn ang="0">
                  <a:pos x="connsiteX2" y="connsiteY2"/>
                </a:cxn>
              </a:cxnLst>
              <a:rect l="l" t="t" r="r" b="b"/>
              <a:pathLst>
                <a:path w="2952" h="2190">
                  <a:moveTo>
                    <a:pt x="2953" y="2191"/>
                  </a:moveTo>
                  <a:lnTo>
                    <a:pt x="0" y="0"/>
                  </a:lnTo>
                  <a:cubicBezTo>
                    <a:pt x="857" y="857"/>
                    <a:pt x="1810" y="1524"/>
                    <a:pt x="2953" y="2191"/>
                  </a:cubicBezTo>
                  <a:close/>
                </a:path>
              </a:pathLst>
            </a:custGeom>
            <a:grpFill/>
            <a:ln w="9525" cap="flat">
              <a:noFill/>
              <a:prstDash val="solid"/>
              <a:miter/>
            </a:ln>
          </p:spPr>
          <p:txBody>
            <a:bodyPr rtlCol="0" anchor="ctr"/>
            <a:lstStyle/>
            <a:p>
              <a:endParaRPr lang="en-US" dirty="0"/>
            </a:p>
          </p:txBody>
        </p:sp>
        <p:sp>
          <p:nvSpPr>
            <p:cNvPr id="1028" name="Freeform: Shape 1027">
              <a:extLst>
                <a:ext uri="{FF2B5EF4-FFF2-40B4-BE49-F238E27FC236}">
                  <a16:creationId xmlns:a16="http://schemas.microsoft.com/office/drawing/2014/main" id="{B7FCACCD-3D2E-C2E6-74FA-C0C113F4516E}"/>
                </a:ext>
              </a:extLst>
            </p:cNvPr>
            <p:cNvSpPr/>
            <p:nvPr/>
          </p:nvSpPr>
          <p:spPr>
            <a:xfrm>
              <a:off x="4074612" y="829753"/>
              <a:ext cx="89178" cy="213095"/>
            </a:xfrm>
            <a:custGeom>
              <a:avLst/>
              <a:gdLst>
                <a:gd name="connsiteX0" fmla="*/ 30480 w 40100"/>
                <a:gd name="connsiteY0" fmla="*/ 0 h 95821"/>
                <a:gd name="connsiteX1" fmla="*/ 3810 w 40100"/>
                <a:gd name="connsiteY1" fmla="*/ 33337 h 95821"/>
                <a:gd name="connsiteX2" fmla="*/ 0 w 40100"/>
                <a:gd name="connsiteY2" fmla="*/ 95821 h 95821"/>
                <a:gd name="connsiteX3" fmla="*/ 39910 w 40100"/>
                <a:gd name="connsiteY3" fmla="*/ 95821 h 95821"/>
                <a:gd name="connsiteX4" fmla="*/ 40100 w 40100"/>
                <a:gd name="connsiteY4" fmla="*/ 89059 h 95821"/>
                <a:gd name="connsiteX5" fmla="*/ 30480 w 40100"/>
                <a:gd name="connsiteY5" fmla="*/ 0 h 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00" h="95821">
                  <a:moveTo>
                    <a:pt x="30480" y="0"/>
                  </a:moveTo>
                  <a:cubicBezTo>
                    <a:pt x="14954" y="4858"/>
                    <a:pt x="3810" y="17907"/>
                    <a:pt x="3810" y="33337"/>
                  </a:cubicBezTo>
                  <a:lnTo>
                    <a:pt x="0" y="95821"/>
                  </a:lnTo>
                  <a:lnTo>
                    <a:pt x="39910" y="95821"/>
                  </a:lnTo>
                  <a:lnTo>
                    <a:pt x="40100" y="89059"/>
                  </a:lnTo>
                  <a:lnTo>
                    <a:pt x="30480" y="0"/>
                  </a:lnTo>
                  <a:close/>
                </a:path>
              </a:pathLst>
            </a:custGeom>
            <a:grpFill/>
            <a:ln w="9525" cap="flat">
              <a:noFill/>
              <a:prstDash val="solid"/>
              <a:miter/>
            </a:ln>
          </p:spPr>
          <p:txBody>
            <a:bodyPr rtlCol="0" anchor="ctr"/>
            <a:lstStyle/>
            <a:p>
              <a:endParaRPr lang="en-US" dirty="0"/>
            </a:p>
          </p:txBody>
        </p:sp>
        <p:sp>
          <p:nvSpPr>
            <p:cNvPr id="1030" name="Freeform: Shape 1029">
              <a:extLst>
                <a:ext uri="{FF2B5EF4-FFF2-40B4-BE49-F238E27FC236}">
                  <a16:creationId xmlns:a16="http://schemas.microsoft.com/office/drawing/2014/main" id="{E7DAB889-A091-6624-5122-420EFA7866ED}"/>
                </a:ext>
              </a:extLst>
            </p:cNvPr>
            <p:cNvSpPr/>
            <p:nvPr/>
          </p:nvSpPr>
          <p:spPr>
            <a:xfrm>
              <a:off x="4163368" y="1027810"/>
              <a:ext cx="2117" cy="14827"/>
            </a:xfrm>
            <a:custGeom>
              <a:avLst/>
              <a:gdLst>
                <a:gd name="connsiteX0" fmla="*/ 0 w 952"/>
                <a:gd name="connsiteY0" fmla="*/ 6668 h 6667"/>
                <a:gd name="connsiteX1" fmla="*/ 952 w 952"/>
                <a:gd name="connsiteY1" fmla="*/ 6668 h 6667"/>
                <a:gd name="connsiteX2" fmla="*/ 190 w 952"/>
                <a:gd name="connsiteY2" fmla="*/ 0 h 6667"/>
                <a:gd name="connsiteX3" fmla="*/ 0 w 952"/>
                <a:gd name="connsiteY3" fmla="*/ 6668 h 6667"/>
              </a:gdLst>
              <a:ahLst/>
              <a:cxnLst>
                <a:cxn ang="0">
                  <a:pos x="connsiteX0" y="connsiteY0"/>
                </a:cxn>
                <a:cxn ang="0">
                  <a:pos x="connsiteX1" y="connsiteY1"/>
                </a:cxn>
                <a:cxn ang="0">
                  <a:pos x="connsiteX2" y="connsiteY2"/>
                </a:cxn>
                <a:cxn ang="0">
                  <a:pos x="connsiteX3" y="connsiteY3"/>
                </a:cxn>
              </a:cxnLst>
              <a:rect l="l" t="t" r="r" b="b"/>
              <a:pathLst>
                <a:path w="952" h="6667">
                  <a:moveTo>
                    <a:pt x="0" y="6668"/>
                  </a:moveTo>
                  <a:lnTo>
                    <a:pt x="952" y="6668"/>
                  </a:lnTo>
                  <a:lnTo>
                    <a:pt x="190" y="0"/>
                  </a:lnTo>
                  <a:lnTo>
                    <a:pt x="0" y="6668"/>
                  </a:lnTo>
                  <a:close/>
                </a:path>
              </a:pathLst>
            </a:custGeom>
            <a:grpFill/>
            <a:ln w="9525" cap="flat">
              <a:noFill/>
              <a:prstDash val="solid"/>
              <a:miter/>
            </a:ln>
          </p:spPr>
          <p:txBody>
            <a:bodyPr rtlCol="0" anchor="ctr"/>
            <a:lstStyle/>
            <a:p>
              <a:endParaRPr lang="en-US" dirty="0"/>
            </a:p>
          </p:txBody>
        </p:sp>
        <p:sp>
          <p:nvSpPr>
            <p:cNvPr id="586" name="Freeform: Shape 585">
              <a:extLst>
                <a:ext uri="{FF2B5EF4-FFF2-40B4-BE49-F238E27FC236}">
                  <a16:creationId xmlns:a16="http://schemas.microsoft.com/office/drawing/2014/main" id="{119C45F0-BFA3-BB4D-4DC6-392C889EF0A1}"/>
                </a:ext>
              </a:extLst>
            </p:cNvPr>
            <p:cNvSpPr/>
            <p:nvPr/>
          </p:nvSpPr>
          <p:spPr>
            <a:xfrm>
              <a:off x="4069951" y="814924"/>
              <a:ext cx="110147" cy="227711"/>
            </a:xfrm>
            <a:custGeom>
              <a:avLst/>
              <a:gdLst>
                <a:gd name="connsiteX0" fmla="*/ 6382 w 49529"/>
                <a:gd name="connsiteY0" fmla="*/ 102394 h 102393"/>
                <a:gd name="connsiteX1" fmla="*/ 10192 w 49529"/>
                <a:gd name="connsiteY1" fmla="*/ 41719 h 102393"/>
                <a:gd name="connsiteX2" fmla="*/ 36862 w 49529"/>
                <a:gd name="connsiteY2" fmla="*/ 8382 h 102393"/>
                <a:gd name="connsiteX3" fmla="*/ 36671 w 49529"/>
                <a:gd name="connsiteY3" fmla="*/ 6572 h 102393"/>
                <a:gd name="connsiteX4" fmla="*/ 49530 w 49529"/>
                <a:gd name="connsiteY4" fmla="*/ 0 h 102393"/>
                <a:gd name="connsiteX5" fmla="*/ 9144 w 49529"/>
                <a:gd name="connsiteY5" fmla="*/ 22193 h 102393"/>
                <a:gd name="connsiteX6" fmla="*/ 5525 w 49529"/>
                <a:gd name="connsiteY6" fmla="*/ 30385 h 102393"/>
                <a:gd name="connsiteX7" fmla="*/ 3810 w 49529"/>
                <a:gd name="connsiteY7" fmla="*/ 41529 h 102393"/>
                <a:gd name="connsiteX8" fmla="*/ 0 w 49529"/>
                <a:gd name="connsiteY8" fmla="*/ 102394 h 102393"/>
                <a:gd name="connsiteX9" fmla="*/ 6382 w 49529"/>
                <a:gd name="connsiteY9" fmla="*/ 102394 h 102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529" h="102393">
                  <a:moveTo>
                    <a:pt x="6382" y="102394"/>
                  </a:moveTo>
                  <a:lnTo>
                    <a:pt x="10192" y="41719"/>
                  </a:lnTo>
                  <a:cubicBezTo>
                    <a:pt x="10192" y="26289"/>
                    <a:pt x="21336" y="13240"/>
                    <a:pt x="36862" y="8382"/>
                  </a:cubicBezTo>
                  <a:lnTo>
                    <a:pt x="36671" y="6572"/>
                  </a:lnTo>
                  <a:lnTo>
                    <a:pt x="49530" y="0"/>
                  </a:lnTo>
                  <a:cubicBezTo>
                    <a:pt x="32004" y="95"/>
                    <a:pt x="16859" y="9049"/>
                    <a:pt x="9144" y="22193"/>
                  </a:cubicBezTo>
                  <a:cubicBezTo>
                    <a:pt x="7620" y="24765"/>
                    <a:pt x="6477" y="27527"/>
                    <a:pt x="5525" y="30385"/>
                  </a:cubicBezTo>
                  <a:cubicBezTo>
                    <a:pt x="4382" y="33909"/>
                    <a:pt x="3810" y="37624"/>
                    <a:pt x="3810" y="41529"/>
                  </a:cubicBezTo>
                  <a:lnTo>
                    <a:pt x="0" y="102394"/>
                  </a:lnTo>
                  <a:lnTo>
                    <a:pt x="6382" y="102394"/>
                  </a:lnTo>
                  <a:close/>
                </a:path>
              </a:pathLst>
            </a:custGeom>
            <a:grpFill/>
            <a:ln w="9525" cap="flat">
              <a:noFill/>
              <a:prstDash val="solid"/>
              <a:miter/>
            </a:ln>
          </p:spPr>
          <p:txBody>
            <a:bodyPr rtlCol="0" anchor="ctr"/>
            <a:lstStyle/>
            <a:p>
              <a:endParaRPr lang="en-US" dirty="0"/>
            </a:p>
          </p:txBody>
        </p:sp>
        <p:sp>
          <p:nvSpPr>
            <p:cNvPr id="1472" name="Freeform: Shape 1471">
              <a:extLst>
                <a:ext uri="{FF2B5EF4-FFF2-40B4-BE49-F238E27FC236}">
                  <a16:creationId xmlns:a16="http://schemas.microsoft.com/office/drawing/2014/main" id="{25F48E18-F6B5-7B2B-C548-F99BED5BE012}"/>
                </a:ext>
              </a:extLst>
            </p:cNvPr>
            <p:cNvSpPr/>
            <p:nvPr/>
          </p:nvSpPr>
          <p:spPr>
            <a:xfrm>
              <a:off x="4283600" y="699269"/>
              <a:ext cx="153019" cy="35444"/>
            </a:xfrm>
            <a:custGeom>
              <a:avLst/>
              <a:gdLst>
                <a:gd name="connsiteX0" fmla="*/ 23755 w 68807"/>
                <a:gd name="connsiteY0" fmla="*/ 13716 h 15938"/>
                <a:gd name="connsiteX1" fmla="*/ 48805 w 68807"/>
                <a:gd name="connsiteY1" fmla="*/ 13144 h 15938"/>
                <a:gd name="connsiteX2" fmla="*/ 68617 w 68807"/>
                <a:gd name="connsiteY2" fmla="*/ 857 h 15938"/>
                <a:gd name="connsiteX3" fmla="*/ 68808 w 68807"/>
                <a:gd name="connsiteY3" fmla="*/ 571 h 15938"/>
                <a:gd name="connsiteX4" fmla="*/ 68808 w 68807"/>
                <a:gd name="connsiteY4" fmla="*/ 190 h 15938"/>
                <a:gd name="connsiteX5" fmla="*/ 68522 w 68807"/>
                <a:gd name="connsiteY5" fmla="*/ 0 h 15938"/>
                <a:gd name="connsiteX6" fmla="*/ 68141 w 68807"/>
                <a:gd name="connsiteY6" fmla="*/ 0 h 15938"/>
                <a:gd name="connsiteX7" fmla="*/ 48520 w 68807"/>
                <a:gd name="connsiteY7" fmla="*/ 12192 h 15938"/>
                <a:gd name="connsiteX8" fmla="*/ 24231 w 68807"/>
                <a:gd name="connsiteY8" fmla="*/ 12764 h 15938"/>
                <a:gd name="connsiteX9" fmla="*/ 799 w 68807"/>
                <a:gd name="connsiteY9" fmla="*/ 0 h 15938"/>
                <a:gd name="connsiteX10" fmla="*/ 514 w 68807"/>
                <a:gd name="connsiteY10" fmla="*/ 0 h 15938"/>
                <a:gd name="connsiteX11" fmla="*/ 323 w 68807"/>
                <a:gd name="connsiteY11" fmla="*/ 0 h 15938"/>
                <a:gd name="connsiteX12" fmla="*/ 37 w 68807"/>
                <a:gd name="connsiteY12" fmla="*/ 190 h 15938"/>
                <a:gd name="connsiteX13" fmla="*/ 228 w 68807"/>
                <a:gd name="connsiteY13" fmla="*/ 857 h 15938"/>
                <a:gd name="connsiteX14" fmla="*/ 23755 w 68807"/>
                <a:gd name="connsiteY14" fmla="*/ 13621 h 1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807" h="15938">
                  <a:moveTo>
                    <a:pt x="23755" y="13716"/>
                  </a:moveTo>
                  <a:cubicBezTo>
                    <a:pt x="31565" y="16859"/>
                    <a:pt x="40995" y="16669"/>
                    <a:pt x="48805" y="13144"/>
                  </a:cubicBezTo>
                  <a:lnTo>
                    <a:pt x="68617" y="857"/>
                  </a:lnTo>
                  <a:cubicBezTo>
                    <a:pt x="68617" y="857"/>
                    <a:pt x="68808" y="667"/>
                    <a:pt x="68808" y="571"/>
                  </a:cubicBezTo>
                  <a:cubicBezTo>
                    <a:pt x="68808" y="476"/>
                    <a:pt x="68808" y="286"/>
                    <a:pt x="68808" y="190"/>
                  </a:cubicBezTo>
                  <a:cubicBezTo>
                    <a:pt x="68808" y="95"/>
                    <a:pt x="68617" y="0"/>
                    <a:pt x="68522" y="0"/>
                  </a:cubicBezTo>
                  <a:cubicBezTo>
                    <a:pt x="68427" y="0"/>
                    <a:pt x="68236" y="0"/>
                    <a:pt x="68141" y="0"/>
                  </a:cubicBezTo>
                  <a:lnTo>
                    <a:pt x="48520" y="12192"/>
                  </a:lnTo>
                  <a:cubicBezTo>
                    <a:pt x="40804" y="15621"/>
                    <a:pt x="31946" y="15811"/>
                    <a:pt x="24231" y="12764"/>
                  </a:cubicBezTo>
                  <a:lnTo>
                    <a:pt x="799" y="0"/>
                  </a:lnTo>
                  <a:cubicBezTo>
                    <a:pt x="799" y="0"/>
                    <a:pt x="609" y="0"/>
                    <a:pt x="514" y="0"/>
                  </a:cubicBezTo>
                  <a:cubicBezTo>
                    <a:pt x="514" y="0"/>
                    <a:pt x="514" y="0"/>
                    <a:pt x="323" y="0"/>
                  </a:cubicBezTo>
                  <a:cubicBezTo>
                    <a:pt x="228" y="0"/>
                    <a:pt x="133" y="95"/>
                    <a:pt x="37" y="190"/>
                  </a:cubicBezTo>
                  <a:cubicBezTo>
                    <a:pt x="-58" y="476"/>
                    <a:pt x="37" y="762"/>
                    <a:pt x="228" y="857"/>
                  </a:cubicBezTo>
                  <a:lnTo>
                    <a:pt x="23755" y="13621"/>
                  </a:lnTo>
                  <a:close/>
                </a:path>
              </a:pathLst>
            </a:custGeom>
            <a:grpFill/>
            <a:ln w="9525" cap="flat">
              <a:noFill/>
              <a:prstDash val="solid"/>
              <a:miter/>
            </a:ln>
          </p:spPr>
          <p:txBody>
            <a:bodyPr rtlCol="0" anchor="ctr"/>
            <a:lstStyle/>
            <a:p>
              <a:endParaRPr lang="en-US" dirty="0"/>
            </a:p>
          </p:txBody>
        </p:sp>
        <p:sp>
          <p:nvSpPr>
            <p:cNvPr id="1473" name="Freeform: Shape 1472">
              <a:extLst>
                <a:ext uri="{FF2B5EF4-FFF2-40B4-BE49-F238E27FC236}">
                  <a16:creationId xmlns:a16="http://schemas.microsoft.com/office/drawing/2014/main" id="{F989B054-9FC3-9933-B3FD-F8874EED8CF4}"/>
                </a:ext>
              </a:extLst>
            </p:cNvPr>
            <p:cNvSpPr/>
            <p:nvPr/>
          </p:nvSpPr>
          <p:spPr>
            <a:xfrm>
              <a:off x="4279704" y="695377"/>
              <a:ext cx="160596" cy="43079"/>
            </a:xfrm>
            <a:custGeom>
              <a:avLst/>
              <a:gdLst>
                <a:gd name="connsiteX0" fmla="*/ 37413 w 72214"/>
                <a:gd name="connsiteY0" fmla="*/ 19276 h 19371"/>
                <a:gd name="connsiteX1" fmla="*/ 51224 w 72214"/>
                <a:gd name="connsiteY1" fmla="*/ 16323 h 19371"/>
                <a:gd name="connsiteX2" fmla="*/ 67988 w 72214"/>
                <a:gd name="connsiteY2" fmla="*/ 5941 h 19371"/>
                <a:gd name="connsiteX3" fmla="*/ 71227 w 72214"/>
                <a:gd name="connsiteY3" fmla="*/ 3941 h 19371"/>
                <a:gd name="connsiteX4" fmla="*/ 72179 w 72214"/>
                <a:gd name="connsiteY4" fmla="*/ 2607 h 19371"/>
                <a:gd name="connsiteX5" fmla="*/ 71893 w 72214"/>
                <a:gd name="connsiteY5" fmla="*/ 988 h 19371"/>
                <a:gd name="connsiteX6" fmla="*/ 70560 w 72214"/>
                <a:gd name="connsiteY6" fmla="*/ 36 h 19371"/>
                <a:gd name="connsiteX7" fmla="*/ 68941 w 72214"/>
                <a:gd name="connsiteY7" fmla="*/ 321 h 19371"/>
                <a:gd name="connsiteX8" fmla="*/ 68369 w 72214"/>
                <a:gd name="connsiteY8" fmla="*/ 702 h 19371"/>
                <a:gd name="connsiteX9" fmla="*/ 49414 w 72214"/>
                <a:gd name="connsiteY9" fmla="*/ 12513 h 19371"/>
                <a:gd name="connsiteX10" fmla="*/ 26555 w 72214"/>
                <a:gd name="connsiteY10" fmla="*/ 13085 h 19371"/>
                <a:gd name="connsiteX11" fmla="*/ 3123 w 72214"/>
                <a:gd name="connsiteY11" fmla="*/ 321 h 19371"/>
                <a:gd name="connsiteX12" fmla="*/ 2837 w 72214"/>
                <a:gd name="connsiteY12" fmla="*/ 226 h 19371"/>
                <a:gd name="connsiteX13" fmla="*/ 1504 w 72214"/>
                <a:gd name="connsiteY13" fmla="*/ 226 h 19371"/>
                <a:gd name="connsiteX14" fmla="*/ 265 w 72214"/>
                <a:gd name="connsiteY14" fmla="*/ 1274 h 19371"/>
                <a:gd name="connsiteX15" fmla="*/ 1123 w 72214"/>
                <a:gd name="connsiteY15" fmla="*/ 4131 h 19371"/>
                <a:gd name="connsiteX16" fmla="*/ 3790 w 72214"/>
                <a:gd name="connsiteY16" fmla="*/ 5560 h 19371"/>
                <a:gd name="connsiteX17" fmla="*/ 24745 w 72214"/>
                <a:gd name="connsiteY17" fmla="*/ 16990 h 19371"/>
                <a:gd name="connsiteX18" fmla="*/ 37318 w 72214"/>
                <a:gd name="connsiteY18" fmla="*/ 19371 h 19371"/>
                <a:gd name="connsiteX19" fmla="*/ 1789 w 72214"/>
                <a:gd name="connsiteY19" fmla="*/ 1941 h 19371"/>
                <a:gd name="connsiteX20" fmla="*/ 2075 w 72214"/>
                <a:gd name="connsiteY20" fmla="*/ 1750 h 19371"/>
                <a:gd name="connsiteX21" fmla="*/ 2266 w 72214"/>
                <a:gd name="connsiteY21" fmla="*/ 1750 h 19371"/>
                <a:gd name="connsiteX22" fmla="*/ 2551 w 72214"/>
                <a:gd name="connsiteY22" fmla="*/ 1750 h 19371"/>
                <a:gd name="connsiteX23" fmla="*/ 25983 w 72214"/>
                <a:gd name="connsiteY23" fmla="*/ 14514 h 19371"/>
                <a:gd name="connsiteX24" fmla="*/ 50272 w 72214"/>
                <a:gd name="connsiteY24" fmla="*/ 13942 h 19371"/>
                <a:gd name="connsiteX25" fmla="*/ 69893 w 72214"/>
                <a:gd name="connsiteY25" fmla="*/ 1750 h 19371"/>
                <a:gd name="connsiteX26" fmla="*/ 70274 w 72214"/>
                <a:gd name="connsiteY26" fmla="*/ 1750 h 19371"/>
                <a:gd name="connsiteX27" fmla="*/ 70560 w 72214"/>
                <a:gd name="connsiteY27" fmla="*/ 1941 h 19371"/>
                <a:gd name="connsiteX28" fmla="*/ 70560 w 72214"/>
                <a:gd name="connsiteY28" fmla="*/ 2322 h 19371"/>
                <a:gd name="connsiteX29" fmla="*/ 70369 w 72214"/>
                <a:gd name="connsiteY29" fmla="*/ 2607 h 19371"/>
                <a:gd name="connsiteX30" fmla="*/ 50558 w 72214"/>
                <a:gd name="connsiteY30" fmla="*/ 14895 h 19371"/>
                <a:gd name="connsiteX31" fmla="*/ 25507 w 72214"/>
                <a:gd name="connsiteY31" fmla="*/ 15466 h 19371"/>
                <a:gd name="connsiteX32" fmla="*/ 1980 w 72214"/>
                <a:gd name="connsiteY32" fmla="*/ 2703 h 19371"/>
                <a:gd name="connsiteX33" fmla="*/ 1789 w 72214"/>
                <a:gd name="connsiteY33" fmla="*/ 2036 h 1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214" h="19371">
                  <a:moveTo>
                    <a:pt x="37413" y="19276"/>
                  </a:moveTo>
                  <a:cubicBezTo>
                    <a:pt x="42176" y="19276"/>
                    <a:pt x="46938" y="18228"/>
                    <a:pt x="51224" y="16323"/>
                  </a:cubicBezTo>
                  <a:lnTo>
                    <a:pt x="67988" y="5941"/>
                  </a:lnTo>
                  <a:lnTo>
                    <a:pt x="71227" y="3941"/>
                  </a:lnTo>
                  <a:cubicBezTo>
                    <a:pt x="71703" y="3655"/>
                    <a:pt x="72084" y="3179"/>
                    <a:pt x="72179" y="2607"/>
                  </a:cubicBezTo>
                  <a:cubicBezTo>
                    <a:pt x="72275" y="2036"/>
                    <a:pt x="72179" y="1464"/>
                    <a:pt x="71893" y="988"/>
                  </a:cubicBezTo>
                  <a:cubicBezTo>
                    <a:pt x="71608" y="512"/>
                    <a:pt x="71131" y="131"/>
                    <a:pt x="70560" y="36"/>
                  </a:cubicBezTo>
                  <a:cubicBezTo>
                    <a:pt x="69989" y="-60"/>
                    <a:pt x="69417" y="36"/>
                    <a:pt x="68941" y="321"/>
                  </a:cubicBezTo>
                  <a:lnTo>
                    <a:pt x="68369" y="702"/>
                  </a:lnTo>
                  <a:lnTo>
                    <a:pt x="49414" y="12513"/>
                  </a:lnTo>
                  <a:cubicBezTo>
                    <a:pt x="42176" y="15752"/>
                    <a:pt x="33793" y="15942"/>
                    <a:pt x="26555" y="13085"/>
                  </a:cubicBezTo>
                  <a:lnTo>
                    <a:pt x="3123" y="321"/>
                  </a:lnTo>
                  <a:cubicBezTo>
                    <a:pt x="3123" y="321"/>
                    <a:pt x="2933" y="321"/>
                    <a:pt x="2837" y="226"/>
                  </a:cubicBezTo>
                  <a:cubicBezTo>
                    <a:pt x="2456" y="36"/>
                    <a:pt x="1980" y="36"/>
                    <a:pt x="1504" y="226"/>
                  </a:cubicBezTo>
                  <a:cubicBezTo>
                    <a:pt x="932" y="417"/>
                    <a:pt x="551" y="702"/>
                    <a:pt x="265" y="1274"/>
                  </a:cubicBezTo>
                  <a:cubicBezTo>
                    <a:pt x="-306" y="2322"/>
                    <a:pt x="75" y="3560"/>
                    <a:pt x="1123" y="4131"/>
                  </a:cubicBezTo>
                  <a:lnTo>
                    <a:pt x="3790" y="5560"/>
                  </a:lnTo>
                  <a:lnTo>
                    <a:pt x="24745" y="16990"/>
                  </a:lnTo>
                  <a:cubicBezTo>
                    <a:pt x="28745" y="18609"/>
                    <a:pt x="32936" y="19371"/>
                    <a:pt x="37318" y="19371"/>
                  </a:cubicBezTo>
                  <a:close/>
                  <a:moveTo>
                    <a:pt x="1789" y="1941"/>
                  </a:moveTo>
                  <a:cubicBezTo>
                    <a:pt x="1789" y="1941"/>
                    <a:pt x="1980" y="1750"/>
                    <a:pt x="2075" y="1750"/>
                  </a:cubicBezTo>
                  <a:cubicBezTo>
                    <a:pt x="2075" y="1750"/>
                    <a:pt x="2075" y="1750"/>
                    <a:pt x="2266" y="1750"/>
                  </a:cubicBezTo>
                  <a:cubicBezTo>
                    <a:pt x="2266" y="1750"/>
                    <a:pt x="2456" y="1750"/>
                    <a:pt x="2551" y="1750"/>
                  </a:cubicBezTo>
                  <a:lnTo>
                    <a:pt x="25983" y="14514"/>
                  </a:lnTo>
                  <a:cubicBezTo>
                    <a:pt x="33698" y="17562"/>
                    <a:pt x="42461" y="17371"/>
                    <a:pt x="50272" y="13942"/>
                  </a:cubicBezTo>
                  <a:lnTo>
                    <a:pt x="69893" y="1750"/>
                  </a:lnTo>
                  <a:cubicBezTo>
                    <a:pt x="69893" y="1750"/>
                    <a:pt x="70179" y="1750"/>
                    <a:pt x="70274" y="1750"/>
                  </a:cubicBezTo>
                  <a:cubicBezTo>
                    <a:pt x="70369" y="1750"/>
                    <a:pt x="70560" y="1845"/>
                    <a:pt x="70560" y="1941"/>
                  </a:cubicBezTo>
                  <a:cubicBezTo>
                    <a:pt x="70560" y="2036"/>
                    <a:pt x="70560" y="2226"/>
                    <a:pt x="70560" y="2322"/>
                  </a:cubicBezTo>
                  <a:cubicBezTo>
                    <a:pt x="70560" y="2417"/>
                    <a:pt x="70465" y="2607"/>
                    <a:pt x="70369" y="2607"/>
                  </a:cubicBezTo>
                  <a:lnTo>
                    <a:pt x="50558" y="14895"/>
                  </a:lnTo>
                  <a:cubicBezTo>
                    <a:pt x="42747" y="18419"/>
                    <a:pt x="33222" y="18514"/>
                    <a:pt x="25507" y="15466"/>
                  </a:cubicBezTo>
                  <a:lnTo>
                    <a:pt x="1980" y="2703"/>
                  </a:lnTo>
                  <a:cubicBezTo>
                    <a:pt x="1980" y="2703"/>
                    <a:pt x="1599" y="2226"/>
                    <a:pt x="1789" y="2036"/>
                  </a:cubicBezTo>
                  <a:close/>
                </a:path>
              </a:pathLst>
            </a:custGeom>
            <a:grpFill/>
            <a:ln w="9525" cap="flat">
              <a:noFill/>
              <a:prstDash val="solid"/>
              <a:miter/>
            </a:ln>
          </p:spPr>
          <p:txBody>
            <a:bodyPr rtlCol="0" anchor="ctr"/>
            <a:lstStyle/>
            <a:p>
              <a:endParaRPr lang="en-US" dirty="0"/>
            </a:p>
          </p:txBody>
        </p:sp>
        <p:sp>
          <p:nvSpPr>
            <p:cNvPr id="1474" name="Freeform: Shape 1473">
              <a:extLst>
                <a:ext uri="{FF2B5EF4-FFF2-40B4-BE49-F238E27FC236}">
                  <a16:creationId xmlns:a16="http://schemas.microsoft.com/office/drawing/2014/main" id="{B04837CC-72A7-E0BD-EF1C-28E9C994CA69}"/>
                </a:ext>
              </a:extLst>
            </p:cNvPr>
            <p:cNvSpPr/>
            <p:nvPr/>
          </p:nvSpPr>
          <p:spPr>
            <a:xfrm>
              <a:off x="4318422" y="509473"/>
              <a:ext cx="40668" cy="19063"/>
            </a:xfrm>
            <a:custGeom>
              <a:avLst/>
              <a:gdLst>
                <a:gd name="connsiteX0" fmla="*/ 0 w 18287"/>
                <a:gd name="connsiteY0" fmla="*/ 476 h 8572"/>
                <a:gd name="connsiteX1" fmla="*/ 18288 w 18287"/>
                <a:gd name="connsiteY1" fmla="*/ 8573 h 8572"/>
                <a:gd name="connsiteX2" fmla="*/ 286 w 18287"/>
                <a:gd name="connsiteY2" fmla="*/ 0 h 8572"/>
                <a:gd name="connsiteX3" fmla="*/ 95 w 18287"/>
                <a:gd name="connsiteY3" fmla="*/ 381 h 8572"/>
                <a:gd name="connsiteX4" fmla="*/ 95 w 18287"/>
                <a:gd name="connsiteY4" fmla="*/ 381 h 8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8572">
                  <a:moveTo>
                    <a:pt x="0" y="476"/>
                  </a:moveTo>
                  <a:cubicBezTo>
                    <a:pt x="4953" y="3620"/>
                    <a:pt x="11144" y="6572"/>
                    <a:pt x="18288" y="8573"/>
                  </a:cubicBezTo>
                  <a:lnTo>
                    <a:pt x="286" y="0"/>
                  </a:lnTo>
                  <a:cubicBezTo>
                    <a:pt x="286" y="0"/>
                    <a:pt x="191" y="286"/>
                    <a:pt x="95" y="381"/>
                  </a:cubicBezTo>
                  <a:lnTo>
                    <a:pt x="95" y="381"/>
                  </a:lnTo>
                  <a:close/>
                </a:path>
              </a:pathLst>
            </a:custGeom>
            <a:grpFill/>
            <a:ln w="9525" cap="flat">
              <a:noFill/>
              <a:prstDash val="solid"/>
              <a:miter/>
            </a:ln>
          </p:spPr>
          <p:txBody>
            <a:bodyPr rtlCol="0" anchor="ctr"/>
            <a:lstStyle/>
            <a:p>
              <a:endParaRPr lang="en-US" dirty="0"/>
            </a:p>
          </p:txBody>
        </p:sp>
        <p:sp>
          <p:nvSpPr>
            <p:cNvPr id="1475" name="Freeform: Shape 1474">
              <a:extLst>
                <a:ext uri="{FF2B5EF4-FFF2-40B4-BE49-F238E27FC236}">
                  <a16:creationId xmlns:a16="http://schemas.microsoft.com/office/drawing/2014/main" id="{7469B5F9-4D4D-5202-14CC-3918BAFCBDED}"/>
                </a:ext>
              </a:extLst>
            </p:cNvPr>
            <p:cNvSpPr/>
            <p:nvPr/>
          </p:nvSpPr>
          <p:spPr>
            <a:xfrm>
              <a:off x="4406118" y="524936"/>
              <a:ext cx="36856" cy="6990"/>
            </a:xfrm>
            <a:custGeom>
              <a:avLst/>
              <a:gdLst>
                <a:gd name="connsiteX0" fmla="*/ 16288 w 16573"/>
                <a:gd name="connsiteY0" fmla="*/ 857 h 3143"/>
                <a:gd name="connsiteX1" fmla="*/ 16574 w 16573"/>
                <a:gd name="connsiteY1" fmla="*/ 857 h 3143"/>
                <a:gd name="connsiteX2" fmla="*/ 16097 w 16573"/>
                <a:gd name="connsiteY2" fmla="*/ 0 h 3143"/>
                <a:gd name="connsiteX3" fmla="*/ 667 w 16573"/>
                <a:gd name="connsiteY3" fmla="*/ 3143 h 3143"/>
                <a:gd name="connsiteX4" fmla="*/ 0 w 16573"/>
                <a:gd name="connsiteY4" fmla="*/ 3143 h 3143"/>
                <a:gd name="connsiteX5" fmla="*/ 16288 w 16573"/>
                <a:gd name="connsiteY5" fmla="*/ 762 h 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73" h="3143">
                  <a:moveTo>
                    <a:pt x="16288" y="857"/>
                  </a:moveTo>
                  <a:cubicBezTo>
                    <a:pt x="16288" y="857"/>
                    <a:pt x="16478" y="857"/>
                    <a:pt x="16574" y="857"/>
                  </a:cubicBezTo>
                  <a:cubicBezTo>
                    <a:pt x="16288" y="381"/>
                    <a:pt x="16097" y="0"/>
                    <a:pt x="16097" y="0"/>
                  </a:cubicBezTo>
                  <a:lnTo>
                    <a:pt x="667" y="3143"/>
                  </a:lnTo>
                  <a:lnTo>
                    <a:pt x="0" y="3143"/>
                  </a:lnTo>
                  <a:cubicBezTo>
                    <a:pt x="5144" y="2953"/>
                    <a:pt x="10573" y="2286"/>
                    <a:pt x="16288" y="762"/>
                  </a:cubicBezTo>
                  <a:close/>
                </a:path>
              </a:pathLst>
            </a:custGeom>
            <a:grpFill/>
            <a:ln w="9525" cap="flat">
              <a:noFill/>
              <a:prstDash val="solid"/>
              <a:miter/>
            </a:ln>
          </p:spPr>
          <p:txBody>
            <a:bodyPr rtlCol="0" anchor="ctr"/>
            <a:lstStyle/>
            <a:p>
              <a:endParaRPr lang="en-US" dirty="0"/>
            </a:p>
          </p:txBody>
        </p:sp>
        <p:sp>
          <p:nvSpPr>
            <p:cNvPr id="1477" name="Freeform: Shape 1476">
              <a:extLst>
                <a:ext uri="{FF2B5EF4-FFF2-40B4-BE49-F238E27FC236}">
                  <a16:creationId xmlns:a16="http://schemas.microsoft.com/office/drawing/2014/main" id="{552C9B4C-B452-A270-DD14-E6BBBFB98A81}"/>
                </a:ext>
              </a:extLst>
            </p:cNvPr>
            <p:cNvSpPr/>
            <p:nvPr/>
          </p:nvSpPr>
          <p:spPr>
            <a:xfrm>
              <a:off x="4273517" y="507990"/>
              <a:ext cx="42365" cy="43635"/>
            </a:xfrm>
            <a:custGeom>
              <a:avLst/>
              <a:gdLst>
                <a:gd name="connsiteX0" fmla="*/ 19050 w 19050"/>
                <a:gd name="connsiteY0" fmla="*/ 0 h 19621"/>
                <a:gd name="connsiteX1" fmla="*/ 0 w 19050"/>
                <a:gd name="connsiteY1" fmla="*/ 19621 h 19621"/>
                <a:gd name="connsiteX2" fmla="*/ 1238 w 19050"/>
                <a:gd name="connsiteY2" fmla="*/ 19621 h 19621"/>
                <a:gd name="connsiteX3" fmla="*/ 19050 w 19050"/>
                <a:gd name="connsiteY3" fmla="*/ 0 h 19621"/>
              </a:gdLst>
              <a:ahLst/>
              <a:cxnLst>
                <a:cxn ang="0">
                  <a:pos x="connsiteX0" y="connsiteY0"/>
                </a:cxn>
                <a:cxn ang="0">
                  <a:pos x="connsiteX1" y="connsiteY1"/>
                </a:cxn>
                <a:cxn ang="0">
                  <a:pos x="connsiteX2" y="connsiteY2"/>
                </a:cxn>
                <a:cxn ang="0">
                  <a:pos x="connsiteX3" y="connsiteY3"/>
                </a:cxn>
              </a:cxnLst>
              <a:rect l="l" t="t" r="r" b="b"/>
              <a:pathLst>
                <a:path w="19050" h="19621">
                  <a:moveTo>
                    <a:pt x="19050" y="0"/>
                  </a:moveTo>
                  <a:lnTo>
                    <a:pt x="0" y="19621"/>
                  </a:lnTo>
                  <a:cubicBezTo>
                    <a:pt x="0" y="19621"/>
                    <a:pt x="857" y="19621"/>
                    <a:pt x="1238" y="19621"/>
                  </a:cubicBezTo>
                  <a:lnTo>
                    <a:pt x="19050" y="0"/>
                  </a:lnTo>
                  <a:close/>
                </a:path>
              </a:pathLst>
            </a:custGeom>
            <a:grpFill/>
            <a:ln w="9525" cap="flat">
              <a:noFill/>
              <a:prstDash val="solid"/>
              <a:miter/>
            </a:ln>
          </p:spPr>
          <p:txBody>
            <a:bodyPr rtlCol="0" anchor="ctr"/>
            <a:lstStyle/>
            <a:p>
              <a:endParaRPr lang="en-US" dirty="0"/>
            </a:p>
          </p:txBody>
        </p:sp>
        <p:sp>
          <p:nvSpPr>
            <p:cNvPr id="1478" name="Freeform: Shape 1477">
              <a:extLst>
                <a:ext uri="{FF2B5EF4-FFF2-40B4-BE49-F238E27FC236}">
                  <a16:creationId xmlns:a16="http://schemas.microsoft.com/office/drawing/2014/main" id="{FA1876A3-53D2-8E63-E49B-E252439737B6}"/>
                </a:ext>
              </a:extLst>
            </p:cNvPr>
            <p:cNvSpPr/>
            <p:nvPr/>
          </p:nvSpPr>
          <p:spPr>
            <a:xfrm>
              <a:off x="4256695" y="551531"/>
              <a:ext cx="211999" cy="49528"/>
            </a:xfrm>
            <a:custGeom>
              <a:avLst/>
              <a:gdLst>
                <a:gd name="connsiteX0" fmla="*/ 19946 w 95328"/>
                <a:gd name="connsiteY0" fmla="*/ 22045 h 22271"/>
                <a:gd name="connsiteX1" fmla="*/ 44426 w 95328"/>
                <a:gd name="connsiteY1" fmla="*/ 10139 h 22271"/>
                <a:gd name="connsiteX2" fmla="*/ 47474 w 95328"/>
                <a:gd name="connsiteY2" fmla="*/ 7186 h 22271"/>
                <a:gd name="connsiteX3" fmla="*/ 50522 w 95328"/>
                <a:gd name="connsiteY3" fmla="*/ 10139 h 22271"/>
                <a:gd name="connsiteX4" fmla="*/ 75001 w 95328"/>
                <a:gd name="connsiteY4" fmla="*/ 22045 h 22271"/>
                <a:gd name="connsiteX5" fmla="*/ 88145 w 95328"/>
                <a:gd name="connsiteY5" fmla="*/ 18616 h 22271"/>
                <a:gd name="connsiteX6" fmla="*/ 90812 w 95328"/>
                <a:gd name="connsiteY6" fmla="*/ 11663 h 22271"/>
                <a:gd name="connsiteX7" fmla="*/ 95099 w 95328"/>
                <a:gd name="connsiteY7" fmla="*/ 3948 h 22271"/>
                <a:gd name="connsiteX8" fmla="*/ 93765 w 95328"/>
                <a:gd name="connsiteY8" fmla="*/ 519 h 22271"/>
                <a:gd name="connsiteX9" fmla="*/ 88717 w 95328"/>
                <a:gd name="connsiteY9" fmla="*/ 138 h 22271"/>
                <a:gd name="connsiteX10" fmla="*/ 69572 w 95328"/>
                <a:gd name="connsiteY10" fmla="*/ 423 h 22271"/>
                <a:gd name="connsiteX11" fmla="*/ 49855 w 95328"/>
                <a:gd name="connsiteY11" fmla="*/ 4138 h 22271"/>
                <a:gd name="connsiteX12" fmla="*/ 45378 w 95328"/>
                <a:gd name="connsiteY12" fmla="*/ 4138 h 22271"/>
                <a:gd name="connsiteX13" fmla="*/ 25661 w 95328"/>
                <a:gd name="connsiteY13" fmla="*/ 423 h 22271"/>
                <a:gd name="connsiteX14" fmla="*/ 11279 w 95328"/>
                <a:gd name="connsiteY14" fmla="*/ 42 h 22271"/>
                <a:gd name="connsiteX15" fmla="*/ 9088 w 95328"/>
                <a:gd name="connsiteY15" fmla="*/ 42 h 22271"/>
                <a:gd name="connsiteX16" fmla="*/ 7850 w 95328"/>
                <a:gd name="connsiteY16" fmla="*/ 42 h 22271"/>
                <a:gd name="connsiteX17" fmla="*/ 4897 w 95328"/>
                <a:gd name="connsiteY17" fmla="*/ 233 h 22271"/>
                <a:gd name="connsiteX18" fmla="*/ 1563 w 95328"/>
                <a:gd name="connsiteY18" fmla="*/ 519 h 22271"/>
                <a:gd name="connsiteX19" fmla="*/ 230 w 95328"/>
                <a:gd name="connsiteY19" fmla="*/ 3948 h 22271"/>
                <a:gd name="connsiteX20" fmla="*/ 4516 w 95328"/>
                <a:gd name="connsiteY20" fmla="*/ 11663 h 22271"/>
                <a:gd name="connsiteX21" fmla="*/ 5278 w 95328"/>
                <a:gd name="connsiteY21" fmla="*/ 16235 h 22271"/>
                <a:gd name="connsiteX22" fmla="*/ 20232 w 95328"/>
                <a:gd name="connsiteY22" fmla="*/ 22045 h 22271"/>
                <a:gd name="connsiteX23" fmla="*/ 57856 w 95328"/>
                <a:gd name="connsiteY23" fmla="*/ 3186 h 22271"/>
                <a:gd name="connsiteX24" fmla="*/ 77477 w 95328"/>
                <a:gd name="connsiteY24" fmla="*/ 1376 h 22271"/>
                <a:gd name="connsiteX25" fmla="*/ 87574 w 95328"/>
                <a:gd name="connsiteY25" fmla="*/ 11187 h 22271"/>
                <a:gd name="connsiteX26" fmla="*/ 73382 w 95328"/>
                <a:gd name="connsiteY26" fmla="*/ 21093 h 22271"/>
                <a:gd name="connsiteX27" fmla="*/ 54617 w 95328"/>
                <a:gd name="connsiteY27" fmla="*/ 11663 h 22271"/>
                <a:gd name="connsiteX28" fmla="*/ 57856 w 95328"/>
                <a:gd name="connsiteY28" fmla="*/ 3186 h 22271"/>
                <a:gd name="connsiteX29" fmla="*/ 17470 w 95328"/>
                <a:gd name="connsiteY29" fmla="*/ 1376 h 22271"/>
                <a:gd name="connsiteX30" fmla="*/ 37091 w 95328"/>
                <a:gd name="connsiteY30" fmla="*/ 3186 h 22271"/>
                <a:gd name="connsiteX31" fmla="*/ 40330 w 95328"/>
                <a:gd name="connsiteY31" fmla="*/ 11663 h 22271"/>
                <a:gd name="connsiteX32" fmla="*/ 21566 w 95328"/>
                <a:gd name="connsiteY32" fmla="*/ 21093 h 22271"/>
                <a:gd name="connsiteX33" fmla="*/ 7373 w 95328"/>
                <a:gd name="connsiteY33" fmla="*/ 11187 h 22271"/>
                <a:gd name="connsiteX34" fmla="*/ 17470 w 95328"/>
                <a:gd name="connsiteY34" fmla="*/ 1376 h 22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5328" h="22271">
                  <a:moveTo>
                    <a:pt x="19946" y="22045"/>
                  </a:moveTo>
                  <a:cubicBezTo>
                    <a:pt x="27852" y="22521"/>
                    <a:pt x="36710" y="23474"/>
                    <a:pt x="44426" y="10139"/>
                  </a:cubicBezTo>
                  <a:cubicBezTo>
                    <a:pt x="44997" y="9091"/>
                    <a:pt x="45854" y="7186"/>
                    <a:pt x="47474" y="7186"/>
                  </a:cubicBezTo>
                  <a:cubicBezTo>
                    <a:pt x="49093" y="7186"/>
                    <a:pt x="49950" y="9091"/>
                    <a:pt x="50522" y="10139"/>
                  </a:cubicBezTo>
                  <a:cubicBezTo>
                    <a:pt x="58237" y="23474"/>
                    <a:pt x="67000" y="22521"/>
                    <a:pt x="75001" y="22045"/>
                  </a:cubicBezTo>
                  <a:cubicBezTo>
                    <a:pt x="82240" y="21569"/>
                    <a:pt x="86050" y="20331"/>
                    <a:pt x="88145" y="18616"/>
                  </a:cubicBezTo>
                  <a:cubicBezTo>
                    <a:pt x="90527" y="16711"/>
                    <a:pt x="90622" y="14235"/>
                    <a:pt x="90812" y="11663"/>
                  </a:cubicBezTo>
                  <a:cubicBezTo>
                    <a:pt x="91289" y="3662"/>
                    <a:pt x="95099" y="3948"/>
                    <a:pt x="95099" y="3948"/>
                  </a:cubicBezTo>
                  <a:cubicBezTo>
                    <a:pt x="95099" y="3948"/>
                    <a:pt x="96146" y="804"/>
                    <a:pt x="93765" y="519"/>
                  </a:cubicBezTo>
                  <a:cubicBezTo>
                    <a:pt x="92432" y="328"/>
                    <a:pt x="90622" y="233"/>
                    <a:pt x="88717" y="138"/>
                  </a:cubicBezTo>
                  <a:cubicBezTo>
                    <a:pt x="81954" y="-148"/>
                    <a:pt x="72905" y="42"/>
                    <a:pt x="69572" y="423"/>
                  </a:cubicBezTo>
                  <a:cubicBezTo>
                    <a:pt x="64238" y="1090"/>
                    <a:pt x="55665" y="2805"/>
                    <a:pt x="49855" y="4138"/>
                  </a:cubicBezTo>
                  <a:cubicBezTo>
                    <a:pt x="48807" y="4424"/>
                    <a:pt x="46426" y="4424"/>
                    <a:pt x="45378" y="4138"/>
                  </a:cubicBezTo>
                  <a:cubicBezTo>
                    <a:pt x="39473" y="2805"/>
                    <a:pt x="30995" y="995"/>
                    <a:pt x="25661" y="423"/>
                  </a:cubicBezTo>
                  <a:cubicBezTo>
                    <a:pt x="23090" y="138"/>
                    <a:pt x="16994" y="-53"/>
                    <a:pt x="11279" y="42"/>
                  </a:cubicBezTo>
                  <a:cubicBezTo>
                    <a:pt x="10517" y="42"/>
                    <a:pt x="9755" y="42"/>
                    <a:pt x="9088" y="42"/>
                  </a:cubicBezTo>
                  <a:cubicBezTo>
                    <a:pt x="8707" y="42"/>
                    <a:pt x="8231" y="42"/>
                    <a:pt x="7850" y="42"/>
                  </a:cubicBezTo>
                  <a:cubicBezTo>
                    <a:pt x="6802" y="42"/>
                    <a:pt x="5754" y="42"/>
                    <a:pt x="4897" y="233"/>
                  </a:cubicBezTo>
                  <a:cubicBezTo>
                    <a:pt x="3659" y="233"/>
                    <a:pt x="2516" y="423"/>
                    <a:pt x="1563" y="519"/>
                  </a:cubicBezTo>
                  <a:cubicBezTo>
                    <a:pt x="-818" y="804"/>
                    <a:pt x="230" y="3948"/>
                    <a:pt x="230" y="3948"/>
                  </a:cubicBezTo>
                  <a:cubicBezTo>
                    <a:pt x="230" y="3948"/>
                    <a:pt x="4135" y="3662"/>
                    <a:pt x="4516" y="11663"/>
                  </a:cubicBezTo>
                  <a:cubicBezTo>
                    <a:pt x="4516" y="13282"/>
                    <a:pt x="4706" y="14806"/>
                    <a:pt x="5278" y="16235"/>
                  </a:cubicBezTo>
                  <a:cubicBezTo>
                    <a:pt x="6516" y="19188"/>
                    <a:pt x="9945" y="21474"/>
                    <a:pt x="20232" y="22045"/>
                  </a:cubicBezTo>
                  <a:close/>
                  <a:moveTo>
                    <a:pt x="57856" y="3186"/>
                  </a:moveTo>
                  <a:cubicBezTo>
                    <a:pt x="63761" y="1852"/>
                    <a:pt x="71762" y="1185"/>
                    <a:pt x="77477" y="1376"/>
                  </a:cubicBezTo>
                  <a:cubicBezTo>
                    <a:pt x="81764" y="1566"/>
                    <a:pt x="88241" y="1852"/>
                    <a:pt x="87574" y="11187"/>
                  </a:cubicBezTo>
                  <a:cubicBezTo>
                    <a:pt x="87193" y="16044"/>
                    <a:pt x="88717" y="20140"/>
                    <a:pt x="73382" y="21093"/>
                  </a:cubicBezTo>
                  <a:cubicBezTo>
                    <a:pt x="65476" y="21569"/>
                    <a:pt x="58427" y="20331"/>
                    <a:pt x="54617" y="11663"/>
                  </a:cubicBezTo>
                  <a:cubicBezTo>
                    <a:pt x="53570" y="9282"/>
                    <a:pt x="51188" y="4710"/>
                    <a:pt x="57856" y="3186"/>
                  </a:cubicBezTo>
                  <a:close/>
                  <a:moveTo>
                    <a:pt x="17470" y="1376"/>
                  </a:moveTo>
                  <a:cubicBezTo>
                    <a:pt x="23185" y="1185"/>
                    <a:pt x="31186" y="1757"/>
                    <a:pt x="37091" y="3186"/>
                  </a:cubicBezTo>
                  <a:cubicBezTo>
                    <a:pt x="43759" y="4710"/>
                    <a:pt x="41473" y="9282"/>
                    <a:pt x="40330" y="11663"/>
                  </a:cubicBezTo>
                  <a:cubicBezTo>
                    <a:pt x="36520" y="20235"/>
                    <a:pt x="29567" y="21569"/>
                    <a:pt x="21566" y="21093"/>
                  </a:cubicBezTo>
                  <a:cubicBezTo>
                    <a:pt x="6326" y="20140"/>
                    <a:pt x="7754" y="16140"/>
                    <a:pt x="7373" y="11187"/>
                  </a:cubicBezTo>
                  <a:cubicBezTo>
                    <a:pt x="6611" y="1852"/>
                    <a:pt x="13088" y="1471"/>
                    <a:pt x="17470" y="1376"/>
                  </a:cubicBezTo>
                  <a:close/>
                </a:path>
              </a:pathLst>
            </a:custGeom>
            <a:grpFill/>
            <a:ln w="9525" cap="flat">
              <a:noFill/>
              <a:prstDash val="solid"/>
              <a:miter/>
            </a:ln>
          </p:spPr>
          <p:txBody>
            <a:bodyPr rtlCol="0" anchor="ctr"/>
            <a:lstStyle/>
            <a:p>
              <a:endParaRPr lang="en-US" dirty="0"/>
            </a:p>
          </p:txBody>
        </p:sp>
        <p:sp>
          <p:nvSpPr>
            <p:cNvPr id="1480" name="Freeform: Shape 1479">
              <a:extLst>
                <a:ext uri="{FF2B5EF4-FFF2-40B4-BE49-F238E27FC236}">
                  <a16:creationId xmlns:a16="http://schemas.microsoft.com/office/drawing/2014/main" id="{0321DB92-E904-E8C8-1D12-4B45E10105D3}"/>
                </a:ext>
              </a:extLst>
            </p:cNvPr>
            <p:cNvSpPr/>
            <p:nvPr/>
          </p:nvSpPr>
          <p:spPr>
            <a:xfrm>
              <a:off x="5142423" y="371149"/>
              <a:ext cx="7623" cy="19488"/>
            </a:xfrm>
            <a:custGeom>
              <a:avLst/>
              <a:gdLst>
                <a:gd name="connsiteX0" fmla="*/ 2096 w 3428"/>
                <a:gd name="connsiteY0" fmla="*/ 6763 h 8763"/>
                <a:gd name="connsiteX1" fmla="*/ 3143 w 3428"/>
                <a:gd name="connsiteY1" fmla="*/ 2381 h 8763"/>
                <a:gd name="connsiteX2" fmla="*/ 3429 w 3428"/>
                <a:gd name="connsiteY2" fmla="*/ 0 h 8763"/>
                <a:gd name="connsiteX3" fmla="*/ 1810 w 3428"/>
                <a:gd name="connsiteY3" fmla="*/ 5620 h 8763"/>
                <a:gd name="connsiteX4" fmla="*/ 0 w 3428"/>
                <a:gd name="connsiteY4" fmla="*/ 8763 h 8763"/>
                <a:gd name="connsiteX5" fmla="*/ 1333 w 3428"/>
                <a:gd name="connsiteY5" fmla="*/ 8572 h 8763"/>
                <a:gd name="connsiteX6" fmla="*/ 2096 w 3428"/>
                <a:gd name="connsiteY6" fmla="*/ 6763 h 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8" h="8763">
                  <a:moveTo>
                    <a:pt x="2096" y="6763"/>
                  </a:moveTo>
                  <a:cubicBezTo>
                    <a:pt x="2667" y="5334"/>
                    <a:pt x="3048" y="3905"/>
                    <a:pt x="3143" y="2381"/>
                  </a:cubicBezTo>
                  <a:cubicBezTo>
                    <a:pt x="3143" y="1619"/>
                    <a:pt x="3334" y="762"/>
                    <a:pt x="3429" y="0"/>
                  </a:cubicBezTo>
                  <a:cubicBezTo>
                    <a:pt x="3048" y="1905"/>
                    <a:pt x="2477" y="3810"/>
                    <a:pt x="1810" y="5620"/>
                  </a:cubicBezTo>
                  <a:cubicBezTo>
                    <a:pt x="1333" y="6763"/>
                    <a:pt x="762" y="7810"/>
                    <a:pt x="0" y="8763"/>
                  </a:cubicBezTo>
                  <a:cubicBezTo>
                    <a:pt x="476" y="8763"/>
                    <a:pt x="857" y="8668"/>
                    <a:pt x="1333" y="8572"/>
                  </a:cubicBezTo>
                  <a:cubicBezTo>
                    <a:pt x="1619" y="8001"/>
                    <a:pt x="1905" y="7429"/>
                    <a:pt x="2096" y="6763"/>
                  </a:cubicBezTo>
                  <a:close/>
                </a:path>
              </a:pathLst>
            </a:custGeom>
            <a:grpFill/>
            <a:ln w="9525" cap="flat">
              <a:noFill/>
              <a:prstDash val="solid"/>
              <a:miter/>
            </a:ln>
          </p:spPr>
          <p:txBody>
            <a:bodyPr rtlCol="0" anchor="ctr"/>
            <a:lstStyle/>
            <a:p>
              <a:endParaRPr lang="en-US" dirty="0"/>
            </a:p>
          </p:txBody>
        </p:sp>
        <p:sp>
          <p:nvSpPr>
            <p:cNvPr id="1481" name="Freeform: Shape 1480">
              <a:extLst>
                <a:ext uri="{FF2B5EF4-FFF2-40B4-BE49-F238E27FC236}">
                  <a16:creationId xmlns:a16="http://schemas.microsoft.com/office/drawing/2014/main" id="{3C28CA20-1B81-FDB1-E6C7-C7C7B3D0FEC2}"/>
                </a:ext>
              </a:extLst>
            </p:cNvPr>
            <p:cNvSpPr/>
            <p:nvPr/>
          </p:nvSpPr>
          <p:spPr>
            <a:xfrm>
              <a:off x="5117852" y="382589"/>
              <a:ext cx="11013" cy="13343"/>
            </a:xfrm>
            <a:custGeom>
              <a:avLst/>
              <a:gdLst>
                <a:gd name="connsiteX0" fmla="*/ 3715 w 4952"/>
                <a:gd name="connsiteY0" fmla="*/ 4096 h 6000"/>
                <a:gd name="connsiteX1" fmla="*/ 0 w 4952"/>
                <a:gd name="connsiteY1" fmla="*/ 0 h 6000"/>
                <a:gd name="connsiteX2" fmla="*/ 0 w 4952"/>
                <a:gd name="connsiteY2" fmla="*/ 667 h 6000"/>
                <a:gd name="connsiteX3" fmla="*/ 190 w 4952"/>
                <a:gd name="connsiteY3" fmla="*/ 1048 h 6000"/>
                <a:gd name="connsiteX4" fmla="*/ 571 w 4952"/>
                <a:gd name="connsiteY4" fmla="*/ 1810 h 6000"/>
                <a:gd name="connsiteX5" fmla="*/ 1143 w 4952"/>
                <a:gd name="connsiteY5" fmla="*/ 3620 h 6000"/>
                <a:gd name="connsiteX6" fmla="*/ 1429 w 4952"/>
                <a:gd name="connsiteY6" fmla="*/ 6001 h 6000"/>
                <a:gd name="connsiteX7" fmla="*/ 4953 w 4952"/>
                <a:gd name="connsiteY7" fmla="*/ 4953 h 6000"/>
                <a:gd name="connsiteX8" fmla="*/ 3620 w 4952"/>
                <a:gd name="connsiteY8" fmla="*/ 4096 h 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52" h="6000">
                  <a:moveTo>
                    <a:pt x="3715" y="4096"/>
                  </a:moveTo>
                  <a:cubicBezTo>
                    <a:pt x="2286" y="2953"/>
                    <a:pt x="1048" y="1524"/>
                    <a:pt x="0" y="0"/>
                  </a:cubicBezTo>
                  <a:cubicBezTo>
                    <a:pt x="0" y="191"/>
                    <a:pt x="0" y="476"/>
                    <a:pt x="0" y="667"/>
                  </a:cubicBezTo>
                  <a:cubicBezTo>
                    <a:pt x="0" y="762"/>
                    <a:pt x="95" y="953"/>
                    <a:pt x="190" y="1048"/>
                  </a:cubicBezTo>
                  <a:cubicBezTo>
                    <a:pt x="286" y="1334"/>
                    <a:pt x="476" y="1619"/>
                    <a:pt x="571" y="1810"/>
                  </a:cubicBezTo>
                  <a:cubicBezTo>
                    <a:pt x="857" y="2381"/>
                    <a:pt x="1048" y="3048"/>
                    <a:pt x="1143" y="3620"/>
                  </a:cubicBezTo>
                  <a:cubicBezTo>
                    <a:pt x="1333" y="4382"/>
                    <a:pt x="1429" y="5239"/>
                    <a:pt x="1429" y="6001"/>
                  </a:cubicBezTo>
                  <a:cubicBezTo>
                    <a:pt x="2572" y="5620"/>
                    <a:pt x="3810" y="5239"/>
                    <a:pt x="4953" y="4953"/>
                  </a:cubicBezTo>
                  <a:cubicBezTo>
                    <a:pt x="4477" y="4667"/>
                    <a:pt x="4001" y="4382"/>
                    <a:pt x="3620" y="4096"/>
                  </a:cubicBezTo>
                  <a:close/>
                </a:path>
              </a:pathLst>
            </a:custGeom>
            <a:grpFill/>
            <a:ln w="9525" cap="flat">
              <a:noFill/>
              <a:prstDash val="solid"/>
              <a:miter/>
            </a:ln>
          </p:spPr>
          <p:txBody>
            <a:bodyPr rtlCol="0" anchor="ctr"/>
            <a:lstStyle/>
            <a:p>
              <a:endParaRPr lang="en-US" dirty="0"/>
            </a:p>
          </p:txBody>
        </p:sp>
        <p:sp>
          <p:nvSpPr>
            <p:cNvPr id="1482" name="Freeform: Shape 1481">
              <a:extLst>
                <a:ext uri="{FF2B5EF4-FFF2-40B4-BE49-F238E27FC236}">
                  <a16:creationId xmlns:a16="http://schemas.microsoft.com/office/drawing/2014/main" id="{56B4A96D-AA1D-38AF-0E02-D8BFDADC0690}"/>
                </a:ext>
              </a:extLst>
            </p:cNvPr>
            <p:cNvSpPr/>
            <p:nvPr/>
          </p:nvSpPr>
          <p:spPr>
            <a:xfrm>
              <a:off x="5052821" y="492527"/>
              <a:ext cx="21183" cy="423"/>
            </a:xfrm>
            <a:custGeom>
              <a:avLst/>
              <a:gdLst>
                <a:gd name="connsiteX0" fmla="*/ 0 w 9525"/>
                <a:gd name="connsiteY0" fmla="*/ 190 h 190"/>
                <a:gd name="connsiteX1" fmla="*/ 0 w 9525"/>
                <a:gd name="connsiteY1" fmla="*/ 0 h 190"/>
                <a:gd name="connsiteX2" fmla="*/ 0 w 9525"/>
                <a:gd name="connsiteY2" fmla="*/ 0 h 190"/>
                <a:gd name="connsiteX3" fmla="*/ 0 w 9525"/>
                <a:gd name="connsiteY3" fmla="*/ 95 h 190"/>
              </a:gdLst>
              <a:ahLst/>
              <a:cxnLst>
                <a:cxn ang="0">
                  <a:pos x="connsiteX0" y="connsiteY0"/>
                </a:cxn>
                <a:cxn ang="0">
                  <a:pos x="connsiteX1" y="connsiteY1"/>
                </a:cxn>
                <a:cxn ang="0">
                  <a:pos x="connsiteX2" y="connsiteY2"/>
                </a:cxn>
                <a:cxn ang="0">
                  <a:pos x="connsiteX3" y="connsiteY3"/>
                </a:cxn>
              </a:cxnLst>
              <a:rect l="l" t="t" r="r" b="b"/>
              <a:pathLst>
                <a:path w="9525" h="190">
                  <a:moveTo>
                    <a:pt x="0" y="190"/>
                  </a:moveTo>
                  <a:lnTo>
                    <a:pt x="0" y="0"/>
                  </a:lnTo>
                  <a:cubicBezTo>
                    <a:pt x="0" y="0"/>
                    <a:pt x="0" y="0"/>
                    <a:pt x="0" y="0"/>
                  </a:cubicBezTo>
                  <a:cubicBezTo>
                    <a:pt x="0" y="0"/>
                    <a:pt x="0" y="0"/>
                    <a:pt x="0" y="95"/>
                  </a:cubicBezTo>
                  <a:close/>
                </a:path>
              </a:pathLst>
            </a:custGeom>
            <a:grpFill/>
            <a:ln w="9525" cap="flat">
              <a:noFill/>
              <a:prstDash val="solid"/>
              <a:miter/>
            </a:ln>
          </p:spPr>
          <p:txBody>
            <a:bodyPr rtlCol="0" anchor="ctr"/>
            <a:lstStyle/>
            <a:p>
              <a:endParaRPr lang="en-US" dirty="0"/>
            </a:p>
          </p:txBody>
        </p:sp>
        <p:sp>
          <p:nvSpPr>
            <p:cNvPr id="1483" name="Freeform: Shape 1482">
              <a:extLst>
                <a:ext uri="{FF2B5EF4-FFF2-40B4-BE49-F238E27FC236}">
                  <a16:creationId xmlns:a16="http://schemas.microsoft.com/office/drawing/2014/main" id="{9B4E9098-C564-9937-CB93-EC3A9D525DDF}"/>
                </a:ext>
              </a:extLst>
            </p:cNvPr>
            <p:cNvSpPr/>
            <p:nvPr/>
          </p:nvSpPr>
          <p:spPr>
            <a:xfrm>
              <a:off x="5079512" y="416692"/>
              <a:ext cx="2540" cy="2117"/>
            </a:xfrm>
            <a:custGeom>
              <a:avLst/>
              <a:gdLst>
                <a:gd name="connsiteX0" fmla="*/ 0 w 1142"/>
                <a:gd name="connsiteY0" fmla="*/ 0 h 952"/>
                <a:gd name="connsiteX1" fmla="*/ 762 w 1142"/>
                <a:gd name="connsiteY1" fmla="*/ 953 h 952"/>
                <a:gd name="connsiteX2" fmla="*/ 1143 w 1142"/>
                <a:gd name="connsiteY2" fmla="*/ 667 h 952"/>
                <a:gd name="connsiteX3" fmla="*/ 0 w 1142"/>
                <a:gd name="connsiteY3" fmla="*/ 95 h 952"/>
              </a:gdLst>
              <a:ahLst/>
              <a:cxnLst>
                <a:cxn ang="0">
                  <a:pos x="connsiteX0" y="connsiteY0"/>
                </a:cxn>
                <a:cxn ang="0">
                  <a:pos x="connsiteX1" y="connsiteY1"/>
                </a:cxn>
                <a:cxn ang="0">
                  <a:pos x="connsiteX2" y="connsiteY2"/>
                </a:cxn>
                <a:cxn ang="0">
                  <a:pos x="connsiteX3" y="connsiteY3"/>
                </a:cxn>
              </a:cxnLst>
              <a:rect l="l" t="t" r="r" b="b"/>
              <a:pathLst>
                <a:path w="1142" h="952">
                  <a:moveTo>
                    <a:pt x="0" y="0"/>
                  </a:moveTo>
                  <a:cubicBezTo>
                    <a:pt x="0" y="0"/>
                    <a:pt x="476" y="572"/>
                    <a:pt x="762" y="953"/>
                  </a:cubicBezTo>
                  <a:cubicBezTo>
                    <a:pt x="857" y="857"/>
                    <a:pt x="1048" y="762"/>
                    <a:pt x="1143" y="667"/>
                  </a:cubicBezTo>
                  <a:cubicBezTo>
                    <a:pt x="762" y="476"/>
                    <a:pt x="286" y="286"/>
                    <a:pt x="0" y="95"/>
                  </a:cubicBezTo>
                  <a:close/>
                </a:path>
              </a:pathLst>
            </a:custGeom>
            <a:grpFill/>
            <a:ln w="9525" cap="flat">
              <a:noFill/>
              <a:prstDash val="solid"/>
              <a:miter/>
            </a:ln>
          </p:spPr>
          <p:txBody>
            <a:bodyPr rtlCol="0" anchor="ctr"/>
            <a:lstStyle/>
            <a:p>
              <a:endParaRPr lang="en-US" dirty="0"/>
            </a:p>
          </p:txBody>
        </p:sp>
        <p:sp>
          <p:nvSpPr>
            <p:cNvPr id="1484" name="Freeform: Shape 1483">
              <a:extLst>
                <a:ext uri="{FF2B5EF4-FFF2-40B4-BE49-F238E27FC236}">
                  <a16:creationId xmlns:a16="http://schemas.microsoft.com/office/drawing/2014/main" id="{C18CC74C-524D-EBD0-9ED1-2B4C7C048E47}"/>
                </a:ext>
              </a:extLst>
            </p:cNvPr>
            <p:cNvSpPr/>
            <p:nvPr/>
          </p:nvSpPr>
          <p:spPr>
            <a:xfrm>
              <a:off x="5061082" y="646311"/>
              <a:ext cx="1481" cy="6565"/>
            </a:xfrm>
            <a:custGeom>
              <a:avLst/>
              <a:gdLst>
                <a:gd name="connsiteX0" fmla="*/ 381 w 666"/>
                <a:gd name="connsiteY0" fmla="*/ 381 h 2952"/>
                <a:gd name="connsiteX1" fmla="*/ 0 w 666"/>
                <a:gd name="connsiteY1" fmla="*/ 0 h 2952"/>
                <a:gd name="connsiteX2" fmla="*/ 190 w 666"/>
                <a:gd name="connsiteY2" fmla="*/ 952 h 2952"/>
                <a:gd name="connsiteX3" fmla="*/ 667 w 666"/>
                <a:gd name="connsiteY3" fmla="*/ 2953 h 2952"/>
                <a:gd name="connsiteX4" fmla="*/ 667 w 666"/>
                <a:gd name="connsiteY4" fmla="*/ 2953 h 2952"/>
                <a:gd name="connsiteX5" fmla="*/ 381 w 666"/>
                <a:gd name="connsiteY5" fmla="*/ 381 h 2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 h="2952">
                  <a:moveTo>
                    <a:pt x="381" y="381"/>
                  </a:moveTo>
                  <a:lnTo>
                    <a:pt x="0" y="0"/>
                  </a:lnTo>
                  <a:lnTo>
                    <a:pt x="190" y="952"/>
                  </a:lnTo>
                  <a:cubicBezTo>
                    <a:pt x="286" y="1619"/>
                    <a:pt x="571" y="2286"/>
                    <a:pt x="667" y="2953"/>
                  </a:cubicBezTo>
                  <a:cubicBezTo>
                    <a:pt x="667" y="2953"/>
                    <a:pt x="667" y="2953"/>
                    <a:pt x="667" y="2953"/>
                  </a:cubicBezTo>
                  <a:lnTo>
                    <a:pt x="381" y="381"/>
                  </a:lnTo>
                  <a:close/>
                </a:path>
              </a:pathLst>
            </a:custGeom>
            <a:grpFill/>
            <a:ln w="9525" cap="flat">
              <a:noFill/>
              <a:prstDash val="solid"/>
              <a:miter/>
            </a:ln>
          </p:spPr>
          <p:txBody>
            <a:bodyPr rtlCol="0" anchor="ctr"/>
            <a:lstStyle/>
            <a:p>
              <a:endParaRPr lang="en-US" dirty="0"/>
            </a:p>
          </p:txBody>
        </p:sp>
        <p:sp>
          <p:nvSpPr>
            <p:cNvPr id="1485" name="Freeform: Shape 1484">
              <a:extLst>
                <a:ext uri="{FF2B5EF4-FFF2-40B4-BE49-F238E27FC236}">
                  <a16:creationId xmlns:a16="http://schemas.microsoft.com/office/drawing/2014/main" id="{42CDD489-F6F7-0652-B009-691FAA1AD1DD}"/>
                </a:ext>
              </a:extLst>
            </p:cNvPr>
            <p:cNvSpPr/>
            <p:nvPr/>
          </p:nvSpPr>
          <p:spPr>
            <a:xfrm>
              <a:off x="5048373" y="637838"/>
              <a:ext cx="6778" cy="4448"/>
            </a:xfrm>
            <a:custGeom>
              <a:avLst/>
              <a:gdLst>
                <a:gd name="connsiteX0" fmla="*/ 1619 w 3048"/>
                <a:gd name="connsiteY0" fmla="*/ 191 h 2000"/>
                <a:gd name="connsiteX1" fmla="*/ 1333 w 3048"/>
                <a:gd name="connsiteY1" fmla="*/ 191 h 2000"/>
                <a:gd name="connsiteX2" fmla="*/ 0 w 3048"/>
                <a:gd name="connsiteY2" fmla="*/ 381 h 2000"/>
                <a:gd name="connsiteX3" fmla="*/ 0 w 3048"/>
                <a:gd name="connsiteY3" fmla="*/ 476 h 2000"/>
                <a:gd name="connsiteX4" fmla="*/ 667 w 3048"/>
                <a:gd name="connsiteY4" fmla="*/ 1143 h 2000"/>
                <a:gd name="connsiteX5" fmla="*/ 857 w 3048"/>
                <a:gd name="connsiteY5" fmla="*/ 857 h 2000"/>
                <a:gd name="connsiteX6" fmla="*/ 1714 w 3048"/>
                <a:gd name="connsiteY6" fmla="*/ 667 h 2000"/>
                <a:gd name="connsiteX7" fmla="*/ 3048 w 3048"/>
                <a:gd name="connsiteY7" fmla="*/ 2000 h 2000"/>
                <a:gd name="connsiteX8" fmla="*/ 3048 w 3048"/>
                <a:gd name="connsiteY8" fmla="*/ 2000 h 2000"/>
                <a:gd name="connsiteX9" fmla="*/ 3048 w 3048"/>
                <a:gd name="connsiteY9" fmla="*/ 2000 h 2000"/>
                <a:gd name="connsiteX10" fmla="*/ 2857 w 3048"/>
                <a:gd name="connsiteY10" fmla="*/ 1238 h 2000"/>
                <a:gd name="connsiteX11" fmla="*/ 1429 w 3048"/>
                <a:gd name="connsiteY11" fmla="*/ 0 h 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8" h="2000">
                  <a:moveTo>
                    <a:pt x="1619" y="191"/>
                  </a:moveTo>
                  <a:cubicBezTo>
                    <a:pt x="1619" y="191"/>
                    <a:pt x="1429" y="191"/>
                    <a:pt x="1333" y="191"/>
                  </a:cubicBezTo>
                  <a:cubicBezTo>
                    <a:pt x="857" y="286"/>
                    <a:pt x="381" y="191"/>
                    <a:pt x="0" y="381"/>
                  </a:cubicBezTo>
                  <a:cubicBezTo>
                    <a:pt x="0" y="381"/>
                    <a:pt x="0" y="381"/>
                    <a:pt x="0" y="476"/>
                  </a:cubicBezTo>
                  <a:cubicBezTo>
                    <a:pt x="190" y="762"/>
                    <a:pt x="476" y="953"/>
                    <a:pt x="667" y="1143"/>
                  </a:cubicBezTo>
                  <a:cubicBezTo>
                    <a:pt x="667" y="1048"/>
                    <a:pt x="762" y="953"/>
                    <a:pt x="857" y="857"/>
                  </a:cubicBezTo>
                  <a:cubicBezTo>
                    <a:pt x="1143" y="667"/>
                    <a:pt x="1524" y="476"/>
                    <a:pt x="1714" y="667"/>
                  </a:cubicBezTo>
                  <a:cubicBezTo>
                    <a:pt x="2191" y="1143"/>
                    <a:pt x="2762" y="1429"/>
                    <a:pt x="3048" y="2000"/>
                  </a:cubicBezTo>
                  <a:cubicBezTo>
                    <a:pt x="3048" y="2000"/>
                    <a:pt x="3048" y="2000"/>
                    <a:pt x="3048" y="2000"/>
                  </a:cubicBezTo>
                  <a:lnTo>
                    <a:pt x="3048" y="2000"/>
                  </a:lnTo>
                  <a:cubicBezTo>
                    <a:pt x="3048" y="2000"/>
                    <a:pt x="2953" y="1429"/>
                    <a:pt x="2857" y="1238"/>
                  </a:cubicBezTo>
                  <a:lnTo>
                    <a:pt x="1429" y="0"/>
                  </a:lnTo>
                  <a:close/>
                </a:path>
              </a:pathLst>
            </a:custGeom>
            <a:grpFill/>
            <a:ln w="9525" cap="flat">
              <a:noFill/>
              <a:prstDash val="solid"/>
              <a:miter/>
            </a:ln>
          </p:spPr>
          <p:txBody>
            <a:bodyPr rtlCol="0" anchor="ctr"/>
            <a:lstStyle/>
            <a:p>
              <a:endParaRPr lang="en-US" dirty="0"/>
            </a:p>
          </p:txBody>
        </p:sp>
        <p:sp>
          <p:nvSpPr>
            <p:cNvPr id="1486" name="Freeform: Shape 1485">
              <a:extLst>
                <a:ext uri="{FF2B5EF4-FFF2-40B4-BE49-F238E27FC236}">
                  <a16:creationId xmlns:a16="http://schemas.microsoft.com/office/drawing/2014/main" id="{FE9452D6-53B5-05E2-7DE3-92892082D17B}"/>
                </a:ext>
              </a:extLst>
            </p:cNvPr>
            <p:cNvSpPr/>
            <p:nvPr/>
          </p:nvSpPr>
          <p:spPr>
            <a:xfrm>
              <a:off x="5036086" y="568784"/>
              <a:ext cx="9743" cy="57614"/>
            </a:xfrm>
            <a:custGeom>
              <a:avLst/>
              <a:gdLst>
                <a:gd name="connsiteX0" fmla="*/ 2477 w 4381"/>
                <a:gd name="connsiteY0" fmla="*/ 476 h 25907"/>
                <a:gd name="connsiteX1" fmla="*/ 2477 w 4381"/>
                <a:gd name="connsiteY1" fmla="*/ 476 h 25907"/>
                <a:gd name="connsiteX2" fmla="*/ 1715 w 4381"/>
                <a:gd name="connsiteY2" fmla="*/ 0 h 25907"/>
                <a:gd name="connsiteX3" fmla="*/ 0 w 4381"/>
                <a:gd name="connsiteY3" fmla="*/ 5715 h 25907"/>
                <a:gd name="connsiteX4" fmla="*/ 1334 w 4381"/>
                <a:gd name="connsiteY4" fmla="*/ 14288 h 25907"/>
                <a:gd name="connsiteX5" fmla="*/ 3905 w 4381"/>
                <a:gd name="connsiteY5" fmla="*/ 25908 h 25907"/>
                <a:gd name="connsiteX6" fmla="*/ 4382 w 4381"/>
                <a:gd name="connsiteY6" fmla="*/ 25908 h 25907"/>
                <a:gd name="connsiteX7" fmla="*/ 2572 w 4381"/>
                <a:gd name="connsiteY7" fmla="*/ 667 h 2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1" h="25907">
                  <a:moveTo>
                    <a:pt x="2477" y="476"/>
                  </a:moveTo>
                  <a:cubicBezTo>
                    <a:pt x="2477" y="476"/>
                    <a:pt x="2477" y="476"/>
                    <a:pt x="2477" y="476"/>
                  </a:cubicBezTo>
                  <a:cubicBezTo>
                    <a:pt x="2191" y="381"/>
                    <a:pt x="2000" y="95"/>
                    <a:pt x="1715" y="0"/>
                  </a:cubicBezTo>
                  <a:cubicBezTo>
                    <a:pt x="667" y="571"/>
                    <a:pt x="0" y="2286"/>
                    <a:pt x="0" y="5715"/>
                  </a:cubicBezTo>
                  <a:cubicBezTo>
                    <a:pt x="0" y="9144"/>
                    <a:pt x="476" y="10858"/>
                    <a:pt x="1334" y="14288"/>
                  </a:cubicBezTo>
                  <a:cubicBezTo>
                    <a:pt x="2000" y="16859"/>
                    <a:pt x="2858" y="20288"/>
                    <a:pt x="3905" y="25908"/>
                  </a:cubicBezTo>
                  <a:cubicBezTo>
                    <a:pt x="4096" y="25908"/>
                    <a:pt x="4191" y="25908"/>
                    <a:pt x="4382" y="25908"/>
                  </a:cubicBezTo>
                  <a:lnTo>
                    <a:pt x="2572" y="667"/>
                  </a:lnTo>
                  <a:close/>
                </a:path>
              </a:pathLst>
            </a:custGeom>
            <a:grpFill/>
            <a:ln w="9525" cap="flat">
              <a:noFill/>
              <a:prstDash val="solid"/>
              <a:miter/>
            </a:ln>
          </p:spPr>
          <p:txBody>
            <a:bodyPr rtlCol="0" anchor="ctr"/>
            <a:lstStyle/>
            <a:p>
              <a:endParaRPr lang="en-US" dirty="0"/>
            </a:p>
          </p:txBody>
        </p:sp>
        <p:sp>
          <p:nvSpPr>
            <p:cNvPr id="1487" name="Freeform: Shape 1486">
              <a:extLst>
                <a:ext uri="{FF2B5EF4-FFF2-40B4-BE49-F238E27FC236}">
                  <a16:creationId xmlns:a16="http://schemas.microsoft.com/office/drawing/2014/main" id="{FE31D128-3558-3762-F74C-600063FE4C57}"/>
                </a:ext>
              </a:extLst>
            </p:cNvPr>
            <p:cNvSpPr/>
            <p:nvPr/>
          </p:nvSpPr>
          <p:spPr>
            <a:xfrm>
              <a:off x="5258928" y="505659"/>
              <a:ext cx="2540" cy="4659"/>
            </a:xfrm>
            <a:custGeom>
              <a:avLst/>
              <a:gdLst>
                <a:gd name="connsiteX0" fmla="*/ 0 w 1142"/>
                <a:gd name="connsiteY0" fmla="*/ 2095 h 2095"/>
                <a:gd name="connsiteX1" fmla="*/ 1143 w 1142"/>
                <a:gd name="connsiteY1" fmla="*/ 0 h 2095"/>
                <a:gd name="connsiteX2" fmla="*/ 1143 w 1142"/>
                <a:gd name="connsiteY2" fmla="*/ 0 h 2095"/>
                <a:gd name="connsiteX3" fmla="*/ 95 w 1142"/>
                <a:gd name="connsiteY3" fmla="*/ 2000 h 2095"/>
              </a:gdLst>
              <a:ahLst/>
              <a:cxnLst>
                <a:cxn ang="0">
                  <a:pos x="connsiteX0" y="connsiteY0"/>
                </a:cxn>
                <a:cxn ang="0">
                  <a:pos x="connsiteX1" y="connsiteY1"/>
                </a:cxn>
                <a:cxn ang="0">
                  <a:pos x="connsiteX2" y="connsiteY2"/>
                </a:cxn>
                <a:cxn ang="0">
                  <a:pos x="connsiteX3" y="connsiteY3"/>
                </a:cxn>
              </a:cxnLst>
              <a:rect l="l" t="t" r="r" b="b"/>
              <a:pathLst>
                <a:path w="1142" h="2095">
                  <a:moveTo>
                    <a:pt x="0" y="2095"/>
                  </a:moveTo>
                  <a:cubicBezTo>
                    <a:pt x="381" y="1429"/>
                    <a:pt x="667" y="667"/>
                    <a:pt x="1143" y="0"/>
                  </a:cubicBezTo>
                  <a:cubicBezTo>
                    <a:pt x="1143" y="0"/>
                    <a:pt x="1143" y="0"/>
                    <a:pt x="1143" y="0"/>
                  </a:cubicBezTo>
                  <a:cubicBezTo>
                    <a:pt x="667" y="571"/>
                    <a:pt x="286" y="1238"/>
                    <a:pt x="95" y="2000"/>
                  </a:cubicBezTo>
                  <a:close/>
                </a:path>
              </a:pathLst>
            </a:custGeom>
            <a:grpFill/>
            <a:ln w="9525" cap="flat">
              <a:noFill/>
              <a:prstDash val="solid"/>
              <a:miter/>
            </a:ln>
          </p:spPr>
          <p:txBody>
            <a:bodyPr rtlCol="0" anchor="ctr"/>
            <a:lstStyle/>
            <a:p>
              <a:endParaRPr lang="en-US" dirty="0"/>
            </a:p>
          </p:txBody>
        </p:sp>
        <p:sp>
          <p:nvSpPr>
            <p:cNvPr id="1488" name="Freeform: Shape 1487">
              <a:extLst>
                <a:ext uri="{FF2B5EF4-FFF2-40B4-BE49-F238E27FC236}">
                  <a16:creationId xmlns:a16="http://schemas.microsoft.com/office/drawing/2014/main" id="{6C31F976-625A-0165-D89E-4095A49359AC}"/>
                </a:ext>
              </a:extLst>
            </p:cNvPr>
            <p:cNvSpPr/>
            <p:nvPr/>
          </p:nvSpPr>
          <p:spPr>
            <a:xfrm>
              <a:off x="5225670" y="449950"/>
              <a:ext cx="1059" cy="2328"/>
            </a:xfrm>
            <a:custGeom>
              <a:avLst/>
              <a:gdLst>
                <a:gd name="connsiteX0" fmla="*/ 95 w 476"/>
                <a:gd name="connsiteY0" fmla="*/ 95 h 1047"/>
                <a:gd name="connsiteX1" fmla="*/ 190 w 476"/>
                <a:gd name="connsiteY1" fmla="*/ 381 h 1047"/>
                <a:gd name="connsiteX2" fmla="*/ 476 w 476"/>
                <a:gd name="connsiteY2" fmla="*/ 1048 h 1047"/>
                <a:gd name="connsiteX3" fmla="*/ 286 w 476"/>
                <a:gd name="connsiteY3" fmla="*/ 0 h 1047"/>
                <a:gd name="connsiteX4" fmla="*/ 0 w 476"/>
                <a:gd name="connsiteY4" fmla="*/ 95 h 1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 h="1047">
                  <a:moveTo>
                    <a:pt x="95" y="95"/>
                  </a:moveTo>
                  <a:cubicBezTo>
                    <a:pt x="95" y="95"/>
                    <a:pt x="190" y="381"/>
                    <a:pt x="190" y="381"/>
                  </a:cubicBezTo>
                  <a:cubicBezTo>
                    <a:pt x="286" y="571"/>
                    <a:pt x="381" y="857"/>
                    <a:pt x="476" y="1048"/>
                  </a:cubicBezTo>
                  <a:cubicBezTo>
                    <a:pt x="476" y="667"/>
                    <a:pt x="286" y="381"/>
                    <a:pt x="286" y="0"/>
                  </a:cubicBezTo>
                  <a:cubicBezTo>
                    <a:pt x="286" y="0"/>
                    <a:pt x="0" y="0"/>
                    <a:pt x="0" y="95"/>
                  </a:cubicBezTo>
                  <a:close/>
                </a:path>
              </a:pathLst>
            </a:custGeom>
            <a:grpFill/>
            <a:ln w="9525" cap="flat">
              <a:noFill/>
              <a:prstDash val="solid"/>
              <a:miter/>
            </a:ln>
          </p:spPr>
          <p:txBody>
            <a:bodyPr rtlCol="0" anchor="ctr"/>
            <a:lstStyle/>
            <a:p>
              <a:endParaRPr lang="en-US" dirty="0"/>
            </a:p>
          </p:txBody>
        </p:sp>
        <p:sp>
          <p:nvSpPr>
            <p:cNvPr id="1489" name="Freeform: Shape 1488">
              <a:extLst>
                <a:ext uri="{FF2B5EF4-FFF2-40B4-BE49-F238E27FC236}">
                  <a16:creationId xmlns:a16="http://schemas.microsoft.com/office/drawing/2014/main" id="{ECF7BFE1-D0A2-75B0-D717-126E1440338A}"/>
                </a:ext>
              </a:extLst>
            </p:cNvPr>
            <p:cNvSpPr/>
            <p:nvPr/>
          </p:nvSpPr>
          <p:spPr>
            <a:xfrm>
              <a:off x="5173562" y="411608"/>
              <a:ext cx="5506" cy="11226"/>
            </a:xfrm>
            <a:custGeom>
              <a:avLst/>
              <a:gdLst>
                <a:gd name="connsiteX0" fmla="*/ 0 w 2476"/>
                <a:gd name="connsiteY0" fmla="*/ 286 h 5048"/>
                <a:gd name="connsiteX1" fmla="*/ 0 w 2476"/>
                <a:gd name="connsiteY1" fmla="*/ 476 h 5048"/>
                <a:gd name="connsiteX2" fmla="*/ 0 w 2476"/>
                <a:gd name="connsiteY2" fmla="*/ 762 h 5048"/>
                <a:gd name="connsiteX3" fmla="*/ 190 w 2476"/>
                <a:gd name="connsiteY3" fmla="*/ 1810 h 5048"/>
                <a:gd name="connsiteX4" fmla="*/ 667 w 2476"/>
                <a:gd name="connsiteY4" fmla="*/ 3810 h 5048"/>
                <a:gd name="connsiteX5" fmla="*/ 667 w 2476"/>
                <a:gd name="connsiteY5" fmla="*/ 3810 h 5048"/>
                <a:gd name="connsiteX6" fmla="*/ 667 w 2476"/>
                <a:gd name="connsiteY6" fmla="*/ 3810 h 5048"/>
                <a:gd name="connsiteX7" fmla="*/ 2476 w 2476"/>
                <a:gd name="connsiteY7" fmla="*/ 5048 h 5048"/>
                <a:gd name="connsiteX8" fmla="*/ 571 w 2476"/>
                <a:gd name="connsiteY8" fmla="*/ 0 h 5048"/>
                <a:gd name="connsiteX9" fmla="*/ 0 w 2476"/>
                <a:gd name="connsiteY9" fmla="*/ 286 h 5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 h="5048">
                  <a:moveTo>
                    <a:pt x="0" y="286"/>
                  </a:moveTo>
                  <a:cubicBezTo>
                    <a:pt x="0" y="286"/>
                    <a:pt x="0" y="286"/>
                    <a:pt x="0" y="476"/>
                  </a:cubicBezTo>
                  <a:cubicBezTo>
                    <a:pt x="0" y="476"/>
                    <a:pt x="0" y="667"/>
                    <a:pt x="0" y="762"/>
                  </a:cubicBezTo>
                  <a:cubicBezTo>
                    <a:pt x="0" y="1143"/>
                    <a:pt x="95" y="1429"/>
                    <a:pt x="190" y="1810"/>
                  </a:cubicBezTo>
                  <a:cubicBezTo>
                    <a:pt x="286" y="2477"/>
                    <a:pt x="381" y="3239"/>
                    <a:pt x="667" y="3810"/>
                  </a:cubicBezTo>
                  <a:cubicBezTo>
                    <a:pt x="667" y="3620"/>
                    <a:pt x="476" y="3524"/>
                    <a:pt x="667" y="3810"/>
                  </a:cubicBezTo>
                  <a:cubicBezTo>
                    <a:pt x="857" y="4096"/>
                    <a:pt x="762" y="4001"/>
                    <a:pt x="667" y="3810"/>
                  </a:cubicBezTo>
                  <a:cubicBezTo>
                    <a:pt x="1048" y="4477"/>
                    <a:pt x="1810" y="4763"/>
                    <a:pt x="2476" y="5048"/>
                  </a:cubicBezTo>
                  <a:cubicBezTo>
                    <a:pt x="1143" y="3810"/>
                    <a:pt x="286" y="1905"/>
                    <a:pt x="571" y="0"/>
                  </a:cubicBezTo>
                  <a:cubicBezTo>
                    <a:pt x="381" y="0"/>
                    <a:pt x="190" y="95"/>
                    <a:pt x="0" y="286"/>
                  </a:cubicBezTo>
                  <a:close/>
                </a:path>
              </a:pathLst>
            </a:custGeom>
            <a:grpFill/>
            <a:ln w="9525" cap="flat">
              <a:noFill/>
              <a:prstDash val="solid"/>
              <a:miter/>
            </a:ln>
          </p:spPr>
          <p:txBody>
            <a:bodyPr rtlCol="0" anchor="ctr"/>
            <a:lstStyle/>
            <a:p>
              <a:endParaRPr lang="en-US" dirty="0"/>
            </a:p>
          </p:txBody>
        </p:sp>
        <p:sp>
          <p:nvSpPr>
            <p:cNvPr id="1490" name="Freeform: Shape 1489">
              <a:extLst>
                <a:ext uri="{FF2B5EF4-FFF2-40B4-BE49-F238E27FC236}">
                  <a16:creationId xmlns:a16="http://schemas.microsoft.com/office/drawing/2014/main" id="{5263FA23-E9B4-CB9D-3C63-1A4FE1BFFB85}"/>
                </a:ext>
              </a:extLst>
            </p:cNvPr>
            <p:cNvSpPr/>
            <p:nvPr/>
          </p:nvSpPr>
          <p:spPr>
            <a:xfrm>
              <a:off x="5150507" y="403989"/>
              <a:ext cx="467" cy="743"/>
            </a:xfrm>
            <a:custGeom>
              <a:avLst/>
              <a:gdLst>
                <a:gd name="connsiteX0" fmla="*/ 175 w 210"/>
                <a:gd name="connsiteY0" fmla="*/ 283 h 334"/>
                <a:gd name="connsiteX1" fmla="*/ 175 w 210"/>
                <a:gd name="connsiteY1" fmla="*/ 283 h 334"/>
                <a:gd name="connsiteX2" fmla="*/ 175 w 210"/>
                <a:gd name="connsiteY2" fmla="*/ 283 h 334"/>
              </a:gdLst>
              <a:ahLst/>
              <a:cxnLst>
                <a:cxn ang="0">
                  <a:pos x="connsiteX0" y="connsiteY0"/>
                </a:cxn>
                <a:cxn ang="0">
                  <a:pos x="connsiteX1" y="connsiteY1"/>
                </a:cxn>
                <a:cxn ang="0">
                  <a:pos x="connsiteX2" y="connsiteY2"/>
                </a:cxn>
              </a:cxnLst>
              <a:rect l="l" t="t" r="r" b="b"/>
              <a:pathLst>
                <a:path w="210" h="334">
                  <a:moveTo>
                    <a:pt x="175" y="283"/>
                  </a:moveTo>
                  <a:cubicBezTo>
                    <a:pt x="-301" y="-479"/>
                    <a:pt x="366" y="569"/>
                    <a:pt x="175" y="283"/>
                  </a:cubicBezTo>
                  <a:lnTo>
                    <a:pt x="175" y="283"/>
                  </a:lnTo>
                  <a:close/>
                </a:path>
              </a:pathLst>
            </a:custGeom>
            <a:grpFill/>
            <a:ln w="9525" cap="flat">
              <a:noFill/>
              <a:prstDash val="solid"/>
              <a:miter/>
            </a:ln>
          </p:spPr>
          <p:txBody>
            <a:bodyPr rtlCol="0" anchor="ctr"/>
            <a:lstStyle/>
            <a:p>
              <a:endParaRPr lang="en-US" dirty="0"/>
            </a:p>
          </p:txBody>
        </p:sp>
        <p:sp>
          <p:nvSpPr>
            <p:cNvPr id="1491" name="Freeform: Shape 1490">
              <a:extLst>
                <a:ext uri="{FF2B5EF4-FFF2-40B4-BE49-F238E27FC236}">
                  <a16:creationId xmlns:a16="http://schemas.microsoft.com/office/drawing/2014/main" id="{84526997-AF87-7CA5-C908-2221CAEAFDFA}"/>
                </a:ext>
              </a:extLst>
            </p:cNvPr>
            <p:cNvSpPr/>
            <p:nvPr/>
          </p:nvSpPr>
          <p:spPr>
            <a:xfrm>
              <a:off x="5260881" y="505870"/>
              <a:ext cx="376" cy="565"/>
            </a:xfrm>
            <a:custGeom>
              <a:avLst/>
              <a:gdLst>
                <a:gd name="connsiteX0" fmla="*/ 169 w 169"/>
                <a:gd name="connsiteY0" fmla="*/ 0 h 254"/>
                <a:gd name="connsiteX1" fmla="*/ 169 w 169"/>
                <a:gd name="connsiteY1" fmla="*/ 0 h 254"/>
                <a:gd name="connsiteX2" fmla="*/ 169 w 169"/>
                <a:gd name="connsiteY2" fmla="*/ 0 h 254"/>
              </a:gdLst>
              <a:ahLst/>
              <a:cxnLst>
                <a:cxn ang="0">
                  <a:pos x="connsiteX0" y="connsiteY0"/>
                </a:cxn>
                <a:cxn ang="0">
                  <a:pos x="connsiteX1" y="connsiteY1"/>
                </a:cxn>
                <a:cxn ang="0">
                  <a:pos x="connsiteX2" y="connsiteY2"/>
                </a:cxn>
              </a:cxnLst>
              <a:rect l="l" t="t" r="r" b="b"/>
              <a:pathLst>
                <a:path w="169" h="254">
                  <a:moveTo>
                    <a:pt x="169" y="0"/>
                  </a:moveTo>
                  <a:cubicBezTo>
                    <a:pt x="-212" y="572"/>
                    <a:pt x="169" y="0"/>
                    <a:pt x="169" y="0"/>
                  </a:cubicBezTo>
                  <a:lnTo>
                    <a:pt x="169" y="0"/>
                  </a:lnTo>
                  <a:close/>
                </a:path>
              </a:pathLst>
            </a:custGeom>
            <a:grpFill/>
            <a:ln w="9525" cap="flat">
              <a:noFill/>
              <a:prstDash val="solid"/>
              <a:miter/>
            </a:ln>
          </p:spPr>
          <p:txBody>
            <a:bodyPr rtlCol="0" anchor="ctr"/>
            <a:lstStyle/>
            <a:p>
              <a:endParaRPr lang="en-US" dirty="0"/>
            </a:p>
          </p:txBody>
        </p:sp>
        <p:sp>
          <p:nvSpPr>
            <p:cNvPr id="1492" name="Freeform: Shape 1491">
              <a:extLst>
                <a:ext uri="{FF2B5EF4-FFF2-40B4-BE49-F238E27FC236}">
                  <a16:creationId xmlns:a16="http://schemas.microsoft.com/office/drawing/2014/main" id="{67B9FC42-5DBB-D942-F3E8-EF9532197216}"/>
                </a:ext>
              </a:extLst>
            </p:cNvPr>
            <p:cNvSpPr/>
            <p:nvPr/>
          </p:nvSpPr>
          <p:spPr>
            <a:xfrm>
              <a:off x="5150685" y="403771"/>
              <a:ext cx="1695" cy="2753"/>
            </a:xfrm>
            <a:custGeom>
              <a:avLst/>
              <a:gdLst>
                <a:gd name="connsiteX0" fmla="*/ 381 w 762"/>
                <a:gd name="connsiteY0" fmla="*/ 0 h 1238"/>
                <a:gd name="connsiteX1" fmla="*/ 0 w 762"/>
                <a:gd name="connsiteY1" fmla="*/ 0 h 1238"/>
                <a:gd name="connsiteX2" fmla="*/ 95 w 762"/>
                <a:gd name="connsiteY2" fmla="*/ 286 h 1238"/>
                <a:gd name="connsiteX3" fmla="*/ 762 w 762"/>
                <a:gd name="connsiteY3" fmla="*/ 1238 h 1238"/>
                <a:gd name="connsiteX4" fmla="*/ 381 w 762"/>
                <a:gd name="connsiteY4" fmla="*/ 0 h 1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 h="1238">
                  <a:moveTo>
                    <a:pt x="381" y="0"/>
                  </a:moveTo>
                  <a:cubicBezTo>
                    <a:pt x="381" y="0"/>
                    <a:pt x="95" y="0"/>
                    <a:pt x="0" y="0"/>
                  </a:cubicBezTo>
                  <a:cubicBezTo>
                    <a:pt x="0" y="0"/>
                    <a:pt x="0" y="191"/>
                    <a:pt x="95" y="286"/>
                  </a:cubicBezTo>
                  <a:cubicBezTo>
                    <a:pt x="286" y="572"/>
                    <a:pt x="571" y="857"/>
                    <a:pt x="762" y="1238"/>
                  </a:cubicBezTo>
                  <a:cubicBezTo>
                    <a:pt x="571" y="857"/>
                    <a:pt x="476" y="381"/>
                    <a:pt x="381" y="0"/>
                  </a:cubicBezTo>
                  <a:close/>
                </a:path>
              </a:pathLst>
            </a:custGeom>
            <a:grpFill/>
            <a:ln w="9525" cap="flat">
              <a:noFill/>
              <a:prstDash val="solid"/>
              <a:miter/>
            </a:ln>
          </p:spPr>
          <p:txBody>
            <a:bodyPr rtlCol="0" anchor="ctr"/>
            <a:lstStyle/>
            <a:p>
              <a:endParaRPr lang="en-US" dirty="0"/>
            </a:p>
          </p:txBody>
        </p:sp>
        <p:sp>
          <p:nvSpPr>
            <p:cNvPr id="1510" name="Freeform: Shape 1509">
              <a:extLst>
                <a:ext uri="{FF2B5EF4-FFF2-40B4-BE49-F238E27FC236}">
                  <a16:creationId xmlns:a16="http://schemas.microsoft.com/office/drawing/2014/main" id="{1DD31368-567D-EB7A-18F8-60F651F24EB5}"/>
                </a:ext>
              </a:extLst>
            </p:cNvPr>
            <p:cNvSpPr/>
            <p:nvPr/>
          </p:nvSpPr>
          <p:spPr>
            <a:xfrm>
              <a:off x="5061930" y="449314"/>
              <a:ext cx="3176" cy="4023"/>
            </a:xfrm>
            <a:custGeom>
              <a:avLst/>
              <a:gdLst>
                <a:gd name="connsiteX0" fmla="*/ 1429 w 1428"/>
                <a:gd name="connsiteY0" fmla="*/ 0 h 1809"/>
                <a:gd name="connsiteX1" fmla="*/ 0 w 1428"/>
                <a:gd name="connsiteY1" fmla="*/ 381 h 1809"/>
                <a:gd name="connsiteX2" fmla="*/ 1048 w 1428"/>
                <a:gd name="connsiteY2" fmla="*/ 1810 h 1809"/>
                <a:gd name="connsiteX3" fmla="*/ 1429 w 1428"/>
                <a:gd name="connsiteY3" fmla="*/ 95 h 1809"/>
              </a:gdLst>
              <a:ahLst/>
              <a:cxnLst>
                <a:cxn ang="0">
                  <a:pos x="connsiteX0" y="connsiteY0"/>
                </a:cxn>
                <a:cxn ang="0">
                  <a:pos x="connsiteX1" y="connsiteY1"/>
                </a:cxn>
                <a:cxn ang="0">
                  <a:pos x="connsiteX2" y="connsiteY2"/>
                </a:cxn>
                <a:cxn ang="0">
                  <a:pos x="connsiteX3" y="connsiteY3"/>
                </a:cxn>
              </a:cxnLst>
              <a:rect l="l" t="t" r="r" b="b"/>
              <a:pathLst>
                <a:path w="1428" h="1809">
                  <a:moveTo>
                    <a:pt x="1429" y="0"/>
                  </a:moveTo>
                  <a:cubicBezTo>
                    <a:pt x="1429" y="0"/>
                    <a:pt x="476" y="286"/>
                    <a:pt x="0" y="381"/>
                  </a:cubicBezTo>
                  <a:cubicBezTo>
                    <a:pt x="381" y="857"/>
                    <a:pt x="762" y="1334"/>
                    <a:pt x="1048" y="1810"/>
                  </a:cubicBezTo>
                  <a:cubicBezTo>
                    <a:pt x="1048" y="1238"/>
                    <a:pt x="1238" y="667"/>
                    <a:pt x="1429" y="95"/>
                  </a:cubicBezTo>
                  <a:close/>
                </a:path>
              </a:pathLst>
            </a:custGeom>
            <a:grpFill/>
            <a:ln w="9525" cap="flat">
              <a:noFill/>
              <a:prstDash val="solid"/>
              <a:miter/>
            </a:ln>
          </p:spPr>
          <p:txBody>
            <a:bodyPr rtlCol="0" anchor="ctr"/>
            <a:lstStyle/>
            <a:p>
              <a:endParaRPr lang="en-US" dirty="0"/>
            </a:p>
          </p:txBody>
        </p:sp>
        <p:sp>
          <p:nvSpPr>
            <p:cNvPr id="1511" name="Freeform: Shape 1510">
              <a:extLst>
                <a:ext uri="{FF2B5EF4-FFF2-40B4-BE49-F238E27FC236}">
                  <a16:creationId xmlns:a16="http://schemas.microsoft.com/office/drawing/2014/main" id="{3CBCC860-38E7-0626-AAE6-1CD5135328DC}"/>
                </a:ext>
              </a:extLst>
            </p:cNvPr>
            <p:cNvSpPr/>
            <p:nvPr/>
          </p:nvSpPr>
          <p:spPr>
            <a:xfrm>
              <a:off x="5149119" y="395087"/>
              <a:ext cx="2413" cy="8684"/>
            </a:xfrm>
            <a:custGeom>
              <a:avLst/>
              <a:gdLst>
                <a:gd name="connsiteX0" fmla="*/ 228 w 1085"/>
                <a:gd name="connsiteY0" fmla="*/ 0 h 3905"/>
                <a:gd name="connsiteX1" fmla="*/ 37 w 1085"/>
                <a:gd name="connsiteY1" fmla="*/ 2191 h 3905"/>
                <a:gd name="connsiteX2" fmla="*/ 704 w 1085"/>
                <a:gd name="connsiteY2" fmla="*/ 3905 h 3905"/>
                <a:gd name="connsiteX3" fmla="*/ 1085 w 1085"/>
                <a:gd name="connsiteY3" fmla="*/ 3905 h 3905"/>
                <a:gd name="connsiteX4" fmla="*/ 228 w 1085"/>
                <a:gd name="connsiteY4" fmla="*/ 0 h 3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 h="3905">
                  <a:moveTo>
                    <a:pt x="228" y="0"/>
                  </a:moveTo>
                  <a:cubicBezTo>
                    <a:pt x="37" y="762"/>
                    <a:pt x="-58" y="1429"/>
                    <a:pt x="37" y="2191"/>
                  </a:cubicBezTo>
                  <a:cubicBezTo>
                    <a:pt x="132" y="2858"/>
                    <a:pt x="418" y="3429"/>
                    <a:pt x="704" y="3905"/>
                  </a:cubicBezTo>
                  <a:cubicBezTo>
                    <a:pt x="799" y="3905"/>
                    <a:pt x="990" y="3905"/>
                    <a:pt x="1085" y="3905"/>
                  </a:cubicBezTo>
                  <a:cubicBezTo>
                    <a:pt x="609" y="2667"/>
                    <a:pt x="323" y="1334"/>
                    <a:pt x="228" y="0"/>
                  </a:cubicBezTo>
                  <a:close/>
                </a:path>
              </a:pathLst>
            </a:custGeom>
            <a:grpFill/>
            <a:ln w="9525" cap="flat">
              <a:noFill/>
              <a:prstDash val="solid"/>
              <a:miter/>
            </a:ln>
          </p:spPr>
          <p:txBody>
            <a:bodyPr rtlCol="0" anchor="ctr"/>
            <a:lstStyle/>
            <a:p>
              <a:endParaRPr lang="en-US" dirty="0"/>
            </a:p>
          </p:txBody>
        </p:sp>
        <p:sp>
          <p:nvSpPr>
            <p:cNvPr id="1512" name="Freeform: Shape 1511">
              <a:extLst>
                <a:ext uri="{FF2B5EF4-FFF2-40B4-BE49-F238E27FC236}">
                  <a16:creationId xmlns:a16="http://schemas.microsoft.com/office/drawing/2014/main" id="{F0D05C12-8AE7-04DF-9563-A1112718ACC2}"/>
                </a:ext>
              </a:extLst>
            </p:cNvPr>
            <p:cNvSpPr/>
            <p:nvPr/>
          </p:nvSpPr>
          <p:spPr>
            <a:xfrm>
              <a:off x="5081206" y="417964"/>
              <a:ext cx="9954" cy="15251"/>
            </a:xfrm>
            <a:custGeom>
              <a:avLst/>
              <a:gdLst>
                <a:gd name="connsiteX0" fmla="*/ 4096 w 4476"/>
                <a:gd name="connsiteY0" fmla="*/ 1334 h 6858"/>
                <a:gd name="connsiteX1" fmla="*/ 381 w 4476"/>
                <a:gd name="connsiteY1" fmla="*/ 0 h 6858"/>
                <a:gd name="connsiteX2" fmla="*/ 0 w 4476"/>
                <a:gd name="connsiteY2" fmla="*/ 286 h 6858"/>
                <a:gd name="connsiteX3" fmla="*/ 2477 w 4476"/>
                <a:gd name="connsiteY3" fmla="*/ 5239 h 6858"/>
                <a:gd name="connsiteX4" fmla="*/ 2477 w 4476"/>
                <a:gd name="connsiteY4" fmla="*/ 6858 h 6858"/>
                <a:gd name="connsiteX5" fmla="*/ 4477 w 4476"/>
                <a:gd name="connsiteY5" fmla="*/ 5048 h 6858"/>
                <a:gd name="connsiteX6" fmla="*/ 4191 w 4476"/>
                <a:gd name="connsiteY6" fmla="*/ 1334 h 6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6" h="6858">
                  <a:moveTo>
                    <a:pt x="4096" y="1334"/>
                  </a:moveTo>
                  <a:cubicBezTo>
                    <a:pt x="2858" y="1048"/>
                    <a:pt x="1619" y="572"/>
                    <a:pt x="381" y="0"/>
                  </a:cubicBezTo>
                  <a:cubicBezTo>
                    <a:pt x="286" y="95"/>
                    <a:pt x="95" y="191"/>
                    <a:pt x="0" y="286"/>
                  </a:cubicBezTo>
                  <a:cubicBezTo>
                    <a:pt x="1143" y="1715"/>
                    <a:pt x="2191" y="3334"/>
                    <a:pt x="2477" y="5239"/>
                  </a:cubicBezTo>
                  <a:cubicBezTo>
                    <a:pt x="2477" y="5810"/>
                    <a:pt x="2477" y="6286"/>
                    <a:pt x="2477" y="6858"/>
                  </a:cubicBezTo>
                  <a:cubicBezTo>
                    <a:pt x="3143" y="6286"/>
                    <a:pt x="3810" y="5620"/>
                    <a:pt x="4477" y="5048"/>
                  </a:cubicBezTo>
                  <a:cubicBezTo>
                    <a:pt x="4001" y="3905"/>
                    <a:pt x="3905" y="2572"/>
                    <a:pt x="4191" y="1334"/>
                  </a:cubicBezTo>
                  <a:close/>
                </a:path>
              </a:pathLst>
            </a:custGeom>
            <a:grpFill/>
            <a:ln w="9525" cap="flat">
              <a:noFill/>
              <a:prstDash val="solid"/>
              <a:miter/>
            </a:ln>
          </p:spPr>
          <p:txBody>
            <a:bodyPr rtlCol="0" anchor="ctr"/>
            <a:lstStyle/>
            <a:p>
              <a:endParaRPr lang="en-US" dirty="0"/>
            </a:p>
          </p:txBody>
        </p:sp>
        <p:sp>
          <p:nvSpPr>
            <p:cNvPr id="1513" name="Freeform: Shape 1512">
              <a:extLst>
                <a:ext uri="{FF2B5EF4-FFF2-40B4-BE49-F238E27FC236}">
                  <a16:creationId xmlns:a16="http://schemas.microsoft.com/office/drawing/2014/main" id="{C66A3951-36DF-D08D-1BE4-25A23D3F73BD}"/>
                </a:ext>
              </a:extLst>
            </p:cNvPr>
            <p:cNvSpPr/>
            <p:nvPr/>
          </p:nvSpPr>
          <p:spPr>
            <a:xfrm>
              <a:off x="5260621" y="463083"/>
              <a:ext cx="4023" cy="2540"/>
            </a:xfrm>
            <a:custGeom>
              <a:avLst/>
              <a:gdLst>
                <a:gd name="connsiteX0" fmla="*/ 95 w 1809"/>
                <a:gd name="connsiteY0" fmla="*/ 381 h 1142"/>
                <a:gd name="connsiteX1" fmla="*/ 476 w 1809"/>
                <a:gd name="connsiteY1" fmla="*/ 1143 h 1142"/>
                <a:gd name="connsiteX2" fmla="*/ 1810 w 1809"/>
                <a:gd name="connsiteY2" fmla="*/ 0 h 1142"/>
                <a:gd name="connsiteX3" fmla="*/ 0 w 1809"/>
                <a:gd name="connsiteY3" fmla="*/ 286 h 1142"/>
              </a:gdLst>
              <a:ahLst/>
              <a:cxnLst>
                <a:cxn ang="0">
                  <a:pos x="connsiteX0" y="connsiteY0"/>
                </a:cxn>
                <a:cxn ang="0">
                  <a:pos x="connsiteX1" y="connsiteY1"/>
                </a:cxn>
                <a:cxn ang="0">
                  <a:pos x="connsiteX2" y="connsiteY2"/>
                </a:cxn>
                <a:cxn ang="0">
                  <a:pos x="connsiteX3" y="connsiteY3"/>
                </a:cxn>
              </a:cxnLst>
              <a:rect l="l" t="t" r="r" b="b"/>
              <a:pathLst>
                <a:path w="1809" h="1142">
                  <a:moveTo>
                    <a:pt x="95" y="381"/>
                  </a:moveTo>
                  <a:cubicBezTo>
                    <a:pt x="95" y="381"/>
                    <a:pt x="381" y="952"/>
                    <a:pt x="476" y="1143"/>
                  </a:cubicBezTo>
                  <a:cubicBezTo>
                    <a:pt x="953" y="762"/>
                    <a:pt x="1334" y="381"/>
                    <a:pt x="1810" y="0"/>
                  </a:cubicBezTo>
                  <a:cubicBezTo>
                    <a:pt x="1238" y="95"/>
                    <a:pt x="571" y="190"/>
                    <a:pt x="0" y="286"/>
                  </a:cubicBezTo>
                  <a:close/>
                </a:path>
              </a:pathLst>
            </a:custGeom>
            <a:grpFill/>
            <a:ln w="9525" cap="flat">
              <a:noFill/>
              <a:prstDash val="solid"/>
              <a:miter/>
            </a:ln>
          </p:spPr>
          <p:txBody>
            <a:bodyPr rtlCol="0" anchor="ctr"/>
            <a:lstStyle/>
            <a:p>
              <a:endParaRPr lang="en-US" dirty="0"/>
            </a:p>
          </p:txBody>
        </p:sp>
        <p:sp>
          <p:nvSpPr>
            <p:cNvPr id="1517" name="Freeform: Shape 1516">
              <a:extLst>
                <a:ext uri="{FF2B5EF4-FFF2-40B4-BE49-F238E27FC236}">
                  <a16:creationId xmlns:a16="http://schemas.microsoft.com/office/drawing/2014/main" id="{CA03EC03-E483-935E-D70E-CD411242699D}"/>
                </a:ext>
              </a:extLst>
            </p:cNvPr>
            <p:cNvSpPr/>
            <p:nvPr/>
          </p:nvSpPr>
          <p:spPr>
            <a:xfrm>
              <a:off x="5258928" y="505659"/>
              <a:ext cx="2540" cy="4659"/>
            </a:xfrm>
            <a:custGeom>
              <a:avLst/>
              <a:gdLst>
                <a:gd name="connsiteX0" fmla="*/ 0 w 1142"/>
                <a:gd name="connsiteY0" fmla="*/ 2095 h 2095"/>
                <a:gd name="connsiteX1" fmla="*/ 1143 w 1142"/>
                <a:gd name="connsiteY1" fmla="*/ 0 h 2095"/>
                <a:gd name="connsiteX2" fmla="*/ 1143 w 1142"/>
                <a:gd name="connsiteY2" fmla="*/ 0 h 2095"/>
                <a:gd name="connsiteX3" fmla="*/ 95 w 1142"/>
                <a:gd name="connsiteY3" fmla="*/ 2000 h 2095"/>
              </a:gdLst>
              <a:ahLst/>
              <a:cxnLst>
                <a:cxn ang="0">
                  <a:pos x="connsiteX0" y="connsiteY0"/>
                </a:cxn>
                <a:cxn ang="0">
                  <a:pos x="connsiteX1" y="connsiteY1"/>
                </a:cxn>
                <a:cxn ang="0">
                  <a:pos x="connsiteX2" y="connsiteY2"/>
                </a:cxn>
                <a:cxn ang="0">
                  <a:pos x="connsiteX3" y="connsiteY3"/>
                </a:cxn>
              </a:cxnLst>
              <a:rect l="l" t="t" r="r" b="b"/>
              <a:pathLst>
                <a:path w="1142" h="2095">
                  <a:moveTo>
                    <a:pt x="0" y="2095"/>
                  </a:moveTo>
                  <a:cubicBezTo>
                    <a:pt x="381" y="1429"/>
                    <a:pt x="667" y="667"/>
                    <a:pt x="1143" y="0"/>
                  </a:cubicBezTo>
                  <a:cubicBezTo>
                    <a:pt x="1143" y="0"/>
                    <a:pt x="1143" y="0"/>
                    <a:pt x="1143" y="0"/>
                  </a:cubicBezTo>
                  <a:cubicBezTo>
                    <a:pt x="667" y="571"/>
                    <a:pt x="286" y="1238"/>
                    <a:pt x="95" y="2000"/>
                  </a:cubicBezTo>
                  <a:close/>
                </a:path>
              </a:pathLst>
            </a:custGeom>
            <a:grpFill/>
            <a:ln w="9525" cap="flat">
              <a:noFill/>
              <a:prstDash val="solid"/>
              <a:miter/>
            </a:ln>
          </p:spPr>
          <p:txBody>
            <a:bodyPr rtlCol="0" anchor="ctr"/>
            <a:lstStyle/>
            <a:p>
              <a:endParaRPr lang="en-US" dirty="0"/>
            </a:p>
          </p:txBody>
        </p:sp>
        <p:sp>
          <p:nvSpPr>
            <p:cNvPr id="1518" name="Freeform: Shape 1517">
              <a:extLst>
                <a:ext uri="{FF2B5EF4-FFF2-40B4-BE49-F238E27FC236}">
                  <a16:creationId xmlns:a16="http://schemas.microsoft.com/office/drawing/2014/main" id="{A0593326-2C5B-6C73-B460-934BCF59220A}"/>
                </a:ext>
              </a:extLst>
            </p:cNvPr>
            <p:cNvSpPr/>
            <p:nvPr/>
          </p:nvSpPr>
          <p:spPr>
            <a:xfrm>
              <a:off x="5334549" y="312899"/>
              <a:ext cx="9954" cy="7201"/>
            </a:xfrm>
            <a:custGeom>
              <a:avLst/>
              <a:gdLst>
                <a:gd name="connsiteX0" fmla="*/ 1238 w 4476"/>
                <a:gd name="connsiteY0" fmla="*/ 0 h 3238"/>
                <a:gd name="connsiteX1" fmla="*/ 0 w 4476"/>
                <a:gd name="connsiteY1" fmla="*/ 3239 h 3238"/>
                <a:gd name="connsiteX2" fmla="*/ 4477 w 4476"/>
                <a:gd name="connsiteY2" fmla="*/ 2667 h 3238"/>
                <a:gd name="connsiteX3" fmla="*/ 1333 w 4476"/>
                <a:gd name="connsiteY3" fmla="*/ 95 h 3238"/>
              </a:gdLst>
              <a:ahLst/>
              <a:cxnLst>
                <a:cxn ang="0">
                  <a:pos x="connsiteX0" y="connsiteY0"/>
                </a:cxn>
                <a:cxn ang="0">
                  <a:pos x="connsiteX1" y="connsiteY1"/>
                </a:cxn>
                <a:cxn ang="0">
                  <a:pos x="connsiteX2" y="connsiteY2"/>
                </a:cxn>
                <a:cxn ang="0">
                  <a:pos x="connsiteX3" y="connsiteY3"/>
                </a:cxn>
              </a:cxnLst>
              <a:rect l="l" t="t" r="r" b="b"/>
              <a:pathLst>
                <a:path w="4476" h="3238">
                  <a:moveTo>
                    <a:pt x="1238" y="0"/>
                  </a:moveTo>
                  <a:cubicBezTo>
                    <a:pt x="857" y="1048"/>
                    <a:pt x="476" y="2191"/>
                    <a:pt x="0" y="3239"/>
                  </a:cubicBezTo>
                  <a:cubicBezTo>
                    <a:pt x="1429" y="2953"/>
                    <a:pt x="2953" y="2762"/>
                    <a:pt x="4477" y="2667"/>
                  </a:cubicBezTo>
                  <a:cubicBezTo>
                    <a:pt x="3238" y="2096"/>
                    <a:pt x="2096" y="1238"/>
                    <a:pt x="1333" y="95"/>
                  </a:cubicBezTo>
                  <a:close/>
                </a:path>
              </a:pathLst>
            </a:custGeom>
            <a:grpFill/>
            <a:ln w="9525" cap="flat">
              <a:noFill/>
              <a:prstDash val="solid"/>
              <a:miter/>
            </a:ln>
          </p:spPr>
          <p:txBody>
            <a:bodyPr rtlCol="0" anchor="ctr"/>
            <a:lstStyle/>
            <a:p>
              <a:endParaRPr lang="en-US" dirty="0"/>
            </a:p>
          </p:txBody>
        </p:sp>
        <p:sp>
          <p:nvSpPr>
            <p:cNvPr id="1520" name="Freeform: Shape 1519">
              <a:extLst>
                <a:ext uri="{FF2B5EF4-FFF2-40B4-BE49-F238E27FC236}">
                  <a16:creationId xmlns:a16="http://schemas.microsoft.com/office/drawing/2014/main" id="{C95F7356-83A8-149F-C96E-582BFD2A8BF7}"/>
                </a:ext>
              </a:extLst>
            </p:cNvPr>
            <p:cNvSpPr/>
            <p:nvPr/>
          </p:nvSpPr>
          <p:spPr>
            <a:xfrm>
              <a:off x="5305952" y="280183"/>
              <a:ext cx="5718" cy="941"/>
            </a:xfrm>
            <a:custGeom>
              <a:avLst/>
              <a:gdLst>
                <a:gd name="connsiteX0" fmla="*/ 2572 w 2571"/>
                <a:gd name="connsiteY0" fmla="*/ 42 h 423"/>
                <a:gd name="connsiteX1" fmla="*/ 953 w 2571"/>
                <a:gd name="connsiteY1" fmla="*/ 42 h 423"/>
                <a:gd name="connsiteX2" fmla="*/ 0 w 2571"/>
                <a:gd name="connsiteY2" fmla="*/ 423 h 423"/>
                <a:gd name="connsiteX3" fmla="*/ 286 w 2571"/>
                <a:gd name="connsiteY3" fmla="*/ 423 h 423"/>
                <a:gd name="connsiteX4" fmla="*/ 2572 w 2571"/>
                <a:gd name="connsiteY4" fmla="*/ 233 h 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 h="423">
                  <a:moveTo>
                    <a:pt x="2572" y="42"/>
                  </a:moveTo>
                  <a:cubicBezTo>
                    <a:pt x="2096" y="42"/>
                    <a:pt x="1524" y="-53"/>
                    <a:pt x="953" y="42"/>
                  </a:cubicBezTo>
                  <a:cubicBezTo>
                    <a:pt x="762" y="42"/>
                    <a:pt x="0" y="328"/>
                    <a:pt x="0" y="423"/>
                  </a:cubicBezTo>
                  <a:cubicBezTo>
                    <a:pt x="0" y="423"/>
                    <a:pt x="190" y="423"/>
                    <a:pt x="286" y="423"/>
                  </a:cubicBezTo>
                  <a:cubicBezTo>
                    <a:pt x="1048" y="328"/>
                    <a:pt x="1810" y="233"/>
                    <a:pt x="2572" y="233"/>
                  </a:cubicBezTo>
                  <a:close/>
                </a:path>
              </a:pathLst>
            </a:custGeom>
            <a:grpFill/>
            <a:ln w="9525" cap="flat">
              <a:noFill/>
              <a:prstDash val="solid"/>
              <a:miter/>
            </a:ln>
          </p:spPr>
          <p:txBody>
            <a:bodyPr rtlCol="0" anchor="ctr"/>
            <a:lstStyle/>
            <a:p>
              <a:endParaRPr lang="en-US" dirty="0"/>
            </a:p>
          </p:txBody>
        </p:sp>
        <p:sp>
          <p:nvSpPr>
            <p:cNvPr id="1521" name="Freeform: Shape 1520">
              <a:extLst>
                <a:ext uri="{FF2B5EF4-FFF2-40B4-BE49-F238E27FC236}">
                  <a16:creationId xmlns:a16="http://schemas.microsoft.com/office/drawing/2014/main" id="{4399FEA2-955C-5A51-FDB7-31EE1D948828}"/>
                </a:ext>
              </a:extLst>
            </p:cNvPr>
            <p:cNvSpPr/>
            <p:nvPr/>
          </p:nvSpPr>
          <p:spPr>
            <a:xfrm>
              <a:off x="4951240" y="569207"/>
              <a:ext cx="10495" cy="11313"/>
            </a:xfrm>
            <a:custGeom>
              <a:avLst/>
              <a:gdLst>
                <a:gd name="connsiteX0" fmla="*/ 4339 w 4719"/>
                <a:gd name="connsiteY0" fmla="*/ 762 h 5087"/>
                <a:gd name="connsiteX1" fmla="*/ 2624 w 4719"/>
                <a:gd name="connsiteY1" fmla="*/ 0 h 5087"/>
                <a:gd name="connsiteX2" fmla="*/ 148 w 4719"/>
                <a:gd name="connsiteY2" fmla="*/ 1619 h 5087"/>
                <a:gd name="connsiteX3" fmla="*/ 1196 w 4719"/>
                <a:gd name="connsiteY3" fmla="*/ 4382 h 5087"/>
                <a:gd name="connsiteX4" fmla="*/ 3767 w 4719"/>
                <a:gd name="connsiteY4" fmla="*/ 4763 h 5087"/>
                <a:gd name="connsiteX5" fmla="*/ 4720 w 4719"/>
                <a:gd name="connsiteY5" fmla="*/ 2191 h 5087"/>
                <a:gd name="connsiteX6" fmla="*/ 4720 w 4719"/>
                <a:gd name="connsiteY6" fmla="*/ 1810 h 5087"/>
                <a:gd name="connsiteX7" fmla="*/ 4720 w 4719"/>
                <a:gd name="connsiteY7" fmla="*/ 2000 h 5087"/>
                <a:gd name="connsiteX8" fmla="*/ 4243 w 4719"/>
                <a:gd name="connsiteY8" fmla="*/ 667 h 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19" h="5087">
                  <a:moveTo>
                    <a:pt x="4339" y="762"/>
                  </a:moveTo>
                  <a:cubicBezTo>
                    <a:pt x="3863" y="286"/>
                    <a:pt x="3291" y="0"/>
                    <a:pt x="2624" y="0"/>
                  </a:cubicBezTo>
                  <a:cubicBezTo>
                    <a:pt x="1576" y="0"/>
                    <a:pt x="624" y="667"/>
                    <a:pt x="148" y="1619"/>
                  </a:cubicBezTo>
                  <a:cubicBezTo>
                    <a:pt x="-328" y="2667"/>
                    <a:pt x="433" y="3715"/>
                    <a:pt x="1196" y="4382"/>
                  </a:cubicBezTo>
                  <a:cubicBezTo>
                    <a:pt x="1862" y="4953"/>
                    <a:pt x="3005" y="5429"/>
                    <a:pt x="3767" y="4763"/>
                  </a:cubicBezTo>
                  <a:cubicBezTo>
                    <a:pt x="4434" y="4191"/>
                    <a:pt x="4624" y="3143"/>
                    <a:pt x="4720" y="2191"/>
                  </a:cubicBezTo>
                  <a:cubicBezTo>
                    <a:pt x="4720" y="2096"/>
                    <a:pt x="4720" y="1810"/>
                    <a:pt x="4720" y="1810"/>
                  </a:cubicBezTo>
                  <a:cubicBezTo>
                    <a:pt x="4720" y="1810"/>
                    <a:pt x="4720" y="1905"/>
                    <a:pt x="4720" y="2000"/>
                  </a:cubicBezTo>
                  <a:cubicBezTo>
                    <a:pt x="4720" y="1429"/>
                    <a:pt x="4720" y="1048"/>
                    <a:pt x="4243" y="667"/>
                  </a:cubicBezTo>
                  <a:close/>
                </a:path>
              </a:pathLst>
            </a:custGeom>
            <a:grpFill/>
            <a:ln w="9525" cap="flat">
              <a:noFill/>
              <a:prstDash val="solid"/>
              <a:miter/>
            </a:ln>
          </p:spPr>
          <p:txBody>
            <a:bodyPr rtlCol="0" anchor="ctr"/>
            <a:lstStyle/>
            <a:p>
              <a:endParaRPr lang="en-US" dirty="0"/>
            </a:p>
          </p:txBody>
        </p:sp>
        <p:sp>
          <p:nvSpPr>
            <p:cNvPr id="1522" name="Freeform: Shape 1521">
              <a:extLst>
                <a:ext uri="{FF2B5EF4-FFF2-40B4-BE49-F238E27FC236}">
                  <a16:creationId xmlns:a16="http://schemas.microsoft.com/office/drawing/2014/main" id="{4607EF3A-3E24-1577-C2E0-5AB59D94942B}"/>
                </a:ext>
              </a:extLst>
            </p:cNvPr>
            <p:cNvSpPr/>
            <p:nvPr/>
          </p:nvSpPr>
          <p:spPr>
            <a:xfrm>
              <a:off x="5300444" y="272440"/>
              <a:ext cx="1695" cy="7201"/>
            </a:xfrm>
            <a:custGeom>
              <a:avLst/>
              <a:gdLst>
                <a:gd name="connsiteX0" fmla="*/ 667 w 762"/>
                <a:gd name="connsiteY0" fmla="*/ 2381 h 3238"/>
                <a:gd name="connsiteX1" fmla="*/ 476 w 762"/>
                <a:gd name="connsiteY1" fmla="*/ 1619 h 3238"/>
                <a:gd name="connsiteX2" fmla="*/ 95 w 762"/>
                <a:gd name="connsiteY2" fmla="*/ 0 h 3238"/>
                <a:gd name="connsiteX3" fmla="*/ 0 w 762"/>
                <a:gd name="connsiteY3" fmla="*/ 3238 h 3238"/>
                <a:gd name="connsiteX4" fmla="*/ 667 w 762"/>
                <a:gd name="connsiteY4" fmla="*/ 2857 h 3238"/>
                <a:gd name="connsiteX5" fmla="*/ 762 w 762"/>
                <a:gd name="connsiteY5" fmla="*/ 2381 h 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 h="3238">
                  <a:moveTo>
                    <a:pt x="667" y="2381"/>
                  </a:moveTo>
                  <a:cubicBezTo>
                    <a:pt x="667" y="2381"/>
                    <a:pt x="476" y="1905"/>
                    <a:pt x="476" y="1619"/>
                  </a:cubicBezTo>
                  <a:cubicBezTo>
                    <a:pt x="286" y="1048"/>
                    <a:pt x="190" y="476"/>
                    <a:pt x="95" y="0"/>
                  </a:cubicBezTo>
                  <a:cubicBezTo>
                    <a:pt x="95" y="1048"/>
                    <a:pt x="95" y="2191"/>
                    <a:pt x="0" y="3238"/>
                  </a:cubicBezTo>
                  <a:cubicBezTo>
                    <a:pt x="286" y="3238"/>
                    <a:pt x="571" y="2857"/>
                    <a:pt x="667" y="2857"/>
                  </a:cubicBezTo>
                  <a:cubicBezTo>
                    <a:pt x="667" y="2667"/>
                    <a:pt x="762" y="2572"/>
                    <a:pt x="762" y="2381"/>
                  </a:cubicBezTo>
                  <a:close/>
                </a:path>
              </a:pathLst>
            </a:custGeom>
            <a:grpFill/>
            <a:ln w="9525" cap="flat">
              <a:noFill/>
              <a:prstDash val="solid"/>
              <a:miter/>
            </a:ln>
          </p:spPr>
          <p:txBody>
            <a:bodyPr rtlCol="0" anchor="ctr"/>
            <a:lstStyle/>
            <a:p>
              <a:endParaRPr lang="en-US" dirty="0"/>
            </a:p>
          </p:txBody>
        </p:sp>
        <p:sp>
          <p:nvSpPr>
            <p:cNvPr id="1523" name="Freeform: Shape 1522">
              <a:extLst>
                <a:ext uri="{FF2B5EF4-FFF2-40B4-BE49-F238E27FC236}">
                  <a16:creationId xmlns:a16="http://schemas.microsoft.com/office/drawing/2014/main" id="{D5E8605C-E13E-CA41-9A12-AC9213C5FD9A}"/>
                </a:ext>
              </a:extLst>
            </p:cNvPr>
            <p:cNvSpPr/>
            <p:nvPr/>
          </p:nvSpPr>
          <p:spPr>
            <a:xfrm>
              <a:off x="4940561" y="509262"/>
              <a:ext cx="6136" cy="19274"/>
            </a:xfrm>
            <a:custGeom>
              <a:avLst/>
              <a:gdLst>
                <a:gd name="connsiteX0" fmla="*/ 1807 w 2759"/>
                <a:gd name="connsiteY0" fmla="*/ 1333 h 8667"/>
                <a:gd name="connsiteX1" fmla="*/ 664 w 2759"/>
                <a:gd name="connsiteY1" fmla="*/ 3715 h 8667"/>
                <a:gd name="connsiteX2" fmla="*/ 283 w 2759"/>
                <a:gd name="connsiteY2" fmla="*/ 8668 h 8667"/>
                <a:gd name="connsiteX3" fmla="*/ 473 w 2759"/>
                <a:gd name="connsiteY3" fmla="*/ 7906 h 8667"/>
                <a:gd name="connsiteX4" fmla="*/ 473 w 2759"/>
                <a:gd name="connsiteY4" fmla="*/ 7620 h 8667"/>
                <a:gd name="connsiteX5" fmla="*/ 2759 w 2759"/>
                <a:gd name="connsiteY5" fmla="*/ 0 h 8667"/>
                <a:gd name="connsiteX6" fmla="*/ 1711 w 2759"/>
                <a:gd name="connsiteY6" fmla="*/ 1238 h 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9" h="8667">
                  <a:moveTo>
                    <a:pt x="1807" y="1333"/>
                  </a:moveTo>
                  <a:cubicBezTo>
                    <a:pt x="1330" y="2095"/>
                    <a:pt x="950" y="2857"/>
                    <a:pt x="664" y="3715"/>
                  </a:cubicBezTo>
                  <a:cubicBezTo>
                    <a:pt x="92" y="5239"/>
                    <a:pt x="-289" y="7144"/>
                    <a:pt x="283" y="8668"/>
                  </a:cubicBezTo>
                  <a:cubicBezTo>
                    <a:pt x="283" y="8382"/>
                    <a:pt x="378" y="8096"/>
                    <a:pt x="473" y="7906"/>
                  </a:cubicBezTo>
                  <a:cubicBezTo>
                    <a:pt x="473" y="7906"/>
                    <a:pt x="473" y="7715"/>
                    <a:pt x="473" y="7620"/>
                  </a:cubicBezTo>
                  <a:cubicBezTo>
                    <a:pt x="1045" y="5048"/>
                    <a:pt x="1902" y="2476"/>
                    <a:pt x="2759" y="0"/>
                  </a:cubicBezTo>
                  <a:cubicBezTo>
                    <a:pt x="2473" y="0"/>
                    <a:pt x="1902" y="1048"/>
                    <a:pt x="1711" y="1238"/>
                  </a:cubicBezTo>
                  <a:close/>
                </a:path>
              </a:pathLst>
            </a:custGeom>
            <a:grpFill/>
            <a:ln w="9525" cap="flat">
              <a:noFill/>
              <a:prstDash val="solid"/>
              <a:miter/>
            </a:ln>
          </p:spPr>
          <p:txBody>
            <a:bodyPr rtlCol="0" anchor="ctr"/>
            <a:lstStyle/>
            <a:p>
              <a:endParaRPr lang="en-US" dirty="0"/>
            </a:p>
          </p:txBody>
        </p:sp>
        <p:sp>
          <p:nvSpPr>
            <p:cNvPr id="1524" name="Freeform: Shape 1523">
              <a:extLst>
                <a:ext uri="{FF2B5EF4-FFF2-40B4-BE49-F238E27FC236}">
                  <a16:creationId xmlns:a16="http://schemas.microsoft.com/office/drawing/2014/main" id="{91BCD630-FDD1-1DCE-4A6F-9154F79686EE}"/>
                </a:ext>
              </a:extLst>
            </p:cNvPr>
            <p:cNvSpPr/>
            <p:nvPr/>
          </p:nvSpPr>
          <p:spPr>
            <a:xfrm>
              <a:off x="5119546" y="211625"/>
              <a:ext cx="9093" cy="24167"/>
            </a:xfrm>
            <a:custGeom>
              <a:avLst/>
              <a:gdLst>
                <a:gd name="connsiteX0" fmla="*/ 571 w 4089"/>
                <a:gd name="connsiteY0" fmla="*/ 10868 h 10867"/>
                <a:gd name="connsiteX1" fmla="*/ 3810 w 4089"/>
                <a:gd name="connsiteY1" fmla="*/ 4200 h 10867"/>
                <a:gd name="connsiteX2" fmla="*/ 3334 w 4089"/>
                <a:gd name="connsiteY2" fmla="*/ 1057 h 10867"/>
                <a:gd name="connsiteX3" fmla="*/ 2191 w 4089"/>
                <a:gd name="connsiteY3" fmla="*/ 9 h 10867"/>
                <a:gd name="connsiteX4" fmla="*/ 1048 w 4089"/>
                <a:gd name="connsiteY4" fmla="*/ 962 h 10867"/>
                <a:gd name="connsiteX5" fmla="*/ 0 w 4089"/>
                <a:gd name="connsiteY5" fmla="*/ 4391 h 10867"/>
                <a:gd name="connsiteX6" fmla="*/ 667 w 4089"/>
                <a:gd name="connsiteY6" fmla="*/ 10582 h 10867"/>
                <a:gd name="connsiteX7" fmla="*/ 667 w 4089"/>
                <a:gd name="connsiteY7" fmla="*/ 10868 h 1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9" h="10867">
                  <a:moveTo>
                    <a:pt x="571" y="10868"/>
                  </a:moveTo>
                  <a:cubicBezTo>
                    <a:pt x="1048" y="9248"/>
                    <a:pt x="3239" y="5629"/>
                    <a:pt x="3810" y="4200"/>
                  </a:cubicBezTo>
                  <a:cubicBezTo>
                    <a:pt x="4382" y="2867"/>
                    <a:pt x="4001" y="2009"/>
                    <a:pt x="3334" y="1057"/>
                  </a:cubicBezTo>
                  <a:cubicBezTo>
                    <a:pt x="3048" y="676"/>
                    <a:pt x="2667" y="104"/>
                    <a:pt x="2191" y="9"/>
                  </a:cubicBezTo>
                  <a:cubicBezTo>
                    <a:pt x="1715" y="-86"/>
                    <a:pt x="1238" y="581"/>
                    <a:pt x="1048" y="962"/>
                  </a:cubicBezTo>
                  <a:cubicBezTo>
                    <a:pt x="381" y="2009"/>
                    <a:pt x="0" y="3152"/>
                    <a:pt x="0" y="4391"/>
                  </a:cubicBezTo>
                  <a:cubicBezTo>
                    <a:pt x="0" y="4676"/>
                    <a:pt x="286" y="8963"/>
                    <a:pt x="667" y="10582"/>
                  </a:cubicBezTo>
                  <a:cubicBezTo>
                    <a:pt x="667" y="10582"/>
                    <a:pt x="667" y="10772"/>
                    <a:pt x="667" y="10868"/>
                  </a:cubicBezTo>
                  <a:close/>
                </a:path>
              </a:pathLst>
            </a:custGeom>
            <a:grpFill/>
            <a:ln w="9525" cap="flat">
              <a:noFill/>
              <a:prstDash val="solid"/>
              <a:miter/>
            </a:ln>
          </p:spPr>
          <p:txBody>
            <a:bodyPr rtlCol="0" anchor="ctr"/>
            <a:lstStyle/>
            <a:p>
              <a:endParaRPr lang="en-US" dirty="0"/>
            </a:p>
          </p:txBody>
        </p:sp>
        <p:sp>
          <p:nvSpPr>
            <p:cNvPr id="1525" name="Freeform: Shape 1524">
              <a:extLst>
                <a:ext uri="{FF2B5EF4-FFF2-40B4-BE49-F238E27FC236}">
                  <a16:creationId xmlns:a16="http://schemas.microsoft.com/office/drawing/2014/main" id="{4A45DAF3-CFC2-4EC0-9464-1E0891F832DD}"/>
                </a:ext>
              </a:extLst>
            </p:cNvPr>
            <p:cNvSpPr/>
            <p:nvPr/>
          </p:nvSpPr>
          <p:spPr>
            <a:xfrm>
              <a:off x="5244735" y="230844"/>
              <a:ext cx="24994" cy="4948"/>
            </a:xfrm>
            <a:custGeom>
              <a:avLst/>
              <a:gdLst>
                <a:gd name="connsiteX0" fmla="*/ 11240 w 11239"/>
                <a:gd name="connsiteY0" fmla="*/ 2035 h 2225"/>
                <a:gd name="connsiteX1" fmla="*/ 5715 w 11239"/>
                <a:gd name="connsiteY1" fmla="*/ 35 h 2225"/>
                <a:gd name="connsiteX2" fmla="*/ 2096 w 11239"/>
                <a:gd name="connsiteY2" fmla="*/ 892 h 2225"/>
                <a:gd name="connsiteX3" fmla="*/ 0 w 11239"/>
                <a:gd name="connsiteY3" fmla="*/ 2226 h 2225"/>
                <a:gd name="connsiteX4" fmla="*/ 5810 w 11239"/>
                <a:gd name="connsiteY4" fmla="*/ 1464 h 2225"/>
                <a:gd name="connsiteX5" fmla="*/ 11240 w 11239"/>
                <a:gd name="connsiteY5" fmla="*/ 2035 h 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39" h="2225">
                  <a:moveTo>
                    <a:pt x="11240" y="2035"/>
                  </a:moveTo>
                  <a:cubicBezTo>
                    <a:pt x="9906" y="416"/>
                    <a:pt x="7715" y="-155"/>
                    <a:pt x="5715" y="35"/>
                  </a:cubicBezTo>
                  <a:cubicBezTo>
                    <a:pt x="4477" y="130"/>
                    <a:pt x="3334" y="511"/>
                    <a:pt x="2096" y="892"/>
                  </a:cubicBezTo>
                  <a:cubicBezTo>
                    <a:pt x="1334" y="1178"/>
                    <a:pt x="381" y="1464"/>
                    <a:pt x="0" y="2226"/>
                  </a:cubicBezTo>
                  <a:cubicBezTo>
                    <a:pt x="0" y="2226"/>
                    <a:pt x="4191" y="1559"/>
                    <a:pt x="5810" y="1464"/>
                  </a:cubicBezTo>
                  <a:cubicBezTo>
                    <a:pt x="7620" y="1369"/>
                    <a:pt x="9525" y="1464"/>
                    <a:pt x="11240" y="2035"/>
                  </a:cubicBezTo>
                  <a:close/>
                </a:path>
              </a:pathLst>
            </a:custGeom>
            <a:grpFill/>
            <a:ln w="9525" cap="flat">
              <a:noFill/>
              <a:prstDash val="solid"/>
              <a:miter/>
            </a:ln>
          </p:spPr>
          <p:txBody>
            <a:bodyPr rtlCol="0" anchor="ctr"/>
            <a:lstStyle/>
            <a:p>
              <a:endParaRPr lang="en-US" dirty="0"/>
            </a:p>
          </p:txBody>
        </p:sp>
        <p:sp>
          <p:nvSpPr>
            <p:cNvPr id="1526" name="Freeform: Shape 1525">
              <a:extLst>
                <a:ext uri="{FF2B5EF4-FFF2-40B4-BE49-F238E27FC236}">
                  <a16:creationId xmlns:a16="http://schemas.microsoft.com/office/drawing/2014/main" id="{30439762-B316-CB2C-7EC2-9DBEA3BA08BD}"/>
                </a:ext>
              </a:extLst>
            </p:cNvPr>
            <p:cNvSpPr/>
            <p:nvPr/>
          </p:nvSpPr>
          <p:spPr>
            <a:xfrm>
              <a:off x="5182458" y="216838"/>
              <a:ext cx="23193" cy="14082"/>
            </a:xfrm>
            <a:custGeom>
              <a:avLst/>
              <a:gdLst>
                <a:gd name="connsiteX0" fmla="*/ 4953 w 10429"/>
                <a:gd name="connsiteY0" fmla="*/ 1666 h 6332"/>
                <a:gd name="connsiteX1" fmla="*/ 10287 w 10429"/>
                <a:gd name="connsiteY1" fmla="*/ 6333 h 6332"/>
                <a:gd name="connsiteX2" fmla="*/ 10287 w 10429"/>
                <a:gd name="connsiteY2" fmla="*/ 5952 h 6332"/>
                <a:gd name="connsiteX3" fmla="*/ 9620 w 10429"/>
                <a:gd name="connsiteY3" fmla="*/ 5190 h 6332"/>
                <a:gd name="connsiteX4" fmla="*/ 8382 w 10429"/>
                <a:gd name="connsiteY4" fmla="*/ 3475 h 6332"/>
                <a:gd name="connsiteX5" fmla="*/ 5525 w 10429"/>
                <a:gd name="connsiteY5" fmla="*/ 904 h 6332"/>
                <a:gd name="connsiteX6" fmla="*/ 0 w 10429"/>
                <a:gd name="connsiteY6" fmla="*/ 142 h 6332"/>
                <a:gd name="connsiteX7" fmla="*/ 4953 w 10429"/>
                <a:gd name="connsiteY7" fmla="*/ 1666 h 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29" h="6332">
                  <a:moveTo>
                    <a:pt x="4953" y="1666"/>
                  </a:moveTo>
                  <a:cubicBezTo>
                    <a:pt x="6953" y="2904"/>
                    <a:pt x="8668" y="4523"/>
                    <a:pt x="10287" y="6333"/>
                  </a:cubicBezTo>
                  <a:cubicBezTo>
                    <a:pt x="10478" y="6142"/>
                    <a:pt x="10478" y="6142"/>
                    <a:pt x="10287" y="5952"/>
                  </a:cubicBezTo>
                  <a:cubicBezTo>
                    <a:pt x="10096" y="5761"/>
                    <a:pt x="9811" y="5476"/>
                    <a:pt x="9620" y="5190"/>
                  </a:cubicBezTo>
                  <a:cubicBezTo>
                    <a:pt x="9144" y="4618"/>
                    <a:pt x="8763" y="4047"/>
                    <a:pt x="8382" y="3475"/>
                  </a:cubicBezTo>
                  <a:cubicBezTo>
                    <a:pt x="7620" y="2428"/>
                    <a:pt x="6668" y="1570"/>
                    <a:pt x="5525" y="904"/>
                  </a:cubicBezTo>
                  <a:cubicBezTo>
                    <a:pt x="3810" y="-49"/>
                    <a:pt x="1905" y="-144"/>
                    <a:pt x="0" y="142"/>
                  </a:cubicBezTo>
                  <a:cubicBezTo>
                    <a:pt x="1715" y="142"/>
                    <a:pt x="3429" y="808"/>
                    <a:pt x="4953" y="1666"/>
                  </a:cubicBezTo>
                  <a:close/>
                </a:path>
              </a:pathLst>
            </a:custGeom>
            <a:grpFill/>
            <a:ln w="9525" cap="flat">
              <a:noFill/>
              <a:prstDash val="solid"/>
              <a:miter/>
            </a:ln>
          </p:spPr>
          <p:txBody>
            <a:bodyPr rtlCol="0" anchor="ctr"/>
            <a:lstStyle/>
            <a:p>
              <a:endParaRPr lang="en-US" dirty="0"/>
            </a:p>
          </p:txBody>
        </p:sp>
        <p:sp>
          <p:nvSpPr>
            <p:cNvPr id="1527" name="Freeform: Shape 1526">
              <a:extLst>
                <a:ext uri="{FF2B5EF4-FFF2-40B4-BE49-F238E27FC236}">
                  <a16:creationId xmlns:a16="http://schemas.microsoft.com/office/drawing/2014/main" id="{DB5F53C3-57AA-ABC7-E260-216037599688}"/>
                </a:ext>
              </a:extLst>
            </p:cNvPr>
            <p:cNvSpPr/>
            <p:nvPr/>
          </p:nvSpPr>
          <p:spPr>
            <a:xfrm>
              <a:off x="5370136" y="325608"/>
              <a:ext cx="4250" cy="8684"/>
            </a:xfrm>
            <a:custGeom>
              <a:avLst/>
              <a:gdLst>
                <a:gd name="connsiteX0" fmla="*/ 476 w 1911"/>
                <a:gd name="connsiteY0" fmla="*/ 3810 h 3905"/>
                <a:gd name="connsiteX1" fmla="*/ 1905 w 1911"/>
                <a:gd name="connsiteY1" fmla="*/ 1524 h 3905"/>
                <a:gd name="connsiteX2" fmla="*/ 381 w 1911"/>
                <a:gd name="connsiteY2" fmla="*/ 0 h 3905"/>
                <a:gd name="connsiteX3" fmla="*/ 0 w 1911"/>
                <a:gd name="connsiteY3" fmla="*/ 0 h 3905"/>
                <a:gd name="connsiteX4" fmla="*/ 476 w 1911"/>
                <a:gd name="connsiteY4" fmla="*/ 3905 h 3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 h="3905">
                  <a:moveTo>
                    <a:pt x="476" y="3810"/>
                  </a:moveTo>
                  <a:cubicBezTo>
                    <a:pt x="1048" y="3143"/>
                    <a:pt x="2000" y="2477"/>
                    <a:pt x="1905" y="1524"/>
                  </a:cubicBezTo>
                  <a:cubicBezTo>
                    <a:pt x="1905" y="762"/>
                    <a:pt x="1048" y="286"/>
                    <a:pt x="381" y="0"/>
                  </a:cubicBezTo>
                  <a:cubicBezTo>
                    <a:pt x="571" y="0"/>
                    <a:pt x="0" y="0"/>
                    <a:pt x="0" y="0"/>
                  </a:cubicBezTo>
                  <a:cubicBezTo>
                    <a:pt x="667" y="1143"/>
                    <a:pt x="667" y="2572"/>
                    <a:pt x="476" y="3905"/>
                  </a:cubicBezTo>
                  <a:close/>
                </a:path>
              </a:pathLst>
            </a:custGeom>
            <a:grpFill/>
            <a:ln w="9525" cap="flat">
              <a:noFill/>
              <a:prstDash val="solid"/>
              <a:miter/>
            </a:ln>
          </p:spPr>
          <p:txBody>
            <a:bodyPr rtlCol="0" anchor="ctr"/>
            <a:lstStyle/>
            <a:p>
              <a:endParaRPr lang="en-US" dirty="0"/>
            </a:p>
          </p:txBody>
        </p:sp>
        <p:sp>
          <p:nvSpPr>
            <p:cNvPr id="1528" name="Freeform: Shape 1527">
              <a:extLst>
                <a:ext uri="{FF2B5EF4-FFF2-40B4-BE49-F238E27FC236}">
                  <a16:creationId xmlns:a16="http://schemas.microsoft.com/office/drawing/2014/main" id="{028E87AF-35DA-8237-6791-840E7464A3DC}"/>
                </a:ext>
              </a:extLst>
            </p:cNvPr>
            <p:cNvSpPr/>
            <p:nvPr/>
          </p:nvSpPr>
          <p:spPr>
            <a:xfrm>
              <a:off x="5075658" y="228289"/>
              <a:ext cx="11477" cy="7781"/>
            </a:xfrm>
            <a:custGeom>
              <a:avLst/>
              <a:gdLst>
                <a:gd name="connsiteX0" fmla="*/ 1828 w 5161"/>
                <a:gd name="connsiteY0" fmla="*/ 136 h 3499"/>
                <a:gd name="connsiteX1" fmla="*/ 18 w 5161"/>
                <a:gd name="connsiteY1" fmla="*/ 1946 h 3499"/>
                <a:gd name="connsiteX2" fmla="*/ 3924 w 5161"/>
                <a:gd name="connsiteY2" fmla="*/ 2993 h 3499"/>
                <a:gd name="connsiteX3" fmla="*/ 5162 w 5161"/>
                <a:gd name="connsiteY3" fmla="*/ 2231 h 3499"/>
                <a:gd name="connsiteX4" fmla="*/ 1828 w 5161"/>
                <a:gd name="connsiteY4" fmla="*/ 136 h 3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1" h="3499">
                  <a:moveTo>
                    <a:pt x="1828" y="136"/>
                  </a:moveTo>
                  <a:cubicBezTo>
                    <a:pt x="1161" y="326"/>
                    <a:pt x="-172" y="1088"/>
                    <a:pt x="18" y="1946"/>
                  </a:cubicBezTo>
                  <a:cubicBezTo>
                    <a:pt x="18" y="2422"/>
                    <a:pt x="1352" y="4422"/>
                    <a:pt x="3924" y="2993"/>
                  </a:cubicBezTo>
                  <a:cubicBezTo>
                    <a:pt x="4114" y="2993"/>
                    <a:pt x="4686" y="2612"/>
                    <a:pt x="5162" y="2231"/>
                  </a:cubicBezTo>
                  <a:cubicBezTo>
                    <a:pt x="5162" y="898"/>
                    <a:pt x="3352" y="-436"/>
                    <a:pt x="1828" y="136"/>
                  </a:cubicBezTo>
                  <a:close/>
                </a:path>
              </a:pathLst>
            </a:custGeom>
            <a:grpFill/>
            <a:ln w="9525" cap="flat">
              <a:noFill/>
              <a:prstDash val="solid"/>
              <a:miter/>
            </a:ln>
          </p:spPr>
          <p:txBody>
            <a:bodyPr rtlCol="0" anchor="ctr"/>
            <a:lstStyle/>
            <a:p>
              <a:endParaRPr lang="en-US" dirty="0"/>
            </a:p>
          </p:txBody>
        </p:sp>
        <p:sp>
          <p:nvSpPr>
            <p:cNvPr id="1529" name="Freeform: Shape 1528">
              <a:extLst>
                <a:ext uri="{FF2B5EF4-FFF2-40B4-BE49-F238E27FC236}">
                  <a16:creationId xmlns:a16="http://schemas.microsoft.com/office/drawing/2014/main" id="{8ABAE360-850D-1998-6BFF-F5A1A3346C51}"/>
                </a:ext>
              </a:extLst>
            </p:cNvPr>
            <p:cNvSpPr/>
            <p:nvPr/>
          </p:nvSpPr>
          <p:spPr>
            <a:xfrm>
              <a:off x="5087349" y="233252"/>
              <a:ext cx="21183" cy="634"/>
            </a:xfrm>
            <a:custGeom>
              <a:avLst/>
              <a:gdLst>
                <a:gd name="connsiteX0" fmla="*/ 0 w 9525"/>
                <a:gd name="connsiteY0" fmla="*/ 286 h 285"/>
                <a:gd name="connsiteX1" fmla="*/ 0 w 9525"/>
                <a:gd name="connsiteY1" fmla="*/ 0 h 285"/>
                <a:gd name="connsiteX2" fmla="*/ 0 w 9525"/>
                <a:gd name="connsiteY2" fmla="*/ 0 h 285"/>
                <a:gd name="connsiteX3" fmla="*/ 0 w 9525"/>
                <a:gd name="connsiteY3" fmla="*/ 286 h 285"/>
              </a:gdLst>
              <a:ahLst/>
              <a:cxnLst>
                <a:cxn ang="0">
                  <a:pos x="connsiteX0" y="connsiteY0"/>
                </a:cxn>
                <a:cxn ang="0">
                  <a:pos x="connsiteX1" y="connsiteY1"/>
                </a:cxn>
                <a:cxn ang="0">
                  <a:pos x="connsiteX2" y="connsiteY2"/>
                </a:cxn>
                <a:cxn ang="0">
                  <a:pos x="connsiteX3" y="connsiteY3"/>
                </a:cxn>
              </a:cxnLst>
              <a:rect l="l" t="t" r="r" b="b"/>
              <a:pathLst>
                <a:path w="9525" h="285">
                  <a:moveTo>
                    <a:pt x="0" y="286"/>
                  </a:moveTo>
                  <a:cubicBezTo>
                    <a:pt x="0" y="286"/>
                    <a:pt x="0" y="190"/>
                    <a:pt x="0" y="0"/>
                  </a:cubicBezTo>
                  <a:cubicBezTo>
                    <a:pt x="0" y="0"/>
                    <a:pt x="0" y="0"/>
                    <a:pt x="0" y="0"/>
                  </a:cubicBezTo>
                  <a:cubicBezTo>
                    <a:pt x="0" y="0"/>
                    <a:pt x="0" y="190"/>
                    <a:pt x="0" y="286"/>
                  </a:cubicBezTo>
                  <a:close/>
                </a:path>
              </a:pathLst>
            </a:custGeom>
            <a:grpFill/>
            <a:ln w="9525" cap="flat">
              <a:noFill/>
              <a:prstDash val="solid"/>
              <a:miter/>
            </a:ln>
          </p:spPr>
          <p:txBody>
            <a:bodyPr rtlCol="0" anchor="ctr"/>
            <a:lstStyle/>
            <a:p>
              <a:endParaRPr lang="en-US" dirty="0"/>
            </a:p>
          </p:txBody>
        </p:sp>
        <p:sp>
          <p:nvSpPr>
            <p:cNvPr id="1530" name="Freeform: Shape 1529">
              <a:extLst>
                <a:ext uri="{FF2B5EF4-FFF2-40B4-BE49-F238E27FC236}">
                  <a16:creationId xmlns:a16="http://schemas.microsoft.com/office/drawing/2014/main" id="{B47C8335-917E-F2D2-FFB7-DD309610B5C9}"/>
                </a:ext>
              </a:extLst>
            </p:cNvPr>
            <p:cNvSpPr/>
            <p:nvPr/>
          </p:nvSpPr>
          <p:spPr>
            <a:xfrm>
              <a:off x="4901919" y="431310"/>
              <a:ext cx="10250" cy="28595"/>
            </a:xfrm>
            <a:custGeom>
              <a:avLst/>
              <a:gdLst>
                <a:gd name="connsiteX0" fmla="*/ 2133 w 4609"/>
                <a:gd name="connsiteY0" fmla="*/ 2762 h 12858"/>
                <a:gd name="connsiteX1" fmla="*/ 37 w 4609"/>
                <a:gd name="connsiteY1" fmla="*/ 8668 h 12858"/>
                <a:gd name="connsiteX2" fmla="*/ 3752 w 4609"/>
                <a:gd name="connsiteY2" fmla="*/ 12668 h 12858"/>
                <a:gd name="connsiteX3" fmla="*/ 3752 w 4609"/>
                <a:gd name="connsiteY3" fmla="*/ 12668 h 12858"/>
                <a:gd name="connsiteX4" fmla="*/ 4609 w 4609"/>
                <a:gd name="connsiteY4" fmla="*/ 12859 h 12858"/>
                <a:gd name="connsiteX5" fmla="*/ 1656 w 4609"/>
                <a:gd name="connsiteY5" fmla="*/ 7239 h 12858"/>
                <a:gd name="connsiteX6" fmla="*/ 4609 w 4609"/>
                <a:gd name="connsiteY6" fmla="*/ 0 h 12858"/>
                <a:gd name="connsiteX7" fmla="*/ 2133 w 4609"/>
                <a:gd name="connsiteY7" fmla="*/ 2762 h 1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9" h="12858">
                  <a:moveTo>
                    <a:pt x="2133" y="2762"/>
                  </a:moveTo>
                  <a:cubicBezTo>
                    <a:pt x="1180" y="4477"/>
                    <a:pt x="-249" y="6667"/>
                    <a:pt x="37" y="8668"/>
                  </a:cubicBezTo>
                  <a:cubicBezTo>
                    <a:pt x="227" y="10763"/>
                    <a:pt x="1656" y="12287"/>
                    <a:pt x="3752" y="12668"/>
                  </a:cubicBezTo>
                  <a:cubicBezTo>
                    <a:pt x="2704" y="12478"/>
                    <a:pt x="3657" y="12668"/>
                    <a:pt x="3752" y="12668"/>
                  </a:cubicBezTo>
                  <a:cubicBezTo>
                    <a:pt x="3752" y="12668"/>
                    <a:pt x="4323" y="12764"/>
                    <a:pt x="4609" y="12859"/>
                  </a:cubicBezTo>
                  <a:cubicBezTo>
                    <a:pt x="2418" y="11716"/>
                    <a:pt x="1656" y="9811"/>
                    <a:pt x="1656" y="7239"/>
                  </a:cubicBezTo>
                  <a:cubicBezTo>
                    <a:pt x="1656" y="4572"/>
                    <a:pt x="3085" y="2096"/>
                    <a:pt x="4609" y="0"/>
                  </a:cubicBezTo>
                  <a:cubicBezTo>
                    <a:pt x="3752" y="857"/>
                    <a:pt x="2704" y="1810"/>
                    <a:pt x="2133" y="2762"/>
                  </a:cubicBezTo>
                  <a:close/>
                </a:path>
              </a:pathLst>
            </a:custGeom>
            <a:grpFill/>
            <a:ln w="9525" cap="flat">
              <a:noFill/>
              <a:prstDash val="solid"/>
              <a:miter/>
            </a:ln>
          </p:spPr>
          <p:txBody>
            <a:bodyPr rtlCol="0" anchor="ctr"/>
            <a:lstStyle/>
            <a:p>
              <a:endParaRPr lang="en-US" dirty="0"/>
            </a:p>
          </p:txBody>
        </p:sp>
        <p:sp>
          <p:nvSpPr>
            <p:cNvPr id="1531" name="Freeform: Shape 1530">
              <a:extLst>
                <a:ext uri="{FF2B5EF4-FFF2-40B4-BE49-F238E27FC236}">
                  <a16:creationId xmlns:a16="http://schemas.microsoft.com/office/drawing/2014/main" id="{0E6C05EF-BA01-7CF5-CD4F-D088703D3CF6}"/>
                </a:ext>
              </a:extLst>
            </p:cNvPr>
            <p:cNvSpPr/>
            <p:nvPr/>
          </p:nvSpPr>
          <p:spPr>
            <a:xfrm>
              <a:off x="4904756" y="409447"/>
              <a:ext cx="8048" cy="8304"/>
            </a:xfrm>
            <a:custGeom>
              <a:avLst/>
              <a:gdLst>
                <a:gd name="connsiteX0" fmla="*/ 3048 w 3619"/>
                <a:gd name="connsiteY0" fmla="*/ 1925 h 3734"/>
                <a:gd name="connsiteX1" fmla="*/ 1429 w 3619"/>
                <a:gd name="connsiteY1" fmla="*/ 20 h 3734"/>
                <a:gd name="connsiteX2" fmla="*/ 0 w 3619"/>
                <a:gd name="connsiteY2" fmla="*/ 401 h 3734"/>
                <a:gd name="connsiteX3" fmla="*/ 190 w 3619"/>
                <a:gd name="connsiteY3" fmla="*/ 2782 h 3734"/>
                <a:gd name="connsiteX4" fmla="*/ 953 w 3619"/>
                <a:gd name="connsiteY4" fmla="*/ 3734 h 3734"/>
                <a:gd name="connsiteX5" fmla="*/ 1619 w 3619"/>
                <a:gd name="connsiteY5" fmla="*/ 3734 h 3734"/>
                <a:gd name="connsiteX6" fmla="*/ 2572 w 3619"/>
                <a:gd name="connsiteY6" fmla="*/ 3734 h 3734"/>
                <a:gd name="connsiteX7" fmla="*/ 2667 w 3619"/>
                <a:gd name="connsiteY7" fmla="*/ 3734 h 3734"/>
                <a:gd name="connsiteX8" fmla="*/ 3620 w 3619"/>
                <a:gd name="connsiteY8" fmla="*/ 3449 h 3734"/>
                <a:gd name="connsiteX9" fmla="*/ 3429 w 3619"/>
                <a:gd name="connsiteY9" fmla="*/ 2687 h 3734"/>
                <a:gd name="connsiteX10" fmla="*/ 3143 w 3619"/>
                <a:gd name="connsiteY10" fmla="*/ 1925 h 3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9" h="3734">
                  <a:moveTo>
                    <a:pt x="3048" y="1925"/>
                  </a:moveTo>
                  <a:cubicBezTo>
                    <a:pt x="2572" y="1067"/>
                    <a:pt x="2477" y="-171"/>
                    <a:pt x="1429" y="20"/>
                  </a:cubicBezTo>
                  <a:cubicBezTo>
                    <a:pt x="953" y="115"/>
                    <a:pt x="95" y="-171"/>
                    <a:pt x="0" y="401"/>
                  </a:cubicBezTo>
                  <a:cubicBezTo>
                    <a:pt x="0" y="877"/>
                    <a:pt x="0" y="2401"/>
                    <a:pt x="190" y="2782"/>
                  </a:cubicBezTo>
                  <a:cubicBezTo>
                    <a:pt x="381" y="3068"/>
                    <a:pt x="571" y="3544"/>
                    <a:pt x="953" y="3734"/>
                  </a:cubicBezTo>
                  <a:cubicBezTo>
                    <a:pt x="1143" y="3734"/>
                    <a:pt x="1333" y="3734"/>
                    <a:pt x="1619" y="3734"/>
                  </a:cubicBezTo>
                  <a:cubicBezTo>
                    <a:pt x="1905" y="3734"/>
                    <a:pt x="2286" y="3734"/>
                    <a:pt x="2572" y="3734"/>
                  </a:cubicBezTo>
                  <a:cubicBezTo>
                    <a:pt x="2286" y="3734"/>
                    <a:pt x="2667" y="3734"/>
                    <a:pt x="2667" y="3734"/>
                  </a:cubicBezTo>
                  <a:cubicBezTo>
                    <a:pt x="2953" y="3734"/>
                    <a:pt x="3524" y="3734"/>
                    <a:pt x="3620" y="3449"/>
                  </a:cubicBezTo>
                  <a:cubicBezTo>
                    <a:pt x="3620" y="3258"/>
                    <a:pt x="3524" y="2877"/>
                    <a:pt x="3429" y="2687"/>
                  </a:cubicBezTo>
                  <a:cubicBezTo>
                    <a:pt x="3429" y="2401"/>
                    <a:pt x="3238" y="2115"/>
                    <a:pt x="3143" y="1925"/>
                  </a:cubicBezTo>
                  <a:close/>
                </a:path>
              </a:pathLst>
            </a:custGeom>
            <a:grpFill/>
            <a:ln w="9525" cap="flat">
              <a:noFill/>
              <a:prstDash val="solid"/>
              <a:miter/>
            </a:ln>
          </p:spPr>
          <p:txBody>
            <a:bodyPr rtlCol="0" anchor="ctr"/>
            <a:lstStyle/>
            <a:p>
              <a:endParaRPr lang="en-US" dirty="0"/>
            </a:p>
          </p:txBody>
        </p:sp>
        <p:sp>
          <p:nvSpPr>
            <p:cNvPr id="1532" name="Freeform: Shape 1531">
              <a:extLst>
                <a:ext uri="{FF2B5EF4-FFF2-40B4-BE49-F238E27FC236}">
                  <a16:creationId xmlns:a16="http://schemas.microsoft.com/office/drawing/2014/main" id="{A36F0144-0236-25D7-4FED-AB7E8BA171EC}"/>
                </a:ext>
              </a:extLst>
            </p:cNvPr>
            <p:cNvSpPr/>
            <p:nvPr/>
          </p:nvSpPr>
          <p:spPr>
            <a:xfrm>
              <a:off x="4913863" y="411186"/>
              <a:ext cx="11649" cy="6354"/>
            </a:xfrm>
            <a:custGeom>
              <a:avLst/>
              <a:gdLst>
                <a:gd name="connsiteX0" fmla="*/ 190 w 5238"/>
                <a:gd name="connsiteY0" fmla="*/ 2762 h 2857"/>
                <a:gd name="connsiteX1" fmla="*/ 286 w 5238"/>
                <a:gd name="connsiteY1" fmla="*/ 2762 h 2857"/>
                <a:gd name="connsiteX2" fmla="*/ 5239 w 5238"/>
                <a:gd name="connsiteY2" fmla="*/ 1143 h 2857"/>
                <a:gd name="connsiteX3" fmla="*/ 0 w 5238"/>
                <a:gd name="connsiteY3" fmla="*/ 0 h 2857"/>
                <a:gd name="connsiteX4" fmla="*/ 190 w 5238"/>
                <a:gd name="connsiteY4" fmla="*/ 2857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 h="2857">
                  <a:moveTo>
                    <a:pt x="190" y="2762"/>
                  </a:moveTo>
                  <a:cubicBezTo>
                    <a:pt x="190" y="2762"/>
                    <a:pt x="190" y="2762"/>
                    <a:pt x="286" y="2762"/>
                  </a:cubicBezTo>
                  <a:cubicBezTo>
                    <a:pt x="1429" y="2476"/>
                    <a:pt x="4191" y="1619"/>
                    <a:pt x="5239" y="1143"/>
                  </a:cubicBezTo>
                  <a:cubicBezTo>
                    <a:pt x="4001" y="762"/>
                    <a:pt x="1143" y="667"/>
                    <a:pt x="0" y="0"/>
                  </a:cubicBezTo>
                  <a:cubicBezTo>
                    <a:pt x="381" y="857"/>
                    <a:pt x="381" y="1905"/>
                    <a:pt x="190" y="2857"/>
                  </a:cubicBezTo>
                  <a:close/>
                </a:path>
              </a:pathLst>
            </a:custGeom>
            <a:grpFill/>
            <a:ln w="9525" cap="flat">
              <a:noFill/>
              <a:prstDash val="solid"/>
              <a:miter/>
            </a:ln>
          </p:spPr>
          <p:txBody>
            <a:bodyPr rtlCol="0" anchor="ctr"/>
            <a:lstStyle/>
            <a:p>
              <a:endParaRPr lang="en-US" dirty="0"/>
            </a:p>
          </p:txBody>
        </p:sp>
        <p:sp>
          <p:nvSpPr>
            <p:cNvPr id="1533" name="Freeform: Shape 1532">
              <a:extLst>
                <a:ext uri="{FF2B5EF4-FFF2-40B4-BE49-F238E27FC236}">
                  <a16:creationId xmlns:a16="http://schemas.microsoft.com/office/drawing/2014/main" id="{B8E6E9D9-CDF7-0FF6-98BE-D8AD95BF695E}"/>
                </a:ext>
              </a:extLst>
            </p:cNvPr>
            <p:cNvSpPr/>
            <p:nvPr/>
          </p:nvSpPr>
          <p:spPr>
            <a:xfrm>
              <a:off x="4922505" y="330519"/>
              <a:ext cx="21647" cy="13466"/>
            </a:xfrm>
            <a:custGeom>
              <a:avLst/>
              <a:gdLst>
                <a:gd name="connsiteX0" fmla="*/ 5068 w 9734"/>
                <a:gd name="connsiteY0" fmla="*/ 1411 h 6055"/>
                <a:gd name="connsiteX1" fmla="*/ 1353 w 9734"/>
                <a:gd name="connsiteY1" fmla="*/ 364 h 6055"/>
                <a:gd name="connsiteX2" fmla="*/ 115 w 9734"/>
                <a:gd name="connsiteY2" fmla="*/ 3697 h 6055"/>
                <a:gd name="connsiteX3" fmla="*/ 972 w 9734"/>
                <a:gd name="connsiteY3" fmla="*/ 5602 h 6055"/>
                <a:gd name="connsiteX4" fmla="*/ 3544 w 9734"/>
                <a:gd name="connsiteY4" fmla="*/ 5983 h 6055"/>
                <a:gd name="connsiteX5" fmla="*/ 9640 w 9734"/>
                <a:gd name="connsiteY5" fmla="*/ 5126 h 6055"/>
                <a:gd name="connsiteX6" fmla="*/ 9735 w 9734"/>
                <a:gd name="connsiteY6" fmla="*/ 5126 h 6055"/>
                <a:gd name="connsiteX7" fmla="*/ 6020 w 9734"/>
                <a:gd name="connsiteY7" fmla="*/ 1221 h 6055"/>
                <a:gd name="connsiteX8" fmla="*/ 5068 w 9734"/>
                <a:gd name="connsiteY8" fmla="*/ 1507 h 6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34" h="6055">
                  <a:moveTo>
                    <a:pt x="5068" y="1411"/>
                  </a:moveTo>
                  <a:cubicBezTo>
                    <a:pt x="4496" y="78"/>
                    <a:pt x="2496" y="-398"/>
                    <a:pt x="1353" y="364"/>
                  </a:cubicBezTo>
                  <a:cubicBezTo>
                    <a:pt x="19" y="1126"/>
                    <a:pt x="-171" y="2269"/>
                    <a:pt x="115" y="3697"/>
                  </a:cubicBezTo>
                  <a:cubicBezTo>
                    <a:pt x="210" y="4364"/>
                    <a:pt x="495" y="5126"/>
                    <a:pt x="972" y="5602"/>
                  </a:cubicBezTo>
                  <a:cubicBezTo>
                    <a:pt x="1639" y="6174"/>
                    <a:pt x="2686" y="6079"/>
                    <a:pt x="3544" y="5983"/>
                  </a:cubicBezTo>
                  <a:cubicBezTo>
                    <a:pt x="5544" y="5793"/>
                    <a:pt x="7544" y="5221"/>
                    <a:pt x="9640" y="5126"/>
                  </a:cubicBezTo>
                  <a:cubicBezTo>
                    <a:pt x="9640" y="5126"/>
                    <a:pt x="9640" y="5126"/>
                    <a:pt x="9735" y="5126"/>
                  </a:cubicBezTo>
                  <a:cubicBezTo>
                    <a:pt x="8401" y="3983"/>
                    <a:pt x="7068" y="2745"/>
                    <a:pt x="6020" y="1221"/>
                  </a:cubicBezTo>
                  <a:cubicBezTo>
                    <a:pt x="6020" y="2935"/>
                    <a:pt x="5734" y="3031"/>
                    <a:pt x="5068" y="1507"/>
                  </a:cubicBezTo>
                  <a:close/>
                </a:path>
              </a:pathLst>
            </a:custGeom>
            <a:grpFill/>
            <a:ln w="9525" cap="flat">
              <a:noFill/>
              <a:prstDash val="solid"/>
              <a:miter/>
            </a:ln>
          </p:spPr>
          <p:txBody>
            <a:bodyPr rtlCol="0" anchor="ctr"/>
            <a:lstStyle/>
            <a:p>
              <a:endParaRPr lang="en-US" dirty="0"/>
            </a:p>
          </p:txBody>
        </p:sp>
        <p:sp>
          <p:nvSpPr>
            <p:cNvPr id="1534" name="Freeform: Shape 1533">
              <a:extLst>
                <a:ext uri="{FF2B5EF4-FFF2-40B4-BE49-F238E27FC236}">
                  <a16:creationId xmlns:a16="http://schemas.microsoft.com/office/drawing/2014/main" id="{C9EBC538-C60C-0028-3F78-5B2BFD14FDBE}"/>
                </a:ext>
              </a:extLst>
            </p:cNvPr>
            <p:cNvSpPr/>
            <p:nvPr/>
          </p:nvSpPr>
          <p:spPr>
            <a:xfrm>
              <a:off x="5270366" y="248079"/>
              <a:ext cx="11437" cy="11649"/>
            </a:xfrm>
            <a:custGeom>
              <a:avLst/>
              <a:gdLst>
                <a:gd name="connsiteX0" fmla="*/ 5143 w 5143"/>
                <a:gd name="connsiteY0" fmla="*/ 381 h 5238"/>
                <a:gd name="connsiteX1" fmla="*/ 2857 w 5143"/>
                <a:gd name="connsiteY1" fmla="*/ 0 h 5238"/>
                <a:gd name="connsiteX2" fmla="*/ 0 w 5143"/>
                <a:gd name="connsiteY2" fmla="*/ 5239 h 5238"/>
                <a:gd name="connsiteX3" fmla="*/ 2762 w 5143"/>
                <a:gd name="connsiteY3" fmla="*/ 2381 h 5238"/>
                <a:gd name="connsiteX4" fmla="*/ 5143 w 5143"/>
                <a:gd name="connsiteY4" fmla="*/ 476 h 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 h="5238">
                  <a:moveTo>
                    <a:pt x="5143" y="381"/>
                  </a:moveTo>
                  <a:cubicBezTo>
                    <a:pt x="4381" y="381"/>
                    <a:pt x="3524" y="381"/>
                    <a:pt x="2857" y="0"/>
                  </a:cubicBezTo>
                  <a:cubicBezTo>
                    <a:pt x="2857" y="2667"/>
                    <a:pt x="1238" y="2953"/>
                    <a:pt x="0" y="5239"/>
                  </a:cubicBezTo>
                  <a:cubicBezTo>
                    <a:pt x="857" y="4191"/>
                    <a:pt x="1809" y="3238"/>
                    <a:pt x="2762" y="2381"/>
                  </a:cubicBezTo>
                  <a:cubicBezTo>
                    <a:pt x="3429" y="1715"/>
                    <a:pt x="4286" y="1048"/>
                    <a:pt x="5143" y="476"/>
                  </a:cubicBezTo>
                  <a:close/>
                </a:path>
              </a:pathLst>
            </a:custGeom>
            <a:grpFill/>
            <a:ln w="9525" cap="flat">
              <a:noFill/>
              <a:prstDash val="solid"/>
              <a:miter/>
            </a:ln>
          </p:spPr>
          <p:txBody>
            <a:bodyPr rtlCol="0" anchor="ctr"/>
            <a:lstStyle/>
            <a:p>
              <a:endParaRPr lang="en-US" dirty="0"/>
            </a:p>
          </p:txBody>
        </p:sp>
        <p:sp>
          <p:nvSpPr>
            <p:cNvPr id="1535" name="Freeform: Shape 1534">
              <a:extLst>
                <a:ext uri="{FF2B5EF4-FFF2-40B4-BE49-F238E27FC236}">
                  <a16:creationId xmlns:a16="http://schemas.microsoft.com/office/drawing/2014/main" id="{4CDF0CE2-CF78-2082-21D8-5F0CD4CDF909}"/>
                </a:ext>
              </a:extLst>
            </p:cNvPr>
            <p:cNvSpPr/>
            <p:nvPr/>
          </p:nvSpPr>
          <p:spPr>
            <a:xfrm>
              <a:off x="5225884" y="449950"/>
              <a:ext cx="1059" cy="2328"/>
            </a:xfrm>
            <a:custGeom>
              <a:avLst/>
              <a:gdLst>
                <a:gd name="connsiteX0" fmla="*/ 0 w 476"/>
                <a:gd name="connsiteY0" fmla="*/ 95 h 1047"/>
                <a:gd name="connsiteX1" fmla="*/ 95 w 476"/>
                <a:gd name="connsiteY1" fmla="*/ 381 h 1047"/>
                <a:gd name="connsiteX2" fmla="*/ 476 w 476"/>
                <a:gd name="connsiteY2" fmla="*/ 1048 h 1047"/>
                <a:gd name="connsiteX3" fmla="*/ 286 w 476"/>
                <a:gd name="connsiteY3" fmla="*/ 0 h 1047"/>
                <a:gd name="connsiteX4" fmla="*/ 0 w 476"/>
                <a:gd name="connsiteY4" fmla="*/ 95 h 1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 h="1047">
                  <a:moveTo>
                    <a:pt x="0" y="95"/>
                  </a:moveTo>
                  <a:cubicBezTo>
                    <a:pt x="0" y="95"/>
                    <a:pt x="95" y="381"/>
                    <a:pt x="95" y="381"/>
                  </a:cubicBezTo>
                  <a:cubicBezTo>
                    <a:pt x="190" y="571"/>
                    <a:pt x="286" y="857"/>
                    <a:pt x="476" y="1048"/>
                  </a:cubicBezTo>
                  <a:cubicBezTo>
                    <a:pt x="476" y="667"/>
                    <a:pt x="286" y="381"/>
                    <a:pt x="286" y="0"/>
                  </a:cubicBezTo>
                  <a:cubicBezTo>
                    <a:pt x="286" y="0"/>
                    <a:pt x="0" y="0"/>
                    <a:pt x="0" y="95"/>
                  </a:cubicBezTo>
                  <a:close/>
                </a:path>
              </a:pathLst>
            </a:custGeom>
            <a:grpFill/>
            <a:ln w="9525" cap="flat">
              <a:noFill/>
              <a:prstDash val="solid"/>
              <a:miter/>
            </a:ln>
          </p:spPr>
          <p:txBody>
            <a:bodyPr rtlCol="0" anchor="ctr"/>
            <a:lstStyle/>
            <a:p>
              <a:endParaRPr lang="en-US" dirty="0"/>
            </a:p>
          </p:txBody>
        </p:sp>
        <p:sp>
          <p:nvSpPr>
            <p:cNvPr id="1128" name="Freeform: Shape 1127">
              <a:extLst>
                <a:ext uri="{FF2B5EF4-FFF2-40B4-BE49-F238E27FC236}">
                  <a16:creationId xmlns:a16="http://schemas.microsoft.com/office/drawing/2014/main" id="{1667EC11-6930-0BFD-B10A-75C8826DE6E1}"/>
                </a:ext>
              </a:extLst>
            </p:cNvPr>
            <p:cNvSpPr/>
            <p:nvPr/>
          </p:nvSpPr>
          <p:spPr>
            <a:xfrm>
              <a:off x="5367383" y="439781"/>
              <a:ext cx="3600" cy="4234"/>
            </a:xfrm>
            <a:custGeom>
              <a:avLst/>
              <a:gdLst>
                <a:gd name="connsiteX0" fmla="*/ 1429 w 1619"/>
                <a:gd name="connsiteY0" fmla="*/ 1905 h 1904"/>
                <a:gd name="connsiteX1" fmla="*/ 1619 w 1619"/>
                <a:gd name="connsiteY1" fmla="*/ 1334 h 1904"/>
                <a:gd name="connsiteX2" fmla="*/ 1238 w 1619"/>
                <a:gd name="connsiteY2" fmla="*/ 953 h 1904"/>
                <a:gd name="connsiteX3" fmla="*/ 0 w 1619"/>
                <a:gd name="connsiteY3" fmla="*/ 0 h 1904"/>
                <a:gd name="connsiteX4" fmla="*/ 1238 w 1619"/>
                <a:gd name="connsiteY4" fmla="*/ 1715 h 1904"/>
                <a:gd name="connsiteX5" fmla="*/ 1334 w 1619"/>
                <a:gd name="connsiteY5" fmla="*/ 1905 h 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9" h="1904">
                  <a:moveTo>
                    <a:pt x="1429" y="1905"/>
                  </a:moveTo>
                  <a:cubicBezTo>
                    <a:pt x="1429" y="1905"/>
                    <a:pt x="1619" y="1524"/>
                    <a:pt x="1619" y="1334"/>
                  </a:cubicBezTo>
                  <a:cubicBezTo>
                    <a:pt x="1619" y="1143"/>
                    <a:pt x="1334" y="1048"/>
                    <a:pt x="1238" y="953"/>
                  </a:cubicBezTo>
                  <a:cubicBezTo>
                    <a:pt x="762" y="667"/>
                    <a:pt x="381" y="286"/>
                    <a:pt x="0" y="0"/>
                  </a:cubicBezTo>
                  <a:cubicBezTo>
                    <a:pt x="476" y="572"/>
                    <a:pt x="857" y="1143"/>
                    <a:pt x="1238" y="1715"/>
                  </a:cubicBezTo>
                  <a:cubicBezTo>
                    <a:pt x="1238" y="1715"/>
                    <a:pt x="1334" y="1905"/>
                    <a:pt x="1334" y="1905"/>
                  </a:cubicBezTo>
                  <a:close/>
                </a:path>
              </a:pathLst>
            </a:custGeom>
            <a:grpFill/>
            <a:ln w="9525" cap="flat">
              <a:noFill/>
              <a:prstDash val="solid"/>
              <a:miter/>
            </a:ln>
          </p:spPr>
          <p:txBody>
            <a:bodyPr rtlCol="0" anchor="ctr"/>
            <a:lstStyle/>
            <a:p>
              <a:endParaRPr lang="en-US" dirty="0"/>
            </a:p>
          </p:txBody>
        </p:sp>
        <p:sp>
          <p:nvSpPr>
            <p:cNvPr id="1133" name="Freeform: Shape 1132">
              <a:extLst>
                <a:ext uri="{FF2B5EF4-FFF2-40B4-BE49-F238E27FC236}">
                  <a16:creationId xmlns:a16="http://schemas.microsoft.com/office/drawing/2014/main" id="{B6EB857B-CC38-E8E4-2A82-A8FC40DCD9BE}"/>
                </a:ext>
              </a:extLst>
            </p:cNvPr>
            <p:cNvSpPr/>
            <p:nvPr/>
          </p:nvSpPr>
          <p:spPr>
            <a:xfrm>
              <a:off x="5149119" y="395087"/>
              <a:ext cx="3260" cy="11437"/>
            </a:xfrm>
            <a:custGeom>
              <a:avLst/>
              <a:gdLst>
                <a:gd name="connsiteX0" fmla="*/ 1085 w 1466"/>
                <a:gd name="connsiteY0" fmla="*/ 3905 h 5143"/>
                <a:gd name="connsiteX1" fmla="*/ 228 w 1466"/>
                <a:gd name="connsiteY1" fmla="*/ 0 h 5143"/>
                <a:gd name="connsiteX2" fmla="*/ 37 w 1466"/>
                <a:gd name="connsiteY2" fmla="*/ 2191 h 5143"/>
                <a:gd name="connsiteX3" fmla="*/ 704 w 1466"/>
                <a:gd name="connsiteY3" fmla="*/ 3905 h 5143"/>
                <a:gd name="connsiteX4" fmla="*/ 799 w 1466"/>
                <a:gd name="connsiteY4" fmla="*/ 4191 h 5143"/>
                <a:gd name="connsiteX5" fmla="*/ 1466 w 1466"/>
                <a:gd name="connsiteY5" fmla="*/ 5143 h 5143"/>
                <a:gd name="connsiteX6" fmla="*/ 1085 w 1466"/>
                <a:gd name="connsiteY6" fmla="*/ 3905 h 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6" h="5143">
                  <a:moveTo>
                    <a:pt x="1085" y="3905"/>
                  </a:moveTo>
                  <a:cubicBezTo>
                    <a:pt x="609" y="2667"/>
                    <a:pt x="323" y="1334"/>
                    <a:pt x="228" y="0"/>
                  </a:cubicBezTo>
                  <a:cubicBezTo>
                    <a:pt x="37" y="762"/>
                    <a:pt x="-58" y="1429"/>
                    <a:pt x="37" y="2191"/>
                  </a:cubicBezTo>
                  <a:cubicBezTo>
                    <a:pt x="132" y="2858"/>
                    <a:pt x="418" y="3429"/>
                    <a:pt x="704" y="3905"/>
                  </a:cubicBezTo>
                  <a:cubicBezTo>
                    <a:pt x="704" y="3905"/>
                    <a:pt x="704" y="4096"/>
                    <a:pt x="799" y="4191"/>
                  </a:cubicBezTo>
                  <a:cubicBezTo>
                    <a:pt x="990" y="4477"/>
                    <a:pt x="1275" y="4763"/>
                    <a:pt x="1466" y="5143"/>
                  </a:cubicBezTo>
                  <a:cubicBezTo>
                    <a:pt x="1275" y="4763"/>
                    <a:pt x="1180" y="4286"/>
                    <a:pt x="1085" y="3905"/>
                  </a:cubicBezTo>
                  <a:close/>
                </a:path>
              </a:pathLst>
            </a:custGeom>
            <a:grpFill/>
            <a:ln w="9525" cap="flat">
              <a:noFill/>
              <a:prstDash val="solid"/>
              <a:miter/>
            </a:ln>
          </p:spPr>
          <p:txBody>
            <a:bodyPr rtlCol="0" anchor="ctr"/>
            <a:lstStyle/>
            <a:p>
              <a:endParaRPr lang="en-US" dirty="0"/>
            </a:p>
          </p:txBody>
        </p:sp>
        <p:sp>
          <p:nvSpPr>
            <p:cNvPr id="1134" name="Freeform: Shape 1133">
              <a:extLst>
                <a:ext uri="{FF2B5EF4-FFF2-40B4-BE49-F238E27FC236}">
                  <a16:creationId xmlns:a16="http://schemas.microsoft.com/office/drawing/2014/main" id="{3B2C6DDC-B23D-05F1-5307-E4AB36BBB469}"/>
                </a:ext>
              </a:extLst>
            </p:cNvPr>
            <p:cNvSpPr/>
            <p:nvPr/>
          </p:nvSpPr>
          <p:spPr>
            <a:xfrm>
              <a:off x="5173562" y="411608"/>
              <a:ext cx="5506" cy="11226"/>
            </a:xfrm>
            <a:custGeom>
              <a:avLst/>
              <a:gdLst>
                <a:gd name="connsiteX0" fmla="*/ 0 w 2476"/>
                <a:gd name="connsiteY0" fmla="*/ 286 h 5048"/>
                <a:gd name="connsiteX1" fmla="*/ 0 w 2476"/>
                <a:gd name="connsiteY1" fmla="*/ 476 h 5048"/>
                <a:gd name="connsiteX2" fmla="*/ 0 w 2476"/>
                <a:gd name="connsiteY2" fmla="*/ 762 h 5048"/>
                <a:gd name="connsiteX3" fmla="*/ 190 w 2476"/>
                <a:gd name="connsiteY3" fmla="*/ 1810 h 5048"/>
                <a:gd name="connsiteX4" fmla="*/ 667 w 2476"/>
                <a:gd name="connsiteY4" fmla="*/ 3810 h 5048"/>
                <a:gd name="connsiteX5" fmla="*/ 667 w 2476"/>
                <a:gd name="connsiteY5" fmla="*/ 3810 h 5048"/>
                <a:gd name="connsiteX6" fmla="*/ 667 w 2476"/>
                <a:gd name="connsiteY6" fmla="*/ 3810 h 5048"/>
                <a:gd name="connsiteX7" fmla="*/ 2476 w 2476"/>
                <a:gd name="connsiteY7" fmla="*/ 5048 h 5048"/>
                <a:gd name="connsiteX8" fmla="*/ 571 w 2476"/>
                <a:gd name="connsiteY8" fmla="*/ 0 h 5048"/>
                <a:gd name="connsiteX9" fmla="*/ 0 w 2476"/>
                <a:gd name="connsiteY9" fmla="*/ 286 h 5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 h="5048">
                  <a:moveTo>
                    <a:pt x="0" y="286"/>
                  </a:moveTo>
                  <a:cubicBezTo>
                    <a:pt x="0" y="286"/>
                    <a:pt x="0" y="286"/>
                    <a:pt x="0" y="476"/>
                  </a:cubicBezTo>
                  <a:cubicBezTo>
                    <a:pt x="0" y="476"/>
                    <a:pt x="0" y="667"/>
                    <a:pt x="0" y="762"/>
                  </a:cubicBezTo>
                  <a:cubicBezTo>
                    <a:pt x="0" y="1143"/>
                    <a:pt x="95" y="1429"/>
                    <a:pt x="190" y="1810"/>
                  </a:cubicBezTo>
                  <a:cubicBezTo>
                    <a:pt x="286" y="2477"/>
                    <a:pt x="381" y="3239"/>
                    <a:pt x="667" y="3810"/>
                  </a:cubicBezTo>
                  <a:cubicBezTo>
                    <a:pt x="667" y="3620"/>
                    <a:pt x="476" y="3524"/>
                    <a:pt x="667" y="3810"/>
                  </a:cubicBezTo>
                  <a:cubicBezTo>
                    <a:pt x="857" y="4096"/>
                    <a:pt x="762" y="4001"/>
                    <a:pt x="667" y="3810"/>
                  </a:cubicBezTo>
                  <a:cubicBezTo>
                    <a:pt x="1048" y="4477"/>
                    <a:pt x="1810" y="4763"/>
                    <a:pt x="2476" y="5048"/>
                  </a:cubicBezTo>
                  <a:cubicBezTo>
                    <a:pt x="1143" y="3810"/>
                    <a:pt x="286" y="1905"/>
                    <a:pt x="571" y="0"/>
                  </a:cubicBezTo>
                  <a:cubicBezTo>
                    <a:pt x="381" y="0"/>
                    <a:pt x="190" y="95"/>
                    <a:pt x="0" y="286"/>
                  </a:cubicBezTo>
                  <a:close/>
                </a:path>
              </a:pathLst>
            </a:custGeom>
            <a:grpFill/>
            <a:ln w="9525" cap="flat">
              <a:noFill/>
              <a:prstDash val="solid"/>
              <a:miter/>
            </a:ln>
          </p:spPr>
          <p:txBody>
            <a:bodyPr rtlCol="0" anchor="ctr"/>
            <a:lstStyle/>
            <a:p>
              <a:endParaRPr lang="en-US" dirty="0"/>
            </a:p>
          </p:txBody>
        </p:sp>
        <p:sp>
          <p:nvSpPr>
            <p:cNvPr id="1135" name="Freeform: Shape 1134">
              <a:extLst>
                <a:ext uri="{FF2B5EF4-FFF2-40B4-BE49-F238E27FC236}">
                  <a16:creationId xmlns:a16="http://schemas.microsoft.com/office/drawing/2014/main" id="{8844D9C5-964D-05A1-7D0B-CBEB4760B065}"/>
                </a:ext>
              </a:extLst>
            </p:cNvPr>
            <p:cNvSpPr/>
            <p:nvPr/>
          </p:nvSpPr>
          <p:spPr>
            <a:xfrm>
              <a:off x="5312731" y="614750"/>
              <a:ext cx="12707" cy="6776"/>
            </a:xfrm>
            <a:custGeom>
              <a:avLst/>
              <a:gdLst>
                <a:gd name="connsiteX0" fmla="*/ 0 w 5714"/>
                <a:gd name="connsiteY0" fmla="*/ 2095 h 3047"/>
                <a:gd name="connsiteX1" fmla="*/ 3143 w 5714"/>
                <a:gd name="connsiteY1" fmla="*/ 2381 h 3047"/>
                <a:gd name="connsiteX2" fmla="*/ 5715 w 5714"/>
                <a:gd name="connsiteY2" fmla="*/ 3048 h 3047"/>
                <a:gd name="connsiteX3" fmla="*/ 1143 w 5714"/>
                <a:gd name="connsiteY3" fmla="*/ 0 h 3047"/>
                <a:gd name="connsiteX4" fmla="*/ 0 w 5714"/>
                <a:gd name="connsiteY4" fmla="*/ 2095 h 3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3047">
                  <a:moveTo>
                    <a:pt x="0" y="2095"/>
                  </a:moveTo>
                  <a:cubicBezTo>
                    <a:pt x="1048" y="2000"/>
                    <a:pt x="3238" y="2381"/>
                    <a:pt x="3143" y="2381"/>
                  </a:cubicBezTo>
                  <a:cubicBezTo>
                    <a:pt x="3143" y="2381"/>
                    <a:pt x="4858" y="2857"/>
                    <a:pt x="5715" y="3048"/>
                  </a:cubicBezTo>
                  <a:cubicBezTo>
                    <a:pt x="4096" y="2191"/>
                    <a:pt x="2572" y="1143"/>
                    <a:pt x="1143" y="0"/>
                  </a:cubicBezTo>
                  <a:cubicBezTo>
                    <a:pt x="857" y="762"/>
                    <a:pt x="476" y="1429"/>
                    <a:pt x="0" y="2095"/>
                  </a:cubicBezTo>
                  <a:close/>
                </a:path>
              </a:pathLst>
            </a:custGeom>
            <a:grpFill/>
            <a:ln w="9525" cap="flat">
              <a:noFill/>
              <a:prstDash val="solid"/>
              <a:miter/>
            </a:ln>
          </p:spPr>
          <p:txBody>
            <a:bodyPr rtlCol="0" anchor="ctr"/>
            <a:lstStyle/>
            <a:p>
              <a:endParaRPr lang="en-US" dirty="0"/>
            </a:p>
          </p:txBody>
        </p:sp>
        <p:sp>
          <p:nvSpPr>
            <p:cNvPr id="1136" name="Freeform: Shape 1135">
              <a:extLst>
                <a:ext uri="{FF2B5EF4-FFF2-40B4-BE49-F238E27FC236}">
                  <a16:creationId xmlns:a16="http://schemas.microsoft.com/office/drawing/2014/main" id="{6A3AF7D4-EFFB-DC2F-2C81-DD17437BC79A}"/>
                </a:ext>
              </a:extLst>
            </p:cNvPr>
            <p:cNvSpPr/>
            <p:nvPr/>
          </p:nvSpPr>
          <p:spPr>
            <a:xfrm>
              <a:off x="5094763" y="239230"/>
              <a:ext cx="24147" cy="7154"/>
            </a:xfrm>
            <a:custGeom>
              <a:avLst/>
              <a:gdLst>
                <a:gd name="connsiteX0" fmla="*/ 6191 w 10858"/>
                <a:gd name="connsiteY0" fmla="*/ 265 h 3217"/>
                <a:gd name="connsiteX1" fmla="*/ 381 w 10858"/>
                <a:gd name="connsiteY1" fmla="*/ 646 h 3217"/>
                <a:gd name="connsiteX2" fmla="*/ 0 w 10858"/>
                <a:gd name="connsiteY2" fmla="*/ 741 h 3217"/>
                <a:gd name="connsiteX3" fmla="*/ 10858 w 10858"/>
                <a:gd name="connsiteY3" fmla="*/ 3217 h 3217"/>
                <a:gd name="connsiteX4" fmla="*/ 6191 w 10858"/>
                <a:gd name="connsiteY4" fmla="*/ 265 h 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8" h="3217">
                  <a:moveTo>
                    <a:pt x="6191" y="265"/>
                  </a:moveTo>
                  <a:cubicBezTo>
                    <a:pt x="4286" y="-212"/>
                    <a:pt x="2191" y="-21"/>
                    <a:pt x="381" y="646"/>
                  </a:cubicBezTo>
                  <a:cubicBezTo>
                    <a:pt x="286" y="646"/>
                    <a:pt x="95" y="646"/>
                    <a:pt x="0" y="741"/>
                  </a:cubicBezTo>
                  <a:cubicBezTo>
                    <a:pt x="3715" y="741"/>
                    <a:pt x="7429" y="1884"/>
                    <a:pt x="10858" y="3217"/>
                  </a:cubicBezTo>
                  <a:cubicBezTo>
                    <a:pt x="9620" y="1789"/>
                    <a:pt x="8001" y="741"/>
                    <a:pt x="6191" y="265"/>
                  </a:cubicBezTo>
                  <a:close/>
                </a:path>
              </a:pathLst>
            </a:custGeom>
            <a:grpFill/>
            <a:ln w="9525" cap="flat">
              <a:noFill/>
              <a:prstDash val="solid"/>
              <a:miter/>
            </a:ln>
          </p:spPr>
          <p:txBody>
            <a:bodyPr rtlCol="0" anchor="ctr"/>
            <a:lstStyle/>
            <a:p>
              <a:endParaRPr lang="en-US" dirty="0"/>
            </a:p>
          </p:txBody>
        </p:sp>
        <p:sp>
          <p:nvSpPr>
            <p:cNvPr id="1137" name="Freeform: Shape 1136">
              <a:extLst>
                <a:ext uri="{FF2B5EF4-FFF2-40B4-BE49-F238E27FC236}">
                  <a16:creationId xmlns:a16="http://schemas.microsoft.com/office/drawing/2014/main" id="{4F1BDF9E-F8C8-4F5C-9C9B-F0C9077D6DB1}"/>
                </a:ext>
              </a:extLst>
            </p:cNvPr>
            <p:cNvSpPr/>
            <p:nvPr/>
          </p:nvSpPr>
          <p:spPr>
            <a:xfrm>
              <a:off x="5354249" y="526419"/>
              <a:ext cx="7201" cy="7837"/>
            </a:xfrm>
            <a:custGeom>
              <a:avLst/>
              <a:gdLst>
                <a:gd name="connsiteX0" fmla="*/ 2857 w 3238"/>
                <a:gd name="connsiteY0" fmla="*/ 1429 h 3524"/>
                <a:gd name="connsiteX1" fmla="*/ 0 w 3238"/>
                <a:gd name="connsiteY1" fmla="*/ 0 h 3524"/>
                <a:gd name="connsiteX2" fmla="*/ 381 w 3238"/>
                <a:gd name="connsiteY2" fmla="*/ 3524 h 3524"/>
                <a:gd name="connsiteX3" fmla="*/ 3238 w 3238"/>
                <a:gd name="connsiteY3" fmla="*/ 1524 h 3524"/>
                <a:gd name="connsiteX4" fmla="*/ 2857 w 3238"/>
                <a:gd name="connsiteY4" fmla="*/ 1429 h 3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3524">
                  <a:moveTo>
                    <a:pt x="2857" y="1429"/>
                  </a:moveTo>
                  <a:cubicBezTo>
                    <a:pt x="1905" y="1048"/>
                    <a:pt x="953" y="572"/>
                    <a:pt x="0" y="0"/>
                  </a:cubicBezTo>
                  <a:cubicBezTo>
                    <a:pt x="190" y="1143"/>
                    <a:pt x="286" y="2381"/>
                    <a:pt x="381" y="3524"/>
                  </a:cubicBezTo>
                  <a:cubicBezTo>
                    <a:pt x="1143" y="2572"/>
                    <a:pt x="2191" y="2096"/>
                    <a:pt x="3238" y="1524"/>
                  </a:cubicBezTo>
                  <a:cubicBezTo>
                    <a:pt x="3238" y="1524"/>
                    <a:pt x="2953" y="1429"/>
                    <a:pt x="2857" y="1429"/>
                  </a:cubicBezTo>
                  <a:close/>
                </a:path>
              </a:pathLst>
            </a:custGeom>
            <a:grpFill/>
            <a:ln w="9525" cap="flat">
              <a:noFill/>
              <a:prstDash val="solid"/>
              <a:miter/>
            </a:ln>
          </p:spPr>
          <p:txBody>
            <a:bodyPr rtlCol="0" anchor="ctr"/>
            <a:lstStyle/>
            <a:p>
              <a:endParaRPr lang="en-US" dirty="0"/>
            </a:p>
          </p:txBody>
        </p:sp>
        <p:sp>
          <p:nvSpPr>
            <p:cNvPr id="1138" name="Freeform: Shape 1137">
              <a:extLst>
                <a:ext uri="{FF2B5EF4-FFF2-40B4-BE49-F238E27FC236}">
                  <a16:creationId xmlns:a16="http://schemas.microsoft.com/office/drawing/2014/main" id="{53237F1B-AC33-796A-C0B0-44CC0776CF50}"/>
                </a:ext>
              </a:extLst>
            </p:cNvPr>
            <p:cNvSpPr/>
            <p:nvPr/>
          </p:nvSpPr>
          <p:spPr>
            <a:xfrm>
              <a:off x="5361027" y="567723"/>
              <a:ext cx="10379" cy="1692"/>
            </a:xfrm>
            <a:custGeom>
              <a:avLst/>
              <a:gdLst>
                <a:gd name="connsiteX0" fmla="*/ 95 w 4667"/>
                <a:gd name="connsiteY0" fmla="*/ 571 h 761"/>
                <a:gd name="connsiteX1" fmla="*/ 762 w 4667"/>
                <a:gd name="connsiteY1" fmla="*/ 667 h 761"/>
                <a:gd name="connsiteX2" fmla="*/ 2476 w 4667"/>
                <a:gd name="connsiteY2" fmla="*/ 762 h 761"/>
                <a:gd name="connsiteX3" fmla="*/ 3143 w 4667"/>
                <a:gd name="connsiteY3" fmla="*/ 762 h 761"/>
                <a:gd name="connsiteX4" fmla="*/ 4667 w 4667"/>
                <a:gd name="connsiteY4" fmla="*/ 667 h 761"/>
                <a:gd name="connsiteX5" fmla="*/ 0 w 4667"/>
                <a:gd name="connsiteY5" fmla="*/ 0 h 761"/>
                <a:gd name="connsiteX6" fmla="*/ 0 w 4667"/>
                <a:gd name="connsiteY6" fmla="*/ 571 h 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 h="761">
                  <a:moveTo>
                    <a:pt x="95" y="571"/>
                  </a:moveTo>
                  <a:cubicBezTo>
                    <a:pt x="95" y="571"/>
                    <a:pt x="571" y="571"/>
                    <a:pt x="762" y="667"/>
                  </a:cubicBezTo>
                  <a:cubicBezTo>
                    <a:pt x="1333" y="667"/>
                    <a:pt x="1905" y="762"/>
                    <a:pt x="2476" y="762"/>
                  </a:cubicBezTo>
                  <a:cubicBezTo>
                    <a:pt x="2667" y="762"/>
                    <a:pt x="2953" y="762"/>
                    <a:pt x="3143" y="762"/>
                  </a:cubicBezTo>
                  <a:cubicBezTo>
                    <a:pt x="3619" y="762"/>
                    <a:pt x="4191" y="762"/>
                    <a:pt x="4667" y="667"/>
                  </a:cubicBezTo>
                  <a:cubicBezTo>
                    <a:pt x="3048" y="762"/>
                    <a:pt x="1524" y="476"/>
                    <a:pt x="0" y="0"/>
                  </a:cubicBezTo>
                  <a:cubicBezTo>
                    <a:pt x="0" y="95"/>
                    <a:pt x="0" y="476"/>
                    <a:pt x="0" y="571"/>
                  </a:cubicBezTo>
                  <a:close/>
                </a:path>
              </a:pathLst>
            </a:custGeom>
            <a:grpFill/>
            <a:ln w="9525" cap="flat">
              <a:noFill/>
              <a:prstDash val="solid"/>
              <a:miter/>
            </a:ln>
          </p:spPr>
          <p:txBody>
            <a:bodyPr rtlCol="0" anchor="ctr"/>
            <a:lstStyle/>
            <a:p>
              <a:endParaRPr lang="en-US" dirty="0"/>
            </a:p>
          </p:txBody>
        </p:sp>
        <p:sp>
          <p:nvSpPr>
            <p:cNvPr id="1139" name="Freeform: Shape 1138">
              <a:extLst>
                <a:ext uri="{FF2B5EF4-FFF2-40B4-BE49-F238E27FC236}">
                  <a16:creationId xmlns:a16="http://schemas.microsoft.com/office/drawing/2014/main" id="{6DA9D121-B5DE-84FB-567D-E2AAC1D563B1}"/>
                </a:ext>
              </a:extLst>
            </p:cNvPr>
            <p:cNvSpPr/>
            <p:nvPr/>
          </p:nvSpPr>
          <p:spPr>
            <a:xfrm>
              <a:off x="5075486" y="243827"/>
              <a:ext cx="9107" cy="8700"/>
            </a:xfrm>
            <a:custGeom>
              <a:avLst/>
              <a:gdLst>
                <a:gd name="connsiteX0" fmla="*/ 2857 w 4095"/>
                <a:gd name="connsiteY0" fmla="*/ 7 h 3912"/>
                <a:gd name="connsiteX1" fmla="*/ 2286 w 4095"/>
                <a:gd name="connsiteY1" fmla="*/ 388 h 3912"/>
                <a:gd name="connsiteX2" fmla="*/ 1333 w 4095"/>
                <a:gd name="connsiteY2" fmla="*/ 1341 h 3912"/>
                <a:gd name="connsiteX3" fmla="*/ 286 w 4095"/>
                <a:gd name="connsiteY3" fmla="*/ 3055 h 3912"/>
                <a:gd name="connsiteX4" fmla="*/ 0 w 4095"/>
                <a:gd name="connsiteY4" fmla="*/ 3913 h 3912"/>
                <a:gd name="connsiteX5" fmla="*/ 4096 w 4095"/>
                <a:gd name="connsiteY5" fmla="*/ 769 h 3912"/>
                <a:gd name="connsiteX6" fmla="*/ 2762 w 4095"/>
                <a:gd name="connsiteY6" fmla="*/ 7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 h="3912">
                  <a:moveTo>
                    <a:pt x="2857" y="7"/>
                  </a:moveTo>
                  <a:cubicBezTo>
                    <a:pt x="2857" y="7"/>
                    <a:pt x="2477" y="293"/>
                    <a:pt x="2286" y="388"/>
                  </a:cubicBezTo>
                  <a:cubicBezTo>
                    <a:pt x="1905" y="674"/>
                    <a:pt x="1619" y="960"/>
                    <a:pt x="1333" y="1341"/>
                  </a:cubicBezTo>
                  <a:cubicBezTo>
                    <a:pt x="953" y="1817"/>
                    <a:pt x="571" y="2389"/>
                    <a:pt x="286" y="3055"/>
                  </a:cubicBezTo>
                  <a:cubicBezTo>
                    <a:pt x="190" y="3341"/>
                    <a:pt x="95" y="3817"/>
                    <a:pt x="0" y="3913"/>
                  </a:cubicBezTo>
                  <a:cubicBezTo>
                    <a:pt x="762" y="2389"/>
                    <a:pt x="2667" y="1722"/>
                    <a:pt x="4096" y="769"/>
                  </a:cubicBezTo>
                  <a:cubicBezTo>
                    <a:pt x="3905" y="769"/>
                    <a:pt x="2953" y="-88"/>
                    <a:pt x="2762" y="7"/>
                  </a:cubicBezTo>
                  <a:close/>
                </a:path>
              </a:pathLst>
            </a:custGeom>
            <a:grpFill/>
            <a:ln w="9525" cap="flat">
              <a:noFill/>
              <a:prstDash val="solid"/>
              <a:miter/>
            </a:ln>
          </p:spPr>
          <p:txBody>
            <a:bodyPr rtlCol="0" anchor="ctr"/>
            <a:lstStyle/>
            <a:p>
              <a:endParaRPr lang="en-US" dirty="0"/>
            </a:p>
          </p:txBody>
        </p:sp>
        <p:sp>
          <p:nvSpPr>
            <p:cNvPr id="1140" name="Freeform: Shape 1139">
              <a:extLst>
                <a:ext uri="{FF2B5EF4-FFF2-40B4-BE49-F238E27FC236}">
                  <a16:creationId xmlns:a16="http://schemas.microsoft.com/office/drawing/2014/main" id="{90D764EA-A550-2A25-E165-D4E23753E4EF}"/>
                </a:ext>
              </a:extLst>
            </p:cNvPr>
            <p:cNvSpPr/>
            <p:nvPr/>
          </p:nvSpPr>
          <p:spPr>
            <a:xfrm>
              <a:off x="4995765" y="588906"/>
              <a:ext cx="7277" cy="28172"/>
            </a:xfrm>
            <a:custGeom>
              <a:avLst/>
              <a:gdLst>
                <a:gd name="connsiteX0" fmla="*/ 1939 w 3272"/>
                <a:gd name="connsiteY0" fmla="*/ 6763 h 12668"/>
                <a:gd name="connsiteX1" fmla="*/ 2701 w 3272"/>
                <a:gd name="connsiteY1" fmla="*/ 0 h 12668"/>
                <a:gd name="connsiteX2" fmla="*/ 1177 w 3272"/>
                <a:gd name="connsiteY2" fmla="*/ 953 h 12668"/>
                <a:gd name="connsiteX3" fmla="*/ 701 w 3272"/>
                <a:gd name="connsiteY3" fmla="*/ 1619 h 12668"/>
                <a:gd name="connsiteX4" fmla="*/ 415 w 3272"/>
                <a:gd name="connsiteY4" fmla="*/ 2477 h 12668"/>
                <a:gd name="connsiteX5" fmla="*/ 34 w 3272"/>
                <a:gd name="connsiteY5" fmla="*/ 6382 h 12668"/>
                <a:gd name="connsiteX6" fmla="*/ 891 w 3272"/>
                <a:gd name="connsiteY6" fmla="*/ 10001 h 12668"/>
                <a:gd name="connsiteX7" fmla="*/ 2797 w 3272"/>
                <a:gd name="connsiteY7" fmla="*/ 12478 h 12668"/>
                <a:gd name="connsiteX8" fmla="*/ 2797 w 3272"/>
                <a:gd name="connsiteY8" fmla="*/ 12478 h 12668"/>
                <a:gd name="connsiteX9" fmla="*/ 2797 w 3272"/>
                <a:gd name="connsiteY9" fmla="*/ 12478 h 12668"/>
                <a:gd name="connsiteX10" fmla="*/ 2797 w 3272"/>
                <a:gd name="connsiteY10" fmla="*/ 12478 h 12668"/>
                <a:gd name="connsiteX11" fmla="*/ 3273 w 3272"/>
                <a:gd name="connsiteY11" fmla="*/ 12668 h 12668"/>
                <a:gd name="connsiteX12" fmla="*/ 1939 w 3272"/>
                <a:gd name="connsiteY12" fmla="*/ 6668 h 1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72" h="12668">
                  <a:moveTo>
                    <a:pt x="1939" y="6763"/>
                  </a:moveTo>
                  <a:cubicBezTo>
                    <a:pt x="1939" y="4477"/>
                    <a:pt x="2225" y="2286"/>
                    <a:pt x="2701" y="0"/>
                  </a:cubicBezTo>
                  <a:cubicBezTo>
                    <a:pt x="2130" y="286"/>
                    <a:pt x="1558" y="476"/>
                    <a:pt x="1177" y="953"/>
                  </a:cubicBezTo>
                  <a:cubicBezTo>
                    <a:pt x="987" y="1143"/>
                    <a:pt x="796" y="1238"/>
                    <a:pt x="701" y="1619"/>
                  </a:cubicBezTo>
                  <a:cubicBezTo>
                    <a:pt x="701" y="1905"/>
                    <a:pt x="511" y="2191"/>
                    <a:pt x="415" y="2477"/>
                  </a:cubicBezTo>
                  <a:cubicBezTo>
                    <a:pt x="34" y="3715"/>
                    <a:pt x="-61" y="5048"/>
                    <a:pt x="34" y="6382"/>
                  </a:cubicBezTo>
                  <a:cubicBezTo>
                    <a:pt x="34" y="7620"/>
                    <a:pt x="415" y="8858"/>
                    <a:pt x="891" y="10001"/>
                  </a:cubicBezTo>
                  <a:cubicBezTo>
                    <a:pt x="1273" y="10954"/>
                    <a:pt x="1939" y="11906"/>
                    <a:pt x="2797" y="12478"/>
                  </a:cubicBezTo>
                  <a:cubicBezTo>
                    <a:pt x="2606" y="12383"/>
                    <a:pt x="1939" y="12002"/>
                    <a:pt x="2797" y="12478"/>
                  </a:cubicBezTo>
                  <a:cubicBezTo>
                    <a:pt x="2797" y="12478"/>
                    <a:pt x="2797" y="12478"/>
                    <a:pt x="2797" y="12478"/>
                  </a:cubicBezTo>
                  <a:cubicBezTo>
                    <a:pt x="2797" y="12478"/>
                    <a:pt x="2797" y="12478"/>
                    <a:pt x="2797" y="12478"/>
                  </a:cubicBezTo>
                  <a:cubicBezTo>
                    <a:pt x="2987" y="12478"/>
                    <a:pt x="3082" y="12668"/>
                    <a:pt x="3273" y="12668"/>
                  </a:cubicBezTo>
                  <a:cubicBezTo>
                    <a:pt x="2225" y="10858"/>
                    <a:pt x="1939" y="8763"/>
                    <a:pt x="1939" y="6668"/>
                  </a:cubicBezTo>
                  <a:close/>
                </a:path>
              </a:pathLst>
            </a:custGeom>
            <a:grpFill/>
            <a:ln w="9525" cap="flat">
              <a:noFill/>
              <a:prstDash val="solid"/>
              <a:miter/>
            </a:ln>
          </p:spPr>
          <p:txBody>
            <a:bodyPr rtlCol="0" anchor="ctr"/>
            <a:lstStyle/>
            <a:p>
              <a:endParaRPr lang="en-US" dirty="0"/>
            </a:p>
          </p:txBody>
        </p:sp>
        <p:sp>
          <p:nvSpPr>
            <p:cNvPr id="1141" name="Freeform: Shape 1140">
              <a:extLst>
                <a:ext uri="{FF2B5EF4-FFF2-40B4-BE49-F238E27FC236}">
                  <a16:creationId xmlns:a16="http://schemas.microsoft.com/office/drawing/2014/main" id="{17C58355-AB70-261C-B04F-411135179450}"/>
                </a:ext>
              </a:extLst>
            </p:cNvPr>
            <p:cNvSpPr/>
            <p:nvPr/>
          </p:nvSpPr>
          <p:spPr>
            <a:xfrm>
              <a:off x="5150507" y="403989"/>
              <a:ext cx="467" cy="743"/>
            </a:xfrm>
            <a:custGeom>
              <a:avLst/>
              <a:gdLst>
                <a:gd name="connsiteX0" fmla="*/ 175 w 210"/>
                <a:gd name="connsiteY0" fmla="*/ 283 h 334"/>
                <a:gd name="connsiteX1" fmla="*/ 175 w 210"/>
                <a:gd name="connsiteY1" fmla="*/ 283 h 334"/>
                <a:gd name="connsiteX2" fmla="*/ 175 w 210"/>
                <a:gd name="connsiteY2" fmla="*/ 283 h 334"/>
              </a:gdLst>
              <a:ahLst/>
              <a:cxnLst>
                <a:cxn ang="0">
                  <a:pos x="connsiteX0" y="connsiteY0"/>
                </a:cxn>
                <a:cxn ang="0">
                  <a:pos x="connsiteX1" y="connsiteY1"/>
                </a:cxn>
                <a:cxn ang="0">
                  <a:pos x="connsiteX2" y="connsiteY2"/>
                </a:cxn>
              </a:cxnLst>
              <a:rect l="l" t="t" r="r" b="b"/>
              <a:pathLst>
                <a:path w="210" h="334">
                  <a:moveTo>
                    <a:pt x="175" y="283"/>
                  </a:moveTo>
                  <a:cubicBezTo>
                    <a:pt x="-301" y="-479"/>
                    <a:pt x="366" y="569"/>
                    <a:pt x="175" y="283"/>
                  </a:cubicBezTo>
                  <a:lnTo>
                    <a:pt x="175" y="283"/>
                  </a:lnTo>
                  <a:close/>
                </a:path>
              </a:pathLst>
            </a:custGeom>
            <a:grpFill/>
            <a:ln w="9525" cap="flat">
              <a:noFill/>
              <a:prstDash val="solid"/>
              <a:miter/>
            </a:ln>
          </p:spPr>
          <p:txBody>
            <a:bodyPr rtlCol="0" anchor="ctr"/>
            <a:lstStyle/>
            <a:p>
              <a:endParaRPr lang="en-US" dirty="0"/>
            </a:p>
          </p:txBody>
        </p:sp>
        <p:sp>
          <p:nvSpPr>
            <p:cNvPr id="1142" name="Freeform: Shape 1141">
              <a:extLst>
                <a:ext uri="{FF2B5EF4-FFF2-40B4-BE49-F238E27FC236}">
                  <a16:creationId xmlns:a16="http://schemas.microsoft.com/office/drawing/2014/main" id="{687E6591-A158-E7E0-3F01-81ACD7095B31}"/>
                </a:ext>
              </a:extLst>
            </p:cNvPr>
            <p:cNvSpPr/>
            <p:nvPr/>
          </p:nvSpPr>
          <p:spPr>
            <a:xfrm>
              <a:off x="5000288" y="278159"/>
              <a:ext cx="5929" cy="8896"/>
            </a:xfrm>
            <a:custGeom>
              <a:avLst/>
              <a:gdLst>
                <a:gd name="connsiteX0" fmla="*/ 2667 w 2666"/>
                <a:gd name="connsiteY0" fmla="*/ 2762 h 4000"/>
                <a:gd name="connsiteX1" fmla="*/ 2191 w 2666"/>
                <a:gd name="connsiteY1" fmla="*/ 2000 h 4000"/>
                <a:gd name="connsiteX2" fmla="*/ 1238 w 2666"/>
                <a:gd name="connsiteY2" fmla="*/ 0 h 4000"/>
                <a:gd name="connsiteX3" fmla="*/ 0 w 2666"/>
                <a:gd name="connsiteY3" fmla="*/ 2667 h 4000"/>
                <a:gd name="connsiteX4" fmla="*/ 2667 w 2666"/>
                <a:gd name="connsiteY4" fmla="*/ 4001 h 4000"/>
                <a:gd name="connsiteX5" fmla="*/ 2667 w 2666"/>
                <a:gd name="connsiteY5" fmla="*/ 2762 h 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6" h="4000">
                  <a:moveTo>
                    <a:pt x="2667" y="2762"/>
                  </a:moveTo>
                  <a:cubicBezTo>
                    <a:pt x="2667" y="2762"/>
                    <a:pt x="2381" y="2191"/>
                    <a:pt x="2191" y="2000"/>
                  </a:cubicBezTo>
                  <a:cubicBezTo>
                    <a:pt x="1809" y="1333"/>
                    <a:pt x="1429" y="667"/>
                    <a:pt x="1238" y="0"/>
                  </a:cubicBezTo>
                  <a:cubicBezTo>
                    <a:pt x="952" y="952"/>
                    <a:pt x="476" y="1810"/>
                    <a:pt x="0" y="2667"/>
                  </a:cubicBezTo>
                  <a:cubicBezTo>
                    <a:pt x="952" y="3048"/>
                    <a:pt x="1809" y="3524"/>
                    <a:pt x="2667" y="4001"/>
                  </a:cubicBezTo>
                  <a:cubicBezTo>
                    <a:pt x="2667" y="3620"/>
                    <a:pt x="2667" y="3143"/>
                    <a:pt x="2667" y="2762"/>
                  </a:cubicBezTo>
                  <a:close/>
                </a:path>
              </a:pathLst>
            </a:custGeom>
            <a:grpFill/>
            <a:ln w="9525" cap="flat">
              <a:noFill/>
              <a:prstDash val="solid"/>
              <a:miter/>
            </a:ln>
          </p:spPr>
          <p:txBody>
            <a:bodyPr rtlCol="0" anchor="ctr"/>
            <a:lstStyle/>
            <a:p>
              <a:endParaRPr lang="en-US" dirty="0"/>
            </a:p>
          </p:txBody>
        </p:sp>
        <p:sp>
          <p:nvSpPr>
            <p:cNvPr id="1143" name="Freeform: Shape 1142">
              <a:extLst>
                <a:ext uri="{FF2B5EF4-FFF2-40B4-BE49-F238E27FC236}">
                  <a16:creationId xmlns:a16="http://schemas.microsoft.com/office/drawing/2014/main" id="{9D8DC0F6-28AA-BDCF-AC59-52D7682AE59A}"/>
                </a:ext>
              </a:extLst>
            </p:cNvPr>
            <p:cNvSpPr/>
            <p:nvPr/>
          </p:nvSpPr>
          <p:spPr>
            <a:xfrm>
              <a:off x="4968938" y="557558"/>
              <a:ext cx="2753" cy="10590"/>
            </a:xfrm>
            <a:custGeom>
              <a:avLst/>
              <a:gdLst>
                <a:gd name="connsiteX0" fmla="*/ 286 w 1238"/>
                <a:gd name="connsiteY0" fmla="*/ 1619 h 4762"/>
                <a:gd name="connsiteX1" fmla="*/ 0 w 1238"/>
                <a:gd name="connsiteY1" fmla="*/ 4572 h 4762"/>
                <a:gd name="connsiteX2" fmla="*/ 0 w 1238"/>
                <a:gd name="connsiteY2" fmla="*/ 4763 h 4762"/>
                <a:gd name="connsiteX3" fmla="*/ 190 w 1238"/>
                <a:gd name="connsiteY3" fmla="*/ 4096 h 4762"/>
                <a:gd name="connsiteX4" fmla="*/ 1238 w 1238"/>
                <a:gd name="connsiteY4" fmla="*/ 0 h 4762"/>
                <a:gd name="connsiteX5" fmla="*/ 571 w 1238"/>
                <a:gd name="connsiteY5" fmla="*/ 381 h 4762"/>
                <a:gd name="connsiteX6" fmla="*/ 286 w 1238"/>
                <a:gd name="connsiteY6" fmla="*/ 1619 h 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 h="4762">
                  <a:moveTo>
                    <a:pt x="286" y="1619"/>
                  </a:moveTo>
                  <a:cubicBezTo>
                    <a:pt x="95" y="2572"/>
                    <a:pt x="0" y="3524"/>
                    <a:pt x="0" y="4572"/>
                  </a:cubicBezTo>
                  <a:cubicBezTo>
                    <a:pt x="0" y="4572"/>
                    <a:pt x="0" y="4667"/>
                    <a:pt x="0" y="4763"/>
                  </a:cubicBezTo>
                  <a:cubicBezTo>
                    <a:pt x="0" y="4763"/>
                    <a:pt x="190" y="4286"/>
                    <a:pt x="190" y="4096"/>
                  </a:cubicBezTo>
                  <a:cubicBezTo>
                    <a:pt x="476" y="2762"/>
                    <a:pt x="857" y="1333"/>
                    <a:pt x="1238" y="0"/>
                  </a:cubicBezTo>
                  <a:cubicBezTo>
                    <a:pt x="1048" y="0"/>
                    <a:pt x="667" y="95"/>
                    <a:pt x="571" y="381"/>
                  </a:cubicBezTo>
                  <a:cubicBezTo>
                    <a:pt x="381" y="762"/>
                    <a:pt x="381" y="1238"/>
                    <a:pt x="286" y="1619"/>
                  </a:cubicBezTo>
                  <a:close/>
                </a:path>
              </a:pathLst>
            </a:custGeom>
            <a:grpFill/>
            <a:ln w="9525" cap="flat">
              <a:noFill/>
              <a:prstDash val="solid"/>
              <a:miter/>
            </a:ln>
          </p:spPr>
          <p:txBody>
            <a:bodyPr rtlCol="0" anchor="ctr"/>
            <a:lstStyle/>
            <a:p>
              <a:endParaRPr lang="en-US" dirty="0"/>
            </a:p>
          </p:txBody>
        </p:sp>
        <p:sp>
          <p:nvSpPr>
            <p:cNvPr id="1144" name="Freeform: Shape 1143">
              <a:extLst>
                <a:ext uri="{FF2B5EF4-FFF2-40B4-BE49-F238E27FC236}">
                  <a16:creationId xmlns:a16="http://schemas.microsoft.com/office/drawing/2014/main" id="{E44A26FF-865E-A2B9-5EC8-EE9044D9F004}"/>
                </a:ext>
              </a:extLst>
            </p:cNvPr>
            <p:cNvSpPr/>
            <p:nvPr/>
          </p:nvSpPr>
          <p:spPr>
            <a:xfrm>
              <a:off x="5117640" y="382589"/>
              <a:ext cx="11226" cy="13343"/>
            </a:xfrm>
            <a:custGeom>
              <a:avLst/>
              <a:gdLst>
                <a:gd name="connsiteX0" fmla="*/ 95 w 5048"/>
                <a:gd name="connsiteY0" fmla="*/ 0 h 6000"/>
                <a:gd name="connsiteX1" fmla="*/ 95 w 5048"/>
                <a:gd name="connsiteY1" fmla="*/ 667 h 6000"/>
                <a:gd name="connsiteX2" fmla="*/ 286 w 5048"/>
                <a:gd name="connsiteY2" fmla="*/ 1048 h 6000"/>
                <a:gd name="connsiteX3" fmla="*/ 667 w 5048"/>
                <a:gd name="connsiteY3" fmla="*/ 1810 h 6000"/>
                <a:gd name="connsiteX4" fmla="*/ 1238 w 5048"/>
                <a:gd name="connsiteY4" fmla="*/ 3620 h 6000"/>
                <a:gd name="connsiteX5" fmla="*/ 1524 w 5048"/>
                <a:gd name="connsiteY5" fmla="*/ 6001 h 6000"/>
                <a:gd name="connsiteX6" fmla="*/ 5048 w 5048"/>
                <a:gd name="connsiteY6" fmla="*/ 4953 h 6000"/>
                <a:gd name="connsiteX7" fmla="*/ 3715 w 5048"/>
                <a:gd name="connsiteY7" fmla="*/ 4096 h 6000"/>
                <a:gd name="connsiteX8" fmla="*/ 0 w 5048"/>
                <a:gd name="connsiteY8" fmla="*/ 0 h 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8" h="6000">
                  <a:moveTo>
                    <a:pt x="95" y="0"/>
                  </a:moveTo>
                  <a:cubicBezTo>
                    <a:pt x="95" y="0"/>
                    <a:pt x="95" y="476"/>
                    <a:pt x="95" y="667"/>
                  </a:cubicBezTo>
                  <a:cubicBezTo>
                    <a:pt x="95" y="762"/>
                    <a:pt x="191" y="953"/>
                    <a:pt x="286" y="1048"/>
                  </a:cubicBezTo>
                  <a:cubicBezTo>
                    <a:pt x="381" y="1334"/>
                    <a:pt x="571" y="1619"/>
                    <a:pt x="667" y="1810"/>
                  </a:cubicBezTo>
                  <a:cubicBezTo>
                    <a:pt x="953" y="2381"/>
                    <a:pt x="1143" y="3048"/>
                    <a:pt x="1238" y="3620"/>
                  </a:cubicBezTo>
                  <a:cubicBezTo>
                    <a:pt x="1429" y="4382"/>
                    <a:pt x="1524" y="5239"/>
                    <a:pt x="1524" y="6001"/>
                  </a:cubicBezTo>
                  <a:cubicBezTo>
                    <a:pt x="2667" y="5620"/>
                    <a:pt x="3905" y="5239"/>
                    <a:pt x="5048" y="4953"/>
                  </a:cubicBezTo>
                  <a:cubicBezTo>
                    <a:pt x="4572" y="4667"/>
                    <a:pt x="4096" y="4382"/>
                    <a:pt x="3715" y="4096"/>
                  </a:cubicBezTo>
                  <a:cubicBezTo>
                    <a:pt x="2286" y="2953"/>
                    <a:pt x="1048" y="1524"/>
                    <a:pt x="0" y="0"/>
                  </a:cubicBezTo>
                  <a:close/>
                </a:path>
              </a:pathLst>
            </a:custGeom>
            <a:grpFill/>
            <a:ln w="9525" cap="flat">
              <a:noFill/>
              <a:prstDash val="solid"/>
              <a:miter/>
            </a:ln>
          </p:spPr>
          <p:txBody>
            <a:bodyPr rtlCol="0" anchor="ctr"/>
            <a:lstStyle/>
            <a:p>
              <a:endParaRPr lang="en-US" dirty="0"/>
            </a:p>
          </p:txBody>
        </p:sp>
        <p:sp>
          <p:nvSpPr>
            <p:cNvPr id="1145" name="Freeform: Shape 1144">
              <a:extLst>
                <a:ext uri="{FF2B5EF4-FFF2-40B4-BE49-F238E27FC236}">
                  <a16:creationId xmlns:a16="http://schemas.microsoft.com/office/drawing/2014/main" id="{21FACE24-F19B-699B-5377-23BA3031F0BB}"/>
                </a:ext>
              </a:extLst>
            </p:cNvPr>
            <p:cNvSpPr/>
            <p:nvPr/>
          </p:nvSpPr>
          <p:spPr>
            <a:xfrm>
              <a:off x="5062141" y="449526"/>
              <a:ext cx="3176" cy="4023"/>
            </a:xfrm>
            <a:custGeom>
              <a:avLst/>
              <a:gdLst>
                <a:gd name="connsiteX0" fmla="*/ 1048 w 1428"/>
                <a:gd name="connsiteY0" fmla="*/ 1715 h 1809"/>
                <a:gd name="connsiteX1" fmla="*/ 1429 w 1428"/>
                <a:gd name="connsiteY1" fmla="*/ 0 h 1809"/>
                <a:gd name="connsiteX2" fmla="*/ 0 w 1428"/>
                <a:gd name="connsiteY2" fmla="*/ 381 h 1809"/>
                <a:gd name="connsiteX3" fmla="*/ 1048 w 1428"/>
                <a:gd name="connsiteY3" fmla="*/ 1810 h 1809"/>
              </a:gdLst>
              <a:ahLst/>
              <a:cxnLst>
                <a:cxn ang="0">
                  <a:pos x="connsiteX0" y="connsiteY0"/>
                </a:cxn>
                <a:cxn ang="0">
                  <a:pos x="connsiteX1" y="connsiteY1"/>
                </a:cxn>
                <a:cxn ang="0">
                  <a:pos x="connsiteX2" y="connsiteY2"/>
                </a:cxn>
                <a:cxn ang="0">
                  <a:pos x="connsiteX3" y="connsiteY3"/>
                </a:cxn>
              </a:cxnLst>
              <a:rect l="l" t="t" r="r" b="b"/>
              <a:pathLst>
                <a:path w="1428" h="1809">
                  <a:moveTo>
                    <a:pt x="1048" y="1715"/>
                  </a:moveTo>
                  <a:cubicBezTo>
                    <a:pt x="1048" y="1143"/>
                    <a:pt x="1238" y="572"/>
                    <a:pt x="1429" y="0"/>
                  </a:cubicBezTo>
                  <a:cubicBezTo>
                    <a:pt x="953" y="95"/>
                    <a:pt x="476" y="286"/>
                    <a:pt x="0" y="381"/>
                  </a:cubicBezTo>
                  <a:cubicBezTo>
                    <a:pt x="381" y="857"/>
                    <a:pt x="762" y="1334"/>
                    <a:pt x="1048" y="1810"/>
                  </a:cubicBezTo>
                  <a:close/>
                </a:path>
              </a:pathLst>
            </a:custGeom>
            <a:grpFill/>
            <a:ln w="9525" cap="flat">
              <a:noFill/>
              <a:prstDash val="solid"/>
              <a:miter/>
            </a:ln>
          </p:spPr>
          <p:txBody>
            <a:bodyPr rtlCol="0" anchor="ctr"/>
            <a:lstStyle/>
            <a:p>
              <a:endParaRPr lang="en-US" dirty="0"/>
            </a:p>
          </p:txBody>
        </p:sp>
        <p:sp>
          <p:nvSpPr>
            <p:cNvPr id="1146" name="Freeform: Shape 1145">
              <a:extLst>
                <a:ext uri="{FF2B5EF4-FFF2-40B4-BE49-F238E27FC236}">
                  <a16:creationId xmlns:a16="http://schemas.microsoft.com/office/drawing/2014/main" id="{54D7B7BF-861C-8495-1234-0A00F4FF03F1}"/>
                </a:ext>
              </a:extLst>
            </p:cNvPr>
            <p:cNvSpPr/>
            <p:nvPr/>
          </p:nvSpPr>
          <p:spPr>
            <a:xfrm>
              <a:off x="5142423" y="371149"/>
              <a:ext cx="7623" cy="19488"/>
            </a:xfrm>
            <a:custGeom>
              <a:avLst/>
              <a:gdLst>
                <a:gd name="connsiteX0" fmla="*/ 3429 w 3428"/>
                <a:gd name="connsiteY0" fmla="*/ 0 h 8763"/>
                <a:gd name="connsiteX1" fmla="*/ 1810 w 3428"/>
                <a:gd name="connsiteY1" fmla="*/ 5620 h 8763"/>
                <a:gd name="connsiteX2" fmla="*/ 0 w 3428"/>
                <a:gd name="connsiteY2" fmla="*/ 8763 h 8763"/>
                <a:gd name="connsiteX3" fmla="*/ 1333 w 3428"/>
                <a:gd name="connsiteY3" fmla="*/ 8572 h 8763"/>
                <a:gd name="connsiteX4" fmla="*/ 2096 w 3428"/>
                <a:gd name="connsiteY4" fmla="*/ 6763 h 8763"/>
                <a:gd name="connsiteX5" fmla="*/ 3143 w 3428"/>
                <a:gd name="connsiteY5" fmla="*/ 2381 h 8763"/>
                <a:gd name="connsiteX6" fmla="*/ 3429 w 3428"/>
                <a:gd name="connsiteY6" fmla="*/ 0 h 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8" h="8763">
                  <a:moveTo>
                    <a:pt x="3429" y="0"/>
                  </a:moveTo>
                  <a:cubicBezTo>
                    <a:pt x="3048" y="1905"/>
                    <a:pt x="2477" y="3810"/>
                    <a:pt x="1810" y="5620"/>
                  </a:cubicBezTo>
                  <a:cubicBezTo>
                    <a:pt x="1333" y="6763"/>
                    <a:pt x="762" y="7810"/>
                    <a:pt x="0" y="8763"/>
                  </a:cubicBezTo>
                  <a:cubicBezTo>
                    <a:pt x="476" y="8763"/>
                    <a:pt x="857" y="8668"/>
                    <a:pt x="1333" y="8572"/>
                  </a:cubicBezTo>
                  <a:cubicBezTo>
                    <a:pt x="1619" y="8001"/>
                    <a:pt x="1905" y="7429"/>
                    <a:pt x="2096" y="6763"/>
                  </a:cubicBezTo>
                  <a:cubicBezTo>
                    <a:pt x="2667" y="5334"/>
                    <a:pt x="3048" y="3905"/>
                    <a:pt x="3143" y="2381"/>
                  </a:cubicBezTo>
                  <a:cubicBezTo>
                    <a:pt x="3143" y="1619"/>
                    <a:pt x="3334" y="762"/>
                    <a:pt x="3429" y="0"/>
                  </a:cubicBezTo>
                  <a:close/>
                </a:path>
              </a:pathLst>
            </a:custGeom>
            <a:grpFill/>
            <a:ln w="9525" cap="flat">
              <a:noFill/>
              <a:prstDash val="solid"/>
              <a:miter/>
            </a:ln>
          </p:spPr>
          <p:txBody>
            <a:bodyPr rtlCol="0" anchor="ctr"/>
            <a:lstStyle/>
            <a:p>
              <a:endParaRPr lang="en-US" dirty="0"/>
            </a:p>
          </p:txBody>
        </p:sp>
        <p:sp>
          <p:nvSpPr>
            <p:cNvPr id="1147" name="Freeform: Shape 1146">
              <a:extLst>
                <a:ext uri="{FF2B5EF4-FFF2-40B4-BE49-F238E27FC236}">
                  <a16:creationId xmlns:a16="http://schemas.microsoft.com/office/drawing/2014/main" id="{330AAC32-324A-5FBC-F95F-6917408DD99C}"/>
                </a:ext>
              </a:extLst>
            </p:cNvPr>
            <p:cNvSpPr/>
            <p:nvPr/>
          </p:nvSpPr>
          <p:spPr>
            <a:xfrm>
              <a:off x="4892767" y="200390"/>
              <a:ext cx="538719" cy="444938"/>
            </a:xfrm>
            <a:custGeom>
              <a:avLst/>
              <a:gdLst>
                <a:gd name="connsiteX0" fmla="*/ 227132 w 242242"/>
                <a:gd name="connsiteY0" fmla="*/ 123171 h 200072"/>
                <a:gd name="connsiteX1" fmla="*/ 227799 w 242242"/>
                <a:gd name="connsiteY1" fmla="*/ 123076 h 200072"/>
                <a:gd name="connsiteX2" fmla="*/ 228657 w 242242"/>
                <a:gd name="connsiteY2" fmla="*/ 122980 h 200072"/>
                <a:gd name="connsiteX3" fmla="*/ 230466 w 242242"/>
                <a:gd name="connsiteY3" fmla="*/ 122504 h 200072"/>
                <a:gd name="connsiteX4" fmla="*/ 233609 w 242242"/>
                <a:gd name="connsiteY4" fmla="*/ 120504 h 200072"/>
                <a:gd name="connsiteX5" fmla="*/ 234752 w 242242"/>
                <a:gd name="connsiteY5" fmla="*/ 118789 h 200072"/>
                <a:gd name="connsiteX6" fmla="*/ 240372 w 242242"/>
                <a:gd name="connsiteY6" fmla="*/ 116980 h 200072"/>
                <a:gd name="connsiteX7" fmla="*/ 242182 w 242242"/>
                <a:gd name="connsiteY7" fmla="*/ 112789 h 200072"/>
                <a:gd name="connsiteX8" fmla="*/ 238658 w 242242"/>
                <a:gd name="connsiteY8" fmla="*/ 110884 h 200072"/>
                <a:gd name="connsiteX9" fmla="*/ 237134 w 242242"/>
                <a:gd name="connsiteY9" fmla="*/ 114408 h 200072"/>
                <a:gd name="connsiteX10" fmla="*/ 238753 w 242242"/>
                <a:gd name="connsiteY10" fmla="*/ 112408 h 200072"/>
                <a:gd name="connsiteX11" fmla="*/ 237896 w 242242"/>
                <a:gd name="connsiteY11" fmla="*/ 114884 h 200072"/>
                <a:gd name="connsiteX12" fmla="*/ 234943 w 242242"/>
                <a:gd name="connsiteY12" fmla="*/ 115456 h 200072"/>
                <a:gd name="connsiteX13" fmla="*/ 232276 w 242242"/>
                <a:gd name="connsiteY13" fmla="*/ 111836 h 200072"/>
                <a:gd name="connsiteX14" fmla="*/ 232276 w 242242"/>
                <a:gd name="connsiteY14" fmla="*/ 109550 h 200072"/>
                <a:gd name="connsiteX15" fmla="*/ 233609 w 242242"/>
                <a:gd name="connsiteY15" fmla="*/ 110503 h 200072"/>
                <a:gd name="connsiteX16" fmla="*/ 232752 w 242242"/>
                <a:gd name="connsiteY16" fmla="*/ 108788 h 200072"/>
                <a:gd name="connsiteX17" fmla="*/ 233038 w 242242"/>
                <a:gd name="connsiteY17" fmla="*/ 106788 h 200072"/>
                <a:gd name="connsiteX18" fmla="*/ 231895 w 242242"/>
                <a:gd name="connsiteY18" fmla="*/ 107550 h 200072"/>
                <a:gd name="connsiteX19" fmla="*/ 229514 w 242242"/>
                <a:gd name="connsiteY19" fmla="*/ 102883 h 200072"/>
                <a:gd name="connsiteX20" fmla="*/ 228752 w 242242"/>
                <a:gd name="connsiteY20" fmla="*/ 101359 h 200072"/>
                <a:gd name="connsiteX21" fmla="*/ 228466 w 242242"/>
                <a:gd name="connsiteY21" fmla="*/ 100692 h 200072"/>
                <a:gd name="connsiteX22" fmla="*/ 229323 w 242242"/>
                <a:gd name="connsiteY22" fmla="*/ 100216 h 200072"/>
                <a:gd name="connsiteX23" fmla="*/ 230371 w 242242"/>
                <a:gd name="connsiteY23" fmla="*/ 99358 h 200072"/>
                <a:gd name="connsiteX24" fmla="*/ 231609 w 242242"/>
                <a:gd name="connsiteY24" fmla="*/ 96977 h 200072"/>
                <a:gd name="connsiteX25" fmla="*/ 231609 w 242242"/>
                <a:gd name="connsiteY25" fmla="*/ 95358 h 200072"/>
                <a:gd name="connsiteX26" fmla="*/ 231419 w 242242"/>
                <a:gd name="connsiteY26" fmla="*/ 94501 h 200072"/>
                <a:gd name="connsiteX27" fmla="*/ 231514 w 242242"/>
                <a:gd name="connsiteY27" fmla="*/ 94120 h 200072"/>
                <a:gd name="connsiteX28" fmla="*/ 234657 w 242242"/>
                <a:gd name="connsiteY28" fmla="*/ 96120 h 200072"/>
                <a:gd name="connsiteX29" fmla="*/ 235800 w 242242"/>
                <a:gd name="connsiteY29" fmla="*/ 100311 h 200072"/>
                <a:gd name="connsiteX30" fmla="*/ 231514 w 242242"/>
                <a:gd name="connsiteY30" fmla="*/ 101073 h 200072"/>
                <a:gd name="connsiteX31" fmla="*/ 234276 w 242242"/>
                <a:gd name="connsiteY31" fmla="*/ 102692 h 200072"/>
                <a:gd name="connsiteX32" fmla="*/ 238182 w 242242"/>
                <a:gd name="connsiteY32" fmla="*/ 99930 h 200072"/>
                <a:gd name="connsiteX33" fmla="*/ 236943 w 242242"/>
                <a:gd name="connsiteY33" fmla="*/ 93167 h 200072"/>
                <a:gd name="connsiteX34" fmla="*/ 233133 w 242242"/>
                <a:gd name="connsiteY34" fmla="*/ 90881 h 200072"/>
                <a:gd name="connsiteX35" fmla="*/ 230181 w 242242"/>
                <a:gd name="connsiteY35" fmla="*/ 91167 h 200072"/>
                <a:gd name="connsiteX36" fmla="*/ 229514 w 242242"/>
                <a:gd name="connsiteY36" fmla="*/ 90595 h 200072"/>
                <a:gd name="connsiteX37" fmla="*/ 228561 w 242242"/>
                <a:gd name="connsiteY37" fmla="*/ 89262 h 200072"/>
                <a:gd name="connsiteX38" fmla="*/ 233514 w 242242"/>
                <a:gd name="connsiteY38" fmla="*/ 88119 h 200072"/>
                <a:gd name="connsiteX39" fmla="*/ 231990 w 242242"/>
                <a:gd name="connsiteY39" fmla="*/ 83071 h 200072"/>
                <a:gd name="connsiteX40" fmla="*/ 228942 w 242242"/>
                <a:gd name="connsiteY40" fmla="*/ 83642 h 200072"/>
                <a:gd name="connsiteX41" fmla="*/ 230847 w 242242"/>
                <a:gd name="connsiteY41" fmla="*/ 84690 h 200072"/>
                <a:gd name="connsiteX42" fmla="*/ 229228 w 242242"/>
                <a:gd name="connsiteY42" fmla="*/ 86976 h 200072"/>
                <a:gd name="connsiteX43" fmla="*/ 226370 w 242242"/>
                <a:gd name="connsiteY43" fmla="*/ 85547 h 200072"/>
                <a:gd name="connsiteX44" fmla="*/ 225513 w 242242"/>
                <a:gd name="connsiteY44" fmla="*/ 83737 h 200072"/>
                <a:gd name="connsiteX45" fmla="*/ 224751 w 242242"/>
                <a:gd name="connsiteY45" fmla="*/ 81642 h 200072"/>
                <a:gd name="connsiteX46" fmla="*/ 222656 w 242242"/>
                <a:gd name="connsiteY46" fmla="*/ 80785 h 200072"/>
                <a:gd name="connsiteX47" fmla="*/ 226942 w 242242"/>
                <a:gd name="connsiteY47" fmla="*/ 79356 h 200072"/>
                <a:gd name="connsiteX48" fmla="*/ 228371 w 242242"/>
                <a:gd name="connsiteY48" fmla="*/ 78594 h 200072"/>
                <a:gd name="connsiteX49" fmla="*/ 231800 w 242242"/>
                <a:gd name="connsiteY49" fmla="*/ 73069 h 200072"/>
                <a:gd name="connsiteX50" fmla="*/ 230276 w 242242"/>
                <a:gd name="connsiteY50" fmla="*/ 67735 h 200072"/>
                <a:gd name="connsiteX51" fmla="*/ 225132 w 242242"/>
                <a:gd name="connsiteY51" fmla="*/ 67926 h 200072"/>
                <a:gd name="connsiteX52" fmla="*/ 223989 w 242242"/>
                <a:gd name="connsiteY52" fmla="*/ 71355 h 200072"/>
                <a:gd name="connsiteX53" fmla="*/ 226561 w 242242"/>
                <a:gd name="connsiteY53" fmla="*/ 74117 h 200072"/>
                <a:gd name="connsiteX54" fmla="*/ 225894 w 242242"/>
                <a:gd name="connsiteY54" fmla="*/ 70498 h 200072"/>
                <a:gd name="connsiteX55" fmla="*/ 227704 w 242242"/>
                <a:gd name="connsiteY55" fmla="*/ 69831 h 200072"/>
                <a:gd name="connsiteX56" fmla="*/ 228847 w 242242"/>
                <a:gd name="connsiteY56" fmla="*/ 71164 h 200072"/>
                <a:gd name="connsiteX57" fmla="*/ 227418 w 242242"/>
                <a:gd name="connsiteY57" fmla="*/ 75641 h 200072"/>
                <a:gd name="connsiteX58" fmla="*/ 224370 w 242242"/>
                <a:gd name="connsiteY58" fmla="*/ 78022 h 200072"/>
                <a:gd name="connsiteX59" fmla="*/ 221798 w 242242"/>
                <a:gd name="connsiteY59" fmla="*/ 79642 h 200072"/>
                <a:gd name="connsiteX60" fmla="*/ 223418 w 242242"/>
                <a:gd name="connsiteY60" fmla="*/ 72593 h 200072"/>
                <a:gd name="connsiteX61" fmla="*/ 220370 w 242242"/>
                <a:gd name="connsiteY61" fmla="*/ 69926 h 200072"/>
                <a:gd name="connsiteX62" fmla="*/ 215988 w 242242"/>
                <a:gd name="connsiteY62" fmla="*/ 68402 h 200072"/>
                <a:gd name="connsiteX63" fmla="*/ 210464 w 242242"/>
                <a:gd name="connsiteY63" fmla="*/ 67354 h 200072"/>
                <a:gd name="connsiteX64" fmla="*/ 213035 w 242242"/>
                <a:gd name="connsiteY64" fmla="*/ 63449 h 200072"/>
                <a:gd name="connsiteX65" fmla="*/ 219417 w 242242"/>
                <a:gd name="connsiteY65" fmla="*/ 68021 h 200072"/>
                <a:gd name="connsiteX66" fmla="*/ 226656 w 242242"/>
                <a:gd name="connsiteY66" fmla="*/ 63640 h 200072"/>
                <a:gd name="connsiteX67" fmla="*/ 223418 w 242242"/>
                <a:gd name="connsiteY67" fmla="*/ 59544 h 200072"/>
                <a:gd name="connsiteX68" fmla="*/ 224847 w 242242"/>
                <a:gd name="connsiteY68" fmla="*/ 61544 h 200072"/>
                <a:gd name="connsiteX69" fmla="*/ 223703 w 242242"/>
                <a:gd name="connsiteY69" fmla="*/ 64687 h 200072"/>
                <a:gd name="connsiteX70" fmla="*/ 218560 w 242242"/>
                <a:gd name="connsiteY70" fmla="*/ 65545 h 200072"/>
                <a:gd name="connsiteX71" fmla="*/ 216179 w 242242"/>
                <a:gd name="connsiteY71" fmla="*/ 62973 h 200072"/>
                <a:gd name="connsiteX72" fmla="*/ 218560 w 242242"/>
                <a:gd name="connsiteY72" fmla="*/ 62020 h 200072"/>
                <a:gd name="connsiteX73" fmla="*/ 220084 w 242242"/>
                <a:gd name="connsiteY73" fmla="*/ 58210 h 200072"/>
                <a:gd name="connsiteX74" fmla="*/ 218655 w 242242"/>
                <a:gd name="connsiteY74" fmla="*/ 55067 h 200072"/>
                <a:gd name="connsiteX75" fmla="*/ 214845 w 242242"/>
                <a:gd name="connsiteY75" fmla="*/ 53924 h 200072"/>
                <a:gd name="connsiteX76" fmla="*/ 213798 w 242242"/>
                <a:gd name="connsiteY76" fmla="*/ 54210 h 200072"/>
                <a:gd name="connsiteX77" fmla="*/ 213131 w 242242"/>
                <a:gd name="connsiteY77" fmla="*/ 54210 h 200072"/>
                <a:gd name="connsiteX78" fmla="*/ 211607 w 242242"/>
                <a:gd name="connsiteY78" fmla="*/ 53638 h 200072"/>
                <a:gd name="connsiteX79" fmla="*/ 213416 w 242242"/>
                <a:gd name="connsiteY79" fmla="*/ 53162 h 200072"/>
                <a:gd name="connsiteX80" fmla="*/ 205320 w 242242"/>
                <a:gd name="connsiteY80" fmla="*/ 50114 h 200072"/>
                <a:gd name="connsiteX81" fmla="*/ 202463 w 242242"/>
                <a:gd name="connsiteY81" fmla="*/ 47923 h 200072"/>
                <a:gd name="connsiteX82" fmla="*/ 201224 w 242242"/>
                <a:gd name="connsiteY82" fmla="*/ 44399 h 200072"/>
                <a:gd name="connsiteX83" fmla="*/ 201224 w 242242"/>
                <a:gd name="connsiteY83" fmla="*/ 42494 h 200072"/>
                <a:gd name="connsiteX84" fmla="*/ 202367 w 242242"/>
                <a:gd name="connsiteY84" fmla="*/ 41351 h 200072"/>
                <a:gd name="connsiteX85" fmla="*/ 205892 w 242242"/>
                <a:gd name="connsiteY85" fmla="*/ 39827 h 200072"/>
                <a:gd name="connsiteX86" fmla="*/ 208368 w 242242"/>
                <a:gd name="connsiteY86" fmla="*/ 41732 h 200072"/>
                <a:gd name="connsiteX87" fmla="*/ 210178 w 242242"/>
                <a:gd name="connsiteY87" fmla="*/ 45352 h 200072"/>
                <a:gd name="connsiteX88" fmla="*/ 208178 w 242242"/>
                <a:gd name="connsiteY88" fmla="*/ 47733 h 200072"/>
                <a:gd name="connsiteX89" fmla="*/ 203987 w 242242"/>
                <a:gd name="connsiteY89" fmla="*/ 48590 h 200072"/>
                <a:gd name="connsiteX90" fmla="*/ 209225 w 242242"/>
                <a:gd name="connsiteY90" fmla="*/ 48495 h 200072"/>
                <a:gd name="connsiteX91" fmla="*/ 212655 w 242242"/>
                <a:gd name="connsiteY91" fmla="*/ 44399 h 200072"/>
                <a:gd name="connsiteX92" fmla="*/ 210845 w 242242"/>
                <a:gd name="connsiteY92" fmla="*/ 38875 h 200072"/>
                <a:gd name="connsiteX93" fmla="*/ 206273 w 242242"/>
                <a:gd name="connsiteY93" fmla="*/ 36874 h 200072"/>
                <a:gd name="connsiteX94" fmla="*/ 200463 w 242242"/>
                <a:gd name="connsiteY94" fmla="*/ 38779 h 200072"/>
                <a:gd name="connsiteX95" fmla="*/ 196748 w 242242"/>
                <a:gd name="connsiteY95" fmla="*/ 34874 h 200072"/>
                <a:gd name="connsiteX96" fmla="*/ 201415 w 242242"/>
                <a:gd name="connsiteY96" fmla="*/ 33064 h 200072"/>
                <a:gd name="connsiteX97" fmla="*/ 202463 w 242242"/>
                <a:gd name="connsiteY97" fmla="*/ 29445 h 200072"/>
                <a:gd name="connsiteX98" fmla="*/ 198272 w 242242"/>
                <a:gd name="connsiteY98" fmla="*/ 26397 h 200072"/>
                <a:gd name="connsiteX99" fmla="*/ 195605 w 242242"/>
                <a:gd name="connsiteY99" fmla="*/ 26397 h 200072"/>
                <a:gd name="connsiteX100" fmla="*/ 193795 w 242242"/>
                <a:gd name="connsiteY100" fmla="*/ 28302 h 200072"/>
                <a:gd name="connsiteX101" fmla="*/ 194652 w 242242"/>
                <a:gd name="connsiteY101" fmla="*/ 30016 h 200072"/>
                <a:gd name="connsiteX102" fmla="*/ 196557 w 242242"/>
                <a:gd name="connsiteY102" fmla="*/ 27349 h 200072"/>
                <a:gd name="connsiteX103" fmla="*/ 199319 w 242242"/>
                <a:gd name="connsiteY103" fmla="*/ 29826 h 200072"/>
                <a:gd name="connsiteX104" fmla="*/ 197033 w 242242"/>
                <a:gd name="connsiteY104" fmla="*/ 31540 h 200072"/>
                <a:gd name="connsiteX105" fmla="*/ 191699 w 242242"/>
                <a:gd name="connsiteY105" fmla="*/ 31255 h 200072"/>
                <a:gd name="connsiteX106" fmla="*/ 185508 w 242242"/>
                <a:gd name="connsiteY106" fmla="*/ 31540 h 200072"/>
                <a:gd name="connsiteX107" fmla="*/ 185318 w 242242"/>
                <a:gd name="connsiteY107" fmla="*/ 26587 h 200072"/>
                <a:gd name="connsiteX108" fmla="*/ 185603 w 242242"/>
                <a:gd name="connsiteY108" fmla="*/ 22682 h 200072"/>
                <a:gd name="connsiteX109" fmla="*/ 186842 w 242242"/>
                <a:gd name="connsiteY109" fmla="*/ 21444 h 200072"/>
                <a:gd name="connsiteX110" fmla="*/ 188651 w 242242"/>
                <a:gd name="connsiteY110" fmla="*/ 21825 h 200072"/>
                <a:gd name="connsiteX111" fmla="*/ 190557 w 242242"/>
                <a:gd name="connsiteY111" fmla="*/ 27445 h 200072"/>
                <a:gd name="connsiteX112" fmla="*/ 191318 w 242242"/>
                <a:gd name="connsiteY112" fmla="*/ 23539 h 200072"/>
                <a:gd name="connsiteX113" fmla="*/ 188366 w 242242"/>
                <a:gd name="connsiteY113" fmla="*/ 19729 h 200072"/>
                <a:gd name="connsiteX114" fmla="*/ 183794 w 242242"/>
                <a:gd name="connsiteY114" fmla="*/ 20682 h 200072"/>
                <a:gd name="connsiteX115" fmla="*/ 181984 w 242242"/>
                <a:gd name="connsiteY115" fmla="*/ 24397 h 200072"/>
                <a:gd name="connsiteX116" fmla="*/ 178079 w 242242"/>
                <a:gd name="connsiteY116" fmla="*/ 20396 h 200072"/>
                <a:gd name="connsiteX117" fmla="*/ 177602 w 242242"/>
                <a:gd name="connsiteY117" fmla="*/ 20396 h 200072"/>
                <a:gd name="connsiteX118" fmla="*/ 178745 w 242242"/>
                <a:gd name="connsiteY118" fmla="*/ 18110 h 200072"/>
                <a:gd name="connsiteX119" fmla="*/ 177507 w 242242"/>
                <a:gd name="connsiteY119" fmla="*/ 14872 h 200072"/>
                <a:gd name="connsiteX120" fmla="*/ 175316 w 242242"/>
                <a:gd name="connsiteY120" fmla="*/ 14681 h 200072"/>
                <a:gd name="connsiteX121" fmla="*/ 175602 w 242242"/>
                <a:gd name="connsiteY121" fmla="*/ 15634 h 200072"/>
                <a:gd name="connsiteX122" fmla="*/ 176650 w 242242"/>
                <a:gd name="connsiteY122" fmla="*/ 17729 h 200072"/>
                <a:gd name="connsiteX123" fmla="*/ 172840 w 242242"/>
                <a:gd name="connsiteY123" fmla="*/ 18015 h 200072"/>
                <a:gd name="connsiteX124" fmla="*/ 171507 w 242242"/>
                <a:gd name="connsiteY124" fmla="*/ 13062 h 200072"/>
                <a:gd name="connsiteX125" fmla="*/ 170078 w 242242"/>
                <a:gd name="connsiteY125" fmla="*/ 11157 h 200072"/>
                <a:gd name="connsiteX126" fmla="*/ 165791 w 242242"/>
                <a:gd name="connsiteY126" fmla="*/ 9252 h 200072"/>
                <a:gd name="connsiteX127" fmla="*/ 159981 w 242242"/>
                <a:gd name="connsiteY127" fmla="*/ 10490 h 200072"/>
                <a:gd name="connsiteX128" fmla="*/ 157505 w 242242"/>
                <a:gd name="connsiteY128" fmla="*/ 12205 h 200072"/>
                <a:gd name="connsiteX129" fmla="*/ 156648 w 242242"/>
                <a:gd name="connsiteY129" fmla="*/ 14395 h 200072"/>
                <a:gd name="connsiteX130" fmla="*/ 156076 w 242242"/>
                <a:gd name="connsiteY130" fmla="*/ 13824 h 200072"/>
                <a:gd name="connsiteX131" fmla="*/ 155123 w 242242"/>
                <a:gd name="connsiteY131" fmla="*/ 12490 h 200072"/>
                <a:gd name="connsiteX132" fmla="*/ 155314 w 242242"/>
                <a:gd name="connsiteY132" fmla="*/ 10109 h 200072"/>
                <a:gd name="connsiteX133" fmla="*/ 160648 w 242242"/>
                <a:gd name="connsiteY133" fmla="*/ 10109 h 200072"/>
                <a:gd name="connsiteX134" fmla="*/ 153504 w 242242"/>
                <a:gd name="connsiteY134" fmla="*/ 9061 h 200072"/>
                <a:gd name="connsiteX135" fmla="*/ 151504 w 242242"/>
                <a:gd name="connsiteY135" fmla="*/ 6871 h 200072"/>
                <a:gd name="connsiteX136" fmla="*/ 148551 w 242242"/>
                <a:gd name="connsiteY136" fmla="*/ 5632 h 200072"/>
                <a:gd name="connsiteX137" fmla="*/ 144074 w 242242"/>
                <a:gd name="connsiteY137" fmla="*/ 394 h 200072"/>
                <a:gd name="connsiteX138" fmla="*/ 139407 w 242242"/>
                <a:gd name="connsiteY138" fmla="*/ 394 h 200072"/>
                <a:gd name="connsiteX139" fmla="*/ 137502 w 242242"/>
                <a:gd name="connsiteY139" fmla="*/ 4394 h 200072"/>
                <a:gd name="connsiteX140" fmla="*/ 141026 w 242242"/>
                <a:gd name="connsiteY140" fmla="*/ 6490 h 200072"/>
                <a:gd name="connsiteX141" fmla="*/ 139217 w 242242"/>
                <a:gd name="connsiteY141" fmla="*/ 3442 h 200072"/>
                <a:gd name="connsiteX142" fmla="*/ 139598 w 242242"/>
                <a:gd name="connsiteY142" fmla="*/ 2299 h 200072"/>
                <a:gd name="connsiteX143" fmla="*/ 142741 w 242242"/>
                <a:gd name="connsiteY143" fmla="*/ 2584 h 200072"/>
                <a:gd name="connsiteX144" fmla="*/ 144360 w 242242"/>
                <a:gd name="connsiteY144" fmla="*/ 5442 h 200072"/>
                <a:gd name="connsiteX145" fmla="*/ 144170 w 242242"/>
                <a:gd name="connsiteY145" fmla="*/ 6966 h 200072"/>
                <a:gd name="connsiteX146" fmla="*/ 143313 w 242242"/>
                <a:gd name="connsiteY146" fmla="*/ 8204 h 200072"/>
                <a:gd name="connsiteX147" fmla="*/ 139979 w 242242"/>
                <a:gd name="connsiteY147" fmla="*/ 11633 h 200072"/>
                <a:gd name="connsiteX148" fmla="*/ 138645 w 242242"/>
                <a:gd name="connsiteY148" fmla="*/ 8014 h 200072"/>
                <a:gd name="connsiteX149" fmla="*/ 136550 w 242242"/>
                <a:gd name="connsiteY149" fmla="*/ 5156 h 200072"/>
                <a:gd name="connsiteX150" fmla="*/ 130454 w 242242"/>
                <a:gd name="connsiteY150" fmla="*/ 2489 h 200072"/>
                <a:gd name="connsiteX151" fmla="*/ 124167 w 242242"/>
                <a:gd name="connsiteY151" fmla="*/ 4394 h 200072"/>
                <a:gd name="connsiteX152" fmla="*/ 121691 w 242242"/>
                <a:gd name="connsiteY152" fmla="*/ 6966 h 200072"/>
                <a:gd name="connsiteX153" fmla="*/ 119690 w 242242"/>
                <a:gd name="connsiteY153" fmla="*/ 9442 h 200072"/>
                <a:gd name="connsiteX154" fmla="*/ 116738 w 242242"/>
                <a:gd name="connsiteY154" fmla="*/ 9252 h 200072"/>
                <a:gd name="connsiteX155" fmla="*/ 115785 w 242242"/>
                <a:gd name="connsiteY155" fmla="*/ 7918 h 200072"/>
                <a:gd name="connsiteX156" fmla="*/ 116166 w 242242"/>
                <a:gd name="connsiteY156" fmla="*/ 5061 h 200072"/>
                <a:gd name="connsiteX157" fmla="*/ 119119 w 242242"/>
                <a:gd name="connsiteY157" fmla="*/ 3537 h 200072"/>
                <a:gd name="connsiteX158" fmla="*/ 114928 w 242242"/>
                <a:gd name="connsiteY158" fmla="*/ 5061 h 200072"/>
                <a:gd name="connsiteX159" fmla="*/ 113880 w 242242"/>
                <a:gd name="connsiteY159" fmla="*/ 7537 h 200072"/>
                <a:gd name="connsiteX160" fmla="*/ 114357 w 242242"/>
                <a:gd name="connsiteY160" fmla="*/ 9633 h 200072"/>
                <a:gd name="connsiteX161" fmla="*/ 107498 w 242242"/>
                <a:gd name="connsiteY161" fmla="*/ 9442 h 200072"/>
                <a:gd name="connsiteX162" fmla="*/ 106356 w 242242"/>
                <a:gd name="connsiteY162" fmla="*/ 4204 h 200072"/>
                <a:gd name="connsiteX163" fmla="*/ 102831 w 242242"/>
                <a:gd name="connsiteY163" fmla="*/ 2108 h 200072"/>
                <a:gd name="connsiteX164" fmla="*/ 98164 w 242242"/>
                <a:gd name="connsiteY164" fmla="*/ 8490 h 200072"/>
                <a:gd name="connsiteX165" fmla="*/ 99021 w 242242"/>
                <a:gd name="connsiteY165" fmla="*/ 14586 h 200072"/>
                <a:gd name="connsiteX166" fmla="*/ 88258 w 242242"/>
                <a:gd name="connsiteY166" fmla="*/ 14014 h 200072"/>
                <a:gd name="connsiteX167" fmla="*/ 87115 w 242242"/>
                <a:gd name="connsiteY167" fmla="*/ 14681 h 200072"/>
                <a:gd name="connsiteX168" fmla="*/ 87115 w 242242"/>
                <a:gd name="connsiteY168" fmla="*/ 14967 h 200072"/>
                <a:gd name="connsiteX169" fmla="*/ 87115 w 242242"/>
                <a:gd name="connsiteY169" fmla="*/ 14681 h 200072"/>
                <a:gd name="connsiteX170" fmla="*/ 85877 w 242242"/>
                <a:gd name="connsiteY170" fmla="*/ 15443 h 200072"/>
                <a:gd name="connsiteX171" fmla="*/ 81972 w 242242"/>
                <a:gd name="connsiteY171" fmla="*/ 14395 h 200072"/>
                <a:gd name="connsiteX172" fmla="*/ 83781 w 242242"/>
                <a:gd name="connsiteY172" fmla="*/ 12586 h 200072"/>
                <a:gd name="connsiteX173" fmla="*/ 87115 w 242242"/>
                <a:gd name="connsiteY173" fmla="*/ 14681 h 200072"/>
                <a:gd name="connsiteX174" fmla="*/ 87115 w 242242"/>
                <a:gd name="connsiteY174" fmla="*/ 14681 h 200072"/>
                <a:gd name="connsiteX175" fmla="*/ 86829 w 242242"/>
                <a:gd name="connsiteY175" fmla="*/ 13348 h 200072"/>
                <a:gd name="connsiteX176" fmla="*/ 84257 w 242242"/>
                <a:gd name="connsiteY176" fmla="*/ 11443 h 200072"/>
                <a:gd name="connsiteX177" fmla="*/ 81114 w 242242"/>
                <a:gd name="connsiteY177" fmla="*/ 12014 h 200072"/>
                <a:gd name="connsiteX178" fmla="*/ 79876 w 242242"/>
                <a:gd name="connsiteY178" fmla="*/ 13633 h 200072"/>
                <a:gd name="connsiteX179" fmla="*/ 79971 w 242242"/>
                <a:gd name="connsiteY179" fmla="*/ 15919 h 200072"/>
                <a:gd name="connsiteX180" fmla="*/ 80924 w 242242"/>
                <a:gd name="connsiteY180" fmla="*/ 18015 h 200072"/>
                <a:gd name="connsiteX181" fmla="*/ 78066 w 242242"/>
                <a:gd name="connsiteY181" fmla="*/ 21349 h 200072"/>
                <a:gd name="connsiteX182" fmla="*/ 77114 w 242242"/>
                <a:gd name="connsiteY182" fmla="*/ 24301 h 200072"/>
                <a:gd name="connsiteX183" fmla="*/ 74828 w 242242"/>
                <a:gd name="connsiteY183" fmla="*/ 25444 h 200072"/>
                <a:gd name="connsiteX184" fmla="*/ 71303 w 242242"/>
                <a:gd name="connsiteY184" fmla="*/ 25349 h 200072"/>
                <a:gd name="connsiteX185" fmla="*/ 69017 w 242242"/>
                <a:gd name="connsiteY185" fmla="*/ 24111 h 200072"/>
                <a:gd name="connsiteX186" fmla="*/ 69017 w 242242"/>
                <a:gd name="connsiteY186" fmla="*/ 22587 h 200072"/>
                <a:gd name="connsiteX187" fmla="*/ 70827 w 242242"/>
                <a:gd name="connsiteY187" fmla="*/ 20491 h 200072"/>
                <a:gd name="connsiteX188" fmla="*/ 74351 w 242242"/>
                <a:gd name="connsiteY188" fmla="*/ 24492 h 200072"/>
                <a:gd name="connsiteX189" fmla="*/ 72065 w 242242"/>
                <a:gd name="connsiteY189" fmla="*/ 19348 h 200072"/>
                <a:gd name="connsiteX190" fmla="*/ 67113 w 242242"/>
                <a:gd name="connsiteY190" fmla="*/ 21920 h 200072"/>
                <a:gd name="connsiteX191" fmla="*/ 67303 w 242242"/>
                <a:gd name="connsiteY191" fmla="*/ 27730 h 200072"/>
                <a:gd name="connsiteX192" fmla="*/ 70446 w 242242"/>
                <a:gd name="connsiteY192" fmla="*/ 28492 h 200072"/>
                <a:gd name="connsiteX193" fmla="*/ 72732 w 242242"/>
                <a:gd name="connsiteY193" fmla="*/ 28683 h 200072"/>
                <a:gd name="connsiteX194" fmla="*/ 79019 w 242242"/>
                <a:gd name="connsiteY194" fmla="*/ 26873 h 200072"/>
                <a:gd name="connsiteX195" fmla="*/ 78828 w 242242"/>
                <a:gd name="connsiteY195" fmla="*/ 31159 h 200072"/>
                <a:gd name="connsiteX196" fmla="*/ 71113 w 242242"/>
                <a:gd name="connsiteY196" fmla="*/ 28683 h 200072"/>
                <a:gd name="connsiteX197" fmla="*/ 67303 w 242242"/>
                <a:gd name="connsiteY197" fmla="*/ 27826 h 200072"/>
                <a:gd name="connsiteX198" fmla="*/ 61683 w 242242"/>
                <a:gd name="connsiteY198" fmla="*/ 27254 h 200072"/>
                <a:gd name="connsiteX199" fmla="*/ 57207 w 242242"/>
                <a:gd name="connsiteY199" fmla="*/ 28016 h 200072"/>
                <a:gd name="connsiteX200" fmla="*/ 59397 w 242242"/>
                <a:gd name="connsiteY200" fmla="*/ 24492 h 200072"/>
                <a:gd name="connsiteX201" fmla="*/ 54920 w 242242"/>
                <a:gd name="connsiteY201" fmla="*/ 22396 h 200072"/>
                <a:gd name="connsiteX202" fmla="*/ 53111 w 242242"/>
                <a:gd name="connsiteY202" fmla="*/ 23920 h 200072"/>
                <a:gd name="connsiteX203" fmla="*/ 53397 w 242242"/>
                <a:gd name="connsiteY203" fmla="*/ 24682 h 200072"/>
                <a:gd name="connsiteX204" fmla="*/ 53587 w 242242"/>
                <a:gd name="connsiteY204" fmla="*/ 24682 h 200072"/>
                <a:gd name="connsiteX205" fmla="*/ 54158 w 242242"/>
                <a:gd name="connsiteY205" fmla="*/ 24111 h 200072"/>
                <a:gd name="connsiteX206" fmla="*/ 55968 w 242242"/>
                <a:gd name="connsiteY206" fmla="*/ 24397 h 200072"/>
                <a:gd name="connsiteX207" fmla="*/ 56825 w 242242"/>
                <a:gd name="connsiteY207" fmla="*/ 25444 h 200072"/>
                <a:gd name="connsiteX208" fmla="*/ 55587 w 242242"/>
                <a:gd name="connsiteY208" fmla="*/ 24873 h 200072"/>
                <a:gd name="connsiteX209" fmla="*/ 52539 w 242242"/>
                <a:gd name="connsiteY209" fmla="*/ 26778 h 200072"/>
                <a:gd name="connsiteX210" fmla="*/ 49682 w 242242"/>
                <a:gd name="connsiteY210" fmla="*/ 28969 h 200072"/>
                <a:gd name="connsiteX211" fmla="*/ 45491 w 242242"/>
                <a:gd name="connsiteY211" fmla="*/ 23444 h 200072"/>
                <a:gd name="connsiteX212" fmla="*/ 39395 w 242242"/>
                <a:gd name="connsiteY212" fmla="*/ 26016 h 200072"/>
                <a:gd name="connsiteX213" fmla="*/ 39966 w 242242"/>
                <a:gd name="connsiteY213" fmla="*/ 30397 h 200072"/>
                <a:gd name="connsiteX214" fmla="*/ 43776 w 242242"/>
                <a:gd name="connsiteY214" fmla="*/ 32493 h 200072"/>
                <a:gd name="connsiteX215" fmla="*/ 41681 w 242242"/>
                <a:gd name="connsiteY215" fmla="*/ 27064 h 200072"/>
                <a:gd name="connsiteX216" fmla="*/ 44633 w 242242"/>
                <a:gd name="connsiteY216" fmla="*/ 26587 h 200072"/>
                <a:gd name="connsiteX217" fmla="*/ 46919 w 242242"/>
                <a:gd name="connsiteY217" fmla="*/ 30493 h 200072"/>
                <a:gd name="connsiteX218" fmla="*/ 46348 w 242242"/>
                <a:gd name="connsiteY218" fmla="*/ 36112 h 200072"/>
                <a:gd name="connsiteX219" fmla="*/ 40442 w 242242"/>
                <a:gd name="connsiteY219" fmla="*/ 32779 h 200072"/>
                <a:gd name="connsiteX220" fmla="*/ 34537 w 242242"/>
                <a:gd name="connsiteY220" fmla="*/ 35160 h 200072"/>
                <a:gd name="connsiteX221" fmla="*/ 33584 w 242242"/>
                <a:gd name="connsiteY221" fmla="*/ 36779 h 200072"/>
                <a:gd name="connsiteX222" fmla="*/ 32632 w 242242"/>
                <a:gd name="connsiteY222" fmla="*/ 38303 h 200072"/>
                <a:gd name="connsiteX223" fmla="*/ 29965 w 242242"/>
                <a:gd name="connsiteY223" fmla="*/ 40208 h 200072"/>
                <a:gd name="connsiteX224" fmla="*/ 26536 w 242242"/>
                <a:gd name="connsiteY224" fmla="*/ 38684 h 200072"/>
                <a:gd name="connsiteX225" fmla="*/ 27774 w 242242"/>
                <a:gd name="connsiteY225" fmla="*/ 36303 h 200072"/>
                <a:gd name="connsiteX226" fmla="*/ 31108 w 242242"/>
                <a:gd name="connsiteY226" fmla="*/ 37732 h 200072"/>
                <a:gd name="connsiteX227" fmla="*/ 27489 w 242242"/>
                <a:gd name="connsiteY227" fmla="*/ 35065 h 200072"/>
                <a:gd name="connsiteX228" fmla="*/ 24250 w 242242"/>
                <a:gd name="connsiteY228" fmla="*/ 38684 h 200072"/>
                <a:gd name="connsiteX229" fmla="*/ 26917 w 242242"/>
                <a:gd name="connsiteY229" fmla="*/ 42970 h 200072"/>
                <a:gd name="connsiteX230" fmla="*/ 35204 w 242242"/>
                <a:gd name="connsiteY230" fmla="*/ 40208 h 200072"/>
                <a:gd name="connsiteX231" fmla="*/ 34537 w 242242"/>
                <a:gd name="connsiteY231" fmla="*/ 46399 h 200072"/>
                <a:gd name="connsiteX232" fmla="*/ 35299 w 242242"/>
                <a:gd name="connsiteY232" fmla="*/ 52972 h 200072"/>
                <a:gd name="connsiteX233" fmla="*/ 29584 w 242242"/>
                <a:gd name="connsiteY233" fmla="*/ 53734 h 200072"/>
                <a:gd name="connsiteX234" fmla="*/ 32441 w 242242"/>
                <a:gd name="connsiteY234" fmla="*/ 50209 h 200072"/>
                <a:gd name="connsiteX235" fmla="*/ 31108 w 242242"/>
                <a:gd name="connsiteY235" fmla="*/ 46876 h 200072"/>
                <a:gd name="connsiteX236" fmla="*/ 27869 w 242242"/>
                <a:gd name="connsiteY236" fmla="*/ 47257 h 200072"/>
                <a:gd name="connsiteX237" fmla="*/ 28155 w 242242"/>
                <a:gd name="connsiteY237" fmla="*/ 47923 h 200072"/>
                <a:gd name="connsiteX238" fmla="*/ 28536 w 242242"/>
                <a:gd name="connsiteY238" fmla="*/ 49257 h 200072"/>
                <a:gd name="connsiteX239" fmla="*/ 27489 w 242242"/>
                <a:gd name="connsiteY239" fmla="*/ 49733 h 200072"/>
                <a:gd name="connsiteX240" fmla="*/ 25774 w 242242"/>
                <a:gd name="connsiteY240" fmla="*/ 49257 h 200072"/>
                <a:gd name="connsiteX241" fmla="*/ 21583 w 242242"/>
                <a:gd name="connsiteY241" fmla="*/ 49733 h 200072"/>
                <a:gd name="connsiteX242" fmla="*/ 18725 w 242242"/>
                <a:gd name="connsiteY242" fmla="*/ 52591 h 200072"/>
                <a:gd name="connsiteX243" fmla="*/ 18440 w 242242"/>
                <a:gd name="connsiteY243" fmla="*/ 54972 h 200072"/>
                <a:gd name="connsiteX244" fmla="*/ 18535 w 242242"/>
                <a:gd name="connsiteY244" fmla="*/ 55924 h 200072"/>
                <a:gd name="connsiteX245" fmla="*/ 18535 w 242242"/>
                <a:gd name="connsiteY245" fmla="*/ 57925 h 200072"/>
                <a:gd name="connsiteX246" fmla="*/ 13106 w 242242"/>
                <a:gd name="connsiteY246" fmla="*/ 56972 h 200072"/>
                <a:gd name="connsiteX247" fmla="*/ 10248 w 242242"/>
                <a:gd name="connsiteY247" fmla="*/ 61354 h 200072"/>
                <a:gd name="connsiteX248" fmla="*/ 11963 w 242242"/>
                <a:gd name="connsiteY248" fmla="*/ 67354 h 200072"/>
                <a:gd name="connsiteX249" fmla="*/ 17582 w 242242"/>
                <a:gd name="connsiteY249" fmla="*/ 67354 h 200072"/>
                <a:gd name="connsiteX250" fmla="*/ 21583 w 242242"/>
                <a:gd name="connsiteY250" fmla="*/ 66211 h 200072"/>
                <a:gd name="connsiteX251" fmla="*/ 23678 w 242242"/>
                <a:gd name="connsiteY251" fmla="*/ 65545 h 200072"/>
                <a:gd name="connsiteX252" fmla="*/ 24726 w 242242"/>
                <a:gd name="connsiteY252" fmla="*/ 65259 h 200072"/>
                <a:gd name="connsiteX253" fmla="*/ 25583 w 242242"/>
                <a:gd name="connsiteY253" fmla="*/ 65259 h 200072"/>
                <a:gd name="connsiteX254" fmla="*/ 17773 w 242242"/>
                <a:gd name="connsiteY254" fmla="*/ 68021 h 200072"/>
                <a:gd name="connsiteX255" fmla="*/ 13106 w 242242"/>
                <a:gd name="connsiteY255" fmla="*/ 74117 h 200072"/>
                <a:gd name="connsiteX256" fmla="*/ 15106 w 242242"/>
                <a:gd name="connsiteY256" fmla="*/ 78022 h 200072"/>
                <a:gd name="connsiteX257" fmla="*/ 11391 w 242242"/>
                <a:gd name="connsiteY257" fmla="*/ 82213 h 200072"/>
                <a:gd name="connsiteX258" fmla="*/ 11867 w 242242"/>
                <a:gd name="connsiteY258" fmla="*/ 79070 h 200072"/>
                <a:gd name="connsiteX259" fmla="*/ 8629 w 242242"/>
                <a:gd name="connsiteY259" fmla="*/ 77832 h 200072"/>
                <a:gd name="connsiteX260" fmla="*/ 5962 w 242242"/>
                <a:gd name="connsiteY260" fmla="*/ 79451 h 200072"/>
                <a:gd name="connsiteX261" fmla="*/ 5867 w 242242"/>
                <a:gd name="connsiteY261" fmla="*/ 82594 h 200072"/>
                <a:gd name="connsiteX262" fmla="*/ 9677 w 242242"/>
                <a:gd name="connsiteY262" fmla="*/ 81166 h 200072"/>
                <a:gd name="connsiteX263" fmla="*/ 5009 w 242242"/>
                <a:gd name="connsiteY263" fmla="*/ 84595 h 200072"/>
                <a:gd name="connsiteX264" fmla="*/ 3771 w 242242"/>
                <a:gd name="connsiteY264" fmla="*/ 89357 h 200072"/>
                <a:gd name="connsiteX265" fmla="*/ 5486 w 242242"/>
                <a:gd name="connsiteY265" fmla="*/ 92786 h 200072"/>
                <a:gd name="connsiteX266" fmla="*/ 2247 w 242242"/>
                <a:gd name="connsiteY266" fmla="*/ 96215 h 200072"/>
                <a:gd name="connsiteX267" fmla="*/ 3390 w 242242"/>
                <a:gd name="connsiteY267" fmla="*/ 99549 h 200072"/>
                <a:gd name="connsiteX268" fmla="*/ 5676 w 242242"/>
                <a:gd name="connsiteY268" fmla="*/ 101073 h 200072"/>
                <a:gd name="connsiteX269" fmla="*/ 9963 w 242242"/>
                <a:gd name="connsiteY269" fmla="*/ 99263 h 200072"/>
                <a:gd name="connsiteX270" fmla="*/ 6152 w 242242"/>
                <a:gd name="connsiteY270" fmla="*/ 101644 h 200072"/>
                <a:gd name="connsiteX271" fmla="*/ 2723 w 242242"/>
                <a:gd name="connsiteY271" fmla="*/ 105073 h 200072"/>
                <a:gd name="connsiteX272" fmla="*/ 1104 w 242242"/>
                <a:gd name="connsiteY272" fmla="*/ 113741 h 200072"/>
                <a:gd name="connsiteX273" fmla="*/ 3771 w 242242"/>
                <a:gd name="connsiteY273" fmla="*/ 117361 h 200072"/>
                <a:gd name="connsiteX274" fmla="*/ 6057 w 242242"/>
                <a:gd name="connsiteY274" fmla="*/ 118408 h 200072"/>
                <a:gd name="connsiteX275" fmla="*/ 8343 w 242242"/>
                <a:gd name="connsiteY275" fmla="*/ 118789 h 200072"/>
                <a:gd name="connsiteX276" fmla="*/ 9486 w 242242"/>
                <a:gd name="connsiteY276" fmla="*/ 120218 h 200072"/>
                <a:gd name="connsiteX277" fmla="*/ 8439 w 242242"/>
                <a:gd name="connsiteY277" fmla="*/ 124219 h 200072"/>
                <a:gd name="connsiteX278" fmla="*/ 6533 w 242242"/>
                <a:gd name="connsiteY278" fmla="*/ 125647 h 200072"/>
                <a:gd name="connsiteX279" fmla="*/ 4152 w 242242"/>
                <a:gd name="connsiteY279" fmla="*/ 126505 h 200072"/>
                <a:gd name="connsiteX280" fmla="*/ 1771 w 242242"/>
                <a:gd name="connsiteY280" fmla="*/ 125838 h 200072"/>
                <a:gd name="connsiteX281" fmla="*/ 1199 w 242242"/>
                <a:gd name="connsiteY281" fmla="*/ 123838 h 200072"/>
                <a:gd name="connsiteX282" fmla="*/ 3390 w 242242"/>
                <a:gd name="connsiteY282" fmla="*/ 122504 h 200072"/>
                <a:gd name="connsiteX283" fmla="*/ 6248 w 242242"/>
                <a:gd name="connsiteY283" fmla="*/ 123647 h 200072"/>
                <a:gd name="connsiteX284" fmla="*/ 2723 w 242242"/>
                <a:gd name="connsiteY284" fmla="*/ 121837 h 200072"/>
                <a:gd name="connsiteX285" fmla="*/ 56 w 242242"/>
                <a:gd name="connsiteY285" fmla="*/ 124123 h 200072"/>
                <a:gd name="connsiteX286" fmla="*/ 1009 w 242242"/>
                <a:gd name="connsiteY286" fmla="*/ 127648 h 200072"/>
                <a:gd name="connsiteX287" fmla="*/ 4914 w 242242"/>
                <a:gd name="connsiteY287" fmla="*/ 128695 h 200072"/>
                <a:gd name="connsiteX288" fmla="*/ 9200 w 242242"/>
                <a:gd name="connsiteY288" fmla="*/ 126790 h 200072"/>
                <a:gd name="connsiteX289" fmla="*/ 8629 w 242242"/>
                <a:gd name="connsiteY289" fmla="*/ 137077 h 200072"/>
                <a:gd name="connsiteX290" fmla="*/ 6629 w 242242"/>
                <a:gd name="connsiteY290" fmla="*/ 144507 h 200072"/>
                <a:gd name="connsiteX291" fmla="*/ 12915 w 242242"/>
                <a:gd name="connsiteY291" fmla="*/ 147460 h 200072"/>
                <a:gd name="connsiteX292" fmla="*/ 14344 w 242242"/>
                <a:gd name="connsiteY292" fmla="*/ 146031 h 200072"/>
                <a:gd name="connsiteX293" fmla="*/ 14344 w 242242"/>
                <a:gd name="connsiteY293" fmla="*/ 145078 h 200072"/>
                <a:gd name="connsiteX294" fmla="*/ 14058 w 242242"/>
                <a:gd name="connsiteY294" fmla="*/ 144888 h 200072"/>
                <a:gd name="connsiteX295" fmla="*/ 13010 w 242242"/>
                <a:gd name="connsiteY295" fmla="*/ 145459 h 200072"/>
                <a:gd name="connsiteX296" fmla="*/ 12058 w 242242"/>
                <a:gd name="connsiteY296" fmla="*/ 145555 h 200072"/>
                <a:gd name="connsiteX297" fmla="*/ 10629 w 242242"/>
                <a:gd name="connsiteY297" fmla="*/ 144793 h 200072"/>
                <a:gd name="connsiteX298" fmla="*/ 10248 w 242242"/>
                <a:gd name="connsiteY298" fmla="*/ 139459 h 200072"/>
                <a:gd name="connsiteX299" fmla="*/ 13010 w 242242"/>
                <a:gd name="connsiteY299" fmla="*/ 137839 h 200072"/>
                <a:gd name="connsiteX300" fmla="*/ 14915 w 242242"/>
                <a:gd name="connsiteY300" fmla="*/ 137268 h 200072"/>
                <a:gd name="connsiteX301" fmla="*/ 16916 w 242242"/>
                <a:gd name="connsiteY301" fmla="*/ 137268 h 200072"/>
                <a:gd name="connsiteX302" fmla="*/ 19202 w 242242"/>
                <a:gd name="connsiteY302" fmla="*/ 137077 h 200072"/>
                <a:gd name="connsiteX303" fmla="*/ 20440 w 242242"/>
                <a:gd name="connsiteY303" fmla="*/ 136982 h 200072"/>
                <a:gd name="connsiteX304" fmla="*/ 21678 w 242242"/>
                <a:gd name="connsiteY304" fmla="*/ 137077 h 200072"/>
                <a:gd name="connsiteX305" fmla="*/ 17773 w 242242"/>
                <a:gd name="connsiteY305" fmla="*/ 143554 h 200072"/>
                <a:gd name="connsiteX306" fmla="*/ 18154 w 242242"/>
                <a:gd name="connsiteY306" fmla="*/ 147650 h 200072"/>
                <a:gd name="connsiteX307" fmla="*/ 19202 w 242242"/>
                <a:gd name="connsiteY307" fmla="*/ 149555 h 200072"/>
                <a:gd name="connsiteX308" fmla="*/ 19868 w 242242"/>
                <a:gd name="connsiteY308" fmla="*/ 150412 h 200072"/>
                <a:gd name="connsiteX309" fmla="*/ 20059 w 242242"/>
                <a:gd name="connsiteY309" fmla="*/ 151174 h 200072"/>
                <a:gd name="connsiteX310" fmla="*/ 20631 w 242242"/>
                <a:gd name="connsiteY310" fmla="*/ 158032 h 200072"/>
                <a:gd name="connsiteX311" fmla="*/ 21583 w 242242"/>
                <a:gd name="connsiteY311" fmla="*/ 159937 h 200072"/>
                <a:gd name="connsiteX312" fmla="*/ 21964 w 242242"/>
                <a:gd name="connsiteY312" fmla="*/ 160414 h 200072"/>
                <a:gd name="connsiteX313" fmla="*/ 21392 w 242242"/>
                <a:gd name="connsiteY313" fmla="*/ 160795 h 200072"/>
                <a:gd name="connsiteX314" fmla="*/ 17868 w 242242"/>
                <a:gd name="connsiteY314" fmla="*/ 160128 h 200072"/>
                <a:gd name="connsiteX315" fmla="*/ 16154 w 242242"/>
                <a:gd name="connsiteY315" fmla="*/ 157461 h 200072"/>
                <a:gd name="connsiteX316" fmla="*/ 19583 w 242242"/>
                <a:gd name="connsiteY316" fmla="*/ 155937 h 200072"/>
                <a:gd name="connsiteX317" fmla="*/ 17964 w 242242"/>
                <a:gd name="connsiteY317" fmla="*/ 155175 h 200072"/>
                <a:gd name="connsiteX318" fmla="*/ 14820 w 242242"/>
                <a:gd name="connsiteY318" fmla="*/ 158413 h 200072"/>
                <a:gd name="connsiteX319" fmla="*/ 18440 w 242242"/>
                <a:gd name="connsiteY319" fmla="*/ 162890 h 200072"/>
                <a:gd name="connsiteX320" fmla="*/ 21583 w 242242"/>
                <a:gd name="connsiteY320" fmla="*/ 163462 h 200072"/>
                <a:gd name="connsiteX321" fmla="*/ 23202 w 242242"/>
                <a:gd name="connsiteY321" fmla="*/ 162890 h 200072"/>
                <a:gd name="connsiteX322" fmla="*/ 23869 w 242242"/>
                <a:gd name="connsiteY322" fmla="*/ 162414 h 200072"/>
                <a:gd name="connsiteX323" fmla="*/ 24440 w 242242"/>
                <a:gd name="connsiteY323" fmla="*/ 162128 h 200072"/>
                <a:gd name="connsiteX324" fmla="*/ 26536 w 242242"/>
                <a:gd name="connsiteY324" fmla="*/ 162604 h 200072"/>
                <a:gd name="connsiteX325" fmla="*/ 28631 w 242242"/>
                <a:gd name="connsiteY325" fmla="*/ 162604 h 200072"/>
                <a:gd name="connsiteX326" fmla="*/ 32918 w 242242"/>
                <a:gd name="connsiteY326" fmla="*/ 161842 h 200072"/>
                <a:gd name="connsiteX327" fmla="*/ 31108 w 242242"/>
                <a:gd name="connsiteY327" fmla="*/ 165462 h 200072"/>
                <a:gd name="connsiteX328" fmla="*/ 27393 w 242242"/>
                <a:gd name="connsiteY328" fmla="*/ 163747 h 200072"/>
                <a:gd name="connsiteX329" fmla="*/ 23964 w 242242"/>
                <a:gd name="connsiteY329" fmla="*/ 166605 h 200072"/>
                <a:gd name="connsiteX330" fmla="*/ 28727 w 242242"/>
                <a:gd name="connsiteY330" fmla="*/ 173177 h 200072"/>
                <a:gd name="connsiteX331" fmla="*/ 33203 w 242242"/>
                <a:gd name="connsiteY331" fmla="*/ 169748 h 200072"/>
                <a:gd name="connsiteX332" fmla="*/ 35680 w 242242"/>
                <a:gd name="connsiteY332" fmla="*/ 175844 h 200072"/>
                <a:gd name="connsiteX333" fmla="*/ 32727 w 242242"/>
                <a:gd name="connsiteY333" fmla="*/ 180226 h 200072"/>
                <a:gd name="connsiteX334" fmla="*/ 33680 w 242242"/>
                <a:gd name="connsiteY334" fmla="*/ 185369 h 200072"/>
                <a:gd name="connsiteX335" fmla="*/ 38823 w 242242"/>
                <a:gd name="connsiteY335" fmla="*/ 185369 h 200072"/>
                <a:gd name="connsiteX336" fmla="*/ 39776 w 242242"/>
                <a:gd name="connsiteY336" fmla="*/ 182131 h 200072"/>
                <a:gd name="connsiteX337" fmla="*/ 37394 w 242242"/>
                <a:gd name="connsiteY337" fmla="*/ 183750 h 200072"/>
                <a:gd name="connsiteX338" fmla="*/ 36061 w 242242"/>
                <a:gd name="connsiteY338" fmla="*/ 183559 h 200072"/>
                <a:gd name="connsiteX339" fmla="*/ 35966 w 242242"/>
                <a:gd name="connsiteY339" fmla="*/ 182226 h 200072"/>
                <a:gd name="connsiteX340" fmla="*/ 37966 w 242242"/>
                <a:gd name="connsiteY340" fmla="*/ 178321 h 200072"/>
                <a:gd name="connsiteX341" fmla="*/ 41585 w 242242"/>
                <a:gd name="connsiteY341" fmla="*/ 177940 h 200072"/>
                <a:gd name="connsiteX342" fmla="*/ 45300 w 242242"/>
                <a:gd name="connsiteY342" fmla="*/ 176892 h 200072"/>
                <a:gd name="connsiteX343" fmla="*/ 46157 w 242242"/>
                <a:gd name="connsiteY343" fmla="*/ 188798 h 200072"/>
                <a:gd name="connsiteX344" fmla="*/ 51682 w 242242"/>
                <a:gd name="connsiteY344" fmla="*/ 190894 h 200072"/>
                <a:gd name="connsiteX345" fmla="*/ 54063 w 242242"/>
                <a:gd name="connsiteY345" fmla="*/ 192227 h 200072"/>
                <a:gd name="connsiteX346" fmla="*/ 54063 w 242242"/>
                <a:gd name="connsiteY346" fmla="*/ 196609 h 200072"/>
                <a:gd name="connsiteX347" fmla="*/ 51491 w 242242"/>
                <a:gd name="connsiteY347" fmla="*/ 197942 h 200072"/>
                <a:gd name="connsiteX348" fmla="*/ 48634 w 242242"/>
                <a:gd name="connsiteY348" fmla="*/ 196609 h 200072"/>
                <a:gd name="connsiteX349" fmla="*/ 53015 w 242242"/>
                <a:gd name="connsiteY349" fmla="*/ 198895 h 200072"/>
                <a:gd name="connsiteX350" fmla="*/ 56635 w 242242"/>
                <a:gd name="connsiteY350" fmla="*/ 193751 h 200072"/>
                <a:gd name="connsiteX351" fmla="*/ 56254 w 242242"/>
                <a:gd name="connsiteY351" fmla="*/ 190703 h 200072"/>
                <a:gd name="connsiteX352" fmla="*/ 60255 w 242242"/>
                <a:gd name="connsiteY352" fmla="*/ 190513 h 200072"/>
                <a:gd name="connsiteX353" fmla="*/ 62255 w 242242"/>
                <a:gd name="connsiteY353" fmla="*/ 198418 h 200072"/>
                <a:gd name="connsiteX354" fmla="*/ 63779 w 242242"/>
                <a:gd name="connsiteY354" fmla="*/ 199276 h 200072"/>
                <a:gd name="connsiteX355" fmla="*/ 62636 w 242242"/>
                <a:gd name="connsiteY355" fmla="*/ 195847 h 200072"/>
                <a:gd name="connsiteX356" fmla="*/ 59588 w 242242"/>
                <a:gd name="connsiteY356" fmla="*/ 181083 h 200072"/>
                <a:gd name="connsiteX357" fmla="*/ 58064 w 242242"/>
                <a:gd name="connsiteY357" fmla="*/ 170891 h 200072"/>
                <a:gd name="connsiteX358" fmla="*/ 61398 w 242242"/>
                <a:gd name="connsiteY358" fmla="*/ 160699 h 200072"/>
                <a:gd name="connsiteX359" fmla="*/ 62350 w 242242"/>
                <a:gd name="connsiteY359" fmla="*/ 161938 h 200072"/>
                <a:gd name="connsiteX360" fmla="*/ 66255 w 242242"/>
                <a:gd name="connsiteY360" fmla="*/ 165176 h 200072"/>
                <a:gd name="connsiteX361" fmla="*/ 67017 w 242242"/>
                <a:gd name="connsiteY361" fmla="*/ 165652 h 200072"/>
                <a:gd name="connsiteX362" fmla="*/ 67017 w 242242"/>
                <a:gd name="connsiteY362" fmla="*/ 165652 h 200072"/>
                <a:gd name="connsiteX363" fmla="*/ 68446 w 242242"/>
                <a:gd name="connsiteY363" fmla="*/ 166224 h 200072"/>
                <a:gd name="connsiteX364" fmla="*/ 69208 w 242242"/>
                <a:gd name="connsiteY364" fmla="*/ 166414 h 200072"/>
                <a:gd name="connsiteX365" fmla="*/ 69589 w 242242"/>
                <a:gd name="connsiteY365" fmla="*/ 166414 h 200072"/>
                <a:gd name="connsiteX366" fmla="*/ 69780 w 242242"/>
                <a:gd name="connsiteY366" fmla="*/ 166795 h 200072"/>
                <a:gd name="connsiteX367" fmla="*/ 72351 w 242242"/>
                <a:gd name="connsiteY367" fmla="*/ 169939 h 200072"/>
                <a:gd name="connsiteX368" fmla="*/ 77114 w 242242"/>
                <a:gd name="connsiteY368" fmla="*/ 170034 h 200072"/>
                <a:gd name="connsiteX369" fmla="*/ 78542 w 242242"/>
                <a:gd name="connsiteY369" fmla="*/ 168605 h 200072"/>
                <a:gd name="connsiteX370" fmla="*/ 78733 w 242242"/>
                <a:gd name="connsiteY370" fmla="*/ 167653 h 200072"/>
                <a:gd name="connsiteX371" fmla="*/ 78542 w 242242"/>
                <a:gd name="connsiteY371" fmla="*/ 167081 h 200072"/>
                <a:gd name="connsiteX372" fmla="*/ 76447 w 242242"/>
                <a:gd name="connsiteY372" fmla="*/ 168510 h 200072"/>
                <a:gd name="connsiteX373" fmla="*/ 73399 w 242242"/>
                <a:gd name="connsiteY373" fmla="*/ 167462 h 200072"/>
                <a:gd name="connsiteX374" fmla="*/ 72732 w 242242"/>
                <a:gd name="connsiteY374" fmla="*/ 166700 h 200072"/>
                <a:gd name="connsiteX375" fmla="*/ 72827 w 242242"/>
                <a:gd name="connsiteY375" fmla="*/ 166414 h 200072"/>
                <a:gd name="connsiteX376" fmla="*/ 73208 w 242242"/>
                <a:gd name="connsiteY376" fmla="*/ 166414 h 200072"/>
                <a:gd name="connsiteX377" fmla="*/ 73970 w 242242"/>
                <a:gd name="connsiteY377" fmla="*/ 166224 h 200072"/>
                <a:gd name="connsiteX378" fmla="*/ 76066 w 242242"/>
                <a:gd name="connsiteY378" fmla="*/ 165271 h 200072"/>
                <a:gd name="connsiteX379" fmla="*/ 77495 w 242242"/>
                <a:gd name="connsiteY379" fmla="*/ 158128 h 200072"/>
                <a:gd name="connsiteX380" fmla="*/ 77114 w 242242"/>
                <a:gd name="connsiteY380" fmla="*/ 156985 h 200072"/>
                <a:gd name="connsiteX381" fmla="*/ 76733 w 242242"/>
                <a:gd name="connsiteY381" fmla="*/ 155746 h 200072"/>
                <a:gd name="connsiteX382" fmla="*/ 75494 w 242242"/>
                <a:gd name="connsiteY382" fmla="*/ 152508 h 200072"/>
                <a:gd name="connsiteX383" fmla="*/ 77495 w 242242"/>
                <a:gd name="connsiteY383" fmla="*/ 152889 h 200072"/>
                <a:gd name="connsiteX384" fmla="*/ 75971 w 242242"/>
                <a:gd name="connsiteY384" fmla="*/ 150508 h 200072"/>
                <a:gd name="connsiteX385" fmla="*/ 77304 w 242242"/>
                <a:gd name="connsiteY385" fmla="*/ 148031 h 200072"/>
                <a:gd name="connsiteX386" fmla="*/ 79114 w 242242"/>
                <a:gd name="connsiteY386" fmla="*/ 145650 h 200072"/>
                <a:gd name="connsiteX387" fmla="*/ 79876 w 242242"/>
                <a:gd name="connsiteY387" fmla="*/ 142316 h 200072"/>
                <a:gd name="connsiteX388" fmla="*/ 79876 w 242242"/>
                <a:gd name="connsiteY388" fmla="*/ 140697 h 200072"/>
                <a:gd name="connsiteX389" fmla="*/ 79495 w 242242"/>
                <a:gd name="connsiteY389" fmla="*/ 138982 h 200072"/>
                <a:gd name="connsiteX390" fmla="*/ 77209 w 242242"/>
                <a:gd name="connsiteY390" fmla="*/ 135363 h 200072"/>
                <a:gd name="connsiteX391" fmla="*/ 74828 w 242242"/>
                <a:gd name="connsiteY391" fmla="*/ 133172 h 200072"/>
                <a:gd name="connsiteX392" fmla="*/ 73399 w 242242"/>
                <a:gd name="connsiteY392" fmla="*/ 132124 h 200072"/>
                <a:gd name="connsiteX393" fmla="*/ 72542 w 242242"/>
                <a:gd name="connsiteY393" fmla="*/ 131553 h 200072"/>
                <a:gd name="connsiteX394" fmla="*/ 72161 w 242242"/>
                <a:gd name="connsiteY394" fmla="*/ 131267 h 200072"/>
                <a:gd name="connsiteX395" fmla="*/ 71970 w 242242"/>
                <a:gd name="connsiteY395" fmla="*/ 130981 h 200072"/>
                <a:gd name="connsiteX396" fmla="*/ 71970 w 242242"/>
                <a:gd name="connsiteY396" fmla="*/ 130886 h 200072"/>
                <a:gd name="connsiteX397" fmla="*/ 72065 w 242242"/>
                <a:gd name="connsiteY397" fmla="*/ 130886 h 200072"/>
                <a:gd name="connsiteX398" fmla="*/ 80733 w 242242"/>
                <a:gd name="connsiteY398" fmla="*/ 125362 h 200072"/>
                <a:gd name="connsiteX399" fmla="*/ 81019 w 242242"/>
                <a:gd name="connsiteY399" fmla="*/ 120980 h 200072"/>
                <a:gd name="connsiteX400" fmla="*/ 85210 w 242242"/>
                <a:gd name="connsiteY400" fmla="*/ 120313 h 200072"/>
                <a:gd name="connsiteX401" fmla="*/ 85972 w 242242"/>
                <a:gd name="connsiteY401" fmla="*/ 118408 h 200072"/>
                <a:gd name="connsiteX402" fmla="*/ 85782 w 242242"/>
                <a:gd name="connsiteY402" fmla="*/ 117551 h 200072"/>
                <a:gd name="connsiteX403" fmla="*/ 85210 w 242242"/>
                <a:gd name="connsiteY403" fmla="*/ 117075 h 200072"/>
                <a:gd name="connsiteX404" fmla="*/ 83591 w 242242"/>
                <a:gd name="connsiteY404" fmla="*/ 119170 h 200072"/>
                <a:gd name="connsiteX405" fmla="*/ 80924 w 242242"/>
                <a:gd name="connsiteY405" fmla="*/ 117361 h 200072"/>
                <a:gd name="connsiteX406" fmla="*/ 80352 w 242242"/>
                <a:gd name="connsiteY406" fmla="*/ 113932 h 200072"/>
                <a:gd name="connsiteX407" fmla="*/ 81686 w 242242"/>
                <a:gd name="connsiteY407" fmla="*/ 111074 h 200072"/>
                <a:gd name="connsiteX408" fmla="*/ 84639 w 242242"/>
                <a:gd name="connsiteY408" fmla="*/ 108979 h 200072"/>
                <a:gd name="connsiteX409" fmla="*/ 86448 w 242242"/>
                <a:gd name="connsiteY409" fmla="*/ 106407 h 200072"/>
                <a:gd name="connsiteX410" fmla="*/ 87306 w 242242"/>
                <a:gd name="connsiteY410" fmla="*/ 104216 h 200072"/>
                <a:gd name="connsiteX411" fmla="*/ 87306 w 242242"/>
                <a:gd name="connsiteY411" fmla="*/ 102597 h 200072"/>
                <a:gd name="connsiteX412" fmla="*/ 84829 w 242242"/>
                <a:gd name="connsiteY412" fmla="*/ 97644 h 200072"/>
                <a:gd name="connsiteX413" fmla="*/ 84067 w 242242"/>
                <a:gd name="connsiteY413" fmla="*/ 96691 h 200072"/>
                <a:gd name="connsiteX414" fmla="*/ 85210 w 242242"/>
                <a:gd name="connsiteY414" fmla="*/ 97263 h 200072"/>
                <a:gd name="connsiteX415" fmla="*/ 88925 w 242242"/>
                <a:gd name="connsiteY415" fmla="*/ 98596 h 200072"/>
                <a:gd name="connsiteX416" fmla="*/ 89210 w 242242"/>
                <a:gd name="connsiteY416" fmla="*/ 102311 h 200072"/>
                <a:gd name="connsiteX417" fmla="*/ 91782 w 242242"/>
                <a:gd name="connsiteY417" fmla="*/ 105169 h 200072"/>
                <a:gd name="connsiteX418" fmla="*/ 94735 w 242242"/>
                <a:gd name="connsiteY418" fmla="*/ 105454 h 200072"/>
                <a:gd name="connsiteX419" fmla="*/ 96640 w 242242"/>
                <a:gd name="connsiteY419" fmla="*/ 102883 h 200072"/>
                <a:gd name="connsiteX420" fmla="*/ 95497 w 242242"/>
                <a:gd name="connsiteY420" fmla="*/ 99454 h 200072"/>
                <a:gd name="connsiteX421" fmla="*/ 95402 w 242242"/>
                <a:gd name="connsiteY421" fmla="*/ 102978 h 200072"/>
                <a:gd name="connsiteX422" fmla="*/ 92735 w 242242"/>
                <a:gd name="connsiteY422" fmla="*/ 102978 h 200072"/>
                <a:gd name="connsiteX423" fmla="*/ 91782 w 242242"/>
                <a:gd name="connsiteY423" fmla="*/ 100501 h 200072"/>
                <a:gd name="connsiteX424" fmla="*/ 112928 w 242242"/>
                <a:gd name="connsiteY424" fmla="*/ 91548 h 200072"/>
                <a:gd name="connsiteX425" fmla="*/ 115023 w 242242"/>
                <a:gd name="connsiteY425" fmla="*/ 94977 h 200072"/>
                <a:gd name="connsiteX426" fmla="*/ 118071 w 242242"/>
                <a:gd name="connsiteY426" fmla="*/ 97644 h 200072"/>
                <a:gd name="connsiteX427" fmla="*/ 119024 w 242242"/>
                <a:gd name="connsiteY427" fmla="*/ 99073 h 200072"/>
                <a:gd name="connsiteX428" fmla="*/ 118452 w 242242"/>
                <a:gd name="connsiteY428" fmla="*/ 100978 h 200072"/>
                <a:gd name="connsiteX429" fmla="*/ 114642 w 242242"/>
                <a:gd name="connsiteY429" fmla="*/ 102597 h 200072"/>
                <a:gd name="connsiteX430" fmla="*/ 110451 w 242242"/>
                <a:gd name="connsiteY430" fmla="*/ 100882 h 200072"/>
                <a:gd name="connsiteX431" fmla="*/ 108165 w 242242"/>
                <a:gd name="connsiteY431" fmla="*/ 97644 h 200072"/>
                <a:gd name="connsiteX432" fmla="*/ 114071 w 242242"/>
                <a:gd name="connsiteY432" fmla="*/ 104597 h 200072"/>
                <a:gd name="connsiteX433" fmla="*/ 121691 w 242242"/>
                <a:gd name="connsiteY433" fmla="*/ 100882 h 200072"/>
                <a:gd name="connsiteX434" fmla="*/ 120548 w 242242"/>
                <a:gd name="connsiteY434" fmla="*/ 95834 h 200072"/>
                <a:gd name="connsiteX435" fmla="*/ 124834 w 242242"/>
                <a:gd name="connsiteY435" fmla="*/ 95548 h 200072"/>
                <a:gd name="connsiteX436" fmla="*/ 124834 w 242242"/>
                <a:gd name="connsiteY436" fmla="*/ 100025 h 200072"/>
                <a:gd name="connsiteX437" fmla="*/ 127882 w 242242"/>
                <a:gd name="connsiteY437" fmla="*/ 102883 h 200072"/>
                <a:gd name="connsiteX438" fmla="*/ 132168 w 242242"/>
                <a:gd name="connsiteY438" fmla="*/ 104692 h 200072"/>
                <a:gd name="connsiteX439" fmla="*/ 135121 w 242242"/>
                <a:gd name="connsiteY439" fmla="*/ 107264 h 200072"/>
                <a:gd name="connsiteX440" fmla="*/ 134264 w 242242"/>
                <a:gd name="connsiteY440" fmla="*/ 111360 h 200072"/>
                <a:gd name="connsiteX441" fmla="*/ 136645 w 242242"/>
                <a:gd name="connsiteY441" fmla="*/ 105931 h 200072"/>
                <a:gd name="connsiteX442" fmla="*/ 132549 w 242242"/>
                <a:gd name="connsiteY442" fmla="*/ 101454 h 200072"/>
                <a:gd name="connsiteX443" fmla="*/ 139122 w 242242"/>
                <a:gd name="connsiteY443" fmla="*/ 101454 h 200072"/>
                <a:gd name="connsiteX444" fmla="*/ 138359 w 242242"/>
                <a:gd name="connsiteY444" fmla="*/ 103264 h 200072"/>
                <a:gd name="connsiteX445" fmla="*/ 137121 w 242242"/>
                <a:gd name="connsiteY445" fmla="*/ 107264 h 200072"/>
                <a:gd name="connsiteX446" fmla="*/ 137026 w 242242"/>
                <a:gd name="connsiteY446" fmla="*/ 111550 h 200072"/>
                <a:gd name="connsiteX447" fmla="*/ 139693 w 242242"/>
                <a:gd name="connsiteY447" fmla="*/ 114217 h 200072"/>
                <a:gd name="connsiteX448" fmla="*/ 146646 w 242242"/>
                <a:gd name="connsiteY448" fmla="*/ 113265 h 200072"/>
                <a:gd name="connsiteX449" fmla="*/ 147980 w 242242"/>
                <a:gd name="connsiteY449" fmla="*/ 112789 h 200072"/>
                <a:gd name="connsiteX450" fmla="*/ 149408 w 242242"/>
                <a:gd name="connsiteY450" fmla="*/ 116122 h 200072"/>
                <a:gd name="connsiteX451" fmla="*/ 152266 w 242242"/>
                <a:gd name="connsiteY451" fmla="*/ 118408 h 200072"/>
                <a:gd name="connsiteX452" fmla="*/ 154076 w 242242"/>
                <a:gd name="connsiteY452" fmla="*/ 120694 h 200072"/>
                <a:gd name="connsiteX453" fmla="*/ 152457 w 242242"/>
                <a:gd name="connsiteY453" fmla="*/ 123838 h 200072"/>
                <a:gd name="connsiteX454" fmla="*/ 149885 w 242242"/>
                <a:gd name="connsiteY454" fmla="*/ 126028 h 200072"/>
                <a:gd name="connsiteX455" fmla="*/ 155505 w 242242"/>
                <a:gd name="connsiteY455" fmla="*/ 123742 h 200072"/>
                <a:gd name="connsiteX456" fmla="*/ 156457 w 242242"/>
                <a:gd name="connsiteY456" fmla="*/ 118218 h 200072"/>
                <a:gd name="connsiteX457" fmla="*/ 165506 w 242242"/>
                <a:gd name="connsiteY457" fmla="*/ 118218 h 200072"/>
                <a:gd name="connsiteX458" fmla="*/ 167315 w 242242"/>
                <a:gd name="connsiteY458" fmla="*/ 117932 h 200072"/>
                <a:gd name="connsiteX459" fmla="*/ 165982 w 242242"/>
                <a:gd name="connsiteY459" fmla="*/ 119075 h 200072"/>
                <a:gd name="connsiteX460" fmla="*/ 163029 w 242242"/>
                <a:gd name="connsiteY460" fmla="*/ 122028 h 200072"/>
                <a:gd name="connsiteX461" fmla="*/ 161505 w 242242"/>
                <a:gd name="connsiteY461" fmla="*/ 129934 h 200072"/>
                <a:gd name="connsiteX462" fmla="*/ 168363 w 242242"/>
                <a:gd name="connsiteY462" fmla="*/ 133648 h 200072"/>
                <a:gd name="connsiteX463" fmla="*/ 168173 w 242242"/>
                <a:gd name="connsiteY463" fmla="*/ 133934 h 200072"/>
                <a:gd name="connsiteX464" fmla="*/ 167601 w 242242"/>
                <a:gd name="connsiteY464" fmla="*/ 134220 h 200072"/>
                <a:gd name="connsiteX465" fmla="*/ 166077 w 242242"/>
                <a:gd name="connsiteY465" fmla="*/ 134982 h 200072"/>
                <a:gd name="connsiteX466" fmla="*/ 163886 w 242242"/>
                <a:gd name="connsiteY466" fmla="*/ 136601 h 200072"/>
                <a:gd name="connsiteX467" fmla="*/ 161982 w 242242"/>
                <a:gd name="connsiteY467" fmla="*/ 141840 h 200072"/>
                <a:gd name="connsiteX468" fmla="*/ 162458 w 242242"/>
                <a:gd name="connsiteY468" fmla="*/ 144697 h 200072"/>
                <a:gd name="connsiteX469" fmla="*/ 162934 w 242242"/>
                <a:gd name="connsiteY469" fmla="*/ 146126 h 200072"/>
                <a:gd name="connsiteX470" fmla="*/ 163315 w 242242"/>
                <a:gd name="connsiteY470" fmla="*/ 146888 h 200072"/>
                <a:gd name="connsiteX471" fmla="*/ 163410 w 242242"/>
                <a:gd name="connsiteY471" fmla="*/ 147364 h 200072"/>
                <a:gd name="connsiteX472" fmla="*/ 165125 w 242242"/>
                <a:gd name="connsiteY472" fmla="*/ 150889 h 200072"/>
                <a:gd name="connsiteX473" fmla="*/ 169792 w 242242"/>
                <a:gd name="connsiteY473" fmla="*/ 154318 h 200072"/>
                <a:gd name="connsiteX474" fmla="*/ 169411 w 242242"/>
                <a:gd name="connsiteY474" fmla="*/ 155270 h 200072"/>
                <a:gd name="connsiteX475" fmla="*/ 168935 w 242242"/>
                <a:gd name="connsiteY475" fmla="*/ 156223 h 200072"/>
                <a:gd name="connsiteX476" fmla="*/ 167982 w 242242"/>
                <a:gd name="connsiteY476" fmla="*/ 156699 h 200072"/>
                <a:gd name="connsiteX477" fmla="*/ 164458 w 242242"/>
                <a:gd name="connsiteY477" fmla="*/ 156508 h 200072"/>
                <a:gd name="connsiteX478" fmla="*/ 168554 w 242242"/>
                <a:gd name="connsiteY478" fmla="*/ 157747 h 200072"/>
                <a:gd name="connsiteX479" fmla="*/ 168649 w 242242"/>
                <a:gd name="connsiteY479" fmla="*/ 164414 h 200072"/>
                <a:gd name="connsiteX480" fmla="*/ 168840 w 242242"/>
                <a:gd name="connsiteY480" fmla="*/ 164795 h 200072"/>
                <a:gd name="connsiteX481" fmla="*/ 168649 w 242242"/>
                <a:gd name="connsiteY481" fmla="*/ 165271 h 200072"/>
                <a:gd name="connsiteX482" fmla="*/ 168173 w 242242"/>
                <a:gd name="connsiteY482" fmla="*/ 166129 h 200072"/>
                <a:gd name="connsiteX483" fmla="*/ 167030 w 242242"/>
                <a:gd name="connsiteY483" fmla="*/ 167272 h 200072"/>
                <a:gd name="connsiteX484" fmla="*/ 165410 w 242242"/>
                <a:gd name="connsiteY484" fmla="*/ 166414 h 200072"/>
                <a:gd name="connsiteX485" fmla="*/ 164458 w 242242"/>
                <a:gd name="connsiteY485" fmla="*/ 164986 h 200072"/>
                <a:gd name="connsiteX486" fmla="*/ 165887 w 242242"/>
                <a:gd name="connsiteY486" fmla="*/ 162033 h 200072"/>
                <a:gd name="connsiteX487" fmla="*/ 163601 w 242242"/>
                <a:gd name="connsiteY487" fmla="*/ 163557 h 200072"/>
                <a:gd name="connsiteX488" fmla="*/ 163315 w 242242"/>
                <a:gd name="connsiteY488" fmla="*/ 166510 h 200072"/>
                <a:gd name="connsiteX489" fmla="*/ 167601 w 242242"/>
                <a:gd name="connsiteY489" fmla="*/ 170224 h 200072"/>
                <a:gd name="connsiteX490" fmla="*/ 170078 w 242242"/>
                <a:gd name="connsiteY490" fmla="*/ 168986 h 200072"/>
                <a:gd name="connsiteX491" fmla="*/ 171030 w 242242"/>
                <a:gd name="connsiteY491" fmla="*/ 167748 h 200072"/>
                <a:gd name="connsiteX492" fmla="*/ 171411 w 242242"/>
                <a:gd name="connsiteY492" fmla="*/ 167081 h 200072"/>
                <a:gd name="connsiteX493" fmla="*/ 171602 w 242242"/>
                <a:gd name="connsiteY493" fmla="*/ 166891 h 200072"/>
                <a:gd name="connsiteX494" fmla="*/ 171983 w 242242"/>
                <a:gd name="connsiteY494" fmla="*/ 166986 h 200072"/>
                <a:gd name="connsiteX495" fmla="*/ 175888 w 242242"/>
                <a:gd name="connsiteY495" fmla="*/ 167272 h 200072"/>
                <a:gd name="connsiteX496" fmla="*/ 177126 w 242242"/>
                <a:gd name="connsiteY496" fmla="*/ 167081 h 200072"/>
                <a:gd name="connsiteX497" fmla="*/ 182556 w 242242"/>
                <a:gd name="connsiteY497" fmla="*/ 165652 h 200072"/>
                <a:gd name="connsiteX498" fmla="*/ 183222 w 242242"/>
                <a:gd name="connsiteY498" fmla="*/ 165367 h 200072"/>
                <a:gd name="connsiteX499" fmla="*/ 177698 w 242242"/>
                <a:gd name="connsiteY499" fmla="*/ 171463 h 200072"/>
                <a:gd name="connsiteX500" fmla="*/ 183413 w 242242"/>
                <a:gd name="connsiteY500" fmla="*/ 174892 h 200072"/>
                <a:gd name="connsiteX501" fmla="*/ 183032 w 242242"/>
                <a:gd name="connsiteY501" fmla="*/ 180035 h 200072"/>
                <a:gd name="connsiteX502" fmla="*/ 182651 w 242242"/>
                <a:gd name="connsiteY502" fmla="*/ 181654 h 200072"/>
                <a:gd name="connsiteX503" fmla="*/ 179698 w 242242"/>
                <a:gd name="connsiteY503" fmla="*/ 195751 h 200072"/>
                <a:gd name="connsiteX504" fmla="*/ 182460 w 242242"/>
                <a:gd name="connsiteY504" fmla="*/ 194418 h 200072"/>
                <a:gd name="connsiteX505" fmla="*/ 186080 w 242242"/>
                <a:gd name="connsiteY505" fmla="*/ 199942 h 200072"/>
                <a:gd name="connsiteX506" fmla="*/ 191033 w 242242"/>
                <a:gd name="connsiteY506" fmla="*/ 197847 h 200072"/>
                <a:gd name="connsiteX507" fmla="*/ 191699 w 242242"/>
                <a:gd name="connsiteY507" fmla="*/ 194894 h 200072"/>
                <a:gd name="connsiteX508" fmla="*/ 188747 w 242242"/>
                <a:gd name="connsiteY508" fmla="*/ 197656 h 200072"/>
                <a:gd name="connsiteX509" fmla="*/ 186556 w 242242"/>
                <a:gd name="connsiteY509" fmla="*/ 192989 h 200072"/>
                <a:gd name="connsiteX510" fmla="*/ 188175 w 242242"/>
                <a:gd name="connsiteY510" fmla="*/ 190608 h 200072"/>
                <a:gd name="connsiteX511" fmla="*/ 191414 w 242242"/>
                <a:gd name="connsiteY511" fmla="*/ 190132 h 200072"/>
                <a:gd name="connsiteX512" fmla="*/ 197415 w 242242"/>
                <a:gd name="connsiteY512" fmla="*/ 190132 h 200072"/>
                <a:gd name="connsiteX513" fmla="*/ 198843 w 242242"/>
                <a:gd name="connsiteY513" fmla="*/ 189084 h 200072"/>
                <a:gd name="connsiteX514" fmla="*/ 199129 w 242242"/>
                <a:gd name="connsiteY514" fmla="*/ 188417 h 200072"/>
                <a:gd name="connsiteX515" fmla="*/ 199319 w 242242"/>
                <a:gd name="connsiteY515" fmla="*/ 187655 h 200072"/>
                <a:gd name="connsiteX516" fmla="*/ 199891 w 242242"/>
                <a:gd name="connsiteY516" fmla="*/ 183940 h 200072"/>
                <a:gd name="connsiteX517" fmla="*/ 203225 w 242242"/>
                <a:gd name="connsiteY517" fmla="*/ 187179 h 200072"/>
                <a:gd name="connsiteX518" fmla="*/ 207701 w 242242"/>
                <a:gd name="connsiteY518" fmla="*/ 187560 h 200072"/>
                <a:gd name="connsiteX519" fmla="*/ 206273 w 242242"/>
                <a:gd name="connsiteY519" fmla="*/ 185369 h 200072"/>
                <a:gd name="connsiteX520" fmla="*/ 204558 w 242242"/>
                <a:gd name="connsiteY520" fmla="*/ 185750 h 200072"/>
                <a:gd name="connsiteX521" fmla="*/ 201891 w 242242"/>
                <a:gd name="connsiteY521" fmla="*/ 179368 h 200072"/>
                <a:gd name="connsiteX522" fmla="*/ 207035 w 242242"/>
                <a:gd name="connsiteY522" fmla="*/ 177559 h 200072"/>
                <a:gd name="connsiteX523" fmla="*/ 209988 w 242242"/>
                <a:gd name="connsiteY523" fmla="*/ 172606 h 200072"/>
                <a:gd name="connsiteX524" fmla="*/ 212655 w 242242"/>
                <a:gd name="connsiteY524" fmla="*/ 175082 h 200072"/>
                <a:gd name="connsiteX525" fmla="*/ 214464 w 242242"/>
                <a:gd name="connsiteY525" fmla="*/ 178702 h 200072"/>
                <a:gd name="connsiteX526" fmla="*/ 213512 w 242242"/>
                <a:gd name="connsiteY526" fmla="*/ 181464 h 200072"/>
                <a:gd name="connsiteX527" fmla="*/ 210273 w 242242"/>
                <a:gd name="connsiteY527" fmla="*/ 181750 h 200072"/>
                <a:gd name="connsiteX528" fmla="*/ 213702 w 242242"/>
                <a:gd name="connsiteY528" fmla="*/ 182512 h 200072"/>
                <a:gd name="connsiteX529" fmla="*/ 217036 w 242242"/>
                <a:gd name="connsiteY529" fmla="*/ 180321 h 200072"/>
                <a:gd name="connsiteX530" fmla="*/ 215798 w 242242"/>
                <a:gd name="connsiteY530" fmla="*/ 174320 h 200072"/>
                <a:gd name="connsiteX531" fmla="*/ 212464 w 242242"/>
                <a:gd name="connsiteY531" fmla="*/ 170796 h 200072"/>
                <a:gd name="connsiteX532" fmla="*/ 210940 w 242242"/>
                <a:gd name="connsiteY532" fmla="*/ 166033 h 200072"/>
                <a:gd name="connsiteX533" fmla="*/ 216845 w 242242"/>
                <a:gd name="connsiteY533" fmla="*/ 166891 h 200072"/>
                <a:gd name="connsiteX534" fmla="*/ 221036 w 242242"/>
                <a:gd name="connsiteY534" fmla="*/ 164509 h 200072"/>
                <a:gd name="connsiteX535" fmla="*/ 224180 w 242242"/>
                <a:gd name="connsiteY535" fmla="*/ 160509 h 200072"/>
                <a:gd name="connsiteX536" fmla="*/ 226085 w 242242"/>
                <a:gd name="connsiteY536" fmla="*/ 159271 h 200072"/>
                <a:gd name="connsiteX537" fmla="*/ 227799 w 242242"/>
                <a:gd name="connsiteY537" fmla="*/ 160890 h 200072"/>
                <a:gd name="connsiteX538" fmla="*/ 225990 w 242242"/>
                <a:gd name="connsiteY538" fmla="*/ 166891 h 200072"/>
                <a:gd name="connsiteX539" fmla="*/ 229323 w 242242"/>
                <a:gd name="connsiteY539" fmla="*/ 161747 h 200072"/>
                <a:gd name="connsiteX540" fmla="*/ 226847 w 242242"/>
                <a:gd name="connsiteY540" fmla="*/ 157175 h 200072"/>
                <a:gd name="connsiteX541" fmla="*/ 223799 w 242242"/>
                <a:gd name="connsiteY541" fmla="*/ 157270 h 200072"/>
                <a:gd name="connsiteX542" fmla="*/ 223799 w 242242"/>
                <a:gd name="connsiteY542" fmla="*/ 153079 h 200072"/>
                <a:gd name="connsiteX543" fmla="*/ 228657 w 242242"/>
                <a:gd name="connsiteY543" fmla="*/ 155746 h 200072"/>
                <a:gd name="connsiteX544" fmla="*/ 230847 w 242242"/>
                <a:gd name="connsiteY544" fmla="*/ 153937 h 200072"/>
                <a:gd name="connsiteX545" fmla="*/ 231990 w 242242"/>
                <a:gd name="connsiteY545" fmla="*/ 151746 h 200072"/>
                <a:gd name="connsiteX546" fmla="*/ 227894 w 242242"/>
                <a:gd name="connsiteY546" fmla="*/ 153556 h 200072"/>
                <a:gd name="connsiteX547" fmla="*/ 226656 w 242242"/>
                <a:gd name="connsiteY547" fmla="*/ 152794 h 200072"/>
                <a:gd name="connsiteX548" fmla="*/ 227418 w 242242"/>
                <a:gd name="connsiteY548" fmla="*/ 150031 h 200072"/>
                <a:gd name="connsiteX549" fmla="*/ 231038 w 242242"/>
                <a:gd name="connsiteY549" fmla="*/ 147364 h 200072"/>
                <a:gd name="connsiteX550" fmla="*/ 232276 w 242242"/>
                <a:gd name="connsiteY550" fmla="*/ 142507 h 200072"/>
                <a:gd name="connsiteX551" fmla="*/ 231800 w 242242"/>
                <a:gd name="connsiteY551" fmla="*/ 139459 h 200072"/>
                <a:gd name="connsiteX552" fmla="*/ 231514 w 242242"/>
                <a:gd name="connsiteY552" fmla="*/ 138030 h 200072"/>
                <a:gd name="connsiteX553" fmla="*/ 231895 w 242242"/>
                <a:gd name="connsiteY553" fmla="*/ 136601 h 200072"/>
                <a:gd name="connsiteX554" fmla="*/ 231323 w 242242"/>
                <a:gd name="connsiteY554" fmla="*/ 137268 h 200072"/>
                <a:gd name="connsiteX555" fmla="*/ 230942 w 242242"/>
                <a:gd name="connsiteY555" fmla="*/ 136030 h 200072"/>
                <a:gd name="connsiteX556" fmla="*/ 237324 w 242242"/>
                <a:gd name="connsiteY556" fmla="*/ 135077 h 200072"/>
                <a:gd name="connsiteX557" fmla="*/ 238182 w 242242"/>
                <a:gd name="connsiteY557" fmla="*/ 131172 h 200072"/>
                <a:gd name="connsiteX558" fmla="*/ 235705 w 242242"/>
                <a:gd name="connsiteY558" fmla="*/ 128600 h 200072"/>
                <a:gd name="connsiteX559" fmla="*/ 233324 w 242242"/>
                <a:gd name="connsiteY559" fmla="*/ 132029 h 200072"/>
                <a:gd name="connsiteX560" fmla="*/ 235133 w 242242"/>
                <a:gd name="connsiteY560" fmla="*/ 130600 h 200072"/>
                <a:gd name="connsiteX561" fmla="*/ 235800 w 242242"/>
                <a:gd name="connsiteY561" fmla="*/ 132505 h 200072"/>
                <a:gd name="connsiteX562" fmla="*/ 230181 w 242242"/>
                <a:gd name="connsiteY562" fmla="*/ 132315 h 200072"/>
                <a:gd name="connsiteX563" fmla="*/ 229514 w 242242"/>
                <a:gd name="connsiteY563" fmla="*/ 131839 h 200072"/>
                <a:gd name="connsiteX564" fmla="*/ 229133 w 242242"/>
                <a:gd name="connsiteY564" fmla="*/ 131077 h 200072"/>
                <a:gd name="connsiteX565" fmla="*/ 228466 w 242242"/>
                <a:gd name="connsiteY565" fmla="*/ 129267 h 200072"/>
                <a:gd name="connsiteX566" fmla="*/ 226942 w 242242"/>
                <a:gd name="connsiteY566" fmla="*/ 125743 h 200072"/>
                <a:gd name="connsiteX567" fmla="*/ 226847 w 242242"/>
                <a:gd name="connsiteY567" fmla="*/ 125171 h 200072"/>
                <a:gd name="connsiteX568" fmla="*/ 227132 w 242242"/>
                <a:gd name="connsiteY568" fmla="*/ 124314 h 200072"/>
                <a:gd name="connsiteX569" fmla="*/ 227704 w 242242"/>
                <a:gd name="connsiteY569" fmla="*/ 123266 h 200072"/>
                <a:gd name="connsiteX570" fmla="*/ 215036 w 242242"/>
                <a:gd name="connsiteY570" fmla="*/ 56305 h 200072"/>
                <a:gd name="connsiteX571" fmla="*/ 216560 w 242242"/>
                <a:gd name="connsiteY571" fmla="*/ 57829 h 200072"/>
                <a:gd name="connsiteX572" fmla="*/ 215131 w 242242"/>
                <a:gd name="connsiteY572" fmla="*/ 60115 h 200072"/>
                <a:gd name="connsiteX573" fmla="*/ 214655 w 242242"/>
                <a:gd name="connsiteY573" fmla="*/ 56210 h 200072"/>
                <a:gd name="connsiteX574" fmla="*/ 215036 w 242242"/>
                <a:gd name="connsiteY574" fmla="*/ 56210 h 200072"/>
                <a:gd name="connsiteX575" fmla="*/ 23012 w 242242"/>
                <a:gd name="connsiteY575" fmla="*/ 63544 h 200072"/>
                <a:gd name="connsiteX576" fmla="*/ 16916 w 242242"/>
                <a:gd name="connsiteY576" fmla="*/ 64402 h 200072"/>
                <a:gd name="connsiteX577" fmla="*/ 14344 w 242242"/>
                <a:gd name="connsiteY577" fmla="*/ 64021 h 200072"/>
                <a:gd name="connsiteX578" fmla="*/ 13487 w 242242"/>
                <a:gd name="connsiteY578" fmla="*/ 62116 h 200072"/>
                <a:gd name="connsiteX579" fmla="*/ 14725 w 242242"/>
                <a:gd name="connsiteY579" fmla="*/ 58782 h 200072"/>
                <a:gd name="connsiteX580" fmla="*/ 18440 w 242242"/>
                <a:gd name="connsiteY580" fmla="*/ 59830 h 200072"/>
                <a:gd name="connsiteX581" fmla="*/ 19392 w 242242"/>
                <a:gd name="connsiteY581" fmla="*/ 59544 h 200072"/>
                <a:gd name="connsiteX582" fmla="*/ 23107 w 242242"/>
                <a:gd name="connsiteY582" fmla="*/ 63449 h 200072"/>
                <a:gd name="connsiteX583" fmla="*/ 23012 w 242242"/>
                <a:gd name="connsiteY583" fmla="*/ 63449 h 200072"/>
                <a:gd name="connsiteX584" fmla="*/ 8724 w 242242"/>
                <a:gd name="connsiteY584" fmla="*/ 116694 h 200072"/>
                <a:gd name="connsiteX585" fmla="*/ 7867 w 242242"/>
                <a:gd name="connsiteY585" fmla="*/ 116503 h 200072"/>
                <a:gd name="connsiteX586" fmla="*/ 7867 w 242242"/>
                <a:gd name="connsiteY586" fmla="*/ 116503 h 200072"/>
                <a:gd name="connsiteX587" fmla="*/ 4152 w 242242"/>
                <a:gd name="connsiteY587" fmla="*/ 112503 h 200072"/>
                <a:gd name="connsiteX588" fmla="*/ 6248 w 242242"/>
                <a:gd name="connsiteY588" fmla="*/ 106597 h 200072"/>
                <a:gd name="connsiteX589" fmla="*/ 8724 w 242242"/>
                <a:gd name="connsiteY589" fmla="*/ 103835 h 200072"/>
                <a:gd name="connsiteX590" fmla="*/ 5772 w 242242"/>
                <a:gd name="connsiteY590" fmla="*/ 111074 h 200072"/>
                <a:gd name="connsiteX591" fmla="*/ 8724 w 242242"/>
                <a:gd name="connsiteY591" fmla="*/ 116694 h 200072"/>
                <a:gd name="connsiteX592" fmla="*/ 7962 w 242242"/>
                <a:gd name="connsiteY592" fmla="*/ 97739 h 200072"/>
                <a:gd name="connsiteX593" fmla="*/ 7867 w 242242"/>
                <a:gd name="connsiteY593" fmla="*/ 97739 h 200072"/>
                <a:gd name="connsiteX594" fmla="*/ 6915 w 242242"/>
                <a:gd name="connsiteY594" fmla="*/ 97739 h 200072"/>
                <a:gd name="connsiteX595" fmla="*/ 6248 w 242242"/>
                <a:gd name="connsiteY595" fmla="*/ 97739 h 200072"/>
                <a:gd name="connsiteX596" fmla="*/ 5486 w 242242"/>
                <a:gd name="connsiteY596" fmla="*/ 96787 h 200072"/>
                <a:gd name="connsiteX597" fmla="*/ 5295 w 242242"/>
                <a:gd name="connsiteY597" fmla="*/ 94405 h 200072"/>
                <a:gd name="connsiteX598" fmla="*/ 6724 w 242242"/>
                <a:gd name="connsiteY598" fmla="*/ 94024 h 200072"/>
                <a:gd name="connsiteX599" fmla="*/ 8343 w 242242"/>
                <a:gd name="connsiteY599" fmla="*/ 95929 h 200072"/>
                <a:gd name="connsiteX600" fmla="*/ 8629 w 242242"/>
                <a:gd name="connsiteY600" fmla="*/ 96691 h 200072"/>
                <a:gd name="connsiteX601" fmla="*/ 8819 w 242242"/>
                <a:gd name="connsiteY601" fmla="*/ 97453 h 200072"/>
                <a:gd name="connsiteX602" fmla="*/ 7867 w 242242"/>
                <a:gd name="connsiteY602" fmla="*/ 97739 h 200072"/>
                <a:gd name="connsiteX603" fmla="*/ 9867 w 242242"/>
                <a:gd name="connsiteY603" fmla="*/ 97453 h 200072"/>
                <a:gd name="connsiteX604" fmla="*/ 9772 w 242242"/>
                <a:gd name="connsiteY604" fmla="*/ 97453 h 200072"/>
                <a:gd name="connsiteX605" fmla="*/ 9581 w 242242"/>
                <a:gd name="connsiteY605" fmla="*/ 94596 h 200072"/>
                <a:gd name="connsiteX606" fmla="*/ 14820 w 242242"/>
                <a:gd name="connsiteY606" fmla="*/ 95739 h 200072"/>
                <a:gd name="connsiteX607" fmla="*/ 9867 w 242242"/>
                <a:gd name="connsiteY607" fmla="*/ 97358 h 200072"/>
                <a:gd name="connsiteX608" fmla="*/ 22059 w 242242"/>
                <a:gd name="connsiteY608" fmla="*/ 146507 h 200072"/>
                <a:gd name="connsiteX609" fmla="*/ 22059 w 242242"/>
                <a:gd name="connsiteY609" fmla="*/ 146793 h 200072"/>
                <a:gd name="connsiteX610" fmla="*/ 21869 w 242242"/>
                <a:gd name="connsiteY610" fmla="*/ 147555 h 200072"/>
                <a:gd name="connsiteX611" fmla="*/ 22250 w 242242"/>
                <a:gd name="connsiteY611" fmla="*/ 142602 h 200072"/>
                <a:gd name="connsiteX612" fmla="*/ 23393 w 242242"/>
                <a:gd name="connsiteY612" fmla="*/ 140221 h 200072"/>
                <a:gd name="connsiteX613" fmla="*/ 24440 w 242242"/>
                <a:gd name="connsiteY613" fmla="*/ 138982 h 200072"/>
                <a:gd name="connsiteX614" fmla="*/ 22155 w 242242"/>
                <a:gd name="connsiteY614" fmla="*/ 146602 h 200072"/>
                <a:gd name="connsiteX615" fmla="*/ 31013 w 242242"/>
                <a:gd name="connsiteY615" fmla="*/ 168129 h 200072"/>
                <a:gd name="connsiteX616" fmla="*/ 30060 w 242242"/>
                <a:gd name="connsiteY616" fmla="*/ 170701 h 200072"/>
                <a:gd name="connsiteX617" fmla="*/ 27489 w 242242"/>
                <a:gd name="connsiteY617" fmla="*/ 170320 h 200072"/>
                <a:gd name="connsiteX618" fmla="*/ 26441 w 242242"/>
                <a:gd name="connsiteY618" fmla="*/ 167557 h 200072"/>
                <a:gd name="connsiteX619" fmla="*/ 28917 w 242242"/>
                <a:gd name="connsiteY619" fmla="*/ 165938 h 200072"/>
                <a:gd name="connsiteX620" fmla="*/ 30632 w 242242"/>
                <a:gd name="connsiteY620" fmla="*/ 166700 h 200072"/>
                <a:gd name="connsiteX621" fmla="*/ 31108 w 242242"/>
                <a:gd name="connsiteY621" fmla="*/ 168034 h 200072"/>
                <a:gd name="connsiteX622" fmla="*/ 31108 w 242242"/>
                <a:gd name="connsiteY622" fmla="*/ 167843 h 200072"/>
                <a:gd name="connsiteX623" fmla="*/ 31108 w 242242"/>
                <a:gd name="connsiteY623" fmla="*/ 168224 h 200072"/>
                <a:gd name="connsiteX624" fmla="*/ 164648 w 242242"/>
                <a:gd name="connsiteY624" fmla="*/ 139363 h 200072"/>
                <a:gd name="connsiteX625" fmla="*/ 165696 w 242242"/>
                <a:gd name="connsiteY625" fmla="*/ 137363 h 200072"/>
                <a:gd name="connsiteX626" fmla="*/ 165696 w 242242"/>
                <a:gd name="connsiteY626" fmla="*/ 137363 h 200072"/>
                <a:gd name="connsiteX627" fmla="*/ 164553 w 242242"/>
                <a:gd name="connsiteY627" fmla="*/ 139459 h 200072"/>
                <a:gd name="connsiteX628" fmla="*/ 199891 w 242242"/>
                <a:gd name="connsiteY628" fmla="*/ 50590 h 200072"/>
                <a:gd name="connsiteX629" fmla="*/ 203034 w 242242"/>
                <a:gd name="connsiteY629" fmla="*/ 53162 h 200072"/>
                <a:gd name="connsiteX630" fmla="*/ 198557 w 242242"/>
                <a:gd name="connsiteY630" fmla="*/ 53734 h 200072"/>
                <a:gd name="connsiteX631" fmla="*/ 199796 w 242242"/>
                <a:gd name="connsiteY631" fmla="*/ 50495 h 200072"/>
                <a:gd name="connsiteX632" fmla="*/ 186747 w 242242"/>
                <a:gd name="connsiteY632" fmla="*/ 35922 h 200072"/>
                <a:gd name="connsiteX633" fmla="*/ 188366 w 242242"/>
                <a:gd name="connsiteY633" fmla="*/ 35922 h 200072"/>
                <a:gd name="connsiteX634" fmla="*/ 186080 w 242242"/>
                <a:gd name="connsiteY634" fmla="*/ 36112 h 200072"/>
                <a:gd name="connsiteX635" fmla="*/ 185794 w 242242"/>
                <a:gd name="connsiteY635" fmla="*/ 36112 h 200072"/>
                <a:gd name="connsiteX636" fmla="*/ 186747 w 242242"/>
                <a:gd name="connsiteY636" fmla="*/ 35731 h 200072"/>
                <a:gd name="connsiteX637" fmla="*/ 183317 w 242242"/>
                <a:gd name="connsiteY637" fmla="*/ 32398 h 200072"/>
                <a:gd name="connsiteX638" fmla="*/ 183698 w 242242"/>
                <a:gd name="connsiteY638" fmla="*/ 34017 h 200072"/>
                <a:gd name="connsiteX639" fmla="*/ 183889 w 242242"/>
                <a:gd name="connsiteY639" fmla="*/ 34779 h 200072"/>
                <a:gd name="connsiteX640" fmla="*/ 183794 w 242242"/>
                <a:gd name="connsiteY640" fmla="*/ 35255 h 200072"/>
                <a:gd name="connsiteX641" fmla="*/ 183127 w 242242"/>
                <a:gd name="connsiteY641" fmla="*/ 35636 h 200072"/>
                <a:gd name="connsiteX642" fmla="*/ 183222 w 242242"/>
                <a:gd name="connsiteY642" fmla="*/ 32398 h 200072"/>
                <a:gd name="connsiteX643" fmla="*/ 172649 w 242242"/>
                <a:gd name="connsiteY643" fmla="*/ 21444 h 200072"/>
                <a:gd name="connsiteX644" fmla="*/ 174935 w 242242"/>
                <a:gd name="connsiteY644" fmla="*/ 21825 h 200072"/>
                <a:gd name="connsiteX645" fmla="*/ 172554 w 242242"/>
                <a:gd name="connsiteY645" fmla="*/ 23730 h 200072"/>
                <a:gd name="connsiteX646" fmla="*/ 169792 w 242242"/>
                <a:gd name="connsiteY646" fmla="*/ 26587 h 200072"/>
                <a:gd name="connsiteX647" fmla="*/ 172649 w 242242"/>
                <a:gd name="connsiteY647" fmla="*/ 21349 h 200072"/>
                <a:gd name="connsiteX648" fmla="*/ 160362 w 242242"/>
                <a:gd name="connsiteY648" fmla="*/ 14586 h 200072"/>
                <a:gd name="connsiteX649" fmla="*/ 163982 w 242242"/>
                <a:gd name="connsiteY649" fmla="*/ 13729 h 200072"/>
                <a:gd name="connsiteX650" fmla="*/ 169506 w 242242"/>
                <a:gd name="connsiteY650" fmla="*/ 15729 h 200072"/>
                <a:gd name="connsiteX651" fmla="*/ 164077 w 242242"/>
                <a:gd name="connsiteY651" fmla="*/ 15157 h 200072"/>
                <a:gd name="connsiteX652" fmla="*/ 158267 w 242242"/>
                <a:gd name="connsiteY652" fmla="*/ 15919 h 200072"/>
                <a:gd name="connsiteX653" fmla="*/ 160362 w 242242"/>
                <a:gd name="connsiteY653" fmla="*/ 14586 h 200072"/>
                <a:gd name="connsiteX654" fmla="*/ 135788 w 242242"/>
                <a:gd name="connsiteY654" fmla="*/ 8204 h 200072"/>
                <a:gd name="connsiteX655" fmla="*/ 138645 w 242242"/>
                <a:gd name="connsiteY655" fmla="*/ 10776 h 200072"/>
                <a:gd name="connsiteX656" fmla="*/ 139883 w 242242"/>
                <a:gd name="connsiteY656" fmla="*/ 12490 h 200072"/>
                <a:gd name="connsiteX657" fmla="*/ 140550 w 242242"/>
                <a:gd name="connsiteY657" fmla="*/ 13252 h 200072"/>
                <a:gd name="connsiteX658" fmla="*/ 140550 w 242242"/>
                <a:gd name="connsiteY658" fmla="*/ 13633 h 200072"/>
                <a:gd name="connsiteX659" fmla="*/ 135216 w 242242"/>
                <a:gd name="connsiteY659" fmla="*/ 8966 h 200072"/>
                <a:gd name="connsiteX660" fmla="*/ 130263 w 242242"/>
                <a:gd name="connsiteY660" fmla="*/ 7442 h 200072"/>
                <a:gd name="connsiteX661" fmla="*/ 135788 w 242242"/>
                <a:gd name="connsiteY661" fmla="*/ 8204 h 200072"/>
                <a:gd name="connsiteX662" fmla="*/ 102831 w 242242"/>
                <a:gd name="connsiteY662" fmla="*/ 6013 h 200072"/>
                <a:gd name="connsiteX663" fmla="*/ 103974 w 242242"/>
                <a:gd name="connsiteY663" fmla="*/ 5061 h 200072"/>
                <a:gd name="connsiteX664" fmla="*/ 105117 w 242242"/>
                <a:gd name="connsiteY664" fmla="*/ 6109 h 200072"/>
                <a:gd name="connsiteX665" fmla="*/ 105593 w 242242"/>
                <a:gd name="connsiteY665" fmla="*/ 9252 h 200072"/>
                <a:gd name="connsiteX666" fmla="*/ 102355 w 242242"/>
                <a:gd name="connsiteY666" fmla="*/ 15919 h 200072"/>
                <a:gd name="connsiteX667" fmla="*/ 102355 w 242242"/>
                <a:gd name="connsiteY667" fmla="*/ 15634 h 200072"/>
                <a:gd name="connsiteX668" fmla="*/ 101688 w 242242"/>
                <a:gd name="connsiteY668" fmla="*/ 9442 h 200072"/>
                <a:gd name="connsiteX669" fmla="*/ 102736 w 242242"/>
                <a:gd name="connsiteY669" fmla="*/ 6013 h 200072"/>
                <a:gd name="connsiteX670" fmla="*/ 91115 w 242242"/>
                <a:gd name="connsiteY670" fmla="*/ 18110 h 200072"/>
                <a:gd name="connsiteX671" fmla="*/ 96926 w 242242"/>
                <a:gd name="connsiteY671" fmla="*/ 17729 h 200072"/>
                <a:gd name="connsiteX672" fmla="*/ 101593 w 242242"/>
                <a:gd name="connsiteY672" fmla="*/ 20682 h 200072"/>
                <a:gd name="connsiteX673" fmla="*/ 90734 w 242242"/>
                <a:gd name="connsiteY673" fmla="*/ 18205 h 200072"/>
                <a:gd name="connsiteX674" fmla="*/ 91115 w 242242"/>
                <a:gd name="connsiteY674" fmla="*/ 18110 h 200072"/>
                <a:gd name="connsiteX675" fmla="*/ 82448 w 242242"/>
                <a:gd name="connsiteY675" fmla="*/ 22587 h 200072"/>
                <a:gd name="connsiteX676" fmla="*/ 83495 w 242242"/>
                <a:gd name="connsiteY676" fmla="*/ 20872 h 200072"/>
                <a:gd name="connsiteX677" fmla="*/ 84448 w 242242"/>
                <a:gd name="connsiteY677" fmla="*/ 19920 h 200072"/>
                <a:gd name="connsiteX678" fmla="*/ 85019 w 242242"/>
                <a:gd name="connsiteY678" fmla="*/ 19539 h 200072"/>
                <a:gd name="connsiteX679" fmla="*/ 86353 w 242242"/>
                <a:gd name="connsiteY679" fmla="*/ 20301 h 200072"/>
                <a:gd name="connsiteX680" fmla="*/ 82257 w 242242"/>
                <a:gd name="connsiteY680" fmla="*/ 23444 h 200072"/>
                <a:gd name="connsiteX681" fmla="*/ 82543 w 242242"/>
                <a:gd name="connsiteY681" fmla="*/ 22587 h 200072"/>
                <a:gd name="connsiteX682" fmla="*/ 49586 w 242242"/>
                <a:gd name="connsiteY682" fmla="*/ 34874 h 200072"/>
                <a:gd name="connsiteX683" fmla="*/ 50539 w 242242"/>
                <a:gd name="connsiteY683" fmla="*/ 36874 h 200072"/>
                <a:gd name="connsiteX684" fmla="*/ 51015 w 242242"/>
                <a:gd name="connsiteY684" fmla="*/ 37636 h 200072"/>
                <a:gd name="connsiteX685" fmla="*/ 51015 w 242242"/>
                <a:gd name="connsiteY685" fmla="*/ 38875 h 200072"/>
                <a:gd name="connsiteX686" fmla="*/ 48348 w 242242"/>
                <a:gd name="connsiteY686" fmla="*/ 37541 h 200072"/>
                <a:gd name="connsiteX687" fmla="*/ 49586 w 242242"/>
                <a:gd name="connsiteY687" fmla="*/ 34874 h 200072"/>
                <a:gd name="connsiteX688" fmla="*/ 34347 w 242242"/>
                <a:gd name="connsiteY688" fmla="*/ 164700 h 200072"/>
                <a:gd name="connsiteX689" fmla="*/ 34156 w 242242"/>
                <a:gd name="connsiteY689" fmla="*/ 165367 h 200072"/>
                <a:gd name="connsiteX690" fmla="*/ 34156 w 242242"/>
                <a:gd name="connsiteY690" fmla="*/ 165176 h 200072"/>
                <a:gd name="connsiteX691" fmla="*/ 34442 w 242242"/>
                <a:gd name="connsiteY691" fmla="*/ 162223 h 200072"/>
                <a:gd name="connsiteX692" fmla="*/ 34727 w 242242"/>
                <a:gd name="connsiteY692" fmla="*/ 160985 h 200072"/>
                <a:gd name="connsiteX693" fmla="*/ 35394 w 242242"/>
                <a:gd name="connsiteY693" fmla="*/ 160604 h 200072"/>
                <a:gd name="connsiteX694" fmla="*/ 34347 w 242242"/>
                <a:gd name="connsiteY694" fmla="*/ 164700 h 200072"/>
                <a:gd name="connsiteX695" fmla="*/ 49206 w 242242"/>
                <a:gd name="connsiteY695" fmla="*/ 187179 h 200072"/>
                <a:gd name="connsiteX696" fmla="*/ 49206 w 242242"/>
                <a:gd name="connsiteY696" fmla="*/ 187179 h 200072"/>
                <a:gd name="connsiteX697" fmla="*/ 49206 w 242242"/>
                <a:gd name="connsiteY697" fmla="*/ 187179 h 200072"/>
                <a:gd name="connsiteX698" fmla="*/ 47300 w 242242"/>
                <a:gd name="connsiteY698" fmla="*/ 184702 h 200072"/>
                <a:gd name="connsiteX699" fmla="*/ 46443 w 242242"/>
                <a:gd name="connsiteY699" fmla="*/ 181083 h 200072"/>
                <a:gd name="connsiteX700" fmla="*/ 46824 w 242242"/>
                <a:gd name="connsiteY700" fmla="*/ 177178 h 200072"/>
                <a:gd name="connsiteX701" fmla="*/ 47110 w 242242"/>
                <a:gd name="connsiteY701" fmla="*/ 176320 h 200072"/>
                <a:gd name="connsiteX702" fmla="*/ 47586 w 242242"/>
                <a:gd name="connsiteY702" fmla="*/ 175654 h 200072"/>
                <a:gd name="connsiteX703" fmla="*/ 49110 w 242242"/>
                <a:gd name="connsiteY703" fmla="*/ 174701 h 200072"/>
                <a:gd name="connsiteX704" fmla="*/ 48348 w 242242"/>
                <a:gd name="connsiteY704" fmla="*/ 181464 h 200072"/>
                <a:gd name="connsiteX705" fmla="*/ 49682 w 242242"/>
                <a:gd name="connsiteY705" fmla="*/ 187465 h 200072"/>
                <a:gd name="connsiteX706" fmla="*/ 49206 w 242242"/>
                <a:gd name="connsiteY706" fmla="*/ 187274 h 200072"/>
                <a:gd name="connsiteX707" fmla="*/ 49206 w 242242"/>
                <a:gd name="connsiteY707" fmla="*/ 187274 h 200072"/>
                <a:gd name="connsiteX708" fmla="*/ 77209 w 242242"/>
                <a:gd name="connsiteY708" fmla="*/ 113741 h 200072"/>
                <a:gd name="connsiteX709" fmla="*/ 76161 w 242242"/>
                <a:gd name="connsiteY709" fmla="*/ 112312 h 200072"/>
                <a:gd name="connsiteX710" fmla="*/ 77590 w 242242"/>
                <a:gd name="connsiteY710" fmla="*/ 111931 h 200072"/>
                <a:gd name="connsiteX711" fmla="*/ 77209 w 242242"/>
                <a:gd name="connsiteY711" fmla="*/ 113646 h 200072"/>
                <a:gd name="connsiteX712" fmla="*/ 102641 w 242242"/>
                <a:gd name="connsiteY712" fmla="*/ 87928 h 200072"/>
                <a:gd name="connsiteX713" fmla="*/ 102355 w 242242"/>
                <a:gd name="connsiteY713" fmla="*/ 85547 h 200072"/>
                <a:gd name="connsiteX714" fmla="*/ 101783 w 242242"/>
                <a:gd name="connsiteY714" fmla="*/ 83737 h 200072"/>
                <a:gd name="connsiteX715" fmla="*/ 101402 w 242242"/>
                <a:gd name="connsiteY715" fmla="*/ 82975 h 200072"/>
                <a:gd name="connsiteX716" fmla="*/ 101212 w 242242"/>
                <a:gd name="connsiteY716" fmla="*/ 82594 h 200072"/>
                <a:gd name="connsiteX717" fmla="*/ 101212 w 242242"/>
                <a:gd name="connsiteY717" fmla="*/ 81928 h 200072"/>
                <a:gd name="connsiteX718" fmla="*/ 104927 w 242242"/>
                <a:gd name="connsiteY718" fmla="*/ 86023 h 200072"/>
                <a:gd name="connsiteX719" fmla="*/ 106260 w 242242"/>
                <a:gd name="connsiteY719" fmla="*/ 86881 h 200072"/>
                <a:gd name="connsiteX720" fmla="*/ 102736 w 242242"/>
                <a:gd name="connsiteY720" fmla="*/ 87928 h 200072"/>
                <a:gd name="connsiteX721" fmla="*/ 114357 w 242242"/>
                <a:gd name="connsiteY721" fmla="*/ 83547 h 200072"/>
                <a:gd name="connsiteX722" fmla="*/ 113594 w 242242"/>
                <a:gd name="connsiteY722" fmla="*/ 85357 h 200072"/>
                <a:gd name="connsiteX723" fmla="*/ 112261 w 242242"/>
                <a:gd name="connsiteY723" fmla="*/ 85547 h 200072"/>
                <a:gd name="connsiteX724" fmla="*/ 114071 w 242242"/>
                <a:gd name="connsiteY724" fmla="*/ 82404 h 200072"/>
                <a:gd name="connsiteX725" fmla="*/ 115690 w 242242"/>
                <a:gd name="connsiteY725" fmla="*/ 76784 h 200072"/>
                <a:gd name="connsiteX726" fmla="*/ 115404 w 242242"/>
                <a:gd name="connsiteY726" fmla="*/ 79165 h 200072"/>
                <a:gd name="connsiteX727" fmla="*/ 114357 w 242242"/>
                <a:gd name="connsiteY727" fmla="*/ 83547 h 200072"/>
                <a:gd name="connsiteX728" fmla="*/ 116071 w 242242"/>
                <a:gd name="connsiteY728" fmla="*/ 91834 h 200072"/>
                <a:gd name="connsiteX729" fmla="*/ 115976 w 242242"/>
                <a:gd name="connsiteY729" fmla="*/ 91548 h 200072"/>
                <a:gd name="connsiteX730" fmla="*/ 115309 w 242242"/>
                <a:gd name="connsiteY730" fmla="*/ 89833 h 200072"/>
                <a:gd name="connsiteX731" fmla="*/ 115499 w 242242"/>
                <a:gd name="connsiteY731" fmla="*/ 87643 h 200072"/>
                <a:gd name="connsiteX732" fmla="*/ 116357 w 242242"/>
                <a:gd name="connsiteY732" fmla="*/ 91548 h 200072"/>
                <a:gd name="connsiteX733" fmla="*/ 116738 w 242242"/>
                <a:gd name="connsiteY733" fmla="*/ 92786 h 200072"/>
                <a:gd name="connsiteX734" fmla="*/ 116071 w 242242"/>
                <a:gd name="connsiteY734" fmla="*/ 91834 h 200072"/>
                <a:gd name="connsiteX735" fmla="*/ 116071 w 242242"/>
                <a:gd name="connsiteY735" fmla="*/ 91834 h 200072"/>
                <a:gd name="connsiteX736" fmla="*/ 126930 w 242242"/>
                <a:gd name="connsiteY736" fmla="*/ 98882 h 200072"/>
                <a:gd name="connsiteX737" fmla="*/ 126930 w 242242"/>
                <a:gd name="connsiteY737" fmla="*/ 98882 h 200072"/>
                <a:gd name="connsiteX738" fmla="*/ 126930 w 242242"/>
                <a:gd name="connsiteY738" fmla="*/ 98882 h 200072"/>
                <a:gd name="connsiteX739" fmla="*/ 126453 w 242242"/>
                <a:gd name="connsiteY739" fmla="*/ 96882 h 200072"/>
                <a:gd name="connsiteX740" fmla="*/ 126263 w 242242"/>
                <a:gd name="connsiteY740" fmla="*/ 95834 h 200072"/>
                <a:gd name="connsiteX741" fmla="*/ 126263 w 242242"/>
                <a:gd name="connsiteY741" fmla="*/ 95548 h 200072"/>
                <a:gd name="connsiteX742" fmla="*/ 126263 w 242242"/>
                <a:gd name="connsiteY742" fmla="*/ 95358 h 200072"/>
                <a:gd name="connsiteX743" fmla="*/ 126834 w 242242"/>
                <a:gd name="connsiteY743" fmla="*/ 95072 h 200072"/>
                <a:gd name="connsiteX744" fmla="*/ 128739 w 242242"/>
                <a:gd name="connsiteY744" fmla="*/ 100120 h 200072"/>
                <a:gd name="connsiteX745" fmla="*/ 126930 w 242242"/>
                <a:gd name="connsiteY745" fmla="*/ 98882 h 200072"/>
                <a:gd name="connsiteX746" fmla="*/ 149980 w 242242"/>
                <a:gd name="connsiteY746" fmla="*/ 112598 h 200072"/>
                <a:gd name="connsiteX747" fmla="*/ 149885 w 242242"/>
                <a:gd name="connsiteY747" fmla="*/ 112312 h 200072"/>
                <a:gd name="connsiteX748" fmla="*/ 150170 w 242242"/>
                <a:gd name="connsiteY748" fmla="*/ 112217 h 200072"/>
                <a:gd name="connsiteX749" fmla="*/ 150361 w 242242"/>
                <a:gd name="connsiteY749" fmla="*/ 113265 h 200072"/>
                <a:gd name="connsiteX750" fmla="*/ 149980 w 242242"/>
                <a:gd name="connsiteY750" fmla="*/ 112598 h 200072"/>
                <a:gd name="connsiteX751" fmla="*/ 191985 w 242242"/>
                <a:gd name="connsiteY751" fmla="*/ 188703 h 200072"/>
                <a:gd name="connsiteX752" fmla="*/ 188842 w 242242"/>
                <a:gd name="connsiteY752" fmla="*/ 188417 h 200072"/>
                <a:gd name="connsiteX753" fmla="*/ 189985 w 242242"/>
                <a:gd name="connsiteY753" fmla="*/ 186322 h 200072"/>
                <a:gd name="connsiteX754" fmla="*/ 194557 w 242242"/>
                <a:gd name="connsiteY754" fmla="*/ 189370 h 200072"/>
                <a:gd name="connsiteX755" fmla="*/ 191985 w 242242"/>
                <a:gd name="connsiteY755" fmla="*/ 188703 h 200072"/>
                <a:gd name="connsiteX756" fmla="*/ 214655 w 242242"/>
                <a:gd name="connsiteY756" fmla="*/ 108693 h 200072"/>
                <a:gd name="connsiteX757" fmla="*/ 215036 w 242242"/>
                <a:gd name="connsiteY757" fmla="*/ 109074 h 200072"/>
                <a:gd name="connsiteX758" fmla="*/ 214845 w 242242"/>
                <a:gd name="connsiteY758" fmla="*/ 109645 h 200072"/>
                <a:gd name="connsiteX759" fmla="*/ 214750 w 242242"/>
                <a:gd name="connsiteY759" fmla="*/ 109455 h 200072"/>
                <a:gd name="connsiteX760" fmla="*/ 213512 w 242242"/>
                <a:gd name="connsiteY760" fmla="*/ 107740 h 200072"/>
                <a:gd name="connsiteX761" fmla="*/ 214750 w 242242"/>
                <a:gd name="connsiteY761" fmla="*/ 108693 h 200072"/>
                <a:gd name="connsiteX762" fmla="*/ 207797 w 242242"/>
                <a:gd name="connsiteY762" fmla="*/ 150222 h 200072"/>
                <a:gd name="connsiteX763" fmla="*/ 207416 w 242242"/>
                <a:gd name="connsiteY763" fmla="*/ 146698 h 200072"/>
                <a:gd name="connsiteX764" fmla="*/ 210273 w 242242"/>
                <a:gd name="connsiteY764" fmla="*/ 148126 h 200072"/>
                <a:gd name="connsiteX765" fmla="*/ 210654 w 242242"/>
                <a:gd name="connsiteY765" fmla="*/ 148222 h 200072"/>
                <a:gd name="connsiteX766" fmla="*/ 207797 w 242242"/>
                <a:gd name="connsiteY766" fmla="*/ 150222 h 200072"/>
                <a:gd name="connsiteX767" fmla="*/ 213798 w 242242"/>
                <a:gd name="connsiteY767" fmla="*/ 165938 h 200072"/>
                <a:gd name="connsiteX768" fmla="*/ 213131 w 242242"/>
                <a:gd name="connsiteY768" fmla="*/ 165938 h 200072"/>
                <a:gd name="connsiteX769" fmla="*/ 211416 w 242242"/>
                <a:gd name="connsiteY769" fmla="*/ 165843 h 200072"/>
                <a:gd name="connsiteX770" fmla="*/ 210749 w 242242"/>
                <a:gd name="connsiteY770" fmla="*/ 165748 h 200072"/>
                <a:gd name="connsiteX771" fmla="*/ 210749 w 242242"/>
                <a:gd name="connsiteY771" fmla="*/ 165176 h 200072"/>
                <a:gd name="connsiteX772" fmla="*/ 215417 w 242242"/>
                <a:gd name="connsiteY772" fmla="*/ 165843 h 200072"/>
                <a:gd name="connsiteX773" fmla="*/ 213893 w 242242"/>
                <a:gd name="connsiteY773" fmla="*/ 165938 h 20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Lst>
              <a:rect l="l" t="t" r="r" b="b"/>
              <a:pathLst>
                <a:path w="242242" h="200072">
                  <a:moveTo>
                    <a:pt x="227132" y="123171"/>
                  </a:moveTo>
                  <a:cubicBezTo>
                    <a:pt x="227132" y="123171"/>
                    <a:pt x="227609" y="123076"/>
                    <a:pt x="227799" y="123076"/>
                  </a:cubicBezTo>
                  <a:cubicBezTo>
                    <a:pt x="228085" y="123076"/>
                    <a:pt x="228371" y="123076"/>
                    <a:pt x="228657" y="122980"/>
                  </a:cubicBezTo>
                  <a:cubicBezTo>
                    <a:pt x="229228" y="122885"/>
                    <a:pt x="229895" y="122695"/>
                    <a:pt x="230466" y="122504"/>
                  </a:cubicBezTo>
                  <a:cubicBezTo>
                    <a:pt x="231609" y="122123"/>
                    <a:pt x="232848" y="121552"/>
                    <a:pt x="233609" y="120504"/>
                  </a:cubicBezTo>
                  <a:cubicBezTo>
                    <a:pt x="234372" y="119647"/>
                    <a:pt x="234752" y="119932"/>
                    <a:pt x="234752" y="118789"/>
                  </a:cubicBezTo>
                  <a:cubicBezTo>
                    <a:pt x="236753" y="119361"/>
                    <a:pt x="238943" y="118504"/>
                    <a:pt x="240372" y="116980"/>
                  </a:cubicBezTo>
                  <a:cubicBezTo>
                    <a:pt x="241039" y="116218"/>
                    <a:pt x="242563" y="113551"/>
                    <a:pt x="242182" y="112789"/>
                  </a:cubicBezTo>
                  <a:cubicBezTo>
                    <a:pt x="241515" y="110979"/>
                    <a:pt x="239896" y="110503"/>
                    <a:pt x="238658" y="110884"/>
                  </a:cubicBezTo>
                  <a:cubicBezTo>
                    <a:pt x="237134" y="111360"/>
                    <a:pt x="236848" y="113170"/>
                    <a:pt x="237134" y="114408"/>
                  </a:cubicBezTo>
                  <a:cubicBezTo>
                    <a:pt x="237515" y="113646"/>
                    <a:pt x="237896" y="111931"/>
                    <a:pt x="238753" y="112408"/>
                  </a:cubicBezTo>
                  <a:cubicBezTo>
                    <a:pt x="239991" y="112979"/>
                    <a:pt x="238563" y="114408"/>
                    <a:pt x="237896" y="114884"/>
                  </a:cubicBezTo>
                  <a:cubicBezTo>
                    <a:pt x="237039" y="115551"/>
                    <a:pt x="235991" y="115837"/>
                    <a:pt x="234943" y="115456"/>
                  </a:cubicBezTo>
                  <a:cubicBezTo>
                    <a:pt x="233324" y="114979"/>
                    <a:pt x="232466" y="112408"/>
                    <a:pt x="232276" y="111836"/>
                  </a:cubicBezTo>
                  <a:cubicBezTo>
                    <a:pt x="232085" y="111169"/>
                    <a:pt x="232181" y="110217"/>
                    <a:pt x="232276" y="109550"/>
                  </a:cubicBezTo>
                  <a:cubicBezTo>
                    <a:pt x="232657" y="109741"/>
                    <a:pt x="233228" y="110312"/>
                    <a:pt x="233609" y="110503"/>
                  </a:cubicBezTo>
                  <a:cubicBezTo>
                    <a:pt x="233324" y="110217"/>
                    <a:pt x="232752" y="109169"/>
                    <a:pt x="232752" y="108788"/>
                  </a:cubicBezTo>
                  <a:cubicBezTo>
                    <a:pt x="232752" y="108121"/>
                    <a:pt x="232752" y="107455"/>
                    <a:pt x="233038" y="106788"/>
                  </a:cubicBezTo>
                  <a:cubicBezTo>
                    <a:pt x="232562" y="107264"/>
                    <a:pt x="232276" y="107264"/>
                    <a:pt x="231895" y="107550"/>
                  </a:cubicBezTo>
                  <a:cubicBezTo>
                    <a:pt x="231228" y="106597"/>
                    <a:pt x="230085" y="103930"/>
                    <a:pt x="229514" y="102883"/>
                  </a:cubicBezTo>
                  <a:cubicBezTo>
                    <a:pt x="229228" y="102406"/>
                    <a:pt x="229038" y="101835"/>
                    <a:pt x="228752" y="101359"/>
                  </a:cubicBezTo>
                  <a:cubicBezTo>
                    <a:pt x="228752" y="101168"/>
                    <a:pt x="228371" y="100882"/>
                    <a:pt x="228466" y="100692"/>
                  </a:cubicBezTo>
                  <a:cubicBezTo>
                    <a:pt x="228561" y="100501"/>
                    <a:pt x="229133" y="100406"/>
                    <a:pt x="229323" y="100216"/>
                  </a:cubicBezTo>
                  <a:cubicBezTo>
                    <a:pt x="229704" y="99930"/>
                    <a:pt x="230085" y="99644"/>
                    <a:pt x="230371" y="99358"/>
                  </a:cubicBezTo>
                  <a:cubicBezTo>
                    <a:pt x="231038" y="98692"/>
                    <a:pt x="231419" y="97834"/>
                    <a:pt x="231609" y="96977"/>
                  </a:cubicBezTo>
                  <a:cubicBezTo>
                    <a:pt x="231609" y="96406"/>
                    <a:pt x="231609" y="95929"/>
                    <a:pt x="231609" y="95358"/>
                  </a:cubicBezTo>
                  <a:cubicBezTo>
                    <a:pt x="231609" y="95072"/>
                    <a:pt x="231514" y="94786"/>
                    <a:pt x="231419" y="94501"/>
                  </a:cubicBezTo>
                  <a:cubicBezTo>
                    <a:pt x="231419" y="94310"/>
                    <a:pt x="231419" y="94215"/>
                    <a:pt x="231514" y="94120"/>
                  </a:cubicBezTo>
                  <a:cubicBezTo>
                    <a:pt x="232466" y="93643"/>
                    <a:pt x="233800" y="95644"/>
                    <a:pt x="234657" y="96120"/>
                  </a:cubicBezTo>
                  <a:cubicBezTo>
                    <a:pt x="236086" y="96977"/>
                    <a:pt x="236467" y="98882"/>
                    <a:pt x="235800" y="100311"/>
                  </a:cubicBezTo>
                  <a:cubicBezTo>
                    <a:pt x="234943" y="102406"/>
                    <a:pt x="232657" y="103073"/>
                    <a:pt x="231514" y="101073"/>
                  </a:cubicBezTo>
                  <a:cubicBezTo>
                    <a:pt x="231990" y="102502"/>
                    <a:pt x="232943" y="102883"/>
                    <a:pt x="234276" y="102692"/>
                  </a:cubicBezTo>
                  <a:cubicBezTo>
                    <a:pt x="235800" y="102502"/>
                    <a:pt x="237705" y="101263"/>
                    <a:pt x="238182" y="99930"/>
                  </a:cubicBezTo>
                  <a:cubicBezTo>
                    <a:pt x="238848" y="98311"/>
                    <a:pt x="237896" y="94596"/>
                    <a:pt x="236943" y="93167"/>
                  </a:cubicBezTo>
                  <a:cubicBezTo>
                    <a:pt x="236086" y="91834"/>
                    <a:pt x="234657" y="91072"/>
                    <a:pt x="233133" y="90881"/>
                  </a:cubicBezTo>
                  <a:cubicBezTo>
                    <a:pt x="232085" y="90786"/>
                    <a:pt x="231133" y="90881"/>
                    <a:pt x="230181" y="91167"/>
                  </a:cubicBezTo>
                  <a:cubicBezTo>
                    <a:pt x="229799" y="91262"/>
                    <a:pt x="229704" y="90881"/>
                    <a:pt x="229514" y="90595"/>
                  </a:cubicBezTo>
                  <a:cubicBezTo>
                    <a:pt x="229228" y="90119"/>
                    <a:pt x="228942" y="89643"/>
                    <a:pt x="228561" y="89262"/>
                  </a:cubicBezTo>
                  <a:cubicBezTo>
                    <a:pt x="230466" y="89071"/>
                    <a:pt x="232943" y="90119"/>
                    <a:pt x="233514" y="88119"/>
                  </a:cubicBezTo>
                  <a:cubicBezTo>
                    <a:pt x="233990" y="86404"/>
                    <a:pt x="233514" y="83928"/>
                    <a:pt x="231990" y="83071"/>
                  </a:cubicBezTo>
                  <a:cubicBezTo>
                    <a:pt x="231133" y="82594"/>
                    <a:pt x="229799" y="83261"/>
                    <a:pt x="228942" y="83642"/>
                  </a:cubicBezTo>
                  <a:cubicBezTo>
                    <a:pt x="230085" y="83833"/>
                    <a:pt x="230657" y="83547"/>
                    <a:pt x="230847" y="84690"/>
                  </a:cubicBezTo>
                  <a:cubicBezTo>
                    <a:pt x="231133" y="85833"/>
                    <a:pt x="230276" y="86690"/>
                    <a:pt x="229228" y="86976"/>
                  </a:cubicBezTo>
                  <a:cubicBezTo>
                    <a:pt x="228275" y="87262"/>
                    <a:pt x="227132" y="86309"/>
                    <a:pt x="226370" y="85547"/>
                  </a:cubicBezTo>
                  <a:cubicBezTo>
                    <a:pt x="225894" y="85071"/>
                    <a:pt x="225704" y="84404"/>
                    <a:pt x="225513" y="83737"/>
                  </a:cubicBezTo>
                  <a:cubicBezTo>
                    <a:pt x="225323" y="83071"/>
                    <a:pt x="225132" y="82309"/>
                    <a:pt x="224751" y="81642"/>
                  </a:cubicBezTo>
                  <a:cubicBezTo>
                    <a:pt x="224084" y="80499"/>
                    <a:pt x="223894" y="81070"/>
                    <a:pt x="222656" y="80785"/>
                  </a:cubicBezTo>
                  <a:cubicBezTo>
                    <a:pt x="224275" y="80499"/>
                    <a:pt x="225132" y="79832"/>
                    <a:pt x="226942" y="79356"/>
                  </a:cubicBezTo>
                  <a:cubicBezTo>
                    <a:pt x="227514" y="79261"/>
                    <a:pt x="227990" y="78975"/>
                    <a:pt x="228371" y="78594"/>
                  </a:cubicBezTo>
                  <a:cubicBezTo>
                    <a:pt x="230085" y="77165"/>
                    <a:pt x="231323" y="75260"/>
                    <a:pt x="231800" y="73069"/>
                  </a:cubicBezTo>
                  <a:cubicBezTo>
                    <a:pt x="232181" y="71164"/>
                    <a:pt x="231895" y="68974"/>
                    <a:pt x="230276" y="67735"/>
                  </a:cubicBezTo>
                  <a:cubicBezTo>
                    <a:pt x="228752" y="66592"/>
                    <a:pt x="226466" y="66592"/>
                    <a:pt x="225132" y="67926"/>
                  </a:cubicBezTo>
                  <a:cubicBezTo>
                    <a:pt x="224275" y="68783"/>
                    <a:pt x="223799" y="70117"/>
                    <a:pt x="223989" y="71355"/>
                  </a:cubicBezTo>
                  <a:cubicBezTo>
                    <a:pt x="224180" y="72498"/>
                    <a:pt x="225418" y="73831"/>
                    <a:pt x="226561" y="74117"/>
                  </a:cubicBezTo>
                  <a:cubicBezTo>
                    <a:pt x="225799" y="73165"/>
                    <a:pt x="225132" y="71450"/>
                    <a:pt x="225894" y="70498"/>
                  </a:cubicBezTo>
                  <a:cubicBezTo>
                    <a:pt x="226275" y="69926"/>
                    <a:pt x="227037" y="69640"/>
                    <a:pt x="227704" y="69831"/>
                  </a:cubicBezTo>
                  <a:cubicBezTo>
                    <a:pt x="228371" y="70021"/>
                    <a:pt x="228752" y="70498"/>
                    <a:pt x="228847" y="71164"/>
                  </a:cubicBezTo>
                  <a:cubicBezTo>
                    <a:pt x="229038" y="72688"/>
                    <a:pt x="228180" y="74403"/>
                    <a:pt x="227418" y="75641"/>
                  </a:cubicBezTo>
                  <a:cubicBezTo>
                    <a:pt x="226561" y="76879"/>
                    <a:pt x="225608" y="77260"/>
                    <a:pt x="224370" y="78022"/>
                  </a:cubicBezTo>
                  <a:cubicBezTo>
                    <a:pt x="223608" y="78499"/>
                    <a:pt x="222560" y="79165"/>
                    <a:pt x="221798" y="79642"/>
                  </a:cubicBezTo>
                  <a:cubicBezTo>
                    <a:pt x="222751" y="78975"/>
                    <a:pt x="225323" y="76689"/>
                    <a:pt x="223418" y="72593"/>
                  </a:cubicBezTo>
                  <a:cubicBezTo>
                    <a:pt x="222846" y="71355"/>
                    <a:pt x="221513" y="70498"/>
                    <a:pt x="220370" y="69926"/>
                  </a:cubicBezTo>
                  <a:cubicBezTo>
                    <a:pt x="218941" y="69259"/>
                    <a:pt x="217512" y="68783"/>
                    <a:pt x="215988" y="68402"/>
                  </a:cubicBezTo>
                  <a:cubicBezTo>
                    <a:pt x="214178" y="67926"/>
                    <a:pt x="212273" y="67545"/>
                    <a:pt x="210464" y="67354"/>
                  </a:cubicBezTo>
                  <a:cubicBezTo>
                    <a:pt x="211416" y="66116"/>
                    <a:pt x="212273" y="64783"/>
                    <a:pt x="213035" y="63449"/>
                  </a:cubicBezTo>
                  <a:cubicBezTo>
                    <a:pt x="213512" y="66497"/>
                    <a:pt x="216655" y="68021"/>
                    <a:pt x="219417" y="68021"/>
                  </a:cubicBezTo>
                  <a:cubicBezTo>
                    <a:pt x="224561" y="68116"/>
                    <a:pt x="226751" y="65640"/>
                    <a:pt x="226656" y="63640"/>
                  </a:cubicBezTo>
                  <a:cubicBezTo>
                    <a:pt x="226656" y="61639"/>
                    <a:pt x="225513" y="59734"/>
                    <a:pt x="223418" y="59544"/>
                  </a:cubicBezTo>
                  <a:cubicBezTo>
                    <a:pt x="224465" y="60020"/>
                    <a:pt x="224656" y="60401"/>
                    <a:pt x="224847" y="61544"/>
                  </a:cubicBezTo>
                  <a:cubicBezTo>
                    <a:pt x="225132" y="62782"/>
                    <a:pt x="224561" y="63830"/>
                    <a:pt x="223703" y="64687"/>
                  </a:cubicBezTo>
                  <a:cubicBezTo>
                    <a:pt x="222656" y="65830"/>
                    <a:pt x="220465" y="66211"/>
                    <a:pt x="218560" y="65545"/>
                  </a:cubicBezTo>
                  <a:cubicBezTo>
                    <a:pt x="217703" y="65259"/>
                    <a:pt x="216369" y="63925"/>
                    <a:pt x="216179" y="62973"/>
                  </a:cubicBezTo>
                  <a:cubicBezTo>
                    <a:pt x="215988" y="61830"/>
                    <a:pt x="217893" y="62782"/>
                    <a:pt x="218560" y="62020"/>
                  </a:cubicBezTo>
                  <a:cubicBezTo>
                    <a:pt x="219322" y="61068"/>
                    <a:pt x="219989" y="59449"/>
                    <a:pt x="220084" y="58210"/>
                  </a:cubicBezTo>
                  <a:cubicBezTo>
                    <a:pt x="220084" y="56972"/>
                    <a:pt x="219608" y="55924"/>
                    <a:pt x="218655" y="55067"/>
                  </a:cubicBezTo>
                  <a:cubicBezTo>
                    <a:pt x="217607" y="54115"/>
                    <a:pt x="216179" y="53734"/>
                    <a:pt x="214845" y="53924"/>
                  </a:cubicBezTo>
                  <a:cubicBezTo>
                    <a:pt x="214464" y="53924"/>
                    <a:pt x="214178" y="54019"/>
                    <a:pt x="213798" y="54210"/>
                  </a:cubicBezTo>
                  <a:cubicBezTo>
                    <a:pt x="213607" y="54210"/>
                    <a:pt x="213321" y="54210"/>
                    <a:pt x="213131" y="54210"/>
                  </a:cubicBezTo>
                  <a:cubicBezTo>
                    <a:pt x="212464" y="53829"/>
                    <a:pt x="212273" y="53734"/>
                    <a:pt x="211607" y="53638"/>
                  </a:cubicBezTo>
                  <a:cubicBezTo>
                    <a:pt x="212464" y="53353"/>
                    <a:pt x="212655" y="53638"/>
                    <a:pt x="213416" y="53162"/>
                  </a:cubicBezTo>
                  <a:cubicBezTo>
                    <a:pt x="210845" y="53353"/>
                    <a:pt x="207701" y="51162"/>
                    <a:pt x="205320" y="50114"/>
                  </a:cubicBezTo>
                  <a:cubicBezTo>
                    <a:pt x="204273" y="49638"/>
                    <a:pt x="203225" y="48876"/>
                    <a:pt x="202463" y="47923"/>
                  </a:cubicBezTo>
                  <a:cubicBezTo>
                    <a:pt x="201701" y="46876"/>
                    <a:pt x="201415" y="45637"/>
                    <a:pt x="201224" y="44399"/>
                  </a:cubicBezTo>
                  <a:cubicBezTo>
                    <a:pt x="201129" y="43732"/>
                    <a:pt x="200939" y="43066"/>
                    <a:pt x="201224" y="42494"/>
                  </a:cubicBezTo>
                  <a:cubicBezTo>
                    <a:pt x="201415" y="42018"/>
                    <a:pt x="201986" y="41637"/>
                    <a:pt x="202367" y="41351"/>
                  </a:cubicBezTo>
                  <a:cubicBezTo>
                    <a:pt x="203415" y="40684"/>
                    <a:pt x="204653" y="40018"/>
                    <a:pt x="205892" y="39827"/>
                  </a:cubicBezTo>
                  <a:cubicBezTo>
                    <a:pt x="207035" y="39637"/>
                    <a:pt x="207416" y="41065"/>
                    <a:pt x="208368" y="41732"/>
                  </a:cubicBezTo>
                  <a:cubicBezTo>
                    <a:pt x="209225" y="42399"/>
                    <a:pt x="210368" y="44304"/>
                    <a:pt x="210178" y="45352"/>
                  </a:cubicBezTo>
                  <a:cubicBezTo>
                    <a:pt x="209892" y="46590"/>
                    <a:pt x="209321" y="47352"/>
                    <a:pt x="208178" y="47733"/>
                  </a:cubicBezTo>
                  <a:cubicBezTo>
                    <a:pt x="206749" y="48209"/>
                    <a:pt x="205415" y="48304"/>
                    <a:pt x="203987" y="48590"/>
                  </a:cubicBezTo>
                  <a:cubicBezTo>
                    <a:pt x="205892" y="48971"/>
                    <a:pt x="207320" y="49162"/>
                    <a:pt x="209225" y="48495"/>
                  </a:cubicBezTo>
                  <a:cubicBezTo>
                    <a:pt x="210654" y="47923"/>
                    <a:pt x="212559" y="45923"/>
                    <a:pt x="212655" y="44399"/>
                  </a:cubicBezTo>
                  <a:cubicBezTo>
                    <a:pt x="212750" y="42589"/>
                    <a:pt x="211892" y="40113"/>
                    <a:pt x="210845" y="38875"/>
                  </a:cubicBezTo>
                  <a:cubicBezTo>
                    <a:pt x="209702" y="37541"/>
                    <a:pt x="207987" y="36970"/>
                    <a:pt x="206273" y="36874"/>
                  </a:cubicBezTo>
                  <a:cubicBezTo>
                    <a:pt x="204177" y="36874"/>
                    <a:pt x="202177" y="37636"/>
                    <a:pt x="200463" y="38779"/>
                  </a:cubicBezTo>
                  <a:cubicBezTo>
                    <a:pt x="199796" y="37065"/>
                    <a:pt x="198367" y="35731"/>
                    <a:pt x="196748" y="34874"/>
                  </a:cubicBezTo>
                  <a:cubicBezTo>
                    <a:pt x="198462" y="34874"/>
                    <a:pt x="200177" y="34398"/>
                    <a:pt x="201415" y="33064"/>
                  </a:cubicBezTo>
                  <a:cubicBezTo>
                    <a:pt x="202653" y="31731"/>
                    <a:pt x="203225" y="31064"/>
                    <a:pt x="202463" y="29445"/>
                  </a:cubicBezTo>
                  <a:cubicBezTo>
                    <a:pt x="201701" y="27826"/>
                    <a:pt x="199986" y="26778"/>
                    <a:pt x="198272" y="26397"/>
                  </a:cubicBezTo>
                  <a:cubicBezTo>
                    <a:pt x="197415" y="26206"/>
                    <a:pt x="196557" y="26111"/>
                    <a:pt x="195605" y="26397"/>
                  </a:cubicBezTo>
                  <a:cubicBezTo>
                    <a:pt x="194843" y="26587"/>
                    <a:pt x="193890" y="27540"/>
                    <a:pt x="193795" y="28302"/>
                  </a:cubicBezTo>
                  <a:cubicBezTo>
                    <a:pt x="193605" y="30207"/>
                    <a:pt x="195033" y="30207"/>
                    <a:pt x="194652" y="30016"/>
                  </a:cubicBezTo>
                  <a:cubicBezTo>
                    <a:pt x="194462" y="30016"/>
                    <a:pt x="196272" y="27254"/>
                    <a:pt x="196557" y="27349"/>
                  </a:cubicBezTo>
                  <a:cubicBezTo>
                    <a:pt x="197795" y="27635"/>
                    <a:pt x="199319" y="28397"/>
                    <a:pt x="199319" y="29826"/>
                  </a:cubicBezTo>
                  <a:cubicBezTo>
                    <a:pt x="199319" y="31064"/>
                    <a:pt x="197986" y="31445"/>
                    <a:pt x="197033" y="31540"/>
                  </a:cubicBezTo>
                  <a:cubicBezTo>
                    <a:pt x="195319" y="31731"/>
                    <a:pt x="193414" y="31445"/>
                    <a:pt x="191699" y="31255"/>
                  </a:cubicBezTo>
                  <a:cubicBezTo>
                    <a:pt x="189699" y="31064"/>
                    <a:pt x="187413" y="30683"/>
                    <a:pt x="185508" y="31540"/>
                  </a:cubicBezTo>
                  <a:cubicBezTo>
                    <a:pt x="185508" y="29921"/>
                    <a:pt x="185413" y="28302"/>
                    <a:pt x="185318" y="26587"/>
                  </a:cubicBezTo>
                  <a:cubicBezTo>
                    <a:pt x="185318" y="25254"/>
                    <a:pt x="185032" y="23825"/>
                    <a:pt x="185603" y="22682"/>
                  </a:cubicBezTo>
                  <a:cubicBezTo>
                    <a:pt x="185889" y="22111"/>
                    <a:pt x="186270" y="21634"/>
                    <a:pt x="186842" y="21444"/>
                  </a:cubicBezTo>
                  <a:cubicBezTo>
                    <a:pt x="187508" y="21253"/>
                    <a:pt x="188175" y="21444"/>
                    <a:pt x="188651" y="21825"/>
                  </a:cubicBezTo>
                  <a:cubicBezTo>
                    <a:pt x="189604" y="22492"/>
                    <a:pt x="191033" y="25159"/>
                    <a:pt x="190557" y="27445"/>
                  </a:cubicBezTo>
                  <a:cubicBezTo>
                    <a:pt x="191699" y="26587"/>
                    <a:pt x="191699" y="24873"/>
                    <a:pt x="191318" y="23539"/>
                  </a:cubicBezTo>
                  <a:cubicBezTo>
                    <a:pt x="190938" y="22111"/>
                    <a:pt x="189699" y="20206"/>
                    <a:pt x="188366" y="19729"/>
                  </a:cubicBezTo>
                  <a:cubicBezTo>
                    <a:pt x="186937" y="19253"/>
                    <a:pt x="184937" y="19729"/>
                    <a:pt x="183794" y="20682"/>
                  </a:cubicBezTo>
                  <a:cubicBezTo>
                    <a:pt x="182556" y="21730"/>
                    <a:pt x="182174" y="22777"/>
                    <a:pt x="181984" y="24397"/>
                  </a:cubicBezTo>
                  <a:cubicBezTo>
                    <a:pt x="181508" y="22492"/>
                    <a:pt x="180365" y="20301"/>
                    <a:pt x="178079" y="20396"/>
                  </a:cubicBezTo>
                  <a:cubicBezTo>
                    <a:pt x="177888" y="20396"/>
                    <a:pt x="177698" y="20396"/>
                    <a:pt x="177602" y="20396"/>
                  </a:cubicBezTo>
                  <a:cubicBezTo>
                    <a:pt x="178269" y="19825"/>
                    <a:pt x="178650" y="19063"/>
                    <a:pt x="178745" y="18110"/>
                  </a:cubicBezTo>
                  <a:cubicBezTo>
                    <a:pt x="178841" y="16967"/>
                    <a:pt x="178460" y="15538"/>
                    <a:pt x="177507" y="14872"/>
                  </a:cubicBezTo>
                  <a:cubicBezTo>
                    <a:pt x="177031" y="14491"/>
                    <a:pt x="175983" y="14491"/>
                    <a:pt x="175316" y="14681"/>
                  </a:cubicBezTo>
                  <a:cubicBezTo>
                    <a:pt x="174935" y="14776"/>
                    <a:pt x="175793" y="15253"/>
                    <a:pt x="175602" y="15634"/>
                  </a:cubicBezTo>
                  <a:cubicBezTo>
                    <a:pt x="175507" y="15824"/>
                    <a:pt x="176840" y="17158"/>
                    <a:pt x="176650" y="17729"/>
                  </a:cubicBezTo>
                  <a:cubicBezTo>
                    <a:pt x="176174" y="19253"/>
                    <a:pt x="173507" y="19348"/>
                    <a:pt x="172840" y="18015"/>
                  </a:cubicBezTo>
                  <a:cubicBezTo>
                    <a:pt x="172459" y="17253"/>
                    <a:pt x="171983" y="13824"/>
                    <a:pt x="171507" y="13062"/>
                  </a:cubicBezTo>
                  <a:cubicBezTo>
                    <a:pt x="171125" y="12395"/>
                    <a:pt x="170649" y="11728"/>
                    <a:pt x="170078" y="11157"/>
                  </a:cubicBezTo>
                  <a:cubicBezTo>
                    <a:pt x="168935" y="10109"/>
                    <a:pt x="167411" y="9442"/>
                    <a:pt x="165791" y="9252"/>
                  </a:cubicBezTo>
                  <a:cubicBezTo>
                    <a:pt x="163791" y="8966"/>
                    <a:pt x="161791" y="9538"/>
                    <a:pt x="159981" y="10490"/>
                  </a:cubicBezTo>
                  <a:cubicBezTo>
                    <a:pt x="159124" y="10966"/>
                    <a:pt x="158267" y="11538"/>
                    <a:pt x="157505" y="12205"/>
                  </a:cubicBezTo>
                  <a:cubicBezTo>
                    <a:pt x="157028" y="12681"/>
                    <a:pt x="156076" y="13729"/>
                    <a:pt x="156648" y="14395"/>
                  </a:cubicBezTo>
                  <a:cubicBezTo>
                    <a:pt x="156457" y="14395"/>
                    <a:pt x="156171" y="13919"/>
                    <a:pt x="156076" y="13824"/>
                  </a:cubicBezTo>
                  <a:cubicBezTo>
                    <a:pt x="155695" y="13443"/>
                    <a:pt x="155409" y="12967"/>
                    <a:pt x="155123" y="12490"/>
                  </a:cubicBezTo>
                  <a:cubicBezTo>
                    <a:pt x="154647" y="11728"/>
                    <a:pt x="154647" y="10776"/>
                    <a:pt x="155314" y="10109"/>
                  </a:cubicBezTo>
                  <a:cubicBezTo>
                    <a:pt x="156552" y="8680"/>
                    <a:pt x="159029" y="10776"/>
                    <a:pt x="160648" y="10109"/>
                  </a:cubicBezTo>
                  <a:cubicBezTo>
                    <a:pt x="158267" y="9061"/>
                    <a:pt x="155409" y="6966"/>
                    <a:pt x="153504" y="9061"/>
                  </a:cubicBezTo>
                  <a:cubicBezTo>
                    <a:pt x="153028" y="8204"/>
                    <a:pt x="152361" y="7442"/>
                    <a:pt x="151504" y="6871"/>
                  </a:cubicBezTo>
                  <a:cubicBezTo>
                    <a:pt x="150551" y="6204"/>
                    <a:pt x="149790" y="5823"/>
                    <a:pt x="148551" y="5632"/>
                  </a:cubicBezTo>
                  <a:cubicBezTo>
                    <a:pt x="148742" y="3061"/>
                    <a:pt x="146456" y="1441"/>
                    <a:pt x="144074" y="394"/>
                  </a:cubicBezTo>
                  <a:cubicBezTo>
                    <a:pt x="142741" y="-178"/>
                    <a:pt x="140741" y="-83"/>
                    <a:pt x="139407" y="394"/>
                  </a:cubicBezTo>
                  <a:cubicBezTo>
                    <a:pt x="138264" y="870"/>
                    <a:pt x="137216" y="2965"/>
                    <a:pt x="137502" y="4394"/>
                  </a:cubicBezTo>
                  <a:cubicBezTo>
                    <a:pt x="137693" y="5823"/>
                    <a:pt x="139788" y="6966"/>
                    <a:pt x="141026" y="6490"/>
                  </a:cubicBezTo>
                  <a:cubicBezTo>
                    <a:pt x="139979" y="6490"/>
                    <a:pt x="138645" y="5251"/>
                    <a:pt x="139217" y="3442"/>
                  </a:cubicBezTo>
                  <a:cubicBezTo>
                    <a:pt x="139407" y="2870"/>
                    <a:pt x="139122" y="2489"/>
                    <a:pt x="139598" y="2299"/>
                  </a:cubicBezTo>
                  <a:cubicBezTo>
                    <a:pt x="140550" y="1822"/>
                    <a:pt x="141884" y="2013"/>
                    <a:pt x="142741" y="2584"/>
                  </a:cubicBezTo>
                  <a:cubicBezTo>
                    <a:pt x="143693" y="3156"/>
                    <a:pt x="144360" y="4299"/>
                    <a:pt x="144360" y="5442"/>
                  </a:cubicBezTo>
                  <a:cubicBezTo>
                    <a:pt x="144360" y="5918"/>
                    <a:pt x="144360" y="6490"/>
                    <a:pt x="144170" y="6966"/>
                  </a:cubicBezTo>
                  <a:cubicBezTo>
                    <a:pt x="143979" y="7537"/>
                    <a:pt x="143693" y="7823"/>
                    <a:pt x="143313" y="8204"/>
                  </a:cubicBezTo>
                  <a:cubicBezTo>
                    <a:pt x="142074" y="9252"/>
                    <a:pt x="141026" y="10395"/>
                    <a:pt x="139979" y="11633"/>
                  </a:cubicBezTo>
                  <a:cubicBezTo>
                    <a:pt x="139502" y="10490"/>
                    <a:pt x="139217" y="9157"/>
                    <a:pt x="138645" y="8014"/>
                  </a:cubicBezTo>
                  <a:cubicBezTo>
                    <a:pt x="138169" y="6966"/>
                    <a:pt x="137407" y="6013"/>
                    <a:pt x="136550" y="5156"/>
                  </a:cubicBezTo>
                  <a:cubicBezTo>
                    <a:pt x="134931" y="3632"/>
                    <a:pt x="132740" y="2680"/>
                    <a:pt x="130454" y="2489"/>
                  </a:cubicBezTo>
                  <a:cubicBezTo>
                    <a:pt x="128168" y="2394"/>
                    <a:pt x="125977" y="3061"/>
                    <a:pt x="124167" y="4394"/>
                  </a:cubicBezTo>
                  <a:cubicBezTo>
                    <a:pt x="123215" y="5156"/>
                    <a:pt x="122453" y="6013"/>
                    <a:pt x="121691" y="6966"/>
                  </a:cubicBezTo>
                  <a:cubicBezTo>
                    <a:pt x="121119" y="7823"/>
                    <a:pt x="120548" y="8776"/>
                    <a:pt x="119690" y="9442"/>
                  </a:cubicBezTo>
                  <a:cubicBezTo>
                    <a:pt x="118738" y="10109"/>
                    <a:pt x="117595" y="10014"/>
                    <a:pt x="116738" y="9252"/>
                  </a:cubicBezTo>
                  <a:cubicBezTo>
                    <a:pt x="116357" y="8871"/>
                    <a:pt x="115976" y="8395"/>
                    <a:pt x="115785" y="7918"/>
                  </a:cubicBezTo>
                  <a:cubicBezTo>
                    <a:pt x="115785" y="7823"/>
                    <a:pt x="115785" y="5347"/>
                    <a:pt x="116166" y="5061"/>
                  </a:cubicBezTo>
                  <a:cubicBezTo>
                    <a:pt x="116928" y="4299"/>
                    <a:pt x="118071" y="3823"/>
                    <a:pt x="119119" y="3537"/>
                  </a:cubicBezTo>
                  <a:cubicBezTo>
                    <a:pt x="117595" y="3251"/>
                    <a:pt x="115881" y="3918"/>
                    <a:pt x="114928" y="5061"/>
                  </a:cubicBezTo>
                  <a:cubicBezTo>
                    <a:pt x="114357" y="5632"/>
                    <a:pt x="113975" y="6680"/>
                    <a:pt x="113880" y="7537"/>
                  </a:cubicBezTo>
                  <a:cubicBezTo>
                    <a:pt x="113880" y="8204"/>
                    <a:pt x="113975" y="8966"/>
                    <a:pt x="114357" y="9633"/>
                  </a:cubicBezTo>
                  <a:cubicBezTo>
                    <a:pt x="111975" y="8585"/>
                    <a:pt x="109880" y="8299"/>
                    <a:pt x="107498" y="9442"/>
                  </a:cubicBezTo>
                  <a:cubicBezTo>
                    <a:pt x="108260" y="7823"/>
                    <a:pt x="107213" y="5728"/>
                    <a:pt x="106356" y="4204"/>
                  </a:cubicBezTo>
                  <a:cubicBezTo>
                    <a:pt x="105593" y="2965"/>
                    <a:pt x="104355" y="1727"/>
                    <a:pt x="102831" y="2108"/>
                  </a:cubicBezTo>
                  <a:cubicBezTo>
                    <a:pt x="100069" y="2775"/>
                    <a:pt x="98450" y="5823"/>
                    <a:pt x="98164" y="8490"/>
                  </a:cubicBezTo>
                  <a:cubicBezTo>
                    <a:pt x="97973" y="10585"/>
                    <a:pt x="98355" y="12681"/>
                    <a:pt x="99021" y="14586"/>
                  </a:cubicBezTo>
                  <a:cubicBezTo>
                    <a:pt x="95878" y="12395"/>
                    <a:pt x="91687" y="12300"/>
                    <a:pt x="88258" y="14014"/>
                  </a:cubicBezTo>
                  <a:cubicBezTo>
                    <a:pt x="88067" y="14014"/>
                    <a:pt x="87591" y="14395"/>
                    <a:pt x="87115" y="14681"/>
                  </a:cubicBezTo>
                  <a:cubicBezTo>
                    <a:pt x="87115" y="14872"/>
                    <a:pt x="87115" y="14967"/>
                    <a:pt x="87115" y="14967"/>
                  </a:cubicBezTo>
                  <a:cubicBezTo>
                    <a:pt x="87115" y="14967"/>
                    <a:pt x="87115" y="14776"/>
                    <a:pt x="87115" y="14681"/>
                  </a:cubicBezTo>
                  <a:cubicBezTo>
                    <a:pt x="86543" y="14967"/>
                    <a:pt x="85972" y="15348"/>
                    <a:pt x="85877" y="15443"/>
                  </a:cubicBezTo>
                  <a:cubicBezTo>
                    <a:pt x="83305" y="16872"/>
                    <a:pt x="82067" y="14872"/>
                    <a:pt x="81972" y="14395"/>
                  </a:cubicBezTo>
                  <a:cubicBezTo>
                    <a:pt x="81781" y="13538"/>
                    <a:pt x="83115" y="12776"/>
                    <a:pt x="83781" y="12586"/>
                  </a:cubicBezTo>
                  <a:cubicBezTo>
                    <a:pt x="85400" y="12109"/>
                    <a:pt x="87020" y="13348"/>
                    <a:pt x="87115" y="14681"/>
                  </a:cubicBezTo>
                  <a:cubicBezTo>
                    <a:pt x="87115" y="14681"/>
                    <a:pt x="87115" y="14681"/>
                    <a:pt x="87115" y="14681"/>
                  </a:cubicBezTo>
                  <a:cubicBezTo>
                    <a:pt x="87115" y="14300"/>
                    <a:pt x="86924" y="13633"/>
                    <a:pt x="86829" y="13348"/>
                  </a:cubicBezTo>
                  <a:cubicBezTo>
                    <a:pt x="86448" y="12205"/>
                    <a:pt x="85400" y="11538"/>
                    <a:pt x="84257" y="11443"/>
                  </a:cubicBezTo>
                  <a:cubicBezTo>
                    <a:pt x="83210" y="11347"/>
                    <a:pt x="81972" y="11443"/>
                    <a:pt x="81114" y="12014"/>
                  </a:cubicBezTo>
                  <a:cubicBezTo>
                    <a:pt x="80638" y="12300"/>
                    <a:pt x="80066" y="13062"/>
                    <a:pt x="79876" y="13633"/>
                  </a:cubicBezTo>
                  <a:cubicBezTo>
                    <a:pt x="79590" y="14300"/>
                    <a:pt x="79876" y="15253"/>
                    <a:pt x="79971" y="15919"/>
                  </a:cubicBezTo>
                  <a:cubicBezTo>
                    <a:pt x="80448" y="17253"/>
                    <a:pt x="80733" y="17539"/>
                    <a:pt x="80924" y="18015"/>
                  </a:cubicBezTo>
                  <a:cubicBezTo>
                    <a:pt x="79305" y="18967"/>
                    <a:pt x="78828" y="19539"/>
                    <a:pt x="78066" y="21349"/>
                  </a:cubicBezTo>
                  <a:cubicBezTo>
                    <a:pt x="77685" y="22301"/>
                    <a:pt x="77685" y="23444"/>
                    <a:pt x="77114" y="24301"/>
                  </a:cubicBezTo>
                  <a:cubicBezTo>
                    <a:pt x="76638" y="25063"/>
                    <a:pt x="75685" y="25349"/>
                    <a:pt x="74828" y="25444"/>
                  </a:cubicBezTo>
                  <a:cubicBezTo>
                    <a:pt x="73685" y="25540"/>
                    <a:pt x="72447" y="25444"/>
                    <a:pt x="71303" y="25349"/>
                  </a:cubicBezTo>
                  <a:cubicBezTo>
                    <a:pt x="70446" y="25159"/>
                    <a:pt x="69398" y="24873"/>
                    <a:pt x="69017" y="24111"/>
                  </a:cubicBezTo>
                  <a:cubicBezTo>
                    <a:pt x="68541" y="23254"/>
                    <a:pt x="68636" y="23539"/>
                    <a:pt x="69017" y="22587"/>
                  </a:cubicBezTo>
                  <a:cubicBezTo>
                    <a:pt x="69303" y="21634"/>
                    <a:pt x="69875" y="20872"/>
                    <a:pt x="70827" y="20491"/>
                  </a:cubicBezTo>
                  <a:cubicBezTo>
                    <a:pt x="72732" y="19825"/>
                    <a:pt x="75209" y="22301"/>
                    <a:pt x="74351" y="24492"/>
                  </a:cubicBezTo>
                  <a:cubicBezTo>
                    <a:pt x="76161" y="21920"/>
                    <a:pt x="73780" y="19920"/>
                    <a:pt x="72065" y="19348"/>
                  </a:cubicBezTo>
                  <a:cubicBezTo>
                    <a:pt x="69970" y="18682"/>
                    <a:pt x="68065" y="20110"/>
                    <a:pt x="67113" y="21920"/>
                  </a:cubicBezTo>
                  <a:cubicBezTo>
                    <a:pt x="66065" y="23825"/>
                    <a:pt x="65779" y="26016"/>
                    <a:pt x="67303" y="27730"/>
                  </a:cubicBezTo>
                  <a:cubicBezTo>
                    <a:pt x="68351" y="27921"/>
                    <a:pt x="69398" y="28302"/>
                    <a:pt x="70446" y="28492"/>
                  </a:cubicBezTo>
                  <a:cubicBezTo>
                    <a:pt x="70637" y="28492"/>
                    <a:pt x="72256" y="28588"/>
                    <a:pt x="72732" y="28683"/>
                  </a:cubicBezTo>
                  <a:cubicBezTo>
                    <a:pt x="74923" y="28873"/>
                    <a:pt x="77399" y="28683"/>
                    <a:pt x="79019" y="26873"/>
                  </a:cubicBezTo>
                  <a:cubicBezTo>
                    <a:pt x="78828" y="28302"/>
                    <a:pt x="78733" y="29731"/>
                    <a:pt x="78828" y="31159"/>
                  </a:cubicBezTo>
                  <a:cubicBezTo>
                    <a:pt x="76257" y="30207"/>
                    <a:pt x="73780" y="29350"/>
                    <a:pt x="71113" y="28683"/>
                  </a:cubicBezTo>
                  <a:cubicBezTo>
                    <a:pt x="69684" y="28683"/>
                    <a:pt x="68256" y="28969"/>
                    <a:pt x="67303" y="27826"/>
                  </a:cubicBezTo>
                  <a:cubicBezTo>
                    <a:pt x="65493" y="27540"/>
                    <a:pt x="63588" y="27254"/>
                    <a:pt x="61683" y="27254"/>
                  </a:cubicBezTo>
                  <a:cubicBezTo>
                    <a:pt x="60064" y="27254"/>
                    <a:pt x="58826" y="27540"/>
                    <a:pt x="57207" y="28016"/>
                  </a:cubicBezTo>
                  <a:cubicBezTo>
                    <a:pt x="59683" y="27254"/>
                    <a:pt x="60350" y="26492"/>
                    <a:pt x="59397" y="24492"/>
                  </a:cubicBezTo>
                  <a:cubicBezTo>
                    <a:pt x="58635" y="22968"/>
                    <a:pt x="56540" y="21920"/>
                    <a:pt x="54920" y="22396"/>
                  </a:cubicBezTo>
                  <a:cubicBezTo>
                    <a:pt x="54158" y="22587"/>
                    <a:pt x="53587" y="22968"/>
                    <a:pt x="53111" y="23920"/>
                  </a:cubicBezTo>
                  <a:cubicBezTo>
                    <a:pt x="53015" y="24111"/>
                    <a:pt x="53301" y="24587"/>
                    <a:pt x="53397" y="24682"/>
                  </a:cubicBezTo>
                  <a:cubicBezTo>
                    <a:pt x="53492" y="24873"/>
                    <a:pt x="53492" y="24778"/>
                    <a:pt x="53587" y="24682"/>
                  </a:cubicBezTo>
                  <a:cubicBezTo>
                    <a:pt x="53682" y="24397"/>
                    <a:pt x="53873" y="24206"/>
                    <a:pt x="54158" y="24111"/>
                  </a:cubicBezTo>
                  <a:cubicBezTo>
                    <a:pt x="54730" y="23920"/>
                    <a:pt x="55492" y="24111"/>
                    <a:pt x="55968" y="24397"/>
                  </a:cubicBezTo>
                  <a:cubicBezTo>
                    <a:pt x="56349" y="24587"/>
                    <a:pt x="56730" y="24968"/>
                    <a:pt x="56825" y="25444"/>
                  </a:cubicBezTo>
                  <a:cubicBezTo>
                    <a:pt x="56921" y="25921"/>
                    <a:pt x="55968" y="24492"/>
                    <a:pt x="55587" y="24873"/>
                  </a:cubicBezTo>
                  <a:cubicBezTo>
                    <a:pt x="54730" y="25730"/>
                    <a:pt x="53587" y="26206"/>
                    <a:pt x="52539" y="26778"/>
                  </a:cubicBezTo>
                  <a:cubicBezTo>
                    <a:pt x="51491" y="27349"/>
                    <a:pt x="50444" y="28016"/>
                    <a:pt x="49682" y="28969"/>
                  </a:cubicBezTo>
                  <a:cubicBezTo>
                    <a:pt x="49491" y="26492"/>
                    <a:pt x="47777" y="24301"/>
                    <a:pt x="45491" y="23444"/>
                  </a:cubicBezTo>
                  <a:cubicBezTo>
                    <a:pt x="43300" y="22682"/>
                    <a:pt x="40538" y="23444"/>
                    <a:pt x="39395" y="26016"/>
                  </a:cubicBezTo>
                  <a:cubicBezTo>
                    <a:pt x="38823" y="27254"/>
                    <a:pt x="39014" y="29350"/>
                    <a:pt x="39966" y="30397"/>
                  </a:cubicBezTo>
                  <a:cubicBezTo>
                    <a:pt x="40633" y="31255"/>
                    <a:pt x="43300" y="32302"/>
                    <a:pt x="43776" y="32493"/>
                  </a:cubicBezTo>
                  <a:cubicBezTo>
                    <a:pt x="43967" y="32493"/>
                    <a:pt x="40919" y="29731"/>
                    <a:pt x="41681" y="27064"/>
                  </a:cubicBezTo>
                  <a:cubicBezTo>
                    <a:pt x="42062" y="25730"/>
                    <a:pt x="43967" y="26302"/>
                    <a:pt x="44633" y="26587"/>
                  </a:cubicBezTo>
                  <a:cubicBezTo>
                    <a:pt x="46157" y="27349"/>
                    <a:pt x="46824" y="28778"/>
                    <a:pt x="46919" y="30493"/>
                  </a:cubicBezTo>
                  <a:cubicBezTo>
                    <a:pt x="46919" y="32302"/>
                    <a:pt x="46729" y="34303"/>
                    <a:pt x="46348" y="36112"/>
                  </a:cubicBezTo>
                  <a:cubicBezTo>
                    <a:pt x="44824" y="34398"/>
                    <a:pt x="42824" y="33064"/>
                    <a:pt x="40442" y="32779"/>
                  </a:cubicBezTo>
                  <a:cubicBezTo>
                    <a:pt x="38252" y="32493"/>
                    <a:pt x="35870" y="33350"/>
                    <a:pt x="34537" y="35160"/>
                  </a:cubicBezTo>
                  <a:cubicBezTo>
                    <a:pt x="34156" y="35636"/>
                    <a:pt x="33870" y="36208"/>
                    <a:pt x="33584" y="36779"/>
                  </a:cubicBezTo>
                  <a:cubicBezTo>
                    <a:pt x="33299" y="37351"/>
                    <a:pt x="33108" y="37922"/>
                    <a:pt x="32632" y="38303"/>
                  </a:cubicBezTo>
                  <a:cubicBezTo>
                    <a:pt x="31965" y="38970"/>
                    <a:pt x="30822" y="40018"/>
                    <a:pt x="29965" y="40208"/>
                  </a:cubicBezTo>
                  <a:cubicBezTo>
                    <a:pt x="28536" y="40589"/>
                    <a:pt x="26917" y="40399"/>
                    <a:pt x="26536" y="38684"/>
                  </a:cubicBezTo>
                  <a:cubicBezTo>
                    <a:pt x="26250" y="37541"/>
                    <a:pt x="26726" y="36779"/>
                    <a:pt x="27774" y="36303"/>
                  </a:cubicBezTo>
                  <a:cubicBezTo>
                    <a:pt x="28917" y="35827"/>
                    <a:pt x="30441" y="36589"/>
                    <a:pt x="31108" y="37732"/>
                  </a:cubicBezTo>
                  <a:cubicBezTo>
                    <a:pt x="30727" y="36303"/>
                    <a:pt x="28917" y="34779"/>
                    <a:pt x="27489" y="35065"/>
                  </a:cubicBezTo>
                  <a:cubicBezTo>
                    <a:pt x="25298" y="35350"/>
                    <a:pt x="24250" y="37065"/>
                    <a:pt x="24250" y="38684"/>
                  </a:cubicBezTo>
                  <a:cubicBezTo>
                    <a:pt x="24250" y="40303"/>
                    <a:pt x="25583" y="42113"/>
                    <a:pt x="26917" y="42970"/>
                  </a:cubicBezTo>
                  <a:cubicBezTo>
                    <a:pt x="28060" y="43828"/>
                    <a:pt x="34061" y="41542"/>
                    <a:pt x="35204" y="40208"/>
                  </a:cubicBezTo>
                  <a:cubicBezTo>
                    <a:pt x="34632" y="42208"/>
                    <a:pt x="34442" y="44304"/>
                    <a:pt x="34537" y="46399"/>
                  </a:cubicBezTo>
                  <a:cubicBezTo>
                    <a:pt x="34537" y="48590"/>
                    <a:pt x="34823" y="50781"/>
                    <a:pt x="35299" y="52972"/>
                  </a:cubicBezTo>
                  <a:cubicBezTo>
                    <a:pt x="33108" y="53448"/>
                    <a:pt x="31775" y="53638"/>
                    <a:pt x="29584" y="53734"/>
                  </a:cubicBezTo>
                  <a:cubicBezTo>
                    <a:pt x="31584" y="53353"/>
                    <a:pt x="32441" y="52114"/>
                    <a:pt x="32441" y="50209"/>
                  </a:cubicBezTo>
                  <a:cubicBezTo>
                    <a:pt x="32441" y="49162"/>
                    <a:pt x="32060" y="47638"/>
                    <a:pt x="31108" y="46876"/>
                  </a:cubicBezTo>
                  <a:cubicBezTo>
                    <a:pt x="30251" y="46209"/>
                    <a:pt x="28727" y="46209"/>
                    <a:pt x="27869" y="47257"/>
                  </a:cubicBezTo>
                  <a:cubicBezTo>
                    <a:pt x="27679" y="47542"/>
                    <a:pt x="27869" y="47923"/>
                    <a:pt x="28155" y="47923"/>
                  </a:cubicBezTo>
                  <a:cubicBezTo>
                    <a:pt x="28631" y="47923"/>
                    <a:pt x="28917" y="48400"/>
                    <a:pt x="28536" y="49257"/>
                  </a:cubicBezTo>
                  <a:cubicBezTo>
                    <a:pt x="28346" y="49733"/>
                    <a:pt x="28060" y="49924"/>
                    <a:pt x="27489" y="49733"/>
                  </a:cubicBezTo>
                  <a:cubicBezTo>
                    <a:pt x="26917" y="49638"/>
                    <a:pt x="26345" y="49352"/>
                    <a:pt x="25774" y="49257"/>
                  </a:cubicBezTo>
                  <a:cubicBezTo>
                    <a:pt x="24345" y="49066"/>
                    <a:pt x="22916" y="49162"/>
                    <a:pt x="21583" y="49733"/>
                  </a:cubicBezTo>
                  <a:cubicBezTo>
                    <a:pt x="20345" y="50305"/>
                    <a:pt x="19202" y="51257"/>
                    <a:pt x="18725" y="52591"/>
                  </a:cubicBezTo>
                  <a:cubicBezTo>
                    <a:pt x="18440" y="53353"/>
                    <a:pt x="18344" y="54210"/>
                    <a:pt x="18440" y="54972"/>
                  </a:cubicBezTo>
                  <a:cubicBezTo>
                    <a:pt x="18440" y="55258"/>
                    <a:pt x="18630" y="55639"/>
                    <a:pt x="18535" y="55924"/>
                  </a:cubicBezTo>
                  <a:cubicBezTo>
                    <a:pt x="18535" y="56305"/>
                    <a:pt x="18535" y="57544"/>
                    <a:pt x="18535" y="57925"/>
                  </a:cubicBezTo>
                  <a:cubicBezTo>
                    <a:pt x="17201" y="56496"/>
                    <a:pt x="14820" y="56020"/>
                    <a:pt x="13106" y="56972"/>
                  </a:cubicBezTo>
                  <a:cubicBezTo>
                    <a:pt x="11391" y="57925"/>
                    <a:pt x="10439" y="59449"/>
                    <a:pt x="10248" y="61354"/>
                  </a:cubicBezTo>
                  <a:cubicBezTo>
                    <a:pt x="10058" y="63163"/>
                    <a:pt x="10724" y="66021"/>
                    <a:pt x="11963" y="67354"/>
                  </a:cubicBezTo>
                  <a:cubicBezTo>
                    <a:pt x="13391" y="68878"/>
                    <a:pt x="15677" y="67735"/>
                    <a:pt x="17582" y="67354"/>
                  </a:cubicBezTo>
                  <a:cubicBezTo>
                    <a:pt x="18916" y="67069"/>
                    <a:pt x="20249" y="66592"/>
                    <a:pt x="21583" y="66211"/>
                  </a:cubicBezTo>
                  <a:cubicBezTo>
                    <a:pt x="22250" y="66021"/>
                    <a:pt x="23012" y="65735"/>
                    <a:pt x="23678" y="65545"/>
                  </a:cubicBezTo>
                  <a:cubicBezTo>
                    <a:pt x="24059" y="65545"/>
                    <a:pt x="24345" y="65354"/>
                    <a:pt x="24726" y="65259"/>
                  </a:cubicBezTo>
                  <a:cubicBezTo>
                    <a:pt x="25012" y="65259"/>
                    <a:pt x="25298" y="65068"/>
                    <a:pt x="25583" y="65259"/>
                  </a:cubicBezTo>
                  <a:cubicBezTo>
                    <a:pt x="22916" y="65926"/>
                    <a:pt x="20249" y="66688"/>
                    <a:pt x="17773" y="68021"/>
                  </a:cubicBezTo>
                  <a:cubicBezTo>
                    <a:pt x="15773" y="69164"/>
                    <a:pt x="13201" y="71164"/>
                    <a:pt x="13106" y="74117"/>
                  </a:cubicBezTo>
                  <a:cubicBezTo>
                    <a:pt x="13106" y="75546"/>
                    <a:pt x="13963" y="77165"/>
                    <a:pt x="15106" y="78022"/>
                  </a:cubicBezTo>
                  <a:cubicBezTo>
                    <a:pt x="13201" y="79261"/>
                    <a:pt x="13106" y="80594"/>
                    <a:pt x="11391" y="82213"/>
                  </a:cubicBezTo>
                  <a:cubicBezTo>
                    <a:pt x="12058" y="81547"/>
                    <a:pt x="12534" y="80118"/>
                    <a:pt x="11867" y="79070"/>
                  </a:cubicBezTo>
                  <a:cubicBezTo>
                    <a:pt x="11296" y="78118"/>
                    <a:pt x="9581" y="77737"/>
                    <a:pt x="8629" y="77832"/>
                  </a:cubicBezTo>
                  <a:cubicBezTo>
                    <a:pt x="7581" y="77927"/>
                    <a:pt x="6533" y="78499"/>
                    <a:pt x="5962" y="79451"/>
                  </a:cubicBezTo>
                  <a:cubicBezTo>
                    <a:pt x="5200" y="80785"/>
                    <a:pt x="5486" y="82023"/>
                    <a:pt x="5867" y="82594"/>
                  </a:cubicBezTo>
                  <a:cubicBezTo>
                    <a:pt x="6533" y="81070"/>
                    <a:pt x="8343" y="79832"/>
                    <a:pt x="9677" y="81166"/>
                  </a:cubicBezTo>
                  <a:cubicBezTo>
                    <a:pt x="8439" y="82213"/>
                    <a:pt x="6343" y="82880"/>
                    <a:pt x="5009" y="84595"/>
                  </a:cubicBezTo>
                  <a:cubicBezTo>
                    <a:pt x="3581" y="86309"/>
                    <a:pt x="3581" y="87928"/>
                    <a:pt x="3771" y="89357"/>
                  </a:cubicBezTo>
                  <a:cubicBezTo>
                    <a:pt x="3962" y="90786"/>
                    <a:pt x="4438" y="91834"/>
                    <a:pt x="5486" y="92786"/>
                  </a:cubicBezTo>
                  <a:cubicBezTo>
                    <a:pt x="3676" y="92786"/>
                    <a:pt x="2438" y="94405"/>
                    <a:pt x="2247" y="96215"/>
                  </a:cubicBezTo>
                  <a:cubicBezTo>
                    <a:pt x="2152" y="97358"/>
                    <a:pt x="2723" y="98596"/>
                    <a:pt x="3390" y="99549"/>
                  </a:cubicBezTo>
                  <a:cubicBezTo>
                    <a:pt x="3962" y="100501"/>
                    <a:pt x="4628" y="100787"/>
                    <a:pt x="5676" y="101073"/>
                  </a:cubicBezTo>
                  <a:cubicBezTo>
                    <a:pt x="7010" y="101454"/>
                    <a:pt x="8629" y="99739"/>
                    <a:pt x="9963" y="99263"/>
                  </a:cubicBezTo>
                  <a:cubicBezTo>
                    <a:pt x="9677" y="99549"/>
                    <a:pt x="6819" y="101263"/>
                    <a:pt x="6152" y="101644"/>
                  </a:cubicBezTo>
                  <a:cubicBezTo>
                    <a:pt x="4819" y="102502"/>
                    <a:pt x="3676" y="103645"/>
                    <a:pt x="2723" y="105073"/>
                  </a:cubicBezTo>
                  <a:cubicBezTo>
                    <a:pt x="1104" y="107550"/>
                    <a:pt x="152" y="110788"/>
                    <a:pt x="1104" y="113741"/>
                  </a:cubicBezTo>
                  <a:cubicBezTo>
                    <a:pt x="1581" y="115170"/>
                    <a:pt x="2533" y="116503"/>
                    <a:pt x="3771" y="117361"/>
                  </a:cubicBezTo>
                  <a:cubicBezTo>
                    <a:pt x="4438" y="117837"/>
                    <a:pt x="5200" y="118218"/>
                    <a:pt x="6057" y="118408"/>
                  </a:cubicBezTo>
                  <a:cubicBezTo>
                    <a:pt x="6819" y="118599"/>
                    <a:pt x="7581" y="118599"/>
                    <a:pt x="8343" y="118789"/>
                  </a:cubicBezTo>
                  <a:cubicBezTo>
                    <a:pt x="9010" y="118980"/>
                    <a:pt x="9486" y="119456"/>
                    <a:pt x="9486" y="120218"/>
                  </a:cubicBezTo>
                  <a:cubicBezTo>
                    <a:pt x="9486" y="120885"/>
                    <a:pt x="8819" y="123742"/>
                    <a:pt x="8439" y="124219"/>
                  </a:cubicBezTo>
                  <a:cubicBezTo>
                    <a:pt x="7962" y="124790"/>
                    <a:pt x="7200" y="125266"/>
                    <a:pt x="6533" y="125647"/>
                  </a:cubicBezTo>
                  <a:cubicBezTo>
                    <a:pt x="5772" y="126028"/>
                    <a:pt x="5009" y="126409"/>
                    <a:pt x="4152" y="126505"/>
                  </a:cubicBezTo>
                  <a:cubicBezTo>
                    <a:pt x="3295" y="126600"/>
                    <a:pt x="2438" y="126505"/>
                    <a:pt x="1771" y="125838"/>
                  </a:cubicBezTo>
                  <a:cubicBezTo>
                    <a:pt x="1199" y="125362"/>
                    <a:pt x="914" y="124600"/>
                    <a:pt x="1199" y="123838"/>
                  </a:cubicBezTo>
                  <a:cubicBezTo>
                    <a:pt x="1485" y="123076"/>
                    <a:pt x="2723" y="122599"/>
                    <a:pt x="3390" y="122504"/>
                  </a:cubicBezTo>
                  <a:cubicBezTo>
                    <a:pt x="4248" y="122504"/>
                    <a:pt x="5581" y="123171"/>
                    <a:pt x="6248" y="123647"/>
                  </a:cubicBezTo>
                  <a:cubicBezTo>
                    <a:pt x="5486" y="122790"/>
                    <a:pt x="3962" y="121742"/>
                    <a:pt x="2723" y="121837"/>
                  </a:cubicBezTo>
                  <a:cubicBezTo>
                    <a:pt x="1581" y="121837"/>
                    <a:pt x="247" y="122980"/>
                    <a:pt x="56" y="124123"/>
                  </a:cubicBezTo>
                  <a:cubicBezTo>
                    <a:pt x="-134" y="125266"/>
                    <a:pt x="152" y="126886"/>
                    <a:pt x="1009" y="127648"/>
                  </a:cubicBezTo>
                  <a:cubicBezTo>
                    <a:pt x="1961" y="128505"/>
                    <a:pt x="3581" y="128791"/>
                    <a:pt x="4914" y="128695"/>
                  </a:cubicBezTo>
                  <a:cubicBezTo>
                    <a:pt x="6438" y="128600"/>
                    <a:pt x="7867" y="127648"/>
                    <a:pt x="9200" y="126790"/>
                  </a:cubicBezTo>
                  <a:cubicBezTo>
                    <a:pt x="7772" y="130029"/>
                    <a:pt x="5200" y="134410"/>
                    <a:pt x="8629" y="137077"/>
                  </a:cubicBezTo>
                  <a:cubicBezTo>
                    <a:pt x="5962" y="138601"/>
                    <a:pt x="6057" y="143173"/>
                    <a:pt x="6629" y="144507"/>
                  </a:cubicBezTo>
                  <a:cubicBezTo>
                    <a:pt x="7581" y="146507"/>
                    <a:pt x="9963" y="148984"/>
                    <a:pt x="12915" y="147460"/>
                  </a:cubicBezTo>
                  <a:cubicBezTo>
                    <a:pt x="13487" y="147174"/>
                    <a:pt x="14153" y="146698"/>
                    <a:pt x="14344" y="146031"/>
                  </a:cubicBezTo>
                  <a:cubicBezTo>
                    <a:pt x="14439" y="145745"/>
                    <a:pt x="14534" y="145364"/>
                    <a:pt x="14344" y="145078"/>
                  </a:cubicBezTo>
                  <a:cubicBezTo>
                    <a:pt x="14344" y="145078"/>
                    <a:pt x="14153" y="144888"/>
                    <a:pt x="14058" y="144888"/>
                  </a:cubicBezTo>
                  <a:cubicBezTo>
                    <a:pt x="14058" y="144888"/>
                    <a:pt x="13106" y="145459"/>
                    <a:pt x="13010" y="145459"/>
                  </a:cubicBezTo>
                  <a:cubicBezTo>
                    <a:pt x="12725" y="145555"/>
                    <a:pt x="12439" y="145555"/>
                    <a:pt x="12058" y="145555"/>
                  </a:cubicBezTo>
                  <a:cubicBezTo>
                    <a:pt x="11486" y="145555"/>
                    <a:pt x="10915" y="145269"/>
                    <a:pt x="10629" y="144793"/>
                  </a:cubicBezTo>
                  <a:cubicBezTo>
                    <a:pt x="10058" y="144031"/>
                    <a:pt x="9677" y="140316"/>
                    <a:pt x="10248" y="139459"/>
                  </a:cubicBezTo>
                  <a:cubicBezTo>
                    <a:pt x="10915" y="138601"/>
                    <a:pt x="11963" y="138125"/>
                    <a:pt x="13010" y="137839"/>
                  </a:cubicBezTo>
                  <a:cubicBezTo>
                    <a:pt x="13677" y="137649"/>
                    <a:pt x="14249" y="137363"/>
                    <a:pt x="14915" y="137268"/>
                  </a:cubicBezTo>
                  <a:cubicBezTo>
                    <a:pt x="15582" y="137173"/>
                    <a:pt x="16249" y="137268"/>
                    <a:pt x="16916" y="137268"/>
                  </a:cubicBezTo>
                  <a:cubicBezTo>
                    <a:pt x="17678" y="137268"/>
                    <a:pt x="18440" y="137268"/>
                    <a:pt x="19202" y="137077"/>
                  </a:cubicBezTo>
                  <a:cubicBezTo>
                    <a:pt x="19583" y="137077"/>
                    <a:pt x="20059" y="136982"/>
                    <a:pt x="20440" y="136982"/>
                  </a:cubicBezTo>
                  <a:cubicBezTo>
                    <a:pt x="20821" y="136982"/>
                    <a:pt x="21297" y="136982"/>
                    <a:pt x="21678" y="137077"/>
                  </a:cubicBezTo>
                  <a:cubicBezTo>
                    <a:pt x="19678" y="138697"/>
                    <a:pt x="18249" y="140983"/>
                    <a:pt x="17773" y="143554"/>
                  </a:cubicBezTo>
                  <a:cubicBezTo>
                    <a:pt x="17487" y="144983"/>
                    <a:pt x="17678" y="146317"/>
                    <a:pt x="18154" y="147650"/>
                  </a:cubicBezTo>
                  <a:cubicBezTo>
                    <a:pt x="18440" y="148317"/>
                    <a:pt x="18821" y="148888"/>
                    <a:pt x="19202" y="149555"/>
                  </a:cubicBezTo>
                  <a:cubicBezTo>
                    <a:pt x="19392" y="149841"/>
                    <a:pt x="19583" y="150127"/>
                    <a:pt x="19868" y="150412"/>
                  </a:cubicBezTo>
                  <a:cubicBezTo>
                    <a:pt x="20059" y="150698"/>
                    <a:pt x="20059" y="150889"/>
                    <a:pt x="20059" y="151174"/>
                  </a:cubicBezTo>
                  <a:cubicBezTo>
                    <a:pt x="20059" y="152603"/>
                    <a:pt x="20154" y="156699"/>
                    <a:pt x="20631" y="158032"/>
                  </a:cubicBezTo>
                  <a:cubicBezTo>
                    <a:pt x="20821" y="158699"/>
                    <a:pt x="21202" y="159366"/>
                    <a:pt x="21583" y="159937"/>
                  </a:cubicBezTo>
                  <a:cubicBezTo>
                    <a:pt x="21583" y="160033"/>
                    <a:pt x="21964" y="160318"/>
                    <a:pt x="21964" y="160414"/>
                  </a:cubicBezTo>
                  <a:cubicBezTo>
                    <a:pt x="21964" y="160604"/>
                    <a:pt x="21488" y="160795"/>
                    <a:pt x="21392" y="160795"/>
                  </a:cubicBezTo>
                  <a:cubicBezTo>
                    <a:pt x="20249" y="161271"/>
                    <a:pt x="18916" y="160795"/>
                    <a:pt x="17868" y="160128"/>
                  </a:cubicBezTo>
                  <a:cubicBezTo>
                    <a:pt x="17011" y="159556"/>
                    <a:pt x="15963" y="158699"/>
                    <a:pt x="16154" y="157461"/>
                  </a:cubicBezTo>
                  <a:cubicBezTo>
                    <a:pt x="16440" y="156223"/>
                    <a:pt x="18059" y="155175"/>
                    <a:pt x="19583" y="155937"/>
                  </a:cubicBezTo>
                  <a:cubicBezTo>
                    <a:pt x="20631" y="156413"/>
                    <a:pt x="19678" y="155461"/>
                    <a:pt x="17964" y="155175"/>
                  </a:cubicBezTo>
                  <a:cubicBezTo>
                    <a:pt x="16154" y="154889"/>
                    <a:pt x="14725" y="156604"/>
                    <a:pt x="14820" y="158413"/>
                  </a:cubicBezTo>
                  <a:cubicBezTo>
                    <a:pt x="14820" y="160414"/>
                    <a:pt x="16725" y="162128"/>
                    <a:pt x="18440" y="162890"/>
                  </a:cubicBezTo>
                  <a:cubicBezTo>
                    <a:pt x="19392" y="163366"/>
                    <a:pt x="20535" y="163557"/>
                    <a:pt x="21583" y="163462"/>
                  </a:cubicBezTo>
                  <a:cubicBezTo>
                    <a:pt x="22155" y="163462"/>
                    <a:pt x="22726" y="163176"/>
                    <a:pt x="23202" y="162890"/>
                  </a:cubicBezTo>
                  <a:cubicBezTo>
                    <a:pt x="23488" y="162795"/>
                    <a:pt x="23678" y="162604"/>
                    <a:pt x="23869" y="162414"/>
                  </a:cubicBezTo>
                  <a:cubicBezTo>
                    <a:pt x="24059" y="162223"/>
                    <a:pt x="24155" y="162033"/>
                    <a:pt x="24440" y="162128"/>
                  </a:cubicBezTo>
                  <a:cubicBezTo>
                    <a:pt x="25107" y="162319"/>
                    <a:pt x="25774" y="162509"/>
                    <a:pt x="26536" y="162604"/>
                  </a:cubicBezTo>
                  <a:cubicBezTo>
                    <a:pt x="27203" y="162604"/>
                    <a:pt x="27965" y="162700"/>
                    <a:pt x="28631" y="162604"/>
                  </a:cubicBezTo>
                  <a:cubicBezTo>
                    <a:pt x="30060" y="162604"/>
                    <a:pt x="31489" y="162223"/>
                    <a:pt x="32918" y="161842"/>
                  </a:cubicBezTo>
                  <a:cubicBezTo>
                    <a:pt x="31965" y="163366"/>
                    <a:pt x="31394" y="163652"/>
                    <a:pt x="31108" y="165462"/>
                  </a:cubicBezTo>
                  <a:cubicBezTo>
                    <a:pt x="30441" y="164033"/>
                    <a:pt x="28822" y="163462"/>
                    <a:pt x="27393" y="163747"/>
                  </a:cubicBezTo>
                  <a:cubicBezTo>
                    <a:pt x="25869" y="164033"/>
                    <a:pt x="24440" y="165081"/>
                    <a:pt x="23964" y="166605"/>
                  </a:cubicBezTo>
                  <a:cubicBezTo>
                    <a:pt x="23012" y="169558"/>
                    <a:pt x="25869" y="172701"/>
                    <a:pt x="28727" y="173177"/>
                  </a:cubicBezTo>
                  <a:cubicBezTo>
                    <a:pt x="30536" y="173463"/>
                    <a:pt x="32251" y="171367"/>
                    <a:pt x="33203" y="169748"/>
                  </a:cubicBezTo>
                  <a:cubicBezTo>
                    <a:pt x="33203" y="171939"/>
                    <a:pt x="33870" y="174415"/>
                    <a:pt x="35680" y="175844"/>
                  </a:cubicBezTo>
                  <a:cubicBezTo>
                    <a:pt x="34537" y="176511"/>
                    <a:pt x="33203" y="178892"/>
                    <a:pt x="32727" y="180226"/>
                  </a:cubicBezTo>
                  <a:cubicBezTo>
                    <a:pt x="32346" y="181559"/>
                    <a:pt x="32441" y="184131"/>
                    <a:pt x="33680" y="185369"/>
                  </a:cubicBezTo>
                  <a:cubicBezTo>
                    <a:pt x="35108" y="186893"/>
                    <a:pt x="37490" y="186988"/>
                    <a:pt x="38823" y="185369"/>
                  </a:cubicBezTo>
                  <a:cubicBezTo>
                    <a:pt x="39299" y="184798"/>
                    <a:pt x="39776" y="182988"/>
                    <a:pt x="39776" y="182131"/>
                  </a:cubicBezTo>
                  <a:cubicBezTo>
                    <a:pt x="39776" y="182131"/>
                    <a:pt x="38157" y="183559"/>
                    <a:pt x="37394" y="183750"/>
                  </a:cubicBezTo>
                  <a:cubicBezTo>
                    <a:pt x="36918" y="183750"/>
                    <a:pt x="36347" y="183940"/>
                    <a:pt x="36061" y="183559"/>
                  </a:cubicBezTo>
                  <a:cubicBezTo>
                    <a:pt x="35775" y="183178"/>
                    <a:pt x="35775" y="182607"/>
                    <a:pt x="35966" y="182226"/>
                  </a:cubicBezTo>
                  <a:cubicBezTo>
                    <a:pt x="36251" y="181369"/>
                    <a:pt x="37109" y="178606"/>
                    <a:pt x="37966" y="178321"/>
                  </a:cubicBezTo>
                  <a:cubicBezTo>
                    <a:pt x="39109" y="177940"/>
                    <a:pt x="40347" y="178035"/>
                    <a:pt x="41585" y="177940"/>
                  </a:cubicBezTo>
                  <a:cubicBezTo>
                    <a:pt x="42919" y="177940"/>
                    <a:pt x="44157" y="177559"/>
                    <a:pt x="45300" y="176892"/>
                  </a:cubicBezTo>
                  <a:cubicBezTo>
                    <a:pt x="43205" y="180416"/>
                    <a:pt x="43109" y="185750"/>
                    <a:pt x="46157" y="188798"/>
                  </a:cubicBezTo>
                  <a:cubicBezTo>
                    <a:pt x="47586" y="190322"/>
                    <a:pt x="49682" y="190513"/>
                    <a:pt x="51682" y="190894"/>
                  </a:cubicBezTo>
                  <a:cubicBezTo>
                    <a:pt x="52539" y="191084"/>
                    <a:pt x="53492" y="191370"/>
                    <a:pt x="54063" y="192227"/>
                  </a:cubicBezTo>
                  <a:cubicBezTo>
                    <a:pt x="54540" y="193084"/>
                    <a:pt x="54540" y="195751"/>
                    <a:pt x="54063" y="196609"/>
                  </a:cubicBezTo>
                  <a:cubicBezTo>
                    <a:pt x="53492" y="197466"/>
                    <a:pt x="52444" y="197942"/>
                    <a:pt x="51491" y="197942"/>
                  </a:cubicBezTo>
                  <a:cubicBezTo>
                    <a:pt x="50348" y="197942"/>
                    <a:pt x="49396" y="197466"/>
                    <a:pt x="48634" y="196609"/>
                  </a:cubicBezTo>
                  <a:cubicBezTo>
                    <a:pt x="49396" y="198228"/>
                    <a:pt x="51301" y="199180"/>
                    <a:pt x="53015" y="198895"/>
                  </a:cubicBezTo>
                  <a:cubicBezTo>
                    <a:pt x="54920" y="198609"/>
                    <a:pt x="56349" y="195656"/>
                    <a:pt x="56635" y="193751"/>
                  </a:cubicBezTo>
                  <a:cubicBezTo>
                    <a:pt x="56825" y="192703"/>
                    <a:pt x="56635" y="191656"/>
                    <a:pt x="56254" y="190703"/>
                  </a:cubicBezTo>
                  <a:cubicBezTo>
                    <a:pt x="57588" y="190703"/>
                    <a:pt x="58921" y="190703"/>
                    <a:pt x="60255" y="190513"/>
                  </a:cubicBezTo>
                  <a:cubicBezTo>
                    <a:pt x="58921" y="195085"/>
                    <a:pt x="60826" y="197275"/>
                    <a:pt x="62255" y="198418"/>
                  </a:cubicBezTo>
                  <a:cubicBezTo>
                    <a:pt x="62636" y="198799"/>
                    <a:pt x="63207" y="199085"/>
                    <a:pt x="63779" y="199276"/>
                  </a:cubicBezTo>
                  <a:cubicBezTo>
                    <a:pt x="63207" y="198323"/>
                    <a:pt x="62826" y="197180"/>
                    <a:pt x="62636" y="195847"/>
                  </a:cubicBezTo>
                  <a:cubicBezTo>
                    <a:pt x="61398" y="188227"/>
                    <a:pt x="60350" y="184131"/>
                    <a:pt x="59588" y="181083"/>
                  </a:cubicBezTo>
                  <a:cubicBezTo>
                    <a:pt x="58635" y="177559"/>
                    <a:pt x="58064" y="175177"/>
                    <a:pt x="58064" y="170891"/>
                  </a:cubicBezTo>
                  <a:cubicBezTo>
                    <a:pt x="58064" y="166129"/>
                    <a:pt x="59207" y="162700"/>
                    <a:pt x="61398" y="160699"/>
                  </a:cubicBezTo>
                  <a:cubicBezTo>
                    <a:pt x="61683" y="161080"/>
                    <a:pt x="61969" y="161557"/>
                    <a:pt x="62350" y="161938"/>
                  </a:cubicBezTo>
                  <a:cubicBezTo>
                    <a:pt x="63493" y="163271"/>
                    <a:pt x="64826" y="164319"/>
                    <a:pt x="66255" y="165176"/>
                  </a:cubicBezTo>
                  <a:cubicBezTo>
                    <a:pt x="66541" y="165367"/>
                    <a:pt x="66732" y="165557"/>
                    <a:pt x="67017" y="165652"/>
                  </a:cubicBezTo>
                  <a:cubicBezTo>
                    <a:pt x="67017" y="165652"/>
                    <a:pt x="67017" y="165652"/>
                    <a:pt x="67017" y="165652"/>
                  </a:cubicBezTo>
                  <a:cubicBezTo>
                    <a:pt x="67493" y="165843"/>
                    <a:pt x="67970" y="166129"/>
                    <a:pt x="68446" y="166224"/>
                  </a:cubicBezTo>
                  <a:cubicBezTo>
                    <a:pt x="68732" y="166224"/>
                    <a:pt x="68922" y="166414"/>
                    <a:pt x="69208" y="166414"/>
                  </a:cubicBezTo>
                  <a:cubicBezTo>
                    <a:pt x="69303" y="166414"/>
                    <a:pt x="69398" y="166414"/>
                    <a:pt x="69589" y="166414"/>
                  </a:cubicBezTo>
                  <a:cubicBezTo>
                    <a:pt x="69875" y="166414"/>
                    <a:pt x="69780" y="166605"/>
                    <a:pt x="69780" y="166795"/>
                  </a:cubicBezTo>
                  <a:cubicBezTo>
                    <a:pt x="69970" y="168319"/>
                    <a:pt x="71018" y="169367"/>
                    <a:pt x="72351" y="169939"/>
                  </a:cubicBezTo>
                  <a:cubicBezTo>
                    <a:pt x="73780" y="170510"/>
                    <a:pt x="75590" y="170701"/>
                    <a:pt x="77114" y="170034"/>
                  </a:cubicBezTo>
                  <a:cubicBezTo>
                    <a:pt x="77685" y="169748"/>
                    <a:pt x="78257" y="169272"/>
                    <a:pt x="78542" y="168605"/>
                  </a:cubicBezTo>
                  <a:cubicBezTo>
                    <a:pt x="78638" y="168319"/>
                    <a:pt x="78733" y="167938"/>
                    <a:pt x="78733" y="167653"/>
                  </a:cubicBezTo>
                  <a:cubicBezTo>
                    <a:pt x="78733" y="167653"/>
                    <a:pt x="78542" y="167081"/>
                    <a:pt x="78542" y="167081"/>
                  </a:cubicBezTo>
                  <a:cubicBezTo>
                    <a:pt x="78447" y="168034"/>
                    <a:pt x="77304" y="168510"/>
                    <a:pt x="76447" y="168510"/>
                  </a:cubicBezTo>
                  <a:cubicBezTo>
                    <a:pt x="75399" y="168510"/>
                    <a:pt x="74256" y="168034"/>
                    <a:pt x="73399" y="167462"/>
                  </a:cubicBezTo>
                  <a:cubicBezTo>
                    <a:pt x="73113" y="167272"/>
                    <a:pt x="72827" y="167081"/>
                    <a:pt x="72732" y="166700"/>
                  </a:cubicBezTo>
                  <a:cubicBezTo>
                    <a:pt x="72732" y="166510"/>
                    <a:pt x="72732" y="166510"/>
                    <a:pt x="72827" y="166414"/>
                  </a:cubicBezTo>
                  <a:cubicBezTo>
                    <a:pt x="72923" y="166414"/>
                    <a:pt x="73113" y="166414"/>
                    <a:pt x="73208" y="166414"/>
                  </a:cubicBezTo>
                  <a:cubicBezTo>
                    <a:pt x="73494" y="166414"/>
                    <a:pt x="73780" y="166319"/>
                    <a:pt x="73970" y="166224"/>
                  </a:cubicBezTo>
                  <a:cubicBezTo>
                    <a:pt x="74732" y="166033"/>
                    <a:pt x="75399" y="165748"/>
                    <a:pt x="76066" y="165271"/>
                  </a:cubicBezTo>
                  <a:cubicBezTo>
                    <a:pt x="78352" y="163652"/>
                    <a:pt x="78161" y="160604"/>
                    <a:pt x="77495" y="158128"/>
                  </a:cubicBezTo>
                  <a:cubicBezTo>
                    <a:pt x="77399" y="157747"/>
                    <a:pt x="77304" y="157366"/>
                    <a:pt x="77114" y="156985"/>
                  </a:cubicBezTo>
                  <a:cubicBezTo>
                    <a:pt x="77018" y="156604"/>
                    <a:pt x="76828" y="156223"/>
                    <a:pt x="76733" y="155746"/>
                  </a:cubicBezTo>
                  <a:cubicBezTo>
                    <a:pt x="76638" y="154603"/>
                    <a:pt x="76066" y="153460"/>
                    <a:pt x="75494" y="152508"/>
                  </a:cubicBezTo>
                  <a:cubicBezTo>
                    <a:pt x="76066" y="152984"/>
                    <a:pt x="76828" y="153175"/>
                    <a:pt x="77495" y="152889"/>
                  </a:cubicBezTo>
                  <a:cubicBezTo>
                    <a:pt x="76638" y="152508"/>
                    <a:pt x="75971" y="151460"/>
                    <a:pt x="75971" y="150508"/>
                  </a:cubicBezTo>
                  <a:cubicBezTo>
                    <a:pt x="75971" y="149460"/>
                    <a:pt x="76638" y="148698"/>
                    <a:pt x="77304" y="148031"/>
                  </a:cubicBezTo>
                  <a:cubicBezTo>
                    <a:pt x="77971" y="147269"/>
                    <a:pt x="78638" y="146602"/>
                    <a:pt x="79114" y="145650"/>
                  </a:cubicBezTo>
                  <a:cubicBezTo>
                    <a:pt x="79685" y="144602"/>
                    <a:pt x="79876" y="143554"/>
                    <a:pt x="79876" y="142316"/>
                  </a:cubicBezTo>
                  <a:cubicBezTo>
                    <a:pt x="79876" y="141745"/>
                    <a:pt x="79876" y="141268"/>
                    <a:pt x="79876" y="140697"/>
                  </a:cubicBezTo>
                  <a:cubicBezTo>
                    <a:pt x="79876" y="140125"/>
                    <a:pt x="79685" y="139554"/>
                    <a:pt x="79495" y="138982"/>
                  </a:cubicBezTo>
                  <a:cubicBezTo>
                    <a:pt x="79019" y="137649"/>
                    <a:pt x="78161" y="136411"/>
                    <a:pt x="77209" y="135363"/>
                  </a:cubicBezTo>
                  <a:cubicBezTo>
                    <a:pt x="76542" y="134601"/>
                    <a:pt x="75685" y="133839"/>
                    <a:pt x="74828" y="133172"/>
                  </a:cubicBezTo>
                  <a:cubicBezTo>
                    <a:pt x="74351" y="132791"/>
                    <a:pt x="73875" y="132410"/>
                    <a:pt x="73399" y="132124"/>
                  </a:cubicBezTo>
                  <a:cubicBezTo>
                    <a:pt x="73113" y="131934"/>
                    <a:pt x="72827" y="131743"/>
                    <a:pt x="72542" y="131553"/>
                  </a:cubicBezTo>
                  <a:cubicBezTo>
                    <a:pt x="72447" y="131553"/>
                    <a:pt x="72256" y="131362"/>
                    <a:pt x="72161" y="131267"/>
                  </a:cubicBezTo>
                  <a:cubicBezTo>
                    <a:pt x="72161" y="131267"/>
                    <a:pt x="72065" y="131077"/>
                    <a:pt x="71970" y="130981"/>
                  </a:cubicBezTo>
                  <a:cubicBezTo>
                    <a:pt x="71970" y="130981"/>
                    <a:pt x="71970" y="130981"/>
                    <a:pt x="71970" y="130886"/>
                  </a:cubicBezTo>
                  <a:cubicBezTo>
                    <a:pt x="71970" y="130886"/>
                    <a:pt x="71970" y="130886"/>
                    <a:pt x="72065" y="130886"/>
                  </a:cubicBezTo>
                  <a:cubicBezTo>
                    <a:pt x="75399" y="130315"/>
                    <a:pt x="79400" y="128791"/>
                    <a:pt x="80733" y="125362"/>
                  </a:cubicBezTo>
                  <a:cubicBezTo>
                    <a:pt x="81305" y="124028"/>
                    <a:pt x="81305" y="122504"/>
                    <a:pt x="81019" y="120980"/>
                  </a:cubicBezTo>
                  <a:cubicBezTo>
                    <a:pt x="82352" y="121456"/>
                    <a:pt x="84162" y="121456"/>
                    <a:pt x="85210" y="120313"/>
                  </a:cubicBezTo>
                  <a:cubicBezTo>
                    <a:pt x="85686" y="119837"/>
                    <a:pt x="85972" y="119170"/>
                    <a:pt x="85972" y="118408"/>
                  </a:cubicBezTo>
                  <a:cubicBezTo>
                    <a:pt x="85972" y="118123"/>
                    <a:pt x="85972" y="117742"/>
                    <a:pt x="85782" y="117551"/>
                  </a:cubicBezTo>
                  <a:cubicBezTo>
                    <a:pt x="85782" y="117551"/>
                    <a:pt x="85305" y="116980"/>
                    <a:pt x="85210" y="117075"/>
                  </a:cubicBezTo>
                  <a:cubicBezTo>
                    <a:pt x="85591" y="118218"/>
                    <a:pt x="84639" y="119170"/>
                    <a:pt x="83591" y="119170"/>
                  </a:cubicBezTo>
                  <a:cubicBezTo>
                    <a:pt x="82448" y="119170"/>
                    <a:pt x="81400" y="118408"/>
                    <a:pt x="80924" y="117361"/>
                  </a:cubicBezTo>
                  <a:cubicBezTo>
                    <a:pt x="80448" y="116313"/>
                    <a:pt x="80257" y="115075"/>
                    <a:pt x="80352" y="113932"/>
                  </a:cubicBezTo>
                  <a:cubicBezTo>
                    <a:pt x="80352" y="112789"/>
                    <a:pt x="80733" y="111741"/>
                    <a:pt x="81686" y="111074"/>
                  </a:cubicBezTo>
                  <a:cubicBezTo>
                    <a:pt x="82638" y="110312"/>
                    <a:pt x="83781" y="109836"/>
                    <a:pt x="84639" y="108979"/>
                  </a:cubicBezTo>
                  <a:cubicBezTo>
                    <a:pt x="85400" y="108217"/>
                    <a:pt x="85782" y="107264"/>
                    <a:pt x="86448" y="106407"/>
                  </a:cubicBezTo>
                  <a:cubicBezTo>
                    <a:pt x="86924" y="105740"/>
                    <a:pt x="87115" y="104978"/>
                    <a:pt x="87306" y="104216"/>
                  </a:cubicBezTo>
                  <a:cubicBezTo>
                    <a:pt x="87306" y="103740"/>
                    <a:pt x="87496" y="103168"/>
                    <a:pt x="87306" y="102597"/>
                  </a:cubicBezTo>
                  <a:cubicBezTo>
                    <a:pt x="87020" y="100692"/>
                    <a:pt x="85972" y="99073"/>
                    <a:pt x="84829" y="97644"/>
                  </a:cubicBezTo>
                  <a:cubicBezTo>
                    <a:pt x="84543" y="97358"/>
                    <a:pt x="84353" y="96977"/>
                    <a:pt x="84067" y="96691"/>
                  </a:cubicBezTo>
                  <a:cubicBezTo>
                    <a:pt x="84448" y="96882"/>
                    <a:pt x="84829" y="97072"/>
                    <a:pt x="85210" y="97263"/>
                  </a:cubicBezTo>
                  <a:cubicBezTo>
                    <a:pt x="86448" y="97834"/>
                    <a:pt x="87686" y="98311"/>
                    <a:pt x="88925" y="98596"/>
                  </a:cubicBezTo>
                  <a:cubicBezTo>
                    <a:pt x="88639" y="99835"/>
                    <a:pt x="88734" y="101168"/>
                    <a:pt x="89210" y="102311"/>
                  </a:cubicBezTo>
                  <a:cubicBezTo>
                    <a:pt x="89687" y="103549"/>
                    <a:pt x="90544" y="104597"/>
                    <a:pt x="91782" y="105169"/>
                  </a:cubicBezTo>
                  <a:cubicBezTo>
                    <a:pt x="92640" y="105550"/>
                    <a:pt x="93782" y="105740"/>
                    <a:pt x="94735" y="105454"/>
                  </a:cubicBezTo>
                  <a:cubicBezTo>
                    <a:pt x="95878" y="105073"/>
                    <a:pt x="96545" y="104026"/>
                    <a:pt x="96640" y="102883"/>
                  </a:cubicBezTo>
                  <a:cubicBezTo>
                    <a:pt x="96640" y="101644"/>
                    <a:pt x="96164" y="100406"/>
                    <a:pt x="95497" y="99454"/>
                  </a:cubicBezTo>
                  <a:cubicBezTo>
                    <a:pt x="95783" y="100597"/>
                    <a:pt x="96068" y="101930"/>
                    <a:pt x="95402" y="102978"/>
                  </a:cubicBezTo>
                  <a:cubicBezTo>
                    <a:pt x="94735" y="104026"/>
                    <a:pt x="93497" y="103549"/>
                    <a:pt x="92735" y="102978"/>
                  </a:cubicBezTo>
                  <a:cubicBezTo>
                    <a:pt x="92068" y="102311"/>
                    <a:pt x="91782" y="101454"/>
                    <a:pt x="91782" y="100501"/>
                  </a:cubicBezTo>
                  <a:cubicBezTo>
                    <a:pt x="98069" y="95834"/>
                    <a:pt x="105308" y="92881"/>
                    <a:pt x="112928" y="91548"/>
                  </a:cubicBezTo>
                  <a:cubicBezTo>
                    <a:pt x="113404" y="92786"/>
                    <a:pt x="114071" y="94024"/>
                    <a:pt x="115023" y="94977"/>
                  </a:cubicBezTo>
                  <a:cubicBezTo>
                    <a:pt x="115976" y="96025"/>
                    <a:pt x="117023" y="96691"/>
                    <a:pt x="118071" y="97644"/>
                  </a:cubicBezTo>
                  <a:cubicBezTo>
                    <a:pt x="118452" y="98025"/>
                    <a:pt x="118928" y="98501"/>
                    <a:pt x="119024" y="99073"/>
                  </a:cubicBezTo>
                  <a:cubicBezTo>
                    <a:pt x="119214" y="99739"/>
                    <a:pt x="118833" y="100406"/>
                    <a:pt x="118452" y="100978"/>
                  </a:cubicBezTo>
                  <a:cubicBezTo>
                    <a:pt x="117500" y="102121"/>
                    <a:pt x="116071" y="102597"/>
                    <a:pt x="114642" y="102597"/>
                  </a:cubicBezTo>
                  <a:cubicBezTo>
                    <a:pt x="113118" y="102597"/>
                    <a:pt x="111594" y="101835"/>
                    <a:pt x="110451" y="100882"/>
                  </a:cubicBezTo>
                  <a:cubicBezTo>
                    <a:pt x="109403" y="100025"/>
                    <a:pt x="108737" y="98882"/>
                    <a:pt x="108165" y="97644"/>
                  </a:cubicBezTo>
                  <a:cubicBezTo>
                    <a:pt x="108451" y="100978"/>
                    <a:pt x="111023" y="103835"/>
                    <a:pt x="114071" y="104597"/>
                  </a:cubicBezTo>
                  <a:cubicBezTo>
                    <a:pt x="117023" y="105359"/>
                    <a:pt x="120643" y="104026"/>
                    <a:pt x="121691" y="100882"/>
                  </a:cubicBezTo>
                  <a:cubicBezTo>
                    <a:pt x="122262" y="99073"/>
                    <a:pt x="121691" y="97263"/>
                    <a:pt x="120548" y="95834"/>
                  </a:cubicBezTo>
                  <a:cubicBezTo>
                    <a:pt x="121976" y="96215"/>
                    <a:pt x="123500" y="96025"/>
                    <a:pt x="124834" y="95548"/>
                  </a:cubicBezTo>
                  <a:cubicBezTo>
                    <a:pt x="124453" y="96977"/>
                    <a:pt x="124167" y="98596"/>
                    <a:pt x="124834" y="100025"/>
                  </a:cubicBezTo>
                  <a:cubicBezTo>
                    <a:pt x="125406" y="101454"/>
                    <a:pt x="126644" y="102216"/>
                    <a:pt x="127882" y="102883"/>
                  </a:cubicBezTo>
                  <a:cubicBezTo>
                    <a:pt x="129311" y="103549"/>
                    <a:pt x="130740" y="104121"/>
                    <a:pt x="132168" y="104692"/>
                  </a:cubicBezTo>
                  <a:cubicBezTo>
                    <a:pt x="133407" y="105169"/>
                    <a:pt x="134645" y="105931"/>
                    <a:pt x="135121" y="107264"/>
                  </a:cubicBezTo>
                  <a:cubicBezTo>
                    <a:pt x="135692" y="108788"/>
                    <a:pt x="135311" y="110312"/>
                    <a:pt x="134264" y="111360"/>
                  </a:cubicBezTo>
                  <a:cubicBezTo>
                    <a:pt x="136359" y="110693"/>
                    <a:pt x="137216" y="108026"/>
                    <a:pt x="136645" y="105931"/>
                  </a:cubicBezTo>
                  <a:cubicBezTo>
                    <a:pt x="136073" y="103835"/>
                    <a:pt x="134359" y="102406"/>
                    <a:pt x="132549" y="101454"/>
                  </a:cubicBezTo>
                  <a:cubicBezTo>
                    <a:pt x="134740" y="101835"/>
                    <a:pt x="137026" y="101740"/>
                    <a:pt x="139122" y="101454"/>
                  </a:cubicBezTo>
                  <a:cubicBezTo>
                    <a:pt x="138836" y="102025"/>
                    <a:pt x="138550" y="102597"/>
                    <a:pt x="138359" y="103264"/>
                  </a:cubicBezTo>
                  <a:cubicBezTo>
                    <a:pt x="137883" y="104597"/>
                    <a:pt x="137407" y="105931"/>
                    <a:pt x="137121" y="107264"/>
                  </a:cubicBezTo>
                  <a:cubicBezTo>
                    <a:pt x="136835" y="108693"/>
                    <a:pt x="136645" y="110217"/>
                    <a:pt x="137026" y="111550"/>
                  </a:cubicBezTo>
                  <a:cubicBezTo>
                    <a:pt x="137407" y="112884"/>
                    <a:pt x="138359" y="113836"/>
                    <a:pt x="139693" y="114217"/>
                  </a:cubicBezTo>
                  <a:cubicBezTo>
                    <a:pt x="141979" y="114789"/>
                    <a:pt x="144551" y="114027"/>
                    <a:pt x="146646" y="113265"/>
                  </a:cubicBezTo>
                  <a:cubicBezTo>
                    <a:pt x="147123" y="113074"/>
                    <a:pt x="147503" y="112979"/>
                    <a:pt x="147980" y="112789"/>
                  </a:cubicBezTo>
                  <a:cubicBezTo>
                    <a:pt x="148075" y="114027"/>
                    <a:pt x="148647" y="115170"/>
                    <a:pt x="149408" y="116122"/>
                  </a:cubicBezTo>
                  <a:cubicBezTo>
                    <a:pt x="150170" y="117075"/>
                    <a:pt x="151314" y="117742"/>
                    <a:pt x="152266" y="118408"/>
                  </a:cubicBezTo>
                  <a:cubicBezTo>
                    <a:pt x="153123" y="118980"/>
                    <a:pt x="154076" y="119551"/>
                    <a:pt x="154076" y="120694"/>
                  </a:cubicBezTo>
                  <a:cubicBezTo>
                    <a:pt x="154076" y="121933"/>
                    <a:pt x="153314" y="123076"/>
                    <a:pt x="152457" y="123838"/>
                  </a:cubicBezTo>
                  <a:cubicBezTo>
                    <a:pt x="151599" y="124600"/>
                    <a:pt x="150647" y="125266"/>
                    <a:pt x="149885" y="126028"/>
                  </a:cubicBezTo>
                  <a:cubicBezTo>
                    <a:pt x="151885" y="125838"/>
                    <a:pt x="153981" y="125362"/>
                    <a:pt x="155505" y="123742"/>
                  </a:cubicBezTo>
                  <a:cubicBezTo>
                    <a:pt x="156838" y="122218"/>
                    <a:pt x="157314" y="120123"/>
                    <a:pt x="156457" y="118218"/>
                  </a:cubicBezTo>
                  <a:cubicBezTo>
                    <a:pt x="159410" y="118885"/>
                    <a:pt x="162458" y="118694"/>
                    <a:pt x="165506" y="118218"/>
                  </a:cubicBezTo>
                  <a:cubicBezTo>
                    <a:pt x="166077" y="118123"/>
                    <a:pt x="166744" y="118027"/>
                    <a:pt x="167315" y="117932"/>
                  </a:cubicBezTo>
                  <a:cubicBezTo>
                    <a:pt x="166839" y="118313"/>
                    <a:pt x="166363" y="118694"/>
                    <a:pt x="165982" y="119075"/>
                  </a:cubicBezTo>
                  <a:cubicBezTo>
                    <a:pt x="164934" y="119932"/>
                    <a:pt x="163886" y="120885"/>
                    <a:pt x="163029" y="122028"/>
                  </a:cubicBezTo>
                  <a:cubicBezTo>
                    <a:pt x="161315" y="124123"/>
                    <a:pt x="159600" y="127267"/>
                    <a:pt x="161505" y="129934"/>
                  </a:cubicBezTo>
                  <a:cubicBezTo>
                    <a:pt x="163029" y="132124"/>
                    <a:pt x="165982" y="132982"/>
                    <a:pt x="168363" y="133648"/>
                  </a:cubicBezTo>
                  <a:cubicBezTo>
                    <a:pt x="168363" y="133648"/>
                    <a:pt x="168173" y="133839"/>
                    <a:pt x="168173" y="133934"/>
                  </a:cubicBezTo>
                  <a:cubicBezTo>
                    <a:pt x="167982" y="134125"/>
                    <a:pt x="167792" y="134125"/>
                    <a:pt x="167601" y="134220"/>
                  </a:cubicBezTo>
                  <a:cubicBezTo>
                    <a:pt x="167125" y="134410"/>
                    <a:pt x="166553" y="134696"/>
                    <a:pt x="166077" y="134982"/>
                  </a:cubicBezTo>
                  <a:cubicBezTo>
                    <a:pt x="165315" y="135458"/>
                    <a:pt x="164553" y="135934"/>
                    <a:pt x="163886" y="136601"/>
                  </a:cubicBezTo>
                  <a:cubicBezTo>
                    <a:pt x="162458" y="138030"/>
                    <a:pt x="161886" y="139840"/>
                    <a:pt x="161982" y="141840"/>
                  </a:cubicBezTo>
                  <a:cubicBezTo>
                    <a:pt x="161982" y="142792"/>
                    <a:pt x="162267" y="143745"/>
                    <a:pt x="162458" y="144697"/>
                  </a:cubicBezTo>
                  <a:cubicBezTo>
                    <a:pt x="162553" y="145174"/>
                    <a:pt x="162743" y="145650"/>
                    <a:pt x="162934" y="146126"/>
                  </a:cubicBezTo>
                  <a:cubicBezTo>
                    <a:pt x="163029" y="146412"/>
                    <a:pt x="163220" y="146602"/>
                    <a:pt x="163315" y="146888"/>
                  </a:cubicBezTo>
                  <a:cubicBezTo>
                    <a:pt x="163315" y="147079"/>
                    <a:pt x="163315" y="147174"/>
                    <a:pt x="163410" y="147364"/>
                  </a:cubicBezTo>
                  <a:cubicBezTo>
                    <a:pt x="163696" y="148698"/>
                    <a:pt x="164363" y="149841"/>
                    <a:pt x="165125" y="150889"/>
                  </a:cubicBezTo>
                  <a:cubicBezTo>
                    <a:pt x="166363" y="152413"/>
                    <a:pt x="168077" y="153460"/>
                    <a:pt x="169792" y="154318"/>
                  </a:cubicBezTo>
                  <a:cubicBezTo>
                    <a:pt x="169601" y="154603"/>
                    <a:pt x="169506" y="154889"/>
                    <a:pt x="169411" y="155270"/>
                  </a:cubicBezTo>
                  <a:cubicBezTo>
                    <a:pt x="169220" y="155651"/>
                    <a:pt x="169220" y="156032"/>
                    <a:pt x="168935" y="156223"/>
                  </a:cubicBezTo>
                  <a:cubicBezTo>
                    <a:pt x="168649" y="156413"/>
                    <a:pt x="168363" y="156604"/>
                    <a:pt x="167982" y="156699"/>
                  </a:cubicBezTo>
                  <a:cubicBezTo>
                    <a:pt x="166839" y="157175"/>
                    <a:pt x="165601" y="157080"/>
                    <a:pt x="164458" y="156508"/>
                  </a:cubicBezTo>
                  <a:cubicBezTo>
                    <a:pt x="165506" y="157651"/>
                    <a:pt x="167125" y="157937"/>
                    <a:pt x="168554" y="157747"/>
                  </a:cubicBezTo>
                  <a:cubicBezTo>
                    <a:pt x="167982" y="159842"/>
                    <a:pt x="167601" y="162414"/>
                    <a:pt x="168649" y="164414"/>
                  </a:cubicBezTo>
                  <a:cubicBezTo>
                    <a:pt x="168649" y="164509"/>
                    <a:pt x="168840" y="164605"/>
                    <a:pt x="168840" y="164795"/>
                  </a:cubicBezTo>
                  <a:cubicBezTo>
                    <a:pt x="168840" y="164890"/>
                    <a:pt x="168744" y="165081"/>
                    <a:pt x="168649" y="165271"/>
                  </a:cubicBezTo>
                  <a:cubicBezTo>
                    <a:pt x="168554" y="165557"/>
                    <a:pt x="168363" y="165843"/>
                    <a:pt x="168173" y="166129"/>
                  </a:cubicBezTo>
                  <a:cubicBezTo>
                    <a:pt x="167887" y="166510"/>
                    <a:pt x="167506" y="167176"/>
                    <a:pt x="167030" y="167272"/>
                  </a:cubicBezTo>
                  <a:cubicBezTo>
                    <a:pt x="166363" y="167462"/>
                    <a:pt x="165791" y="166795"/>
                    <a:pt x="165410" y="166414"/>
                  </a:cubicBezTo>
                  <a:cubicBezTo>
                    <a:pt x="165030" y="166033"/>
                    <a:pt x="164648" y="165557"/>
                    <a:pt x="164458" y="164986"/>
                  </a:cubicBezTo>
                  <a:cubicBezTo>
                    <a:pt x="164077" y="163747"/>
                    <a:pt x="164744" y="162509"/>
                    <a:pt x="165887" y="162033"/>
                  </a:cubicBezTo>
                  <a:cubicBezTo>
                    <a:pt x="164934" y="162033"/>
                    <a:pt x="164077" y="162700"/>
                    <a:pt x="163601" y="163557"/>
                  </a:cubicBezTo>
                  <a:cubicBezTo>
                    <a:pt x="163124" y="164414"/>
                    <a:pt x="163029" y="165557"/>
                    <a:pt x="163315" y="166510"/>
                  </a:cubicBezTo>
                  <a:cubicBezTo>
                    <a:pt x="163791" y="168510"/>
                    <a:pt x="165315" y="170510"/>
                    <a:pt x="167601" y="170224"/>
                  </a:cubicBezTo>
                  <a:cubicBezTo>
                    <a:pt x="168554" y="170129"/>
                    <a:pt x="169411" y="169653"/>
                    <a:pt x="170078" y="168986"/>
                  </a:cubicBezTo>
                  <a:cubicBezTo>
                    <a:pt x="170459" y="168605"/>
                    <a:pt x="170840" y="168224"/>
                    <a:pt x="171030" y="167748"/>
                  </a:cubicBezTo>
                  <a:cubicBezTo>
                    <a:pt x="171125" y="167557"/>
                    <a:pt x="171316" y="167272"/>
                    <a:pt x="171411" y="167081"/>
                  </a:cubicBezTo>
                  <a:cubicBezTo>
                    <a:pt x="171411" y="166891"/>
                    <a:pt x="171411" y="166891"/>
                    <a:pt x="171602" y="166891"/>
                  </a:cubicBezTo>
                  <a:cubicBezTo>
                    <a:pt x="171697" y="166891"/>
                    <a:pt x="171888" y="166891"/>
                    <a:pt x="171983" y="166986"/>
                  </a:cubicBezTo>
                  <a:cubicBezTo>
                    <a:pt x="173221" y="167367"/>
                    <a:pt x="174555" y="167462"/>
                    <a:pt x="175888" y="167272"/>
                  </a:cubicBezTo>
                  <a:cubicBezTo>
                    <a:pt x="176269" y="167272"/>
                    <a:pt x="176745" y="167081"/>
                    <a:pt x="177126" y="167081"/>
                  </a:cubicBezTo>
                  <a:cubicBezTo>
                    <a:pt x="178936" y="166795"/>
                    <a:pt x="180841" y="166319"/>
                    <a:pt x="182556" y="165652"/>
                  </a:cubicBezTo>
                  <a:cubicBezTo>
                    <a:pt x="182746" y="165652"/>
                    <a:pt x="183032" y="165462"/>
                    <a:pt x="183222" y="165367"/>
                  </a:cubicBezTo>
                  <a:cubicBezTo>
                    <a:pt x="184175" y="164986"/>
                    <a:pt x="176745" y="171939"/>
                    <a:pt x="177698" y="171463"/>
                  </a:cubicBezTo>
                  <a:lnTo>
                    <a:pt x="183413" y="174892"/>
                  </a:lnTo>
                  <a:lnTo>
                    <a:pt x="183032" y="180035"/>
                  </a:lnTo>
                  <a:cubicBezTo>
                    <a:pt x="182936" y="180607"/>
                    <a:pt x="182746" y="181083"/>
                    <a:pt x="182651" y="181654"/>
                  </a:cubicBezTo>
                  <a:cubicBezTo>
                    <a:pt x="181889" y="184512"/>
                    <a:pt x="180841" y="188512"/>
                    <a:pt x="179698" y="195751"/>
                  </a:cubicBezTo>
                  <a:cubicBezTo>
                    <a:pt x="180650" y="195370"/>
                    <a:pt x="181603" y="194989"/>
                    <a:pt x="182460" y="194418"/>
                  </a:cubicBezTo>
                  <a:cubicBezTo>
                    <a:pt x="182746" y="196323"/>
                    <a:pt x="184175" y="199466"/>
                    <a:pt x="186080" y="199942"/>
                  </a:cubicBezTo>
                  <a:cubicBezTo>
                    <a:pt x="187985" y="200419"/>
                    <a:pt x="190080" y="199561"/>
                    <a:pt x="191033" y="197847"/>
                  </a:cubicBezTo>
                  <a:cubicBezTo>
                    <a:pt x="191604" y="196704"/>
                    <a:pt x="192271" y="196037"/>
                    <a:pt x="191699" y="194894"/>
                  </a:cubicBezTo>
                  <a:cubicBezTo>
                    <a:pt x="191223" y="196799"/>
                    <a:pt x="190461" y="197466"/>
                    <a:pt x="188747" y="197656"/>
                  </a:cubicBezTo>
                  <a:cubicBezTo>
                    <a:pt x="186842" y="197847"/>
                    <a:pt x="185508" y="194799"/>
                    <a:pt x="186556" y="192989"/>
                  </a:cubicBezTo>
                  <a:cubicBezTo>
                    <a:pt x="187032" y="192132"/>
                    <a:pt x="187318" y="191084"/>
                    <a:pt x="188175" y="190608"/>
                  </a:cubicBezTo>
                  <a:cubicBezTo>
                    <a:pt x="189223" y="190036"/>
                    <a:pt x="190271" y="190036"/>
                    <a:pt x="191414" y="190132"/>
                  </a:cubicBezTo>
                  <a:cubicBezTo>
                    <a:pt x="193414" y="190322"/>
                    <a:pt x="195509" y="190894"/>
                    <a:pt x="197415" y="190132"/>
                  </a:cubicBezTo>
                  <a:cubicBezTo>
                    <a:pt x="197986" y="189941"/>
                    <a:pt x="198462" y="189560"/>
                    <a:pt x="198843" y="189084"/>
                  </a:cubicBezTo>
                  <a:cubicBezTo>
                    <a:pt x="198939" y="188893"/>
                    <a:pt x="199034" y="188703"/>
                    <a:pt x="199129" y="188417"/>
                  </a:cubicBezTo>
                  <a:cubicBezTo>
                    <a:pt x="199129" y="188131"/>
                    <a:pt x="199129" y="187941"/>
                    <a:pt x="199319" y="187655"/>
                  </a:cubicBezTo>
                  <a:cubicBezTo>
                    <a:pt x="199891" y="186512"/>
                    <a:pt x="199891" y="185274"/>
                    <a:pt x="199891" y="183940"/>
                  </a:cubicBezTo>
                  <a:cubicBezTo>
                    <a:pt x="200558" y="185274"/>
                    <a:pt x="201796" y="186607"/>
                    <a:pt x="203225" y="187179"/>
                  </a:cubicBezTo>
                  <a:cubicBezTo>
                    <a:pt x="204653" y="187750"/>
                    <a:pt x="206844" y="188893"/>
                    <a:pt x="207701" y="187560"/>
                  </a:cubicBezTo>
                  <a:cubicBezTo>
                    <a:pt x="208082" y="186988"/>
                    <a:pt x="206177" y="185083"/>
                    <a:pt x="206273" y="185369"/>
                  </a:cubicBezTo>
                  <a:cubicBezTo>
                    <a:pt x="206654" y="187084"/>
                    <a:pt x="205130" y="186131"/>
                    <a:pt x="204558" y="185750"/>
                  </a:cubicBezTo>
                  <a:cubicBezTo>
                    <a:pt x="203130" y="184702"/>
                    <a:pt x="202082" y="181178"/>
                    <a:pt x="201891" y="179368"/>
                  </a:cubicBezTo>
                  <a:cubicBezTo>
                    <a:pt x="203796" y="179368"/>
                    <a:pt x="205606" y="178797"/>
                    <a:pt x="207035" y="177559"/>
                  </a:cubicBezTo>
                  <a:cubicBezTo>
                    <a:pt x="208464" y="176225"/>
                    <a:pt x="209416" y="174415"/>
                    <a:pt x="209988" y="172606"/>
                  </a:cubicBezTo>
                  <a:cubicBezTo>
                    <a:pt x="210749" y="173558"/>
                    <a:pt x="211702" y="174320"/>
                    <a:pt x="212655" y="175082"/>
                  </a:cubicBezTo>
                  <a:cubicBezTo>
                    <a:pt x="213416" y="175749"/>
                    <a:pt x="214369" y="177654"/>
                    <a:pt x="214464" y="178702"/>
                  </a:cubicBezTo>
                  <a:cubicBezTo>
                    <a:pt x="214655" y="179654"/>
                    <a:pt x="214464" y="181083"/>
                    <a:pt x="213512" y="181464"/>
                  </a:cubicBezTo>
                  <a:cubicBezTo>
                    <a:pt x="212464" y="182035"/>
                    <a:pt x="211226" y="182416"/>
                    <a:pt x="210273" y="181750"/>
                  </a:cubicBezTo>
                  <a:cubicBezTo>
                    <a:pt x="211035" y="182893"/>
                    <a:pt x="212369" y="182702"/>
                    <a:pt x="213702" y="182512"/>
                  </a:cubicBezTo>
                  <a:cubicBezTo>
                    <a:pt x="215036" y="182321"/>
                    <a:pt x="216560" y="181559"/>
                    <a:pt x="217036" y="180321"/>
                  </a:cubicBezTo>
                  <a:cubicBezTo>
                    <a:pt x="217607" y="178892"/>
                    <a:pt x="216560" y="175654"/>
                    <a:pt x="215798" y="174320"/>
                  </a:cubicBezTo>
                  <a:cubicBezTo>
                    <a:pt x="214940" y="172891"/>
                    <a:pt x="213607" y="171939"/>
                    <a:pt x="212464" y="170796"/>
                  </a:cubicBezTo>
                  <a:cubicBezTo>
                    <a:pt x="211226" y="169558"/>
                    <a:pt x="210940" y="167748"/>
                    <a:pt x="210940" y="166033"/>
                  </a:cubicBezTo>
                  <a:cubicBezTo>
                    <a:pt x="212750" y="166795"/>
                    <a:pt x="214845" y="167176"/>
                    <a:pt x="216845" y="166891"/>
                  </a:cubicBezTo>
                  <a:cubicBezTo>
                    <a:pt x="218560" y="166700"/>
                    <a:pt x="219989" y="165748"/>
                    <a:pt x="221036" y="164509"/>
                  </a:cubicBezTo>
                  <a:cubicBezTo>
                    <a:pt x="222275" y="162985"/>
                    <a:pt x="223132" y="162223"/>
                    <a:pt x="224180" y="160509"/>
                  </a:cubicBezTo>
                  <a:cubicBezTo>
                    <a:pt x="224561" y="159842"/>
                    <a:pt x="225227" y="159080"/>
                    <a:pt x="226085" y="159271"/>
                  </a:cubicBezTo>
                  <a:cubicBezTo>
                    <a:pt x="226942" y="159461"/>
                    <a:pt x="227514" y="160128"/>
                    <a:pt x="227799" y="160890"/>
                  </a:cubicBezTo>
                  <a:cubicBezTo>
                    <a:pt x="228466" y="162700"/>
                    <a:pt x="227609" y="165843"/>
                    <a:pt x="225990" y="166891"/>
                  </a:cubicBezTo>
                  <a:cubicBezTo>
                    <a:pt x="227894" y="166510"/>
                    <a:pt x="229133" y="163557"/>
                    <a:pt x="229323" y="161747"/>
                  </a:cubicBezTo>
                  <a:cubicBezTo>
                    <a:pt x="229609" y="159842"/>
                    <a:pt x="228561" y="157937"/>
                    <a:pt x="226847" y="157175"/>
                  </a:cubicBezTo>
                  <a:cubicBezTo>
                    <a:pt x="225894" y="156794"/>
                    <a:pt x="224751" y="156794"/>
                    <a:pt x="223799" y="157270"/>
                  </a:cubicBezTo>
                  <a:cubicBezTo>
                    <a:pt x="223989" y="156223"/>
                    <a:pt x="223799" y="154127"/>
                    <a:pt x="223799" y="153079"/>
                  </a:cubicBezTo>
                  <a:cubicBezTo>
                    <a:pt x="224847" y="154508"/>
                    <a:pt x="227037" y="156413"/>
                    <a:pt x="228657" y="155746"/>
                  </a:cubicBezTo>
                  <a:cubicBezTo>
                    <a:pt x="229514" y="155365"/>
                    <a:pt x="230276" y="154794"/>
                    <a:pt x="230847" y="153937"/>
                  </a:cubicBezTo>
                  <a:cubicBezTo>
                    <a:pt x="231419" y="153079"/>
                    <a:pt x="232181" y="152794"/>
                    <a:pt x="231990" y="151746"/>
                  </a:cubicBezTo>
                  <a:cubicBezTo>
                    <a:pt x="230942" y="153175"/>
                    <a:pt x="228752" y="153651"/>
                    <a:pt x="227894" y="153556"/>
                  </a:cubicBezTo>
                  <a:cubicBezTo>
                    <a:pt x="227418" y="153556"/>
                    <a:pt x="226751" y="153270"/>
                    <a:pt x="226656" y="152794"/>
                  </a:cubicBezTo>
                  <a:cubicBezTo>
                    <a:pt x="226466" y="152127"/>
                    <a:pt x="226942" y="150317"/>
                    <a:pt x="227418" y="150031"/>
                  </a:cubicBezTo>
                  <a:cubicBezTo>
                    <a:pt x="228752" y="149365"/>
                    <a:pt x="230085" y="148603"/>
                    <a:pt x="231038" y="147364"/>
                  </a:cubicBezTo>
                  <a:cubicBezTo>
                    <a:pt x="232085" y="146031"/>
                    <a:pt x="232371" y="144126"/>
                    <a:pt x="232276" y="142507"/>
                  </a:cubicBezTo>
                  <a:cubicBezTo>
                    <a:pt x="232276" y="141459"/>
                    <a:pt x="232085" y="140506"/>
                    <a:pt x="231800" y="139459"/>
                  </a:cubicBezTo>
                  <a:cubicBezTo>
                    <a:pt x="231705" y="138982"/>
                    <a:pt x="231514" y="138506"/>
                    <a:pt x="231514" y="138030"/>
                  </a:cubicBezTo>
                  <a:cubicBezTo>
                    <a:pt x="231514" y="137554"/>
                    <a:pt x="231705" y="136982"/>
                    <a:pt x="231895" y="136601"/>
                  </a:cubicBezTo>
                  <a:cubicBezTo>
                    <a:pt x="231705" y="136792"/>
                    <a:pt x="231514" y="137077"/>
                    <a:pt x="231323" y="137268"/>
                  </a:cubicBezTo>
                  <a:cubicBezTo>
                    <a:pt x="231228" y="136887"/>
                    <a:pt x="231133" y="136411"/>
                    <a:pt x="230942" y="136030"/>
                  </a:cubicBezTo>
                  <a:cubicBezTo>
                    <a:pt x="233228" y="136411"/>
                    <a:pt x="235991" y="136982"/>
                    <a:pt x="237324" y="135077"/>
                  </a:cubicBezTo>
                  <a:cubicBezTo>
                    <a:pt x="238086" y="133934"/>
                    <a:pt x="238372" y="132505"/>
                    <a:pt x="238182" y="131172"/>
                  </a:cubicBezTo>
                  <a:cubicBezTo>
                    <a:pt x="237991" y="129838"/>
                    <a:pt x="237229" y="128410"/>
                    <a:pt x="235705" y="128600"/>
                  </a:cubicBezTo>
                  <a:cubicBezTo>
                    <a:pt x="234372" y="128695"/>
                    <a:pt x="233228" y="130600"/>
                    <a:pt x="233324" y="132029"/>
                  </a:cubicBezTo>
                  <a:cubicBezTo>
                    <a:pt x="233705" y="131267"/>
                    <a:pt x="234276" y="130315"/>
                    <a:pt x="235133" y="130600"/>
                  </a:cubicBezTo>
                  <a:cubicBezTo>
                    <a:pt x="235991" y="130791"/>
                    <a:pt x="235991" y="131934"/>
                    <a:pt x="235800" y="132505"/>
                  </a:cubicBezTo>
                  <a:cubicBezTo>
                    <a:pt x="234943" y="134696"/>
                    <a:pt x="231990" y="133553"/>
                    <a:pt x="230181" y="132315"/>
                  </a:cubicBezTo>
                  <a:cubicBezTo>
                    <a:pt x="229990" y="132124"/>
                    <a:pt x="229704" y="132029"/>
                    <a:pt x="229514" y="131839"/>
                  </a:cubicBezTo>
                  <a:cubicBezTo>
                    <a:pt x="229323" y="131648"/>
                    <a:pt x="229228" y="131362"/>
                    <a:pt x="229133" y="131077"/>
                  </a:cubicBezTo>
                  <a:cubicBezTo>
                    <a:pt x="228942" y="130505"/>
                    <a:pt x="228657" y="129934"/>
                    <a:pt x="228466" y="129267"/>
                  </a:cubicBezTo>
                  <a:cubicBezTo>
                    <a:pt x="227990" y="128029"/>
                    <a:pt x="227418" y="126886"/>
                    <a:pt x="226942" y="125743"/>
                  </a:cubicBezTo>
                  <a:cubicBezTo>
                    <a:pt x="226847" y="125552"/>
                    <a:pt x="226751" y="125362"/>
                    <a:pt x="226847" y="125171"/>
                  </a:cubicBezTo>
                  <a:cubicBezTo>
                    <a:pt x="226847" y="124885"/>
                    <a:pt x="227037" y="124600"/>
                    <a:pt x="227132" y="124314"/>
                  </a:cubicBezTo>
                  <a:cubicBezTo>
                    <a:pt x="227228" y="124028"/>
                    <a:pt x="227323" y="123457"/>
                    <a:pt x="227704" y="123266"/>
                  </a:cubicBezTo>
                  <a:close/>
                  <a:moveTo>
                    <a:pt x="215036" y="56305"/>
                  </a:moveTo>
                  <a:cubicBezTo>
                    <a:pt x="215702" y="56591"/>
                    <a:pt x="216560" y="57067"/>
                    <a:pt x="216560" y="57829"/>
                  </a:cubicBezTo>
                  <a:cubicBezTo>
                    <a:pt x="216560" y="58782"/>
                    <a:pt x="215702" y="59544"/>
                    <a:pt x="215131" y="60115"/>
                  </a:cubicBezTo>
                  <a:cubicBezTo>
                    <a:pt x="215417" y="58782"/>
                    <a:pt x="215322" y="57353"/>
                    <a:pt x="214655" y="56210"/>
                  </a:cubicBezTo>
                  <a:cubicBezTo>
                    <a:pt x="214655" y="56210"/>
                    <a:pt x="215131" y="56305"/>
                    <a:pt x="215036" y="56210"/>
                  </a:cubicBezTo>
                  <a:close/>
                  <a:moveTo>
                    <a:pt x="23012" y="63544"/>
                  </a:moveTo>
                  <a:cubicBezTo>
                    <a:pt x="21011" y="63640"/>
                    <a:pt x="19011" y="64211"/>
                    <a:pt x="16916" y="64402"/>
                  </a:cubicBezTo>
                  <a:cubicBezTo>
                    <a:pt x="16154" y="64402"/>
                    <a:pt x="15011" y="64592"/>
                    <a:pt x="14344" y="64021"/>
                  </a:cubicBezTo>
                  <a:cubicBezTo>
                    <a:pt x="13773" y="63544"/>
                    <a:pt x="13582" y="62782"/>
                    <a:pt x="13487" y="62116"/>
                  </a:cubicBezTo>
                  <a:cubicBezTo>
                    <a:pt x="13201" y="60687"/>
                    <a:pt x="13391" y="59544"/>
                    <a:pt x="14725" y="58782"/>
                  </a:cubicBezTo>
                  <a:cubicBezTo>
                    <a:pt x="15963" y="58115"/>
                    <a:pt x="17868" y="58591"/>
                    <a:pt x="18440" y="59830"/>
                  </a:cubicBezTo>
                  <a:cubicBezTo>
                    <a:pt x="19106" y="61354"/>
                    <a:pt x="19392" y="61258"/>
                    <a:pt x="19392" y="59544"/>
                  </a:cubicBezTo>
                  <a:cubicBezTo>
                    <a:pt x="20345" y="61068"/>
                    <a:pt x="21678" y="62306"/>
                    <a:pt x="23107" y="63449"/>
                  </a:cubicBezTo>
                  <a:cubicBezTo>
                    <a:pt x="23107" y="63449"/>
                    <a:pt x="23107" y="63449"/>
                    <a:pt x="23012" y="63449"/>
                  </a:cubicBezTo>
                  <a:close/>
                  <a:moveTo>
                    <a:pt x="8724" y="116694"/>
                  </a:moveTo>
                  <a:cubicBezTo>
                    <a:pt x="8724" y="116694"/>
                    <a:pt x="7867" y="116503"/>
                    <a:pt x="7867" y="116503"/>
                  </a:cubicBezTo>
                  <a:cubicBezTo>
                    <a:pt x="7772" y="116503"/>
                    <a:pt x="6819" y="116313"/>
                    <a:pt x="7867" y="116503"/>
                  </a:cubicBezTo>
                  <a:cubicBezTo>
                    <a:pt x="5867" y="116122"/>
                    <a:pt x="4438" y="114598"/>
                    <a:pt x="4152" y="112503"/>
                  </a:cubicBezTo>
                  <a:cubicBezTo>
                    <a:pt x="3962" y="110503"/>
                    <a:pt x="5295" y="108312"/>
                    <a:pt x="6248" y="106597"/>
                  </a:cubicBezTo>
                  <a:cubicBezTo>
                    <a:pt x="6819" y="105550"/>
                    <a:pt x="7867" y="104597"/>
                    <a:pt x="8724" y="103835"/>
                  </a:cubicBezTo>
                  <a:cubicBezTo>
                    <a:pt x="7200" y="105931"/>
                    <a:pt x="5772" y="108407"/>
                    <a:pt x="5772" y="111074"/>
                  </a:cubicBezTo>
                  <a:cubicBezTo>
                    <a:pt x="5772" y="113741"/>
                    <a:pt x="6533" y="115646"/>
                    <a:pt x="8724" y="116694"/>
                  </a:cubicBezTo>
                  <a:close/>
                  <a:moveTo>
                    <a:pt x="7962" y="97739"/>
                  </a:moveTo>
                  <a:cubicBezTo>
                    <a:pt x="7962" y="97739"/>
                    <a:pt x="7581" y="97739"/>
                    <a:pt x="7867" y="97739"/>
                  </a:cubicBezTo>
                  <a:cubicBezTo>
                    <a:pt x="7581" y="97739"/>
                    <a:pt x="7200" y="97739"/>
                    <a:pt x="6915" y="97739"/>
                  </a:cubicBezTo>
                  <a:cubicBezTo>
                    <a:pt x="6724" y="97739"/>
                    <a:pt x="6438" y="97739"/>
                    <a:pt x="6248" y="97739"/>
                  </a:cubicBezTo>
                  <a:cubicBezTo>
                    <a:pt x="5867" y="97549"/>
                    <a:pt x="5676" y="97072"/>
                    <a:pt x="5486" y="96787"/>
                  </a:cubicBezTo>
                  <a:cubicBezTo>
                    <a:pt x="5200" y="96406"/>
                    <a:pt x="5295" y="94882"/>
                    <a:pt x="5295" y="94405"/>
                  </a:cubicBezTo>
                  <a:cubicBezTo>
                    <a:pt x="5295" y="93929"/>
                    <a:pt x="6248" y="94120"/>
                    <a:pt x="6724" y="94024"/>
                  </a:cubicBezTo>
                  <a:cubicBezTo>
                    <a:pt x="7772" y="93739"/>
                    <a:pt x="7867" y="95072"/>
                    <a:pt x="8343" y="95929"/>
                  </a:cubicBezTo>
                  <a:cubicBezTo>
                    <a:pt x="8439" y="96215"/>
                    <a:pt x="8629" y="96501"/>
                    <a:pt x="8629" y="96691"/>
                  </a:cubicBezTo>
                  <a:cubicBezTo>
                    <a:pt x="8629" y="96882"/>
                    <a:pt x="8819" y="97263"/>
                    <a:pt x="8819" y="97453"/>
                  </a:cubicBezTo>
                  <a:cubicBezTo>
                    <a:pt x="8819" y="97739"/>
                    <a:pt x="8248" y="97739"/>
                    <a:pt x="7867" y="97739"/>
                  </a:cubicBezTo>
                  <a:close/>
                  <a:moveTo>
                    <a:pt x="9867" y="97453"/>
                  </a:moveTo>
                  <a:cubicBezTo>
                    <a:pt x="9867" y="97453"/>
                    <a:pt x="9867" y="97453"/>
                    <a:pt x="9772" y="97453"/>
                  </a:cubicBezTo>
                  <a:cubicBezTo>
                    <a:pt x="10058" y="96501"/>
                    <a:pt x="9963" y="95548"/>
                    <a:pt x="9581" y="94596"/>
                  </a:cubicBezTo>
                  <a:cubicBezTo>
                    <a:pt x="10724" y="95263"/>
                    <a:pt x="13582" y="95358"/>
                    <a:pt x="14820" y="95739"/>
                  </a:cubicBezTo>
                  <a:cubicBezTo>
                    <a:pt x="13773" y="96215"/>
                    <a:pt x="11010" y="97072"/>
                    <a:pt x="9867" y="97358"/>
                  </a:cubicBezTo>
                  <a:close/>
                  <a:moveTo>
                    <a:pt x="22059" y="146507"/>
                  </a:moveTo>
                  <a:cubicBezTo>
                    <a:pt x="22059" y="146507"/>
                    <a:pt x="22059" y="146698"/>
                    <a:pt x="22059" y="146793"/>
                  </a:cubicBezTo>
                  <a:cubicBezTo>
                    <a:pt x="22059" y="147079"/>
                    <a:pt x="21964" y="147364"/>
                    <a:pt x="21869" y="147555"/>
                  </a:cubicBezTo>
                  <a:cubicBezTo>
                    <a:pt x="21202" y="145936"/>
                    <a:pt x="21678" y="144126"/>
                    <a:pt x="22250" y="142602"/>
                  </a:cubicBezTo>
                  <a:cubicBezTo>
                    <a:pt x="22535" y="141745"/>
                    <a:pt x="22916" y="140983"/>
                    <a:pt x="23393" y="140221"/>
                  </a:cubicBezTo>
                  <a:cubicBezTo>
                    <a:pt x="23488" y="140030"/>
                    <a:pt x="24059" y="138887"/>
                    <a:pt x="24440" y="138982"/>
                  </a:cubicBezTo>
                  <a:cubicBezTo>
                    <a:pt x="23583" y="141459"/>
                    <a:pt x="22726" y="144031"/>
                    <a:pt x="22155" y="146602"/>
                  </a:cubicBezTo>
                  <a:close/>
                  <a:moveTo>
                    <a:pt x="31013" y="168129"/>
                  </a:moveTo>
                  <a:cubicBezTo>
                    <a:pt x="30917" y="168986"/>
                    <a:pt x="30727" y="170034"/>
                    <a:pt x="30060" y="170701"/>
                  </a:cubicBezTo>
                  <a:cubicBezTo>
                    <a:pt x="29298" y="171367"/>
                    <a:pt x="28155" y="170796"/>
                    <a:pt x="27489" y="170320"/>
                  </a:cubicBezTo>
                  <a:cubicBezTo>
                    <a:pt x="26631" y="169653"/>
                    <a:pt x="25869" y="168700"/>
                    <a:pt x="26441" y="167557"/>
                  </a:cubicBezTo>
                  <a:cubicBezTo>
                    <a:pt x="26822" y="166605"/>
                    <a:pt x="27869" y="165938"/>
                    <a:pt x="28917" y="165938"/>
                  </a:cubicBezTo>
                  <a:cubicBezTo>
                    <a:pt x="29584" y="165938"/>
                    <a:pt x="30251" y="166129"/>
                    <a:pt x="30632" y="166700"/>
                  </a:cubicBezTo>
                  <a:cubicBezTo>
                    <a:pt x="31013" y="167081"/>
                    <a:pt x="31108" y="167462"/>
                    <a:pt x="31108" y="168034"/>
                  </a:cubicBezTo>
                  <a:cubicBezTo>
                    <a:pt x="31108" y="168034"/>
                    <a:pt x="31108" y="167938"/>
                    <a:pt x="31108" y="167843"/>
                  </a:cubicBezTo>
                  <a:cubicBezTo>
                    <a:pt x="31108" y="167843"/>
                    <a:pt x="31108" y="168129"/>
                    <a:pt x="31108" y="168224"/>
                  </a:cubicBezTo>
                  <a:close/>
                  <a:moveTo>
                    <a:pt x="164648" y="139363"/>
                  </a:moveTo>
                  <a:cubicBezTo>
                    <a:pt x="164839" y="138601"/>
                    <a:pt x="165220" y="137935"/>
                    <a:pt x="165696" y="137363"/>
                  </a:cubicBezTo>
                  <a:cubicBezTo>
                    <a:pt x="165696" y="137363"/>
                    <a:pt x="165696" y="137363"/>
                    <a:pt x="165696" y="137363"/>
                  </a:cubicBezTo>
                  <a:cubicBezTo>
                    <a:pt x="165315" y="138030"/>
                    <a:pt x="164934" y="138697"/>
                    <a:pt x="164553" y="139459"/>
                  </a:cubicBezTo>
                  <a:close/>
                  <a:moveTo>
                    <a:pt x="199891" y="50590"/>
                  </a:moveTo>
                  <a:cubicBezTo>
                    <a:pt x="200653" y="51733"/>
                    <a:pt x="201796" y="52591"/>
                    <a:pt x="203034" y="53162"/>
                  </a:cubicBezTo>
                  <a:cubicBezTo>
                    <a:pt x="201510" y="53257"/>
                    <a:pt x="200082" y="53448"/>
                    <a:pt x="198557" y="53734"/>
                  </a:cubicBezTo>
                  <a:cubicBezTo>
                    <a:pt x="199034" y="52686"/>
                    <a:pt x="199415" y="51638"/>
                    <a:pt x="199796" y="50495"/>
                  </a:cubicBezTo>
                  <a:close/>
                  <a:moveTo>
                    <a:pt x="186747" y="35922"/>
                  </a:moveTo>
                  <a:cubicBezTo>
                    <a:pt x="187318" y="35922"/>
                    <a:pt x="187794" y="35922"/>
                    <a:pt x="188366" y="35922"/>
                  </a:cubicBezTo>
                  <a:cubicBezTo>
                    <a:pt x="187604" y="35922"/>
                    <a:pt x="186842" y="36017"/>
                    <a:pt x="186080" y="36112"/>
                  </a:cubicBezTo>
                  <a:cubicBezTo>
                    <a:pt x="186080" y="36112"/>
                    <a:pt x="185889" y="36112"/>
                    <a:pt x="185794" y="36112"/>
                  </a:cubicBezTo>
                  <a:cubicBezTo>
                    <a:pt x="185794" y="36112"/>
                    <a:pt x="186556" y="35827"/>
                    <a:pt x="186747" y="35731"/>
                  </a:cubicBezTo>
                  <a:close/>
                  <a:moveTo>
                    <a:pt x="183317" y="32398"/>
                  </a:moveTo>
                  <a:cubicBezTo>
                    <a:pt x="183413" y="32969"/>
                    <a:pt x="183603" y="33541"/>
                    <a:pt x="183698" y="34017"/>
                  </a:cubicBezTo>
                  <a:cubicBezTo>
                    <a:pt x="183698" y="34207"/>
                    <a:pt x="183889" y="34493"/>
                    <a:pt x="183889" y="34779"/>
                  </a:cubicBezTo>
                  <a:cubicBezTo>
                    <a:pt x="183889" y="34969"/>
                    <a:pt x="183889" y="35160"/>
                    <a:pt x="183794" y="35255"/>
                  </a:cubicBezTo>
                  <a:cubicBezTo>
                    <a:pt x="183794" y="35255"/>
                    <a:pt x="183508" y="35541"/>
                    <a:pt x="183127" y="35636"/>
                  </a:cubicBezTo>
                  <a:cubicBezTo>
                    <a:pt x="183127" y="34588"/>
                    <a:pt x="183222" y="33445"/>
                    <a:pt x="183222" y="32398"/>
                  </a:cubicBezTo>
                  <a:close/>
                  <a:moveTo>
                    <a:pt x="172649" y="21444"/>
                  </a:moveTo>
                  <a:cubicBezTo>
                    <a:pt x="173316" y="21730"/>
                    <a:pt x="174173" y="21920"/>
                    <a:pt x="174935" y="21825"/>
                  </a:cubicBezTo>
                  <a:cubicBezTo>
                    <a:pt x="174078" y="22396"/>
                    <a:pt x="173221" y="23063"/>
                    <a:pt x="172554" y="23730"/>
                  </a:cubicBezTo>
                  <a:cubicBezTo>
                    <a:pt x="171602" y="24587"/>
                    <a:pt x="170649" y="25635"/>
                    <a:pt x="169792" y="26587"/>
                  </a:cubicBezTo>
                  <a:cubicBezTo>
                    <a:pt x="171030" y="24301"/>
                    <a:pt x="172649" y="24016"/>
                    <a:pt x="172649" y="21349"/>
                  </a:cubicBezTo>
                  <a:close/>
                  <a:moveTo>
                    <a:pt x="160362" y="14586"/>
                  </a:moveTo>
                  <a:cubicBezTo>
                    <a:pt x="161505" y="14205"/>
                    <a:pt x="162743" y="13824"/>
                    <a:pt x="163982" y="13729"/>
                  </a:cubicBezTo>
                  <a:cubicBezTo>
                    <a:pt x="165982" y="13538"/>
                    <a:pt x="168173" y="14110"/>
                    <a:pt x="169506" y="15729"/>
                  </a:cubicBezTo>
                  <a:cubicBezTo>
                    <a:pt x="167792" y="15157"/>
                    <a:pt x="165887" y="15062"/>
                    <a:pt x="164077" y="15157"/>
                  </a:cubicBezTo>
                  <a:cubicBezTo>
                    <a:pt x="162458" y="15157"/>
                    <a:pt x="158267" y="15919"/>
                    <a:pt x="158267" y="15919"/>
                  </a:cubicBezTo>
                  <a:cubicBezTo>
                    <a:pt x="158648" y="15157"/>
                    <a:pt x="159695" y="14872"/>
                    <a:pt x="160362" y="14586"/>
                  </a:cubicBezTo>
                  <a:close/>
                  <a:moveTo>
                    <a:pt x="135788" y="8204"/>
                  </a:moveTo>
                  <a:cubicBezTo>
                    <a:pt x="136931" y="8871"/>
                    <a:pt x="137883" y="9728"/>
                    <a:pt x="138645" y="10776"/>
                  </a:cubicBezTo>
                  <a:cubicBezTo>
                    <a:pt x="139122" y="11347"/>
                    <a:pt x="139502" y="11919"/>
                    <a:pt x="139883" y="12490"/>
                  </a:cubicBezTo>
                  <a:cubicBezTo>
                    <a:pt x="140074" y="12776"/>
                    <a:pt x="140265" y="12967"/>
                    <a:pt x="140550" y="13252"/>
                  </a:cubicBezTo>
                  <a:cubicBezTo>
                    <a:pt x="140741" y="13443"/>
                    <a:pt x="140741" y="13443"/>
                    <a:pt x="140550" y="13633"/>
                  </a:cubicBezTo>
                  <a:cubicBezTo>
                    <a:pt x="138931" y="11919"/>
                    <a:pt x="137216" y="10204"/>
                    <a:pt x="135216" y="8966"/>
                  </a:cubicBezTo>
                  <a:cubicBezTo>
                    <a:pt x="133692" y="8014"/>
                    <a:pt x="131978" y="7347"/>
                    <a:pt x="130263" y="7442"/>
                  </a:cubicBezTo>
                  <a:cubicBezTo>
                    <a:pt x="132168" y="7061"/>
                    <a:pt x="134073" y="7252"/>
                    <a:pt x="135788" y="8204"/>
                  </a:cubicBezTo>
                  <a:close/>
                  <a:moveTo>
                    <a:pt x="102831" y="6013"/>
                  </a:moveTo>
                  <a:cubicBezTo>
                    <a:pt x="102831" y="6013"/>
                    <a:pt x="103498" y="4966"/>
                    <a:pt x="103974" y="5061"/>
                  </a:cubicBezTo>
                  <a:cubicBezTo>
                    <a:pt x="104450" y="5156"/>
                    <a:pt x="104927" y="5728"/>
                    <a:pt x="105117" y="6109"/>
                  </a:cubicBezTo>
                  <a:cubicBezTo>
                    <a:pt x="105784" y="7061"/>
                    <a:pt x="106165" y="7918"/>
                    <a:pt x="105593" y="9252"/>
                  </a:cubicBezTo>
                  <a:cubicBezTo>
                    <a:pt x="105022" y="10585"/>
                    <a:pt x="102831" y="14300"/>
                    <a:pt x="102355" y="15919"/>
                  </a:cubicBezTo>
                  <a:cubicBezTo>
                    <a:pt x="102355" y="15824"/>
                    <a:pt x="102355" y="15729"/>
                    <a:pt x="102355" y="15634"/>
                  </a:cubicBezTo>
                  <a:cubicBezTo>
                    <a:pt x="101974" y="14014"/>
                    <a:pt x="101688" y="9728"/>
                    <a:pt x="101688" y="9442"/>
                  </a:cubicBezTo>
                  <a:cubicBezTo>
                    <a:pt x="101688" y="8204"/>
                    <a:pt x="102069" y="7061"/>
                    <a:pt x="102736" y="6013"/>
                  </a:cubicBezTo>
                  <a:close/>
                  <a:moveTo>
                    <a:pt x="91115" y="18110"/>
                  </a:moveTo>
                  <a:cubicBezTo>
                    <a:pt x="93020" y="17443"/>
                    <a:pt x="95021" y="17253"/>
                    <a:pt x="96926" y="17729"/>
                  </a:cubicBezTo>
                  <a:cubicBezTo>
                    <a:pt x="98735" y="18205"/>
                    <a:pt x="100355" y="19253"/>
                    <a:pt x="101593" y="20682"/>
                  </a:cubicBezTo>
                  <a:cubicBezTo>
                    <a:pt x="98164" y="19348"/>
                    <a:pt x="94449" y="18205"/>
                    <a:pt x="90734" y="18205"/>
                  </a:cubicBezTo>
                  <a:cubicBezTo>
                    <a:pt x="90830" y="18205"/>
                    <a:pt x="91020" y="18110"/>
                    <a:pt x="91115" y="18110"/>
                  </a:cubicBezTo>
                  <a:close/>
                  <a:moveTo>
                    <a:pt x="82448" y="22587"/>
                  </a:moveTo>
                  <a:cubicBezTo>
                    <a:pt x="82638" y="21920"/>
                    <a:pt x="83019" y="21349"/>
                    <a:pt x="83495" y="20872"/>
                  </a:cubicBezTo>
                  <a:cubicBezTo>
                    <a:pt x="83781" y="20491"/>
                    <a:pt x="84162" y="20206"/>
                    <a:pt x="84448" y="19920"/>
                  </a:cubicBezTo>
                  <a:cubicBezTo>
                    <a:pt x="84639" y="19825"/>
                    <a:pt x="84829" y="19634"/>
                    <a:pt x="85019" y="19539"/>
                  </a:cubicBezTo>
                  <a:cubicBezTo>
                    <a:pt x="85210" y="19539"/>
                    <a:pt x="86163" y="20206"/>
                    <a:pt x="86353" y="20301"/>
                  </a:cubicBezTo>
                  <a:cubicBezTo>
                    <a:pt x="84924" y="21253"/>
                    <a:pt x="83019" y="21920"/>
                    <a:pt x="82257" y="23444"/>
                  </a:cubicBezTo>
                  <a:cubicBezTo>
                    <a:pt x="82257" y="23444"/>
                    <a:pt x="82352" y="22873"/>
                    <a:pt x="82543" y="22587"/>
                  </a:cubicBezTo>
                  <a:close/>
                  <a:moveTo>
                    <a:pt x="49586" y="34874"/>
                  </a:moveTo>
                  <a:cubicBezTo>
                    <a:pt x="49777" y="35541"/>
                    <a:pt x="50158" y="36208"/>
                    <a:pt x="50539" y="36874"/>
                  </a:cubicBezTo>
                  <a:cubicBezTo>
                    <a:pt x="50730" y="37160"/>
                    <a:pt x="50920" y="37351"/>
                    <a:pt x="51015" y="37636"/>
                  </a:cubicBezTo>
                  <a:cubicBezTo>
                    <a:pt x="51015" y="38017"/>
                    <a:pt x="51015" y="38494"/>
                    <a:pt x="51015" y="38875"/>
                  </a:cubicBezTo>
                  <a:cubicBezTo>
                    <a:pt x="50158" y="38398"/>
                    <a:pt x="49206" y="37922"/>
                    <a:pt x="48348" y="37541"/>
                  </a:cubicBezTo>
                  <a:cubicBezTo>
                    <a:pt x="48824" y="36684"/>
                    <a:pt x="49301" y="35827"/>
                    <a:pt x="49586" y="34874"/>
                  </a:cubicBezTo>
                  <a:close/>
                  <a:moveTo>
                    <a:pt x="34347" y="164700"/>
                  </a:moveTo>
                  <a:cubicBezTo>
                    <a:pt x="34347" y="164700"/>
                    <a:pt x="34251" y="165271"/>
                    <a:pt x="34156" y="165367"/>
                  </a:cubicBezTo>
                  <a:cubicBezTo>
                    <a:pt x="34156" y="165367"/>
                    <a:pt x="34156" y="165176"/>
                    <a:pt x="34156" y="165176"/>
                  </a:cubicBezTo>
                  <a:cubicBezTo>
                    <a:pt x="34156" y="164224"/>
                    <a:pt x="34251" y="163176"/>
                    <a:pt x="34442" y="162223"/>
                  </a:cubicBezTo>
                  <a:cubicBezTo>
                    <a:pt x="34442" y="161842"/>
                    <a:pt x="34537" y="161366"/>
                    <a:pt x="34727" y="160985"/>
                  </a:cubicBezTo>
                  <a:cubicBezTo>
                    <a:pt x="34727" y="160795"/>
                    <a:pt x="35204" y="160699"/>
                    <a:pt x="35394" y="160604"/>
                  </a:cubicBezTo>
                  <a:cubicBezTo>
                    <a:pt x="35013" y="161938"/>
                    <a:pt x="34632" y="163271"/>
                    <a:pt x="34347" y="164700"/>
                  </a:cubicBezTo>
                  <a:close/>
                  <a:moveTo>
                    <a:pt x="49206" y="187179"/>
                  </a:moveTo>
                  <a:cubicBezTo>
                    <a:pt x="49206" y="187179"/>
                    <a:pt x="49206" y="187179"/>
                    <a:pt x="49206" y="187179"/>
                  </a:cubicBezTo>
                  <a:cubicBezTo>
                    <a:pt x="48253" y="186703"/>
                    <a:pt x="49015" y="187084"/>
                    <a:pt x="49206" y="187179"/>
                  </a:cubicBezTo>
                  <a:cubicBezTo>
                    <a:pt x="48253" y="186703"/>
                    <a:pt x="47682" y="185655"/>
                    <a:pt x="47300" y="184702"/>
                  </a:cubicBezTo>
                  <a:cubicBezTo>
                    <a:pt x="46824" y="183559"/>
                    <a:pt x="46539" y="182321"/>
                    <a:pt x="46443" y="181083"/>
                  </a:cubicBezTo>
                  <a:cubicBezTo>
                    <a:pt x="46443" y="179749"/>
                    <a:pt x="46443" y="178416"/>
                    <a:pt x="46824" y="177178"/>
                  </a:cubicBezTo>
                  <a:cubicBezTo>
                    <a:pt x="46824" y="176892"/>
                    <a:pt x="47015" y="176606"/>
                    <a:pt x="47110" y="176320"/>
                  </a:cubicBezTo>
                  <a:cubicBezTo>
                    <a:pt x="47110" y="176035"/>
                    <a:pt x="47396" y="175939"/>
                    <a:pt x="47586" y="175654"/>
                  </a:cubicBezTo>
                  <a:cubicBezTo>
                    <a:pt x="48063" y="175177"/>
                    <a:pt x="48634" y="174987"/>
                    <a:pt x="49110" y="174701"/>
                  </a:cubicBezTo>
                  <a:cubicBezTo>
                    <a:pt x="48634" y="176892"/>
                    <a:pt x="48348" y="179178"/>
                    <a:pt x="48348" y="181464"/>
                  </a:cubicBezTo>
                  <a:cubicBezTo>
                    <a:pt x="48348" y="183464"/>
                    <a:pt x="48634" y="185655"/>
                    <a:pt x="49682" y="187465"/>
                  </a:cubicBezTo>
                  <a:cubicBezTo>
                    <a:pt x="49491" y="187465"/>
                    <a:pt x="49396" y="187369"/>
                    <a:pt x="49206" y="187274"/>
                  </a:cubicBezTo>
                  <a:cubicBezTo>
                    <a:pt x="49206" y="187274"/>
                    <a:pt x="49206" y="187274"/>
                    <a:pt x="49206" y="187274"/>
                  </a:cubicBezTo>
                  <a:close/>
                  <a:moveTo>
                    <a:pt x="77209" y="113741"/>
                  </a:moveTo>
                  <a:cubicBezTo>
                    <a:pt x="77209" y="113741"/>
                    <a:pt x="76542" y="112789"/>
                    <a:pt x="76161" y="112312"/>
                  </a:cubicBezTo>
                  <a:cubicBezTo>
                    <a:pt x="76638" y="112312"/>
                    <a:pt x="77114" y="112122"/>
                    <a:pt x="77590" y="111931"/>
                  </a:cubicBezTo>
                  <a:cubicBezTo>
                    <a:pt x="77399" y="112503"/>
                    <a:pt x="77304" y="113074"/>
                    <a:pt x="77209" y="113646"/>
                  </a:cubicBezTo>
                  <a:close/>
                  <a:moveTo>
                    <a:pt x="102641" y="87928"/>
                  </a:moveTo>
                  <a:cubicBezTo>
                    <a:pt x="102641" y="87166"/>
                    <a:pt x="102641" y="86309"/>
                    <a:pt x="102355" y="85547"/>
                  </a:cubicBezTo>
                  <a:cubicBezTo>
                    <a:pt x="102165" y="84880"/>
                    <a:pt x="101974" y="84309"/>
                    <a:pt x="101783" y="83737"/>
                  </a:cubicBezTo>
                  <a:cubicBezTo>
                    <a:pt x="101688" y="83452"/>
                    <a:pt x="101593" y="83166"/>
                    <a:pt x="101402" y="82975"/>
                  </a:cubicBezTo>
                  <a:cubicBezTo>
                    <a:pt x="101402" y="82880"/>
                    <a:pt x="101212" y="82690"/>
                    <a:pt x="101212" y="82594"/>
                  </a:cubicBezTo>
                  <a:cubicBezTo>
                    <a:pt x="101212" y="82404"/>
                    <a:pt x="101212" y="82213"/>
                    <a:pt x="101212" y="81928"/>
                  </a:cubicBezTo>
                  <a:cubicBezTo>
                    <a:pt x="102165" y="83452"/>
                    <a:pt x="103498" y="84880"/>
                    <a:pt x="104927" y="86023"/>
                  </a:cubicBezTo>
                  <a:cubicBezTo>
                    <a:pt x="105308" y="86309"/>
                    <a:pt x="105784" y="86595"/>
                    <a:pt x="106260" y="86881"/>
                  </a:cubicBezTo>
                  <a:cubicBezTo>
                    <a:pt x="105022" y="87166"/>
                    <a:pt x="103879" y="87547"/>
                    <a:pt x="102736" y="87928"/>
                  </a:cubicBezTo>
                  <a:close/>
                  <a:moveTo>
                    <a:pt x="114357" y="83547"/>
                  </a:moveTo>
                  <a:cubicBezTo>
                    <a:pt x="114166" y="84118"/>
                    <a:pt x="113880" y="84785"/>
                    <a:pt x="113594" y="85357"/>
                  </a:cubicBezTo>
                  <a:cubicBezTo>
                    <a:pt x="113118" y="85357"/>
                    <a:pt x="112737" y="85452"/>
                    <a:pt x="112261" y="85547"/>
                  </a:cubicBezTo>
                  <a:cubicBezTo>
                    <a:pt x="113023" y="84595"/>
                    <a:pt x="113594" y="83452"/>
                    <a:pt x="114071" y="82404"/>
                  </a:cubicBezTo>
                  <a:cubicBezTo>
                    <a:pt x="114833" y="80594"/>
                    <a:pt x="115309" y="78689"/>
                    <a:pt x="115690" y="76784"/>
                  </a:cubicBezTo>
                  <a:cubicBezTo>
                    <a:pt x="115595" y="77546"/>
                    <a:pt x="115499" y="78403"/>
                    <a:pt x="115404" y="79165"/>
                  </a:cubicBezTo>
                  <a:cubicBezTo>
                    <a:pt x="115309" y="80689"/>
                    <a:pt x="114833" y="82118"/>
                    <a:pt x="114357" y="83547"/>
                  </a:cubicBezTo>
                  <a:close/>
                  <a:moveTo>
                    <a:pt x="116071" y="91834"/>
                  </a:moveTo>
                  <a:cubicBezTo>
                    <a:pt x="116071" y="91834"/>
                    <a:pt x="116071" y="91643"/>
                    <a:pt x="115976" y="91548"/>
                  </a:cubicBezTo>
                  <a:cubicBezTo>
                    <a:pt x="115690" y="90976"/>
                    <a:pt x="115404" y="90405"/>
                    <a:pt x="115309" y="89833"/>
                  </a:cubicBezTo>
                  <a:cubicBezTo>
                    <a:pt x="115214" y="89071"/>
                    <a:pt x="115309" y="88309"/>
                    <a:pt x="115499" y="87643"/>
                  </a:cubicBezTo>
                  <a:cubicBezTo>
                    <a:pt x="115690" y="88976"/>
                    <a:pt x="115976" y="90310"/>
                    <a:pt x="116357" y="91548"/>
                  </a:cubicBezTo>
                  <a:cubicBezTo>
                    <a:pt x="116452" y="91929"/>
                    <a:pt x="116547" y="92405"/>
                    <a:pt x="116738" y="92786"/>
                  </a:cubicBezTo>
                  <a:cubicBezTo>
                    <a:pt x="116452" y="92500"/>
                    <a:pt x="116261" y="92215"/>
                    <a:pt x="116071" y="91834"/>
                  </a:cubicBezTo>
                  <a:cubicBezTo>
                    <a:pt x="116261" y="92119"/>
                    <a:pt x="115595" y="91072"/>
                    <a:pt x="116071" y="91834"/>
                  </a:cubicBezTo>
                  <a:close/>
                  <a:moveTo>
                    <a:pt x="126930" y="98882"/>
                  </a:moveTo>
                  <a:cubicBezTo>
                    <a:pt x="126930" y="98882"/>
                    <a:pt x="127120" y="99168"/>
                    <a:pt x="126930" y="98882"/>
                  </a:cubicBezTo>
                  <a:cubicBezTo>
                    <a:pt x="126739" y="98596"/>
                    <a:pt x="126930" y="98692"/>
                    <a:pt x="126930" y="98882"/>
                  </a:cubicBezTo>
                  <a:cubicBezTo>
                    <a:pt x="126644" y="98311"/>
                    <a:pt x="126548" y="97549"/>
                    <a:pt x="126453" y="96882"/>
                  </a:cubicBezTo>
                  <a:cubicBezTo>
                    <a:pt x="126453" y="96501"/>
                    <a:pt x="126358" y="96215"/>
                    <a:pt x="126263" y="95834"/>
                  </a:cubicBezTo>
                  <a:cubicBezTo>
                    <a:pt x="126263" y="95834"/>
                    <a:pt x="126263" y="95644"/>
                    <a:pt x="126263" y="95548"/>
                  </a:cubicBezTo>
                  <a:cubicBezTo>
                    <a:pt x="126263" y="95358"/>
                    <a:pt x="126263" y="95548"/>
                    <a:pt x="126263" y="95358"/>
                  </a:cubicBezTo>
                  <a:cubicBezTo>
                    <a:pt x="126358" y="95263"/>
                    <a:pt x="126644" y="95167"/>
                    <a:pt x="126834" y="95072"/>
                  </a:cubicBezTo>
                  <a:cubicBezTo>
                    <a:pt x="126644" y="96882"/>
                    <a:pt x="127406" y="98882"/>
                    <a:pt x="128739" y="100120"/>
                  </a:cubicBezTo>
                  <a:cubicBezTo>
                    <a:pt x="128073" y="99835"/>
                    <a:pt x="127310" y="99644"/>
                    <a:pt x="126930" y="98882"/>
                  </a:cubicBezTo>
                  <a:close/>
                  <a:moveTo>
                    <a:pt x="149980" y="112598"/>
                  </a:moveTo>
                  <a:cubicBezTo>
                    <a:pt x="149980" y="112598"/>
                    <a:pt x="149885" y="112312"/>
                    <a:pt x="149885" y="112312"/>
                  </a:cubicBezTo>
                  <a:cubicBezTo>
                    <a:pt x="149885" y="112312"/>
                    <a:pt x="150170" y="112217"/>
                    <a:pt x="150170" y="112217"/>
                  </a:cubicBezTo>
                  <a:cubicBezTo>
                    <a:pt x="150170" y="112598"/>
                    <a:pt x="150170" y="112884"/>
                    <a:pt x="150361" y="113265"/>
                  </a:cubicBezTo>
                  <a:cubicBezTo>
                    <a:pt x="150266" y="113074"/>
                    <a:pt x="150170" y="112884"/>
                    <a:pt x="149980" y="112598"/>
                  </a:cubicBezTo>
                  <a:close/>
                  <a:moveTo>
                    <a:pt x="191985" y="188703"/>
                  </a:moveTo>
                  <a:cubicBezTo>
                    <a:pt x="191985" y="188703"/>
                    <a:pt x="189985" y="188322"/>
                    <a:pt x="188842" y="188417"/>
                  </a:cubicBezTo>
                  <a:cubicBezTo>
                    <a:pt x="189223" y="187750"/>
                    <a:pt x="189604" y="186988"/>
                    <a:pt x="189985" y="186322"/>
                  </a:cubicBezTo>
                  <a:cubicBezTo>
                    <a:pt x="191414" y="187465"/>
                    <a:pt x="192842" y="188608"/>
                    <a:pt x="194557" y="189370"/>
                  </a:cubicBezTo>
                  <a:cubicBezTo>
                    <a:pt x="193700" y="189179"/>
                    <a:pt x="191985" y="188703"/>
                    <a:pt x="191985" y="188703"/>
                  </a:cubicBezTo>
                  <a:close/>
                  <a:moveTo>
                    <a:pt x="214655" y="108693"/>
                  </a:moveTo>
                  <a:cubicBezTo>
                    <a:pt x="214655" y="108693"/>
                    <a:pt x="215036" y="108883"/>
                    <a:pt x="215036" y="109074"/>
                  </a:cubicBezTo>
                  <a:cubicBezTo>
                    <a:pt x="215036" y="109169"/>
                    <a:pt x="214845" y="109455"/>
                    <a:pt x="214845" y="109645"/>
                  </a:cubicBezTo>
                  <a:cubicBezTo>
                    <a:pt x="214845" y="109645"/>
                    <a:pt x="214845" y="109550"/>
                    <a:pt x="214750" y="109455"/>
                  </a:cubicBezTo>
                  <a:cubicBezTo>
                    <a:pt x="214369" y="108883"/>
                    <a:pt x="213893" y="108312"/>
                    <a:pt x="213512" y="107740"/>
                  </a:cubicBezTo>
                  <a:cubicBezTo>
                    <a:pt x="213893" y="108121"/>
                    <a:pt x="214274" y="108407"/>
                    <a:pt x="214750" y="108693"/>
                  </a:cubicBezTo>
                  <a:close/>
                  <a:moveTo>
                    <a:pt x="207797" y="150222"/>
                  </a:moveTo>
                  <a:cubicBezTo>
                    <a:pt x="207797" y="149079"/>
                    <a:pt x="207606" y="147841"/>
                    <a:pt x="207416" y="146698"/>
                  </a:cubicBezTo>
                  <a:cubicBezTo>
                    <a:pt x="208368" y="147269"/>
                    <a:pt x="209321" y="147745"/>
                    <a:pt x="210273" y="148126"/>
                  </a:cubicBezTo>
                  <a:cubicBezTo>
                    <a:pt x="210368" y="148126"/>
                    <a:pt x="210559" y="148222"/>
                    <a:pt x="210654" y="148222"/>
                  </a:cubicBezTo>
                  <a:cubicBezTo>
                    <a:pt x="209607" y="148698"/>
                    <a:pt x="208464" y="149269"/>
                    <a:pt x="207797" y="150222"/>
                  </a:cubicBezTo>
                  <a:close/>
                  <a:moveTo>
                    <a:pt x="213798" y="165938"/>
                  </a:moveTo>
                  <a:cubicBezTo>
                    <a:pt x="213798" y="165938"/>
                    <a:pt x="213321" y="165938"/>
                    <a:pt x="213131" y="165938"/>
                  </a:cubicBezTo>
                  <a:cubicBezTo>
                    <a:pt x="212559" y="165938"/>
                    <a:pt x="211988" y="165938"/>
                    <a:pt x="211416" y="165843"/>
                  </a:cubicBezTo>
                  <a:cubicBezTo>
                    <a:pt x="211226" y="165843"/>
                    <a:pt x="210845" y="165843"/>
                    <a:pt x="210749" y="165748"/>
                  </a:cubicBezTo>
                  <a:cubicBezTo>
                    <a:pt x="210654" y="165652"/>
                    <a:pt x="210749" y="165367"/>
                    <a:pt x="210749" y="165176"/>
                  </a:cubicBezTo>
                  <a:cubicBezTo>
                    <a:pt x="212273" y="165652"/>
                    <a:pt x="213893" y="165938"/>
                    <a:pt x="215417" y="165843"/>
                  </a:cubicBezTo>
                  <a:cubicBezTo>
                    <a:pt x="214940" y="165843"/>
                    <a:pt x="214369" y="165938"/>
                    <a:pt x="213893" y="165938"/>
                  </a:cubicBezTo>
                  <a:close/>
                </a:path>
              </a:pathLst>
            </a:custGeom>
            <a:grpFill/>
            <a:ln w="9525" cap="flat">
              <a:noFill/>
              <a:prstDash val="solid"/>
              <a:miter/>
            </a:ln>
          </p:spPr>
          <p:txBody>
            <a:bodyPr rtlCol="0" anchor="ctr"/>
            <a:lstStyle/>
            <a:p>
              <a:endParaRPr lang="en-US" dirty="0"/>
            </a:p>
          </p:txBody>
        </p:sp>
        <p:sp>
          <p:nvSpPr>
            <p:cNvPr id="1295" name="Freeform: Shape 1294">
              <a:extLst>
                <a:ext uri="{FF2B5EF4-FFF2-40B4-BE49-F238E27FC236}">
                  <a16:creationId xmlns:a16="http://schemas.microsoft.com/office/drawing/2014/main" id="{C2E2B428-1470-F975-398C-1E97461D0A3D}"/>
                </a:ext>
              </a:extLst>
            </p:cNvPr>
            <p:cNvSpPr/>
            <p:nvPr/>
          </p:nvSpPr>
          <p:spPr>
            <a:xfrm>
              <a:off x="4570495" y="522394"/>
              <a:ext cx="290624" cy="248893"/>
            </a:xfrm>
            <a:custGeom>
              <a:avLst/>
              <a:gdLst>
                <a:gd name="connsiteX0" fmla="*/ 122968 w 130683"/>
                <a:gd name="connsiteY0" fmla="*/ 10763 h 111918"/>
                <a:gd name="connsiteX1" fmla="*/ 122682 w 130683"/>
                <a:gd name="connsiteY1" fmla="*/ 14002 h 111918"/>
                <a:gd name="connsiteX2" fmla="*/ 122682 w 130683"/>
                <a:gd name="connsiteY2" fmla="*/ 14097 h 111918"/>
                <a:gd name="connsiteX3" fmla="*/ 123825 w 130683"/>
                <a:gd name="connsiteY3" fmla="*/ 14192 h 111918"/>
                <a:gd name="connsiteX4" fmla="*/ 126682 w 130683"/>
                <a:gd name="connsiteY4" fmla="*/ 13811 h 111918"/>
                <a:gd name="connsiteX5" fmla="*/ 128778 w 130683"/>
                <a:gd name="connsiteY5" fmla="*/ 21050 h 111918"/>
                <a:gd name="connsiteX6" fmla="*/ 127254 w 130683"/>
                <a:gd name="connsiteY6" fmla="*/ 30766 h 111918"/>
                <a:gd name="connsiteX7" fmla="*/ 123730 w 130683"/>
                <a:gd name="connsiteY7" fmla="*/ 47625 h 111918"/>
                <a:gd name="connsiteX8" fmla="*/ 117348 w 130683"/>
                <a:gd name="connsiteY8" fmla="*/ 52578 h 111918"/>
                <a:gd name="connsiteX9" fmla="*/ 116300 w 130683"/>
                <a:gd name="connsiteY9" fmla="*/ 53435 h 111918"/>
                <a:gd name="connsiteX10" fmla="*/ 104489 w 130683"/>
                <a:gd name="connsiteY10" fmla="*/ 78772 h 111918"/>
                <a:gd name="connsiteX11" fmla="*/ 102394 w 130683"/>
                <a:gd name="connsiteY11" fmla="*/ 80963 h 111918"/>
                <a:gd name="connsiteX12" fmla="*/ 80963 w 130683"/>
                <a:gd name="connsiteY12" fmla="*/ 94202 h 111918"/>
                <a:gd name="connsiteX13" fmla="*/ 66675 w 130683"/>
                <a:gd name="connsiteY13" fmla="*/ 97250 h 111918"/>
                <a:gd name="connsiteX14" fmla="*/ 54007 w 130683"/>
                <a:gd name="connsiteY14" fmla="*/ 94869 h 111918"/>
                <a:gd name="connsiteX15" fmla="*/ 27908 w 130683"/>
                <a:gd name="connsiteY15" fmla="*/ 80581 h 111918"/>
                <a:gd name="connsiteX16" fmla="*/ 26289 w 130683"/>
                <a:gd name="connsiteY16" fmla="*/ 78772 h 111918"/>
                <a:gd name="connsiteX17" fmla="*/ 14383 w 130683"/>
                <a:gd name="connsiteY17" fmla="*/ 53435 h 111918"/>
                <a:gd name="connsiteX18" fmla="*/ 13335 w 130683"/>
                <a:gd name="connsiteY18" fmla="*/ 52578 h 111918"/>
                <a:gd name="connsiteX19" fmla="*/ 6953 w 130683"/>
                <a:gd name="connsiteY19" fmla="*/ 47625 h 111918"/>
                <a:gd name="connsiteX20" fmla="*/ 3429 w 130683"/>
                <a:gd name="connsiteY20" fmla="*/ 30766 h 111918"/>
                <a:gd name="connsiteX21" fmla="*/ 2000 w 130683"/>
                <a:gd name="connsiteY21" fmla="*/ 21050 h 111918"/>
                <a:gd name="connsiteX22" fmla="*/ 3905 w 130683"/>
                <a:gd name="connsiteY22" fmla="*/ 13906 h 111918"/>
                <a:gd name="connsiteX23" fmla="*/ 4572 w 130683"/>
                <a:gd name="connsiteY23" fmla="*/ 13621 h 111918"/>
                <a:gd name="connsiteX24" fmla="*/ 4953 w 130683"/>
                <a:gd name="connsiteY24" fmla="*/ 13621 h 111918"/>
                <a:gd name="connsiteX25" fmla="*/ 6858 w 130683"/>
                <a:gd name="connsiteY25" fmla="*/ 14192 h 111918"/>
                <a:gd name="connsiteX26" fmla="*/ 8001 w 130683"/>
                <a:gd name="connsiteY26" fmla="*/ 14192 h 111918"/>
                <a:gd name="connsiteX27" fmla="*/ 8382 w 130683"/>
                <a:gd name="connsiteY27" fmla="*/ 13144 h 111918"/>
                <a:gd name="connsiteX28" fmla="*/ 6763 w 130683"/>
                <a:gd name="connsiteY28" fmla="*/ 3715 h 111918"/>
                <a:gd name="connsiteX29" fmla="*/ 4572 w 130683"/>
                <a:gd name="connsiteY29" fmla="*/ 0 h 111918"/>
                <a:gd name="connsiteX30" fmla="*/ 4572 w 130683"/>
                <a:gd name="connsiteY30" fmla="*/ 1333 h 111918"/>
                <a:gd name="connsiteX31" fmla="*/ 5525 w 130683"/>
                <a:gd name="connsiteY31" fmla="*/ 9906 h 111918"/>
                <a:gd name="connsiteX32" fmla="*/ 5810 w 130683"/>
                <a:gd name="connsiteY32" fmla="*/ 11430 h 111918"/>
                <a:gd name="connsiteX33" fmla="*/ 4286 w 130683"/>
                <a:gd name="connsiteY33" fmla="*/ 11716 h 111918"/>
                <a:gd name="connsiteX34" fmla="*/ 3048 w 130683"/>
                <a:gd name="connsiteY34" fmla="*/ 12192 h 111918"/>
                <a:gd name="connsiteX35" fmla="*/ 0 w 130683"/>
                <a:gd name="connsiteY35" fmla="*/ 21241 h 111918"/>
                <a:gd name="connsiteX36" fmla="*/ 1524 w 130683"/>
                <a:gd name="connsiteY36" fmla="*/ 31432 h 111918"/>
                <a:gd name="connsiteX37" fmla="*/ 4953 w 130683"/>
                <a:gd name="connsiteY37" fmla="*/ 48101 h 111918"/>
                <a:gd name="connsiteX38" fmla="*/ 11525 w 130683"/>
                <a:gd name="connsiteY38" fmla="*/ 54578 h 111918"/>
                <a:gd name="connsiteX39" fmla="*/ 12573 w 130683"/>
                <a:gd name="connsiteY39" fmla="*/ 54769 h 111918"/>
                <a:gd name="connsiteX40" fmla="*/ 12763 w 130683"/>
                <a:gd name="connsiteY40" fmla="*/ 55817 h 111918"/>
                <a:gd name="connsiteX41" fmla="*/ 24765 w 130683"/>
                <a:gd name="connsiteY41" fmla="*/ 80296 h 111918"/>
                <a:gd name="connsiteX42" fmla="*/ 26098 w 130683"/>
                <a:gd name="connsiteY42" fmla="*/ 82010 h 111918"/>
                <a:gd name="connsiteX43" fmla="*/ 26384 w 130683"/>
                <a:gd name="connsiteY43" fmla="*/ 82391 h 111918"/>
                <a:gd name="connsiteX44" fmla="*/ 26861 w 130683"/>
                <a:gd name="connsiteY44" fmla="*/ 82867 h 111918"/>
                <a:gd name="connsiteX45" fmla="*/ 26861 w 130683"/>
                <a:gd name="connsiteY45" fmla="*/ 100679 h 111918"/>
                <a:gd name="connsiteX46" fmla="*/ 24765 w 130683"/>
                <a:gd name="connsiteY46" fmla="*/ 109252 h 111918"/>
                <a:gd name="connsiteX47" fmla="*/ 26384 w 130683"/>
                <a:gd name="connsiteY47" fmla="*/ 110395 h 111918"/>
                <a:gd name="connsiteX48" fmla="*/ 28861 w 130683"/>
                <a:gd name="connsiteY48" fmla="*/ 100679 h 111918"/>
                <a:gd name="connsiteX49" fmla="*/ 28861 w 130683"/>
                <a:gd name="connsiteY49" fmla="*/ 83915 h 111918"/>
                <a:gd name="connsiteX50" fmla="*/ 52864 w 130683"/>
                <a:gd name="connsiteY50" fmla="*/ 96965 h 111918"/>
                <a:gd name="connsiteX51" fmla="*/ 81724 w 130683"/>
                <a:gd name="connsiteY51" fmla="*/ 96393 h 111918"/>
                <a:gd name="connsiteX52" fmla="*/ 101632 w 130683"/>
                <a:gd name="connsiteY52" fmla="*/ 84106 h 111918"/>
                <a:gd name="connsiteX53" fmla="*/ 101632 w 130683"/>
                <a:gd name="connsiteY53" fmla="*/ 100679 h 111918"/>
                <a:gd name="connsiteX54" fmla="*/ 105156 w 130683"/>
                <a:gd name="connsiteY54" fmla="*/ 111919 h 111918"/>
                <a:gd name="connsiteX55" fmla="*/ 106871 w 130683"/>
                <a:gd name="connsiteY55" fmla="*/ 110680 h 111918"/>
                <a:gd name="connsiteX56" fmla="*/ 103727 w 130683"/>
                <a:gd name="connsiteY56" fmla="*/ 100679 h 111918"/>
                <a:gd name="connsiteX57" fmla="*/ 103727 w 130683"/>
                <a:gd name="connsiteY57" fmla="*/ 82963 h 111918"/>
                <a:gd name="connsiteX58" fmla="*/ 104204 w 130683"/>
                <a:gd name="connsiteY58" fmla="*/ 82487 h 111918"/>
                <a:gd name="connsiteX59" fmla="*/ 104489 w 130683"/>
                <a:gd name="connsiteY59" fmla="*/ 82105 h 111918"/>
                <a:gd name="connsiteX60" fmla="*/ 104775 w 130683"/>
                <a:gd name="connsiteY60" fmla="*/ 81629 h 111918"/>
                <a:gd name="connsiteX61" fmla="*/ 105823 w 130683"/>
                <a:gd name="connsiteY61" fmla="*/ 80391 h 111918"/>
                <a:gd name="connsiteX62" fmla="*/ 117824 w 130683"/>
                <a:gd name="connsiteY62" fmla="*/ 55912 h 111918"/>
                <a:gd name="connsiteX63" fmla="*/ 118015 w 130683"/>
                <a:gd name="connsiteY63" fmla="*/ 54864 h 111918"/>
                <a:gd name="connsiteX64" fmla="*/ 119063 w 130683"/>
                <a:gd name="connsiteY64" fmla="*/ 54673 h 111918"/>
                <a:gd name="connsiteX65" fmla="*/ 125635 w 130683"/>
                <a:gd name="connsiteY65" fmla="*/ 48196 h 111918"/>
                <a:gd name="connsiteX66" fmla="*/ 129064 w 130683"/>
                <a:gd name="connsiteY66" fmla="*/ 31623 h 111918"/>
                <a:gd name="connsiteX67" fmla="*/ 130683 w 130683"/>
                <a:gd name="connsiteY67" fmla="*/ 21336 h 111918"/>
                <a:gd name="connsiteX68" fmla="*/ 127540 w 130683"/>
                <a:gd name="connsiteY68" fmla="*/ 12287 h 111918"/>
                <a:gd name="connsiteX69" fmla="*/ 126302 w 130683"/>
                <a:gd name="connsiteY69" fmla="*/ 11811 h 111918"/>
                <a:gd name="connsiteX70" fmla="*/ 124778 w 130683"/>
                <a:gd name="connsiteY70" fmla="*/ 11525 h 111918"/>
                <a:gd name="connsiteX71" fmla="*/ 125063 w 130683"/>
                <a:gd name="connsiteY71" fmla="*/ 10001 h 111918"/>
                <a:gd name="connsiteX72" fmla="*/ 126016 w 130683"/>
                <a:gd name="connsiteY72" fmla="*/ 1429 h 111918"/>
                <a:gd name="connsiteX73" fmla="*/ 126016 w 130683"/>
                <a:gd name="connsiteY73" fmla="*/ 0 h 111918"/>
                <a:gd name="connsiteX74" fmla="*/ 123539 w 130683"/>
                <a:gd name="connsiteY74" fmla="*/ 6477 h 111918"/>
                <a:gd name="connsiteX75" fmla="*/ 122777 w 130683"/>
                <a:gd name="connsiteY75" fmla="*/ 10954 h 1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30683" h="111918">
                  <a:moveTo>
                    <a:pt x="122968" y="10763"/>
                  </a:moveTo>
                  <a:cubicBezTo>
                    <a:pt x="122777" y="11906"/>
                    <a:pt x="122682" y="13049"/>
                    <a:pt x="122682" y="14002"/>
                  </a:cubicBezTo>
                  <a:cubicBezTo>
                    <a:pt x="122682" y="14002"/>
                    <a:pt x="122682" y="14002"/>
                    <a:pt x="122682" y="14097"/>
                  </a:cubicBezTo>
                  <a:cubicBezTo>
                    <a:pt x="123063" y="14383"/>
                    <a:pt x="123444" y="14383"/>
                    <a:pt x="123825" y="14192"/>
                  </a:cubicBezTo>
                  <a:cubicBezTo>
                    <a:pt x="124587" y="13716"/>
                    <a:pt x="125730" y="13335"/>
                    <a:pt x="126682" y="13811"/>
                  </a:cubicBezTo>
                  <a:cubicBezTo>
                    <a:pt x="127540" y="14478"/>
                    <a:pt x="128778" y="16097"/>
                    <a:pt x="128778" y="21050"/>
                  </a:cubicBezTo>
                  <a:cubicBezTo>
                    <a:pt x="128778" y="25051"/>
                    <a:pt x="128206" y="27242"/>
                    <a:pt x="127254" y="30766"/>
                  </a:cubicBezTo>
                  <a:cubicBezTo>
                    <a:pt x="126397" y="34195"/>
                    <a:pt x="125158" y="38862"/>
                    <a:pt x="123730" y="47625"/>
                  </a:cubicBezTo>
                  <a:cubicBezTo>
                    <a:pt x="123158" y="51149"/>
                    <a:pt x="120110" y="52483"/>
                    <a:pt x="117348" y="52578"/>
                  </a:cubicBezTo>
                  <a:cubicBezTo>
                    <a:pt x="116777" y="52578"/>
                    <a:pt x="116300" y="52959"/>
                    <a:pt x="116300" y="53435"/>
                  </a:cubicBezTo>
                  <a:cubicBezTo>
                    <a:pt x="114871" y="62865"/>
                    <a:pt x="110776" y="71628"/>
                    <a:pt x="104489" y="78772"/>
                  </a:cubicBezTo>
                  <a:lnTo>
                    <a:pt x="102394" y="80963"/>
                  </a:lnTo>
                  <a:lnTo>
                    <a:pt x="80963" y="94202"/>
                  </a:lnTo>
                  <a:cubicBezTo>
                    <a:pt x="76390" y="96203"/>
                    <a:pt x="71533" y="97250"/>
                    <a:pt x="66675" y="97250"/>
                  </a:cubicBezTo>
                  <a:cubicBezTo>
                    <a:pt x="62389" y="97250"/>
                    <a:pt x="58103" y="96488"/>
                    <a:pt x="54007" y="94869"/>
                  </a:cubicBezTo>
                  <a:lnTo>
                    <a:pt x="27908" y="80581"/>
                  </a:lnTo>
                  <a:lnTo>
                    <a:pt x="26289" y="78772"/>
                  </a:lnTo>
                  <a:cubicBezTo>
                    <a:pt x="19907" y="71628"/>
                    <a:pt x="15811" y="62865"/>
                    <a:pt x="14383" y="53435"/>
                  </a:cubicBezTo>
                  <a:cubicBezTo>
                    <a:pt x="14383" y="52959"/>
                    <a:pt x="13906" y="52578"/>
                    <a:pt x="13335" y="52578"/>
                  </a:cubicBezTo>
                  <a:cubicBezTo>
                    <a:pt x="10573" y="52578"/>
                    <a:pt x="7525" y="51149"/>
                    <a:pt x="6953" y="47625"/>
                  </a:cubicBezTo>
                  <a:cubicBezTo>
                    <a:pt x="5525" y="38957"/>
                    <a:pt x="4381" y="34195"/>
                    <a:pt x="3429" y="30766"/>
                  </a:cubicBezTo>
                  <a:cubicBezTo>
                    <a:pt x="2476" y="27242"/>
                    <a:pt x="2000" y="25051"/>
                    <a:pt x="2000" y="21050"/>
                  </a:cubicBezTo>
                  <a:cubicBezTo>
                    <a:pt x="2000" y="16097"/>
                    <a:pt x="3238" y="14383"/>
                    <a:pt x="3905" y="13906"/>
                  </a:cubicBezTo>
                  <a:lnTo>
                    <a:pt x="4572" y="13621"/>
                  </a:lnTo>
                  <a:lnTo>
                    <a:pt x="4953" y="13621"/>
                  </a:lnTo>
                  <a:cubicBezTo>
                    <a:pt x="5715" y="13621"/>
                    <a:pt x="6382" y="13906"/>
                    <a:pt x="6858" y="14192"/>
                  </a:cubicBezTo>
                  <a:cubicBezTo>
                    <a:pt x="7239" y="14383"/>
                    <a:pt x="7620" y="14383"/>
                    <a:pt x="8001" y="14192"/>
                  </a:cubicBezTo>
                  <a:cubicBezTo>
                    <a:pt x="8382" y="13906"/>
                    <a:pt x="8477" y="13526"/>
                    <a:pt x="8382" y="13144"/>
                  </a:cubicBezTo>
                  <a:cubicBezTo>
                    <a:pt x="7810" y="11049"/>
                    <a:pt x="7048" y="7810"/>
                    <a:pt x="6763" y="3715"/>
                  </a:cubicBezTo>
                  <a:cubicBezTo>
                    <a:pt x="6096" y="2095"/>
                    <a:pt x="5334" y="952"/>
                    <a:pt x="4572" y="0"/>
                  </a:cubicBezTo>
                  <a:cubicBezTo>
                    <a:pt x="4572" y="476"/>
                    <a:pt x="4572" y="857"/>
                    <a:pt x="4572" y="1333"/>
                  </a:cubicBezTo>
                  <a:cubicBezTo>
                    <a:pt x="4572" y="4286"/>
                    <a:pt x="4953" y="7144"/>
                    <a:pt x="5525" y="9906"/>
                  </a:cubicBezTo>
                  <a:lnTo>
                    <a:pt x="5810" y="11430"/>
                  </a:lnTo>
                  <a:lnTo>
                    <a:pt x="4286" y="11716"/>
                  </a:lnTo>
                  <a:cubicBezTo>
                    <a:pt x="4286" y="11716"/>
                    <a:pt x="3429" y="11906"/>
                    <a:pt x="3048" y="12192"/>
                  </a:cubicBezTo>
                  <a:cubicBezTo>
                    <a:pt x="476" y="13716"/>
                    <a:pt x="0" y="17907"/>
                    <a:pt x="0" y="21241"/>
                  </a:cubicBezTo>
                  <a:cubicBezTo>
                    <a:pt x="0" y="25527"/>
                    <a:pt x="571" y="27718"/>
                    <a:pt x="1524" y="31432"/>
                  </a:cubicBezTo>
                  <a:cubicBezTo>
                    <a:pt x="2381" y="34766"/>
                    <a:pt x="3619" y="39433"/>
                    <a:pt x="4953" y="48101"/>
                  </a:cubicBezTo>
                  <a:cubicBezTo>
                    <a:pt x="5715" y="52768"/>
                    <a:pt x="9334" y="54197"/>
                    <a:pt x="11525" y="54578"/>
                  </a:cubicBezTo>
                  <a:lnTo>
                    <a:pt x="12573" y="54769"/>
                  </a:lnTo>
                  <a:lnTo>
                    <a:pt x="12763" y="55817"/>
                  </a:lnTo>
                  <a:cubicBezTo>
                    <a:pt x="14478" y="64960"/>
                    <a:pt x="18669" y="73342"/>
                    <a:pt x="24765" y="80296"/>
                  </a:cubicBezTo>
                  <a:lnTo>
                    <a:pt x="26098" y="82010"/>
                  </a:lnTo>
                  <a:cubicBezTo>
                    <a:pt x="26098" y="82010"/>
                    <a:pt x="26289" y="82296"/>
                    <a:pt x="26384" y="82391"/>
                  </a:cubicBezTo>
                  <a:lnTo>
                    <a:pt x="26861" y="82867"/>
                  </a:lnTo>
                  <a:lnTo>
                    <a:pt x="26861" y="100679"/>
                  </a:lnTo>
                  <a:cubicBezTo>
                    <a:pt x="26861" y="103632"/>
                    <a:pt x="26098" y="106585"/>
                    <a:pt x="24765" y="109252"/>
                  </a:cubicBezTo>
                  <a:lnTo>
                    <a:pt x="26384" y="110395"/>
                  </a:lnTo>
                  <a:cubicBezTo>
                    <a:pt x="28004" y="107347"/>
                    <a:pt x="28861" y="104013"/>
                    <a:pt x="28861" y="100679"/>
                  </a:cubicBezTo>
                  <a:lnTo>
                    <a:pt x="28861" y="83915"/>
                  </a:lnTo>
                  <a:lnTo>
                    <a:pt x="52864" y="96965"/>
                  </a:lnTo>
                  <a:cubicBezTo>
                    <a:pt x="62294" y="100679"/>
                    <a:pt x="72866" y="100393"/>
                    <a:pt x="81724" y="96393"/>
                  </a:cubicBezTo>
                  <a:lnTo>
                    <a:pt x="101632" y="84106"/>
                  </a:lnTo>
                  <a:lnTo>
                    <a:pt x="101632" y="100679"/>
                  </a:lnTo>
                  <a:cubicBezTo>
                    <a:pt x="101632" y="104584"/>
                    <a:pt x="102870" y="108490"/>
                    <a:pt x="105156" y="111919"/>
                  </a:cubicBezTo>
                  <a:lnTo>
                    <a:pt x="106871" y="110680"/>
                  </a:lnTo>
                  <a:cubicBezTo>
                    <a:pt x="104870" y="107537"/>
                    <a:pt x="103727" y="104108"/>
                    <a:pt x="103727" y="100679"/>
                  </a:cubicBezTo>
                  <a:lnTo>
                    <a:pt x="103727" y="82963"/>
                  </a:lnTo>
                  <a:lnTo>
                    <a:pt x="104204" y="82487"/>
                  </a:lnTo>
                  <a:cubicBezTo>
                    <a:pt x="104204" y="82487"/>
                    <a:pt x="104394" y="82201"/>
                    <a:pt x="104489" y="82105"/>
                  </a:cubicBezTo>
                  <a:lnTo>
                    <a:pt x="104775" y="81629"/>
                  </a:lnTo>
                  <a:lnTo>
                    <a:pt x="105823" y="80391"/>
                  </a:lnTo>
                  <a:cubicBezTo>
                    <a:pt x="112014" y="73438"/>
                    <a:pt x="116205" y="64960"/>
                    <a:pt x="117824" y="55912"/>
                  </a:cubicBezTo>
                  <a:lnTo>
                    <a:pt x="118015" y="54864"/>
                  </a:lnTo>
                  <a:lnTo>
                    <a:pt x="119063" y="54673"/>
                  </a:lnTo>
                  <a:cubicBezTo>
                    <a:pt x="121158" y="54197"/>
                    <a:pt x="124873" y="52768"/>
                    <a:pt x="125635" y="48196"/>
                  </a:cubicBezTo>
                  <a:cubicBezTo>
                    <a:pt x="126968" y="39719"/>
                    <a:pt x="128206" y="35052"/>
                    <a:pt x="129064" y="31623"/>
                  </a:cubicBezTo>
                  <a:cubicBezTo>
                    <a:pt x="130016" y="27813"/>
                    <a:pt x="130683" y="25527"/>
                    <a:pt x="130683" y="21336"/>
                  </a:cubicBezTo>
                  <a:cubicBezTo>
                    <a:pt x="130683" y="16573"/>
                    <a:pt x="129635" y="13526"/>
                    <a:pt x="127540" y="12287"/>
                  </a:cubicBezTo>
                  <a:cubicBezTo>
                    <a:pt x="127254" y="12097"/>
                    <a:pt x="126873" y="11906"/>
                    <a:pt x="126302" y="11811"/>
                  </a:cubicBezTo>
                  <a:lnTo>
                    <a:pt x="124778" y="11525"/>
                  </a:lnTo>
                  <a:lnTo>
                    <a:pt x="125063" y="10001"/>
                  </a:lnTo>
                  <a:cubicBezTo>
                    <a:pt x="125635" y="7239"/>
                    <a:pt x="125921" y="4382"/>
                    <a:pt x="126016" y="1429"/>
                  </a:cubicBezTo>
                  <a:cubicBezTo>
                    <a:pt x="126016" y="952"/>
                    <a:pt x="126016" y="476"/>
                    <a:pt x="126016" y="0"/>
                  </a:cubicBezTo>
                  <a:cubicBezTo>
                    <a:pt x="124873" y="1714"/>
                    <a:pt x="124111" y="4096"/>
                    <a:pt x="123539" y="6477"/>
                  </a:cubicBezTo>
                  <a:cubicBezTo>
                    <a:pt x="123349" y="8192"/>
                    <a:pt x="123063" y="9716"/>
                    <a:pt x="122777" y="10954"/>
                  </a:cubicBezTo>
                  <a:close/>
                </a:path>
              </a:pathLst>
            </a:custGeom>
            <a:grpFill/>
            <a:ln w="9525" cap="flat">
              <a:noFill/>
              <a:prstDash val="solid"/>
              <a:miter/>
            </a:ln>
          </p:spPr>
          <p:txBody>
            <a:bodyPr rtlCol="0" anchor="ctr"/>
            <a:lstStyle/>
            <a:p>
              <a:endParaRPr lang="en-US" dirty="0"/>
            </a:p>
          </p:txBody>
        </p:sp>
        <p:sp>
          <p:nvSpPr>
            <p:cNvPr id="1296" name="Freeform: Shape 1295">
              <a:extLst>
                <a:ext uri="{FF2B5EF4-FFF2-40B4-BE49-F238E27FC236}">
                  <a16:creationId xmlns:a16="http://schemas.microsoft.com/office/drawing/2014/main" id="{7FCFE8AE-F117-4F4C-BEF6-84E7176F1EB4}"/>
                </a:ext>
              </a:extLst>
            </p:cNvPr>
            <p:cNvSpPr/>
            <p:nvPr/>
          </p:nvSpPr>
          <p:spPr>
            <a:xfrm>
              <a:off x="4631712" y="399110"/>
              <a:ext cx="1481" cy="4023"/>
            </a:xfrm>
            <a:custGeom>
              <a:avLst/>
              <a:gdLst>
                <a:gd name="connsiteX0" fmla="*/ 667 w 666"/>
                <a:gd name="connsiteY0" fmla="*/ 1619 h 1809"/>
                <a:gd name="connsiteX1" fmla="*/ 0 w 666"/>
                <a:gd name="connsiteY1" fmla="*/ 0 h 1809"/>
                <a:gd name="connsiteX2" fmla="*/ 571 w 666"/>
                <a:gd name="connsiteY2" fmla="*/ 1810 h 1809"/>
                <a:gd name="connsiteX3" fmla="*/ 667 w 666"/>
                <a:gd name="connsiteY3" fmla="*/ 1715 h 1809"/>
              </a:gdLst>
              <a:ahLst/>
              <a:cxnLst>
                <a:cxn ang="0">
                  <a:pos x="connsiteX0" y="connsiteY0"/>
                </a:cxn>
                <a:cxn ang="0">
                  <a:pos x="connsiteX1" y="connsiteY1"/>
                </a:cxn>
                <a:cxn ang="0">
                  <a:pos x="connsiteX2" y="connsiteY2"/>
                </a:cxn>
                <a:cxn ang="0">
                  <a:pos x="connsiteX3" y="connsiteY3"/>
                </a:cxn>
              </a:cxnLst>
              <a:rect l="l" t="t" r="r" b="b"/>
              <a:pathLst>
                <a:path w="666" h="1809">
                  <a:moveTo>
                    <a:pt x="667" y="1619"/>
                  </a:moveTo>
                  <a:cubicBezTo>
                    <a:pt x="381" y="1048"/>
                    <a:pt x="191" y="476"/>
                    <a:pt x="0" y="0"/>
                  </a:cubicBezTo>
                  <a:cubicBezTo>
                    <a:pt x="191" y="572"/>
                    <a:pt x="381" y="1238"/>
                    <a:pt x="571" y="1810"/>
                  </a:cubicBezTo>
                  <a:cubicBezTo>
                    <a:pt x="571" y="1810"/>
                    <a:pt x="571" y="1810"/>
                    <a:pt x="667" y="1715"/>
                  </a:cubicBezTo>
                  <a:close/>
                </a:path>
              </a:pathLst>
            </a:custGeom>
            <a:grpFill/>
            <a:ln w="9525" cap="flat">
              <a:noFill/>
              <a:prstDash val="solid"/>
              <a:miter/>
            </a:ln>
          </p:spPr>
          <p:txBody>
            <a:bodyPr rtlCol="0" anchor="ctr"/>
            <a:lstStyle/>
            <a:p>
              <a:endParaRPr lang="en-US" dirty="0"/>
            </a:p>
          </p:txBody>
        </p:sp>
        <p:sp>
          <p:nvSpPr>
            <p:cNvPr id="1297" name="Freeform: Shape 1296">
              <a:extLst>
                <a:ext uri="{FF2B5EF4-FFF2-40B4-BE49-F238E27FC236}">
                  <a16:creationId xmlns:a16="http://schemas.microsoft.com/office/drawing/2014/main" id="{D1ED47BA-B910-6A4C-31FA-985CDBBE1762}"/>
                </a:ext>
              </a:extLst>
            </p:cNvPr>
            <p:cNvSpPr/>
            <p:nvPr/>
          </p:nvSpPr>
          <p:spPr>
            <a:xfrm>
              <a:off x="4835756" y="520910"/>
              <a:ext cx="7145" cy="40034"/>
            </a:xfrm>
            <a:custGeom>
              <a:avLst/>
              <a:gdLst>
                <a:gd name="connsiteX0" fmla="*/ 166 w 3213"/>
                <a:gd name="connsiteY0" fmla="*/ 12859 h 18002"/>
                <a:gd name="connsiteX1" fmla="*/ 1595 w 3213"/>
                <a:gd name="connsiteY1" fmla="*/ 17240 h 18002"/>
                <a:gd name="connsiteX2" fmla="*/ 3214 w 3213"/>
                <a:gd name="connsiteY2" fmla="*/ 18002 h 18002"/>
                <a:gd name="connsiteX3" fmla="*/ 1880 w 3213"/>
                <a:gd name="connsiteY3" fmla="*/ 762 h 18002"/>
                <a:gd name="connsiteX4" fmla="*/ 1880 w 3213"/>
                <a:gd name="connsiteY4" fmla="*/ 0 h 18002"/>
                <a:gd name="connsiteX5" fmla="*/ 1880 w 3213"/>
                <a:gd name="connsiteY5" fmla="*/ 1810 h 18002"/>
                <a:gd name="connsiteX6" fmla="*/ 261 w 3213"/>
                <a:gd name="connsiteY6" fmla="*/ 12954 h 1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3" h="18002">
                  <a:moveTo>
                    <a:pt x="166" y="12859"/>
                  </a:moveTo>
                  <a:cubicBezTo>
                    <a:pt x="-310" y="14478"/>
                    <a:pt x="261" y="16192"/>
                    <a:pt x="1595" y="17240"/>
                  </a:cubicBezTo>
                  <a:cubicBezTo>
                    <a:pt x="2071" y="17621"/>
                    <a:pt x="2642" y="17812"/>
                    <a:pt x="3214" y="18002"/>
                  </a:cubicBezTo>
                  <a:cubicBezTo>
                    <a:pt x="3214" y="17621"/>
                    <a:pt x="1975" y="5620"/>
                    <a:pt x="1880" y="762"/>
                  </a:cubicBezTo>
                  <a:cubicBezTo>
                    <a:pt x="1880" y="476"/>
                    <a:pt x="1880" y="191"/>
                    <a:pt x="1880" y="0"/>
                  </a:cubicBezTo>
                  <a:cubicBezTo>
                    <a:pt x="1880" y="572"/>
                    <a:pt x="1880" y="1238"/>
                    <a:pt x="1880" y="1810"/>
                  </a:cubicBezTo>
                  <a:cubicBezTo>
                    <a:pt x="1690" y="6858"/>
                    <a:pt x="928" y="10668"/>
                    <a:pt x="261" y="12954"/>
                  </a:cubicBezTo>
                  <a:close/>
                </a:path>
              </a:pathLst>
            </a:custGeom>
            <a:grpFill/>
            <a:ln w="9525" cap="flat">
              <a:noFill/>
              <a:prstDash val="solid"/>
              <a:miter/>
            </a:ln>
          </p:spPr>
          <p:txBody>
            <a:bodyPr rtlCol="0" anchor="ctr"/>
            <a:lstStyle/>
            <a:p>
              <a:endParaRPr lang="en-US" dirty="0"/>
            </a:p>
          </p:txBody>
        </p:sp>
        <p:sp>
          <p:nvSpPr>
            <p:cNvPr id="1301" name="Freeform: Shape 1300">
              <a:extLst>
                <a:ext uri="{FF2B5EF4-FFF2-40B4-BE49-F238E27FC236}">
                  <a16:creationId xmlns:a16="http://schemas.microsoft.com/office/drawing/2014/main" id="{CD5A5685-96E8-1AB8-3433-AE2E7DD2658A}"/>
                </a:ext>
              </a:extLst>
            </p:cNvPr>
            <p:cNvSpPr/>
            <p:nvPr/>
          </p:nvSpPr>
          <p:spPr>
            <a:xfrm>
              <a:off x="4628323" y="413728"/>
              <a:ext cx="847" cy="3812"/>
            </a:xfrm>
            <a:custGeom>
              <a:avLst/>
              <a:gdLst>
                <a:gd name="connsiteX0" fmla="*/ 0 w 381"/>
                <a:gd name="connsiteY0" fmla="*/ 0 h 1714"/>
                <a:gd name="connsiteX1" fmla="*/ 0 w 381"/>
                <a:gd name="connsiteY1" fmla="*/ 1714 h 1714"/>
                <a:gd name="connsiteX2" fmla="*/ 381 w 381"/>
                <a:gd name="connsiteY2" fmla="*/ 1333 h 1714"/>
                <a:gd name="connsiteX3" fmla="*/ 95 w 381"/>
                <a:gd name="connsiteY3" fmla="*/ 0 h 1714"/>
              </a:gdLst>
              <a:ahLst/>
              <a:cxnLst>
                <a:cxn ang="0">
                  <a:pos x="connsiteX0" y="connsiteY0"/>
                </a:cxn>
                <a:cxn ang="0">
                  <a:pos x="connsiteX1" y="connsiteY1"/>
                </a:cxn>
                <a:cxn ang="0">
                  <a:pos x="connsiteX2" y="connsiteY2"/>
                </a:cxn>
                <a:cxn ang="0">
                  <a:pos x="connsiteX3" y="connsiteY3"/>
                </a:cxn>
              </a:cxnLst>
              <a:rect l="l" t="t" r="r" b="b"/>
              <a:pathLst>
                <a:path w="381" h="1714">
                  <a:moveTo>
                    <a:pt x="0" y="0"/>
                  </a:moveTo>
                  <a:cubicBezTo>
                    <a:pt x="0" y="571"/>
                    <a:pt x="0" y="1143"/>
                    <a:pt x="0" y="1714"/>
                  </a:cubicBezTo>
                  <a:cubicBezTo>
                    <a:pt x="95" y="1619"/>
                    <a:pt x="191" y="1429"/>
                    <a:pt x="381" y="1333"/>
                  </a:cubicBezTo>
                  <a:cubicBezTo>
                    <a:pt x="286" y="952"/>
                    <a:pt x="191" y="476"/>
                    <a:pt x="95" y="0"/>
                  </a:cubicBezTo>
                  <a:close/>
                </a:path>
              </a:pathLst>
            </a:custGeom>
            <a:grpFill/>
            <a:ln w="9525" cap="flat">
              <a:noFill/>
              <a:prstDash val="solid"/>
              <a:miter/>
            </a:ln>
          </p:spPr>
          <p:txBody>
            <a:bodyPr rtlCol="0" anchor="ctr"/>
            <a:lstStyle/>
            <a:p>
              <a:endParaRPr lang="en-US" dirty="0"/>
            </a:p>
          </p:txBody>
        </p:sp>
        <p:sp>
          <p:nvSpPr>
            <p:cNvPr id="1302" name="Freeform: Shape 1301">
              <a:extLst>
                <a:ext uri="{FF2B5EF4-FFF2-40B4-BE49-F238E27FC236}">
                  <a16:creationId xmlns:a16="http://schemas.microsoft.com/office/drawing/2014/main" id="{B2199733-5879-3AA9-063E-66997F2FBD42}"/>
                </a:ext>
              </a:extLst>
            </p:cNvPr>
            <p:cNvSpPr/>
            <p:nvPr/>
          </p:nvSpPr>
          <p:spPr>
            <a:xfrm>
              <a:off x="4632984" y="402713"/>
              <a:ext cx="3389" cy="7201"/>
            </a:xfrm>
            <a:custGeom>
              <a:avLst/>
              <a:gdLst>
                <a:gd name="connsiteX0" fmla="*/ 1048 w 1524"/>
                <a:gd name="connsiteY0" fmla="*/ 3239 h 3238"/>
                <a:gd name="connsiteX1" fmla="*/ 1524 w 1524"/>
                <a:gd name="connsiteY1" fmla="*/ 2858 h 3238"/>
                <a:gd name="connsiteX2" fmla="*/ 95 w 1524"/>
                <a:gd name="connsiteY2" fmla="*/ 0 h 3238"/>
                <a:gd name="connsiteX3" fmla="*/ 0 w 1524"/>
                <a:gd name="connsiteY3" fmla="*/ 95 h 3238"/>
                <a:gd name="connsiteX4" fmla="*/ 1143 w 1524"/>
                <a:gd name="connsiteY4" fmla="*/ 3239 h 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 h="3238">
                  <a:moveTo>
                    <a:pt x="1048" y="3239"/>
                  </a:moveTo>
                  <a:cubicBezTo>
                    <a:pt x="1048" y="3239"/>
                    <a:pt x="1334" y="2953"/>
                    <a:pt x="1524" y="2858"/>
                  </a:cubicBezTo>
                  <a:cubicBezTo>
                    <a:pt x="953" y="1810"/>
                    <a:pt x="476" y="857"/>
                    <a:pt x="95" y="0"/>
                  </a:cubicBezTo>
                  <a:cubicBezTo>
                    <a:pt x="95" y="0"/>
                    <a:pt x="95" y="0"/>
                    <a:pt x="0" y="95"/>
                  </a:cubicBezTo>
                  <a:cubicBezTo>
                    <a:pt x="381" y="1143"/>
                    <a:pt x="762" y="2286"/>
                    <a:pt x="1143" y="3239"/>
                  </a:cubicBezTo>
                  <a:close/>
                </a:path>
              </a:pathLst>
            </a:custGeom>
            <a:grpFill/>
            <a:ln w="9525" cap="flat">
              <a:noFill/>
              <a:prstDash val="solid"/>
              <a:miter/>
            </a:ln>
          </p:spPr>
          <p:txBody>
            <a:bodyPr rtlCol="0" anchor="ctr"/>
            <a:lstStyle/>
            <a:p>
              <a:endParaRPr lang="en-US" dirty="0"/>
            </a:p>
          </p:txBody>
        </p:sp>
        <p:sp>
          <p:nvSpPr>
            <p:cNvPr id="1303" name="Freeform: Shape 1302">
              <a:extLst>
                <a:ext uri="{FF2B5EF4-FFF2-40B4-BE49-F238E27FC236}">
                  <a16:creationId xmlns:a16="http://schemas.microsoft.com/office/drawing/2014/main" id="{EBEE0F9C-26F4-A8B4-3C60-1BDABE6361B4}"/>
                </a:ext>
              </a:extLst>
            </p:cNvPr>
            <p:cNvSpPr/>
            <p:nvPr/>
          </p:nvSpPr>
          <p:spPr>
            <a:xfrm>
              <a:off x="4843962" y="536375"/>
              <a:ext cx="1692" cy="9954"/>
            </a:xfrm>
            <a:custGeom>
              <a:avLst/>
              <a:gdLst>
                <a:gd name="connsiteX0" fmla="*/ 0 w 761"/>
                <a:gd name="connsiteY0" fmla="*/ 4477 h 4476"/>
                <a:gd name="connsiteX1" fmla="*/ 762 w 761"/>
                <a:gd name="connsiteY1" fmla="*/ 0 h 4476"/>
                <a:gd name="connsiteX2" fmla="*/ 0 w 761"/>
                <a:gd name="connsiteY2" fmla="*/ 4477 h 4476"/>
              </a:gdLst>
              <a:ahLst/>
              <a:cxnLst>
                <a:cxn ang="0">
                  <a:pos x="connsiteX0" y="connsiteY0"/>
                </a:cxn>
                <a:cxn ang="0">
                  <a:pos x="connsiteX1" y="connsiteY1"/>
                </a:cxn>
                <a:cxn ang="0">
                  <a:pos x="connsiteX2" y="connsiteY2"/>
                </a:cxn>
              </a:cxnLst>
              <a:rect l="l" t="t" r="r" b="b"/>
              <a:pathLst>
                <a:path w="761" h="4476">
                  <a:moveTo>
                    <a:pt x="0" y="4477"/>
                  </a:moveTo>
                  <a:cubicBezTo>
                    <a:pt x="286" y="3239"/>
                    <a:pt x="571" y="1715"/>
                    <a:pt x="762" y="0"/>
                  </a:cubicBezTo>
                  <a:cubicBezTo>
                    <a:pt x="476" y="1524"/>
                    <a:pt x="190" y="3048"/>
                    <a:pt x="0" y="4477"/>
                  </a:cubicBezTo>
                  <a:close/>
                </a:path>
              </a:pathLst>
            </a:custGeom>
            <a:grpFill/>
            <a:ln w="9525" cap="flat">
              <a:noFill/>
              <a:prstDash val="solid"/>
              <a:miter/>
            </a:ln>
          </p:spPr>
          <p:txBody>
            <a:bodyPr rtlCol="0" anchor="ctr"/>
            <a:lstStyle/>
            <a:p>
              <a:endParaRPr lang="en-US" dirty="0"/>
            </a:p>
          </p:txBody>
        </p:sp>
        <p:sp>
          <p:nvSpPr>
            <p:cNvPr id="1305" name="Freeform: Shape 1304">
              <a:extLst>
                <a:ext uri="{FF2B5EF4-FFF2-40B4-BE49-F238E27FC236}">
                  <a16:creationId xmlns:a16="http://schemas.microsoft.com/office/drawing/2014/main" id="{8201FCC7-0C7C-C0E1-FA68-B99C96ABD671}"/>
                </a:ext>
              </a:extLst>
            </p:cNvPr>
            <p:cNvSpPr/>
            <p:nvPr/>
          </p:nvSpPr>
          <p:spPr>
            <a:xfrm>
              <a:off x="4803714" y="768959"/>
              <a:ext cx="25842" cy="18641"/>
            </a:xfrm>
            <a:custGeom>
              <a:avLst/>
              <a:gdLst>
                <a:gd name="connsiteX0" fmla="*/ 95 w 11620"/>
                <a:gd name="connsiteY0" fmla="*/ 2953 h 8382"/>
                <a:gd name="connsiteX1" fmla="*/ 1143 w 11620"/>
                <a:gd name="connsiteY1" fmla="*/ 4096 h 8382"/>
                <a:gd name="connsiteX2" fmla="*/ 7906 w 11620"/>
                <a:gd name="connsiteY2" fmla="*/ 8382 h 8382"/>
                <a:gd name="connsiteX3" fmla="*/ 10858 w 11620"/>
                <a:gd name="connsiteY3" fmla="*/ 3715 h 8382"/>
                <a:gd name="connsiteX4" fmla="*/ 11620 w 11620"/>
                <a:gd name="connsiteY4" fmla="*/ 4096 h 8382"/>
                <a:gd name="connsiteX5" fmla="*/ 5715 w 11620"/>
                <a:gd name="connsiteY5" fmla="*/ 857 h 8382"/>
                <a:gd name="connsiteX6" fmla="*/ 4191 w 11620"/>
                <a:gd name="connsiteY6" fmla="*/ 0 h 8382"/>
                <a:gd name="connsiteX7" fmla="*/ 0 w 11620"/>
                <a:gd name="connsiteY7" fmla="*/ 2953 h 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20" h="8382">
                  <a:moveTo>
                    <a:pt x="95" y="2953"/>
                  </a:moveTo>
                  <a:cubicBezTo>
                    <a:pt x="95" y="2953"/>
                    <a:pt x="857" y="3715"/>
                    <a:pt x="1143" y="4096"/>
                  </a:cubicBezTo>
                  <a:cubicBezTo>
                    <a:pt x="3524" y="6382"/>
                    <a:pt x="6096" y="7715"/>
                    <a:pt x="7906" y="8382"/>
                  </a:cubicBezTo>
                  <a:lnTo>
                    <a:pt x="10858" y="3715"/>
                  </a:lnTo>
                  <a:lnTo>
                    <a:pt x="11620" y="4096"/>
                  </a:lnTo>
                  <a:lnTo>
                    <a:pt x="5715" y="857"/>
                  </a:lnTo>
                  <a:lnTo>
                    <a:pt x="4191" y="0"/>
                  </a:lnTo>
                  <a:lnTo>
                    <a:pt x="0" y="2953"/>
                  </a:lnTo>
                  <a:close/>
                </a:path>
              </a:pathLst>
            </a:custGeom>
            <a:grpFill/>
            <a:ln w="9525" cap="flat">
              <a:noFill/>
              <a:prstDash val="solid"/>
              <a:miter/>
            </a:ln>
          </p:spPr>
          <p:txBody>
            <a:bodyPr rtlCol="0" anchor="ctr"/>
            <a:lstStyle/>
            <a:p>
              <a:endParaRPr lang="en-US" dirty="0"/>
            </a:p>
          </p:txBody>
        </p:sp>
        <p:sp>
          <p:nvSpPr>
            <p:cNvPr id="1306" name="Freeform: Shape 1305">
              <a:extLst>
                <a:ext uri="{FF2B5EF4-FFF2-40B4-BE49-F238E27FC236}">
                  <a16:creationId xmlns:a16="http://schemas.microsoft.com/office/drawing/2014/main" id="{26545E0F-28AA-2CAE-281C-ABE6699F2EFC}"/>
                </a:ext>
              </a:extLst>
            </p:cNvPr>
            <p:cNvSpPr/>
            <p:nvPr/>
          </p:nvSpPr>
          <p:spPr>
            <a:xfrm>
              <a:off x="4600998" y="765781"/>
              <a:ext cx="29653" cy="20547"/>
            </a:xfrm>
            <a:custGeom>
              <a:avLst/>
              <a:gdLst>
                <a:gd name="connsiteX0" fmla="*/ 11906 w 13334"/>
                <a:gd name="connsiteY0" fmla="*/ 3810 h 9239"/>
                <a:gd name="connsiteX1" fmla="*/ 13335 w 13334"/>
                <a:gd name="connsiteY1" fmla="*/ 2953 h 9239"/>
                <a:gd name="connsiteX2" fmla="*/ 9239 w 13334"/>
                <a:gd name="connsiteY2" fmla="*/ 0 h 9239"/>
                <a:gd name="connsiteX3" fmla="*/ 7715 w 13334"/>
                <a:gd name="connsiteY3" fmla="*/ 857 h 9239"/>
                <a:gd name="connsiteX4" fmla="*/ 0 w 13334"/>
                <a:gd name="connsiteY4" fmla="*/ 5143 h 9239"/>
                <a:gd name="connsiteX5" fmla="*/ 0 w 13334"/>
                <a:gd name="connsiteY5" fmla="*/ 5143 h 9239"/>
                <a:gd name="connsiteX6" fmla="*/ 2572 w 13334"/>
                <a:gd name="connsiteY6" fmla="*/ 9239 h 9239"/>
                <a:gd name="connsiteX7" fmla="*/ 11906 w 13334"/>
                <a:gd name="connsiteY7" fmla="*/ 3810 h 9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34" h="9239">
                  <a:moveTo>
                    <a:pt x="11906" y="3810"/>
                  </a:moveTo>
                  <a:cubicBezTo>
                    <a:pt x="12763" y="3334"/>
                    <a:pt x="13335" y="2953"/>
                    <a:pt x="13335" y="2953"/>
                  </a:cubicBezTo>
                  <a:lnTo>
                    <a:pt x="9239" y="0"/>
                  </a:lnTo>
                  <a:lnTo>
                    <a:pt x="7715" y="857"/>
                  </a:lnTo>
                  <a:lnTo>
                    <a:pt x="0" y="5143"/>
                  </a:lnTo>
                  <a:lnTo>
                    <a:pt x="0" y="5143"/>
                  </a:lnTo>
                  <a:cubicBezTo>
                    <a:pt x="0" y="5143"/>
                    <a:pt x="2572" y="9239"/>
                    <a:pt x="2572" y="9239"/>
                  </a:cubicBezTo>
                  <a:cubicBezTo>
                    <a:pt x="5143" y="7715"/>
                    <a:pt x="9620" y="5143"/>
                    <a:pt x="11906" y="3810"/>
                  </a:cubicBezTo>
                  <a:close/>
                </a:path>
              </a:pathLst>
            </a:custGeom>
            <a:grpFill/>
            <a:ln w="9525" cap="flat">
              <a:noFill/>
              <a:prstDash val="solid"/>
              <a:miter/>
            </a:ln>
          </p:spPr>
          <p:txBody>
            <a:bodyPr rtlCol="0" anchor="ctr"/>
            <a:lstStyle/>
            <a:p>
              <a:endParaRPr lang="en-US" dirty="0"/>
            </a:p>
          </p:txBody>
        </p:sp>
        <p:sp>
          <p:nvSpPr>
            <p:cNvPr id="1307" name="Freeform: Shape 1306">
              <a:extLst>
                <a:ext uri="{FF2B5EF4-FFF2-40B4-BE49-F238E27FC236}">
                  <a16:creationId xmlns:a16="http://schemas.microsoft.com/office/drawing/2014/main" id="{EBBFD2E4-BE20-9CD7-1029-118EDE7D7CFB}"/>
                </a:ext>
              </a:extLst>
            </p:cNvPr>
            <p:cNvSpPr/>
            <p:nvPr/>
          </p:nvSpPr>
          <p:spPr>
            <a:xfrm>
              <a:off x="4867262" y="448678"/>
              <a:ext cx="845" cy="13557"/>
            </a:xfrm>
            <a:custGeom>
              <a:avLst/>
              <a:gdLst>
                <a:gd name="connsiteX0" fmla="*/ 0 w 380"/>
                <a:gd name="connsiteY0" fmla="*/ 6096 h 6096"/>
                <a:gd name="connsiteX1" fmla="*/ 0 w 380"/>
                <a:gd name="connsiteY1" fmla="*/ 6096 h 6096"/>
                <a:gd name="connsiteX2" fmla="*/ 381 w 380"/>
                <a:gd name="connsiteY2" fmla="*/ 0 h 6096"/>
                <a:gd name="connsiteX3" fmla="*/ 0 w 380"/>
                <a:gd name="connsiteY3" fmla="*/ 6096 h 6096"/>
                <a:gd name="connsiteX4" fmla="*/ 0 w 380"/>
                <a:gd name="connsiteY4" fmla="*/ 6096 h 6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 h="6096">
                  <a:moveTo>
                    <a:pt x="0" y="6096"/>
                  </a:moveTo>
                  <a:lnTo>
                    <a:pt x="0" y="6096"/>
                  </a:lnTo>
                  <a:cubicBezTo>
                    <a:pt x="0" y="6096"/>
                    <a:pt x="381" y="3715"/>
                    <a:pt x="381" y="0"/>
                  </a:cubicBezTo>
                  <a:cubicBezTo>
                    <a:pt x="381" y="1905"/>
                    <a:pt x="190" y="3905"/>
                    <a:pt x="0" y="6096"/>
                  </a:cubicBezTo>
                  <a:lnTo>
                    <a:pt x="0" y="6096"/>
                  </a:lnTo>
                  <a:close/>
                </a:path>
              </a:pathLst>
            </a:custGeom>
            <a:grpFill/>
            <a:ln w="9525" cap="flat">
              <a:noFill/>
              <a:prstDash val="solid"/>
              <a:miter/>
            </a:ln>
          </p:spPr>
          <p:txBody>
            <a:bodyPr rtlCol="0" anchor="ctr"/>
            <a:lstStyle/>
            <a:p>
              <a:endParaRPr lang="en-US" dirty="0"/>
            </a:p>
          </p:txBody>
        </p:sp>
        <p:sp>
          <p:nvSpPr>
            <p:cNvPr id="1308" name="Freeform: Shape 1307">
              <a:extLst>
                <a:ext uri="{FF2B5EF4-FFF2-40B4-BE49-F238E27FC236}">
                  <a16:creationId xmlns:a16="http://schemas.microsoft.com/office/drawing/2014/main" id="{116C9FFF-9E2B-E8B3-82CA-11D6643DF2B4}"/>
                </a:ext>
              </a:extLst>
            </p:cNvPr>
            <p:cNvSpPr/>
            <p:nvPr/>
          </p:nvSpPr>
          <p:spPr>
            <a:xfrm>
              <a:off x="4828497" y="356959"/>
              <a:ext cx="2964" cy="1270"/>
            </a:xfrm>
            <a:custGeom>
              <a:avLst/>
              <a:gdLst>
                <a:gd name="connsiteX0" fmla="*/ 286 w 1333"/>
                <a:gd name="connsiteY0" fmla="*/ 190 h 571"/>
                <a:gd name="connsiteX1" fmla="*/ 1334 w 1333"/>
                <a:gd name="connsiteY1" fmla="*/ 571 h 571"/>
                <a:gd name="connsiteX2" fmla="*/ 0 w 1333"/>
                <a:gd name="connsiteY2" fmla="*/ 0 h 571"/>
                <a:gd name="connsiteX3" fmla="*/ 381 w 1333"/>
                <a:gd name="connsiteY3" fmla="*/ 190 h 571"/>
              </a:gdLst>
              <a:ahLst/>
              <a:cxnLst>
                <a:cxn ang="0">
                  <a:pos x="connsiteX0" y="connsiteY0"/>
                </a:cxn>
                <a:cxn ang="0">
                  <a:pos x="connsiteX1" y="connsiteY1"/>
                </a:cxn>
                <a:cxn ang="0">
                  <a:pos x="connsiteX2" y="connsiteY2"/>
                </a:cxn>
                <a:cxn ang="0">
                  <a:pos x="connsiteX3" y="connsiteY3"/>
                </a:cxn>
              </a:cxnLst>
              <a:rect l="l" t="t" r="r" b="b"/>
              <a:pathLst>
                <a:path w="1333" h="571">
                  <a:moveTo>
                    <a:pt x="286" y="190"/>
                  </a:moveTo>
                  <a:cubicBezTo>
                    <a:pt x="286" y="190"/>
                    <a:pt x="953" y="381"/>
                    <a:pt x="1334" y="571"/>
                  </a:cubicBezTo>
                  <a:cubicBezTo>
                    <a:pt x="857" y="381"/>
                    <a:pt x="476" y="190"/>
                    <a:pt x="0" y="0"/>
                  </a:cubicBezTo>
                  <a:cubicBezTo>
                    <a:pt x="0" y="0"/>
                    <a:pt x="95" y="0"/>
                    <a:pt x="381" y="190"/>
                  </a:cubicBezTo>
                  <a:close/>
                </a:path>
              </a:pathLst>
            </a:custGeom>
            <a:grpFill/>
            <a:ln w="9525" cap="flat">
              <a:noFill/>
              <a:prstDash val="solid"/>
              <a:miter/>
            </a:ln>
          </p:spPr>
          <p:txBody>
            <a:bodyPr rtlCol="0" anchor="ctr"/>
            <a:lstStyle/>
            <a:p>
              <a:endParaRPr lang="en-US" dirty="0"/>
            </a:p>
          </p:txBody>
        </p:sp>
        <p:sp>
          <p:nvSpPr>
            <p:cNvPr id="1309" name="Freeform: Shape 1308">
              <a:extLst>
                <a:ext uri="{FF2B5EF4-FFF2-40B4-BE49-F238E27FC236}">
                  <a16:creationId xmlns:a16="http://schemas.microsoft.com/office/drawing/2014/main" id="{A21A8F8D-F069-AE51-8DCA-1848FD4A1663}"/>
                </a:ext>
              </a:extLst>
            </p:cNvPr>
            <p:cNvSpPr/>
            <p:nvPr/>
          </p:nvSpPr>
          <p:spPr>
            <a:xfrm>
              <a:off x="4687422" y="412456"/>
              <a:ext cx="117139" cy="58764"/>
            </a:xfrm>
            <a:custGeom>
              <a:avLst/>
              <a:gdLst>
                <a:gd name="connsiteX0" fmla="*/ 37433 w 52673"/>
                <a:gd name="connsiteY0" fmla="*/ 24575 h 26424"/>
                <a:gd name="connsiteX1" fmla="*/ 52006 w 52673"/>
                <a:gd name="connsiteY1" fmla="*/ 26289 h 26424"/>
                <a:gd name="connsiteX2" fmla="*/ 52673 w 52673"/>
                <a:gd name="connsiteY2" fmla="*/ 26289 h 26424"/>
                <a:gd name="connsiteX3" fmla="*/ 50578 w 52673"/>
                <a:gd name="connsiteY3" fmla="*/ 24860 h 26424"/>
                <a:gd name="connsiteX4" fmla="*/ 41053 w 52673"/>
                <a:gd name="connsiteY4" fmla="*/ 22193 h 26424"/>
                <a:gd name="connsiteX5" fmla="*/ 28385 w 52673"/>
                <a:gd name="connsiteY5" fmla="*/ 16383 h 26424"/>
                <a:gd name="connsiteX6" fmla="*/ 11335 w 52673"/>
                <a:gd name="connsiteY6" fmla="*/ 7048 h 26424"/>
                <a:gd name="connsiteX7" fmla="*/ 2667 w 52673"/>
                <a:gd name="connsiteY7" fmla="*/ 1524 h 26424"/>
                <a:gd name="connsiteX8" fmla="*/ 0 w 52673"/>
                <a:gd name="connsiteY8" fmla="*/ 0 h 26424"/>
                <a:gd name="connsiteX9" fmla="*/ 18097 w 52673"/>
                <a:gd name="connsiteY9" fmla="*/ 16383 h 26424"/>
                <a:gd name="connsiteX10" fmla="*/ 20669 w 52673"/>
                <a:gd name="connsiteY10" fmla="*/ 17717 h 26424"/>
                <a:gd name="connsiteX11" fmla="*/ 28099 w 52673"/>
                <a:gd name="connsiteY11" fmla="*/ 21336 h 26424"/>
                <a:gd name="connsiteX12" fmla="*/ 37433 w 52673"/>
                <a:gd name="connsiteY12" fmla="*/ 24670 h 2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73" h="26424">
                  <a:moveTo>
                    <a:pt x="37433" y="24575"/>
                  </a:moveTo>
                  <a:cubicBezTo>
                    <a:pt x="43339" y="26289"/>
                    <a:pt x="48578" y="26670"/>
                    <a:pt x="52006" y="26289"/>
                  </a:cubicBezTo>
                  <a:cubicBezTo>
                    <a:pt x="52292" y="26289"/>
                    <a:pt x="52483" y="26289"/>
                    <a:pt x="52673" y="26289"/>
                  </a:cubicBezTo>
                  <a:cubicBezTo>
                    <a:pt x="52006" y="25813"/>
                    <a:pt x="51245" y="25336"/>
                    <a:pt x="50578" y="24860"/>
                  </a:cubicBezTo>
                  <a:cubicBezTo>
                    <a:pt x="47149" y="24289"/>
                    <a:pt x="44005" y="23336"/>
                    <a:pt x="41053" y="22193"/>
                  </a:cubicBezTo>
                  <a:cubicBezTo>
                    <a:pt x="36290" y="20384"/>
                    <a:pt x="32099" y="18288"/>
                    <a:pt x="28385" y="16383"/>
                  </a:cubicBezTo>
                  <a:cubicBezTo>
                    <a:pt x="20860" y="12668"/>
                    <a:pt x="15430" y="9525"/>
                    <a:pt x="11335" y="7048"/>
                  </a:cubicBezTo>
                  <a:cubicBezTo>
                    <a:pt x="7239" y="4572"/>
                    <a:pt x="4477" y="2667"/>
                    <a:pt x="2667" y="1524"/>
                  </a:cubicBezTo>
                  <a:cubicBezTo>
                    <a:pt x="857" y="381"/>
                    <a:pt x="0" y="0"/>
                    <a:pt x="0" y="0"/>
                  </a:cubicBezTo>
                  <a:cubicBezTo>
                    <a:pt x="4763" y="7048"/>
                    <a:pt x="11430" y="12478"/>
                    <a:pt x="18097" y="16383"/>
                  </a:cubicBezTo>
                  <a:cubicBezTo>
                    <a:pt x="18955" y="16859"/>
                    <a:pt x="19812" y="17336"/>
                    <a:pt x="20669" y="17717"/>
                  </a:cubicBezTo>
                  <a:cubicBezTo>
                    <a:pt x="23146" y="19050"/>
                    <a:pt x="25622" y="20288"/>
                    <a:pt x="28099" y="21336"/>
                  </a:cubicBezTo>
                  <a:cubicBezTo>
                    <a:pt x="31337" y="22670"/>
                    <a:pt x="34480" y="23813"/>
                    <a:pt x="37433" y="24670"/>
                  </a:cubicBezTo>
                  <a:close/>
                </a:path>
              </a:pathLst>
            </a:custGeom>
            <a:grpFill/>
            <a:ln w="9525" cap="flat">
              <a:noFill/>
              <a:prstDash val="solid"/>
              <a:miter/>
            </a:ln>
          </p:spPr>
          <p:txBody>
            <a:bodyPr rtlCol="0" anchor="ctr"/>
            <a:lstStyle/>
            <a:p>
              <a:endParaRPr lang="en-US" dirty="0"/>
            </a:p>
          </p:txBody>
        </p:sp>
        <p:sp>
          <p:nvSpPr>
            <p:cNvPr id="1310" name="Freeform: Shape 1309">
              <a:extLst>
                <a:ext uri="{FF2B5EF4-FFF2-40B4-BE49-F238E27FC236}">
                  <a16:creationId xmlns:a16="http://schemas.microsoft.com/office/drawing/2014/main" id="{642CCF5E-6B50-CD3F-A198-3439B3408D16}"/>
                </a:ext>
              </a:extLst>
            </p:cNvPr>
            <p:cNvSpPr/>
            <p:nvPr/>
          </p:nvSpPr>
          <p:spPr>
            <a:xfrm>
              <a:off x="4839512" y="473675"/>
              <a:ext cx="12285" cy="4870"/>
            </a:xfrm>
            <a:custGeom>
              <a:avLst/>
              <a:gdLst>
                <a:gd name="connsiteX0" fmla="*/ 5525 w 5524"/>
                <a:gd name="connsiteY0" fmla="*/ 190 h 2190"/>
                <a:gd name="connsiteX1" fmla="*/ 0 w 5524"/>
                <a:gd name="connsiteY1" fmla="*/ 0 h 2190"/>
                <a:gd name="connsiteX2" fmla="*/ 476 w 5524"/>
                <a:gd name="connsiteY2" fmla="*/ 2191 h 2190"/>
                <a:gd name="connsiteX3" fmla="*/ 5525 w 5524"/>
                <a:gd name="connsiteY3" fmla="*/ 190 h 2190"/>
              </a:gdLst>
              <a:ahLst/>
              <a:cxnLst>
                <a:cxn ang="0">
                  <a:pos x="connsiteX0" y="connsiteY0"/>
                </a:cxn>
                <a:cxn ang="0">
                  <a:pos x="connsiteX1" y="connsiteY1"/>
                </a:cxn>
                <a:cxn ang="0">
                  <a:pos x="connsiteX2" y="connsiteY2"/>
                </a:cxn>
                <a:cxn ang="0">
                  <a:pos x="connsiteX3" y="connsiteY3"/>
                </a:cxn>
              </a:cxnLst>
              <a:rect l="l" t="t" r="r" b="b"/>
              <a:pathLst>
                <a:path w="5524" h="2190">
                  <a:moveTo>
                    <a:pt x="5525" y="190"/>
                  </a:moveTo>
                  <a:cubicBezTo>
                    <a:pt x="3620" y="381"/>
                    <a:pt x="1810" y="286"/>
                    <a:pt x="0" y="0"/>
                  </a:cubicBezTo>
                  <a:cubicBezTo>
                    <a:pt x="191" y="762"/>
                    <a:pt x="286" y="1429"/>
                    <a:pt x="476" y="2191"/>
                  </a:cubicBezTo>
                  <a:cubicBezTo>
                    <a:pt x="2191" y="1810"/>
                    <a:pt x="3810" y="1143"/>
                    <a:pt x="5525" y="190"/>
                  </a:cubicBezTo>
                  <a:close/>
                </a:path>
              </a:pathLst>
            </a:custGeom>
            <a:grpFill/>
            <a:ln w="9525" cap="flat">
              <a:noFill/>
              <a:prstDash val="solid"/>
              <a:miter/>
            </a:ln>
          </p:spPr>
          <p:txBody>
            <a:bodyPr rtlCol="0" anchor="ctr"/>
            <a:lstStyle/>
            <a:p>
              <a:endParaRPr lang="en-US" dirty="0"/>
            </a:p>
          </p:txBody>
        </p:sp>
        <p:sp>
          <p:nvSpPr>
            <p:cNvPr id="1312" name="Freeform: Shape 1311">
              <a:extLst>
                <a:ext uri="{FF2B5EF4-FFF2-40B4-BE49-F238E27FC236}">
                  <a16:creationId xmlns:a16="http://schemas.microsoft.com/office/drawing/2014/main" id="{4D36669B-4D56-5480-B447-1F2DD597272D}"/>
                </a:ext>
              </a:extLst>
            </p:cNvPr>
            <p:cNvSpPr/>
            <p:nvPr/>
          </p:nvSpPr>
          <p:spPr>
            <a:xfrm>
              <a:off x="4779778" y="444653"/>
              <a:ext cx="50625" cy="34951"/>
            </a:xfrm>
            <a:custGeom>
              <a:avLst/>
              <a:gdLst>
                <a:gd name="connsiteX0" fmla="*/ 11049 w 22764"/>
                <a:gd name="connsiteY0" fmla="*/ 11716 h 15716"/>
                <a:gd name="connsiteX1" fmla="*/ 22765 w 22764"/>
                <a:gd name="connsiteY1" fmla="*/ 15716 h 15716"/>
                <a:gd name="connsiteX2" fmla="*/ 21622 w 22764"/>
                <a:gd name="connsiteY2" fmla="*/ 11716 h 15716"/>
                <a:gd name="connsiteX3" fmla="*/ 19621 w 22764"/>
                <a:gd name="connsiteY3" fmla="*/ 10954 h 15716"/>
                <a:gd name="connsiteX4" fmla="*/ 13525 w 22764"/>
                <a:gd name="connsiteY4" fmla="*/ 7810 h 15716"/>
                <a:gd name="connsiteX5" fmla="*/ 6287 w 22764"/>
                <a:gd name="connsiteY5" fmla="*/ 3143 h 15716"/>
                <a:gd name="connsiteX6" fmla="*/ 0 w 22764"/>
                <a:gd name="connsiteY6" fmla="*/ 0 h 15716"/>
                <a:gd name="connsiteX7" fmla="*/ 9049 w 22764"/>
                <a:gd name="connsiteY7" fmla="*/ 10287 h 15716"/>
                <a:gd name="connsiteX8" fmla="*/ 11144 w 22764"/>
                <a:gd name="connsiteY8" fmla="*/ 11716 h 1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64" h="15716">
                  <a:moveTo>
                    <a:pt x="11049" y="11716"/>
                  </a:moveTo>
                  <a:cubicBezTo>
                    <a:pt x="14668" y="14002"/>
                    <a:pt x="18669" y="15526"/>
                    <a:pt x="22765" y="15716"/>
                  </a:cubicBezTo>
                  <a:cubicBezTo>
                    <a:pt x="22384" y="14383"/>
                    <a:pt x="22003" y="13049"/>
                    <a:pt x="21622" y="11716"/>
                  </a:cubicBezTo>
                  <a:cubicBezTo>
                    <a:pt x="20955" y="11430"/>
                    <a:pt x="20288" y="11239"/>
                    <a:pt x="19621" y="10954"/>
                  </a:cubicBezTo>
                  <a:cubicBezTo>
                    <a:pt x="17526" y="10096"/>
                    <a:pt x="15430" y="8953"/>
                    <a:pt x="13525" y="7810"/>
                  </a:cubicBezTo>
                  <a:cubicBezTo>
                    <a:pt x="11049" y="6286"/>
                    <a:pt x="8763" y="4667"/>
                    <a:pt x="6287" y="3143"/>
                  </a:cubicBezTo>
                  <a:cubicBezTo>
                    <a:pt x="4381" y="1905"/>
                    <a:pt x="2191" y="476"/>
                    <a:pt x="0" y="0"/>
                  </a:cubicBezTo>
                  <a:cubicBezTo>
                    <a:pt x="2096" y="3810"/>
                    <a:pt x="5334" y="7429"/>
                    <a:pt x="9049" y="10287"/>
                  </a:cubicBezTo>
                  <a:cubicBezTo>
                    <a:pt x="9715" y="10763"/>
                    <a:pt x="10382" y="11239"/>
                    <a:pt x="11144" y="11716"/>
                  </a:cubicBezTo>
                  <a:close/>
                </a:path>
              </a:pathLst>
            </a:custGeom>
            <a:grpFill/>
            <a:ln w="9525" cap="flat">
              <a:noFill/>
              <a:prstDash val="solid"/>
              <a:miter/>
            </a:ln>
          </p:spPr>
          <p:txBody>
            <a:bodyPr rtlCol="0" anchor="ctr"/>
            <a:lstStyle/>
            <a:p>
              <a:endParaRPr lang="en-US" dirty="0"/>
            </a:p>
          </p:txBody>
        </p:sp>
        <p:sp>
          <p:nvSpPr>
            <p:cNvPr id="1313" name="Freeform: Shape 1312">
              <a:extLst>
                <a:ext uri="{FF2B5EF4-FFF2-40B4-BE49-F238E27FC236}">
                  <a16:creationId xmlns:a16="http://schemas.microsoft.com/office/drawing/2014/main" id="{9218EECD-2E3C-7DCA-0CB5-63DA5D8DF2BC}"/>
                </a:ext>
              </a:extLst>
            </p:cNvPr>
            <p:cNvSpPr/>
            <p:nvPr/>
          </p:nvSpPr>
          <p:spPr>
            <a:xfrm>
              <a:off x="4590261" y="436605"/>
              <a:ext cx="15396" cy="124402"/>
            </a:xfrm>
            <a:custGeom>
              <a:avLst/>
              <a:gdLst>
                <a:gd name="connsiteX0" fmla="*/ 637 w 6923"/>
                <a:gd name="connsiteY0" fmla="*/ 55436 h 55939"/>
                <a:gd name="connsiteX1" fmla="*/ 637 w 6923"/>
                <a:gd name="connsiteY1" fmla="*/ 55912 h 55939"/>
                <a:gd name="connsiteX2" fmla="*/ 637 w 6923"/>
                <a:gd name="connsiteY2" fmla="*/ 55436 h 55939"/>
                <a:gd name="connsiteX3" fmla="*/ 1304 w 6923"/>
                <a:gd name="connsiteY3" fmla="*/ 55054 h 55939"/>
                <a:gd name="connsiteX4" fmla="*/ 1304 w 6923"/>
                <a:gd name="connsiteY4" fmla="*/ 55054 h 55939"/>
                <a:gd name="connsiteX5" fmla="*/ 2351 w 6923"/>
                <a:gd name="connsiteY5" fmla="*/ 49816 h 55939"/>
                <a:gd name="connsiteX6" fmla="*/ 6828 w 6923"/>
                <a:gd name="connsiteY6" fmla="*/ 15145 h 55939"/>
                <a:gd name="connsiteX7" fmla="*/ 6923 w 6923"/>
                <a:gd name="connsiteY7" fmla="*/ 10954 h 55939"/>
                <a:gd name="connsiteX8" fmla="*/ 3399 w 6923"/>
                <a:gd name="connsiteY8" fmla="*/ 0 h 55939"/>
                <a:gd name="connsiteX9" fmla="*/ 446 w 6923"/>
                <a:gd name="connsiteY9" fmla="*/ 36004 h 55939"/>
                <a:gd name="connsiteX10" fmla="*/ 161 w 6923"/>
                <a:gd name="connsiteY10" fmla="*/ 50578 h 55939"/>
                <a:gd name="connsiteX11" fmla="*/ 637 w 6923"/>
                <a:gd name="connsiteY11" fmla="*/ 55626 h 5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23" h="55939">
                  <a:moveTo>
                    <a:pt x="637" y="55436"/>
                  </a:moveTo>
                  <a:cubicBezTo>
                    <a:pt x="637" y="55436"/>
                    <a:pt x="637" y="55816"/>
                    <a:pt x="637" y="55912"/>
                  </a:cubicBezTo>
                  <a:cubicBezTo>
                    <a:pt x="637" y="56102"/>
                    <a:pt x="637" y="55245"/>
                    <a:pt x="637" y="55436"/>
                  </a:cubicBezTo>
                  <a:cubicBezTo>
                    <a:pt x="637" y="55721"/>
                    <a:pt x="1208" y="54769"/>
                    <a:pt x="1304" y="55054"/>
                  </a:cubicBezTo>
                  <a:cubicBezTo>
                    <a:pt x="1304" y="55054"/>
                    <a:pt x="1018" y="56388"/>
                    <a:pt x="1304" y="55054"/>
                  </a:cubicBezTo>
                  <a:cubicBezTo>
                    <a:pt x="1589" y="53816"/>
                    <a:pt x="1875" y="52007"/>
                    <a:pt x="2351" y="49816"/>
                  </a:cubicBezTo>
                  <a:cubicBezTo>
                    <a:pt x="3971" y="41243"/>
                    <a:pt x="6352" y="26765"/>
                    <a:pt x="6828" y="15145"/>
                  </a:cubicBezTo>
                  <a:cubicBezTo>
                    <a:pt x="6828" y="13716"/>
                    <a:pt x="6923" y="12287"/>
                    <a:pt x="6923" y="10954"/>
                  </a:cubicBezTo>
                  <a:cubicBezTo>
                    <a:pt x="6923" y="8191"/>
                    <a:pt x="5114" y="2191"/>
                    <a:pt x="3399" y="0"/>
                  </a:cubicBezTo>
                  <a:cubicBezTo>
                    <a:pt x="1780" y="11906"/>
                    <a:pt x="923" y="24003"/>
                    <a:pt x="446" y="36004"/>
                  </a:cubicBezTo>
                  <a:cubicBezTo>
                    <a:pt x="-30" y="40577"/>
                    <a:pt x="-125" y="45529"/>
                    <a:pt x="161" y="50578"/>
                  </a:cubicBezTo>
                  <a:cubicBezTo>
                    <a:pt x="256" y="52292"/>
                    <a:pt x="446" y="53912"/>
                    <a:pt x="637" y="55626"/>
                  </a:cubicBezTo>
                  <a:close/>
                </a:path>
              </a:pathLst>
            </a:custGeom>
            <a:grpFill/>
            <a:ln w="9525" cap="flat">
              <a:noFill/>
              <a:prstDash val="solid"/>
              <a:miter/>
            </a:ln>
          </p:spPr>
          <p:txBody>
            <a:bodyPr rtlCol="0" anchor="ctr"/>
            <a:lstStyle/>
            <a:p>
              <a:endParaRPr lang="en-US" dirty="0"/>
            </a:p>
          </p:txBody>
        </p:sp>
        <p:sp>
          <p:nvSpPr>
            <p:cNvPr id="1327" name="Freeform: Shape 1326">
              <a:extLst>
                <a:ext uri="{FF2B5EF4-FFF2-40B4-BE49-F238E27FC236}">
                  <a16:creationId xmlns:a16="http://schemas.microsoft.com/office/drawing/2014/main" id="{FCCB66CF-4516-A7CD-42E4-945590EBB26C}"/>
                </a:ext>
              </a:extLst>
            </p:cNvPr>
            <p:cNvSpPr/>
            <p:nvPr/>
          </p:nvSpPr>
          <p:spPr>
            <a:xfrm>
              <a:off x="4813246" y="435758"/>
              <a:ext cx="36856" cy="82611"/>
            </a:xfrm>
            <a:custGeom>
              <a:avLst/>
              <a:gdLst>
                <a:gd name="connsiteX0" fmla="*/ 7715 w 16573"/>
                <a:gd name="connsiteY0" fmla="*/ 19717 h 37147"/>
                <a:gd name="connsiteX1" fmla="*/ 8192 w 16573"/>
                <a:gd name="connsiteY1" fmla="*/ 21336 h 37147"/>
                <a:gd name="connsiteX2" fmla="*/ 10287 w 16573"/>
                <a:gd name="connsiteY2" fmla="*/ 27527 h 37147"/>
                <a:gd name="connsiteX3" fmla="*/ 16573 w 16573"/>
                <a:gd name="connsiteY3" fmla="*/ 37147 h 37147"/>
                <a:gd name="connsiteX4" fmla="*/ 12192 w 16573"/>
                <a:gd name="connsiteY4" fmla="*/ 19240 h 37147"/>
                <a:gd name="connsiteX5" fmla="*/ 11716 w 16573"/>
                <a:gd name="connsiteY5" fmla="*/ 17050 h 37147"/>
                <a:gd name="connsiteX6" fmla="*/ 10954 w 16573"/>
                <a:gd name="connsiteY6" fmla="*/ 14383 h 37147"/>
                <a:gd name="connsiteX7" fmla="*/ 0 w 16573"/>
                <a:gd name="connsiteY7" fmla="*/ 0 h 37147"/>
                <a:gd name="connsiteX8" fmla="*/ 5048 w 16573"/>
                <a:gd name="connsiteY8" fmla="*/ 11049 h 37147"/>
                <a:gd name="connsiteX9" fmla="*/ 5334 w 16573"/>
                <a:gd name="connsiteY9" fmla="*/ 11906 h 37147"/>
                <a:gd name="connsiteX10" fmla="*/ 6572 w 16573"/>
                <a:gd name="connsiteY10" fmla="*/ 15716 h 37147"/>
                <a:gd name="connsiteX11" fmla="*/ 7715 w 16573"/>
                <a:gd name="connsiteY11" fmla="*/ 19717 h 3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73" h="37147">
                  <a:moveTo>
                    <a:pt x="7715" y="19717"/>
                  </a:moveTo>
                  <a:cubicBezTo>
                    <a:pt x="7906" y="20288"/>
                    <a:pt x="8001" y="20860"/>
                    <a:pt x="8192" y="21336"/>
                  </a:cubicBezTo>
                  <a:cubicBezTo>
                    <a:pt x="8763" y="23432"/>
                    <a:pt x="9525" y="25527"/>
                    <a:pt x="10287" y="27527"/>
                  </a:cubicBezTo>
                  <a:cubicBezTo>
                    <a:pt x="11716" y="31147"/>
                    <a:pt x="13621" y="34481"/>
                    <a:pt x="16573" y="37147"/>
                  </a:cubicBezTo>
                  <a:cubicBezTo>
                    <a:pt x="13811" y="31528"/>
                    <a:pt x="13430" y="25336"/>
                    <a:pt x="12192" y="19240"/>
                  </a:cubicBezTo>
                  <a:cubicBezTo>
                    <a:pt x="12002" y="18478"/>
                    <a:pt x="11906" y="17812"/>
                    <a:pt x="11716" y="17050"/>
                  </a:cubicBezTo>
                  <a:cubicBezTo>
                    <a:pt x="11525" y="16192"/>
                    <a:pt x="11239" y="15240"/>
                    <a:pt x="10954" y="14383"/>
                  </a:cubicBezTo>
                  <a:cubicBezTo>
                    <a:pt x="9239" y="9144"/>
                    <a:pt x="4096" y="3620"/>
                    <a:pt x="0" y="0"/>
                  </a:cubicBezTo>
                  <a:cubicBezTo>
                    <a:pt x="3048" y="6572"/>
                    <a:pt x="3810" y="7620"/>
                    <a:pt x="5048" y="11049"/>
                  </a:cubicBezTo>
                  <a:cubicBezTo>
                    <a:pt x="5144" y="11335"/>
                    <a:pt x="5239" y="11621"/>
                    <a:pt x="5334" y="11906"/>
                  </a:cubicBezTo>
                  <a:cubicBezTo>
                    <a:pt x="5715" y="13145"/>
                    <a:pt x="6191" y="14478"/>
                    <a:pt x="6572" y="15716"/>
                  </a:cubicBezTo>
                  <a:cubicBezTo>
                    <a:pt x="6953" y="17050"/>
                    <a:pt x="7334" y="18383"/>
                    <a:pt x="7715" y="19717"/>
                  </a:cubicBezTo>
                  <a:close/>
                </a:path>
              </a:pathLst>
            </a:custGeom>
            <a:grpFill/>
            <a:ln w="9525" cap="flat">
              <a:noFill/>
              <a:prstDash val="solid"/>
              <a:miter/>
            </a:ln>
          </p:spPr>
          <p:txBody>
            <a:bodyPr rtlCol="0" anchor="ctr"/>
            <a:lstStyle/>
            <a:p>
              <a:endParaRPr lang="en-US" dirty="0"/>
            </a:p>
          </p:txBody>
        </p:sp>
        <p:sp>
          <p:nvSpPr>
            <p:cNvPr id="1328" name="Freeform: Shape 1327">
              <a:extLst>
                <a:ext uri="{FF2B5EF4-FFF2-40B4-BE49-F238E27FC236}">
                  <a16:creationId xmlns:a16="http://schemas.microsoft.com/office/drawing/2014/main" id="{40519371-A1B8-62C2-55B5-171AA9ED4BD6}"/>
                </a:ext>
              </a:extLst>
            </p:cNvPr>
            <p:cNvSpPr/>
            <p:nvPr/>
          </p:nvSpPr>
          <p:spPr>
            <a:xfrm>
              <a:off x="4554959" y="304148"/>
              <a:ext cx="313224" cy="256586"/>
            </a:xfrm>
            <a:custGeom>
              <a:avLst/>
              <a:gdLst>
                <a:gd name="connsiteX0" fmla="*/ 123287 w 140845"/>
                <a:gd name="connsiteY0" fmla="*/ 23938 h 115377"/>
                <a:gd name="connsiteX1" fmla="*/ 122906 w 140845"/>
                <a:gd name="connsiteY1" fmla="*/ 23747 h 115377"/>
                <a:gd name="connsiteX2" fmla="*/ 124239 w 140845"/>
                <a:gd name="connsiteY2" fmla="*/ 24319 h 115377"/>
                <a:gd name="connsiteX3" fmla="*/ 135098 w 140845"/>
                <a:gd name="connsiteY3" fmla="*/ 28986 h 115377"/>
                <a:gd name="connsiteX4" fmla="*/ 82996 w 140845"/>
                <a:gd name="connsiteY4" fmla="*/ 316 h 115377"/>
                <a:gd name="connsiteX5" fmla="*/ 71090 w 140845"/>
                <a:gd name="connsiteY5" fmla="*/ 125 h 115377"/>
                <a:gd name="connsiteX6" fmla="*/ 70423 w 140845"/>
                <a:gd name="connsiteY6" fmla="*/ 125 h 115377"/>
                <a:gd name="connsiteX7" fmla="*/ 43944 w 140845"/>
                <a:gd name="connsiteY7" fmla="*/ 6031 h 115377"/>
                <a:gd name="connsiteX8" fmla="*/ 38228 w 140845"/>
                <a:gd name="connsiteY8" fmla="*/ 5840 h 115377"/>
                <a:gd name="connsiteX9" fmla="*/ 33180 w 140845"/>
                <a:gd name="connsiteY9" fmla="*/ 17746 h 115377"/>
                <a:gd name="connsiteX10" fmla="*/ 11844 w 140845"/>
                <a:gd name="connsiteY10" fmla="*/ 18413 h 115377"/>
                <a:gd name="connsiteX11" fmla="*/ 1367 w 140845"/>
                <a:gd name="connsiteY11" fmla="*/ 38797 h 115377"/>
                <a:gd name="connsiteX12" fmla="*/ 14892 w 140845"/>
                <a:gd name="connsiteY12" fmla="*/ 22890 h 115377"/>
                <a:gd name="connsiteX13" fmla="*/ 15083 w 140845"/>
                <a:gd name="connsiteY13" fmla="*/ 22890 h 115377"/>
                <a:gd name="connsiteX14" fmla="*/ 319 w 140845"/>
                <a:gd name="connsiteY14" fmla="*/ 69277 h 115377"/>
                <a:gd name="connsiteX15" fmla="*/ 4129 w 140845"/>
                <a:gd name="connsiteY15" fmla="*/ 57847 h 115377"/>
                <a:gd name="connsiteX16" fmla="*/ 7367 w 140845"/>
                <a:gd name="connsiteY16" fmla="*/ 95470 h 115377"/>
                <a:gd name="connsiteX17" fmla="*/ 8796 w 140845"/>
                <a:gd name="connsiteY17" fmla="*/ 95851 h 115377"/>
                <a:gd name="connsiteX18" fmla="*/ 11844 w 140845"/>
                <a:gd name="connsiteY18" fmla="*/ 98233 h 115377"/>
                <a:gd name="connsiteX19" fmla="*/ 14035 w 140845"/>
                <a:gd name="connsiteY19" fmla="*/ 101947 h 115377"/>
                <a:gd name="connsiteX20" fmla="*/ 16130 w 140845"/>
                <a:gd name="connsiteY20" fmla="*/ 110139 h 115377"/>
                <a:gd name="connsiteX21" fmla="*/ 16416 w 140845"/>
                <a:gd name="connsiteY21" fmla="*/ 95566 h 115377"/>
                <a:gd name="connsiteX22" fmla="*/ 19369 w 140845"/>
                <a:gd name="connsiteY22" fmla="*/ 59561 h 115377"/>
                <a:gd name="connsiteX23" fmla="*/ 22893 w 140845"/>
                <a:gd name="connsiteY23" fmla="*/ 70515 h 115377"/>
                <a:gd name="connsiteX24" fmla="*/ 22798 w 140845"/>
                <a:gd name="connsiteY24" fmla="*/ 74706 h 115377"/>
                <a:gd name="connsiteX25" fmla="*/ 22988 w 140845"/>
                <a:gd name="connsiteY25" fmla="*/ 73753 h 115377"/>
                <a:gd name="connsiteX26" fmla="*/ 24322 w 140845"/>
                <a:gd name="connsiteY26" fmla="*/ 87184 h 115377"/>
                <a:gd name="connsiteX27" fmla="*/ 33085 w 140845"/>
                <a:gd name="connsiteY27" fmla="*/ 50989 h 115377"/>
                <a:gd name="connsiteX28" fmla="*/ 33085 w 140845"/>
                <a:gd name="connsiteY28" fmla="*/ 49274 h 115377"/>
                <a:gd name="connsiteX29" fmla="*/ 33371 w 140845"/>
                <a:gd name="connsiteY29" fmla="*/ 50608 h 115377"/>
                <a:gd name="connsiteX30" fmla="*/ 33371 w 140845"/>
                <a:gd name="connsiteY30" fmla="*/ 50608 h 115377"/>
                <a:gd name="connsiteX31" fmla="*/ 40229 w 140845"/>
                <a:gd name="connsiteY31" fmla="*/ 64038 h 115377"/>
                <a:gd name="connsiteX32" fmla="*/ 62327 w 140845"/>
                <a:gd name="connsiteY32" fmla="*/ 71944 h 115377"/>
                <a:gd name="connsiteX33" fmla="*/ 49373 w 140845"/>
                <a:gd name="connsiteY33" fmla="*/ 66324 h 115377"/>
                <a:gd name="connsiteX34" fmla="*/ 40038 w 140845"/>
                <a:gd name="connsiteY34" fmla="*/ 55656 h 115377"/>
                <a:gd name="connsiteX35" fmla="*/ 36323 w 140845"/>
                <a:gd name="connsiteY35" fmla="*/ 47560 h 115377"/>
                <a:gd name="connsiteX36" fmla="*/ 35180 w 140845"/>
                <a:gd name="connsiteY36" fmla="*/ 44416 h 115377"/>
                <a:gd name="connsiteX37" fmla="*/ 34609 w 140845"/>
                <a:gd name="connsiteY37" fmla="*/ 42607 h 115377"/>
                <a:gd name="connsiteX38" fmla="*/ 35276 w 140845"/>
                <a:gd name="connsiteY38" fmla="*/ 44226 h 115377"/>
                <a:gd name="connsiteX39" fmla="*/ 36704 w 140845"/>
                <a:gd name="connsiteY39" fmla="*/ 47083 h 115377"/>
                <a:gd name="connsiteX40" fmla="*/ 80234 w 140845"/>
                <a:gd name="connsiteY40" fmla="*/ 66324 h 115377"/>
                <a:gd name="connsiteX41" fmla="*/ 77662 w 140845"/>
                <a:gd name="connsiteY41" fmla="*/ 64990 h 115377"/>
                <a:gd name="connsiteX42" fmla="*/ 59564 w 140845"/>
                <a:gd name="connsiteY42" fmla="*/ 48607 h 115377"/>
                <a:gd name="connsiteX43" fmla="*/ 62231 w 140845"/>
                <a:gd name="connsiteY43" fmla="*/ 50131 h 115377"/>
                <a:gd name="connsiteX44" fmla="*/ 70899 w 140845"/>
                <a:gd name="connsiteY44" fmla="*/ 55656 h 115377"/>
                <a:gd name="connsiteX45" fmla="*/ 87949 w 140845"/>
                <a:gd name="connsiteY45" fmla="*/ 64990 h 115377"/>
                <a:gd name="connsiteX46" fmla="*/ 100617 w 140845"/>
                <a:gd name="connsiteY46" fmla="*/ 70801 h 115377"/>
                <a:gd name="connsiteX47" fmla="*/ 110142 w 140845"/>
                <a:gd name="connsiteY47" fmla="*/ 73468 h 115377"/>
                <a:gd name="connsiteX48" fmla="*/ 101094 w 140845"/>
                <a:gd name="connsiteY48" fmla="*/ 63181 h 115377"/>
                <a:gd name="connsiteX49" fmla="*/ 107380 w 140845"/>
                <a:gd name="connsiteY49" fmla="*/ 66324 h 115377"/>
                <a:gd name="connsiteX50" fmla="*/ 114619 w 140845"/>
                <a:gd name="connsiteY50" fmla="*/ 70991 h 115377"/>
                <a:gd name="connsiteX51" fmla="*/ 120715 w 140845"/>
                <a:gd name="connsiteY51" fmla="*/ 74134 h 115377"/>
                <a:gd name="connsiteX52" fmla="*/ 116238 w 140845"/>
                <a:gd name="connsiteY52" fmla="*/ 59466 h 115377"/>
                <a:gd name="connsiteX53" fmla="*/ 121572 w 140845"/>
                <a:gd name="connsiteY53" fmla="*/ 71086 h 115377"/>
                <a:gd name="connsiteX54" fmla="*/ 121286 w 140845"/>
                <a:gd name="connsiteY54" fmla="*/ 70229 h 115377"/>
                <a:gd name="connsiteX55" fmla="*/ 116238 w 140845"/>
                <a:gd name="connsiteY55" fmla="*/ 59180 h 115377"/>
                <a:gd name="connsiteX56" fmla="*/ 127192 w 140845"/>
                <a:gd name="connsiteY56" fmla="*/ 73563 h 115377"/>
                <a:gd name="connsiteX57" fmla="*/ 127954 w 140845"/>
                <a:gd name="connsiteY57" fmla="*/ 76230 h 115377"/>
                <a:gd name="connsiteX58" fmla="*/ 133478 w 140845"/>
                <a:gd name="connsiteY58" fmla="*/ 76420 h 115377"/>
                <a:gd name="connsiteX59" fmla="*/ 128430 w 140845"/>
                <a:gd name="connsiteY59" fmla="*/ 78421 h 115377"/>
                <a:gd name="connsiteX60" fmla="*/ 132812 w 140845"/>
                <a:gd name="connsiteY60" fmla="*/ 96328 h 115377"/>
                <a:gd name="connsiteX61" fmla="*/ 126525 w 140845"/>
                <a:gd name="connsiteY61" fmla="*/ 86707 h 115377"/>
                <a:gd name="connsiteX62" fmla="*/ 128049 w 140845"/>
                <a:gd name="connsiteY62" fmla="*/ 97375 h 115377"/>
                <a:gd name="connsiteX63" fmla="*/ 128049 w 140845"/>
                <a:gd name="connsiteY63" fmla="*/ 98137 h 115377"/>
                <a:gd name="connsiteX64" fmla="*/ 129383 w 140845"/>
                <a:gd name="connsiteY64" fmla="*/ 115378 h 115377"/>
                <a:gd name="connsiteX65" fmla="*/ 129383 w 140845"/>
                <a:gd name="connsiteY65" fmla="*/ 115378 h 115377"/>
                <a:gd name="connsiteX66" fmla="*/ 129383 w 140845"/>
                <a:gd name="connsiteY66" fmla="*/ 115378 h 115377"/>
                <a:gd name="connsiteX67" fmla="*/ 129573 w 140845"/>
                <a:gd name="connsiteY67" fmla="*/ 112139 h 115377"/>
                <a:gd name="connsiteX68" fmla="*/ 129859 w 140845"/>
                <a:gd name="connsiteY68" fmla="*/ 108901 h 115377"/>
                <a:gd name="connsiteX69" fmla="*/ 130621 w 140845"/>
                <a:gd name="connsiteY69" fmla="*/ 104424 h 115377"/>
                <a:gd name="connsiteX70" fmla="*/ 133097 w 140845"/>
                <a:gd name="connsiteY70" fmla="*/ 97947 h 115377"/>
                <a:gd name="connsiteX71" fmla="*/ 136145 w 140845"/>
                <a:gd name="connsiteY71" fmla="*/ 95470 h 115377"/>
                <a:gd name="connsiteX72" fmla="*/ 137193 w 140845"/>
                <a:gd name="connsiteY72" fmla="*/ 95280 h 115377"/>
                <a:gd name="connsiteX73" fmla="*/ 136622 w 140845"/>
                <a:gd name="connsiteY73" fmla="*/ 63752 h 115377"/>
                <a:gd name="connsiteX74" fmla="*/ 140432 w 140845"/>
                <a:gd name="connsiteY74" fmla="*/ 71086 h 115377"/>
                <a:gd name="connsiteX75" fmla="*/ 140432 w 140845"/>
                <a:gd name="connsiteY75" fmla="*/ 71086 h 115377"/>
                <a:gd name="connsiteX76" fmla="*/ 140813 w 140845"/>
                <a:gd name="connsiteY76" fmla="*/ 64990 h 115377"/>
                <a:gd name="connsiteX77" fmla="*/ 123287 w 140845"/>
                <a:gd name="connsiteY77" fmla="*/ 23842 h 115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40845" h="115377">
                  <a:moveTo>
                    <a:pt x="123287" y="23938"/>
                  </a:moveTo>
                  <a:cubicBezTo>
                    <a:pt x="123287" y="23938"/>
                    <a:pt x="122906" y="23747"/>
                    <a:pt x="122906" y="23747"/>
                  </a:cubicBezTo>
                  <a:cubicBezTo>
                    <a:pt x="123382" y="23938"/>
                    <a:pt x="123858" y="24128"/>
                    <a:pt x="124239" y="24319"/>
                  </a:cubicBezTo>
                  <a:cubicBezTo>
                    <a:pt x="130716" y="26890"/>
                    <a:pt x="135098" y="28986"/>
                    <a:pt x="135098" y="28986"/>
                  </a:cubicBezTo>
                  <a:cubicBezTo>
                    <a:pt x="135098" y="28986"/>
                    <a:pt x="120239" y="3268"/>
                    <a:pt x="82996" y="316"/>
                  </a:cubicBezTo>
                  <a:cubicBezTo>
                    <a:pt x="78614" y="-65"/>
                    <a:pt x="74709" y="-65"/>
                    <a:pt x="71090" y="125"/>
                  </a:cubicBezTo>
                  <a:cubicBezTo>
                    <a:pt x="70899" y="125"/>
                    <a:pt x="70613" y="125"/>
                    <a:pt x="70423" y="125"/>
                  </a:cubicBezTo>
                  <a:cubicBezTo>
                    <a:pt x="61565" y="-65"/>
                    <a:pt x="51754" y="1554"/>
                    <a:pt x="43944" y="6031"/>
                  </a:cubicBezTo>
                  <a:lnTo>
                    <a:pt x="38228" y="5840"/>
                  </a:lnTo>
                  <a:cubicBezTo>
                    <a:pt x="35943" y="9269"/>
                    <a:pt x="33752" y="13555"/>
                    <a:pt x="33180" y="17746"/>
                  </a:cubicBezTo>
                  <a:cubicBezTo>
                    <a:pt x="27370" y="12508"/>
                    <a:pt x="17464" y="13365"/>
                    <a:pt x="11844" y="18413"/>
                  </a:cubicBezTo>
                  <a:cubicBezTo>
                    <a:pt x="6605" y="23080"/>
                    <a:pt x="1367" y="34225"/>
                    <a:pt x="1367" y="38797"/>
                  </a:cubicBezTo>
                  <a:cubicBezTo>
                    <a:pt x="5462" y="29176"/>
                    <a:pt x="9368" y="25652"/>
                    <a:pt x="14892" y="22890"/>
                  </a:cubicBezTo>
                  <a:cubicBezTo>
                    <a:pt x="14892" y="22890"/>
                    <a:pt x="14987" y="22890"/>
                    <a:pt x="15083" y="22890"/>
                  </a:cubicBezTo>
                  <a:cubicBezTo>
                    <a:pt x="3843" y="30986"/>
                    <a:pt x="-1396" y="50512"/>
                    <a:pt x="319" y="69277"/>
                  </a:cubicBezTo>
                  <a:cubicBezTo>
                    <a:pt x="1367" y="65086"/>
                    <a:pt x="2700" y="61276"/>
                    <a:pt x="4129" y="57847"/>
                  </a:cubicBezTo>
                  <a:cubicBezTo>
                    <a:pt x="3367" y="67276"/>
                    <a:pt x="5272" y="80897"/>
                    <a:pt x="7367" y="95470"/>
                  </a:cubicBezTo>
                  <a:cubicBezTo>
                    <a:pt x="7367" y="95470"/>
                    <a:pt x="7939" y="95470"/>
                    <a:pt x="8796" y="95851"/>
                  </a:cubicBezTo>
                  <a:cubicBezTo>
                    <a:pt x="9653" y="96137"/>
                    <a:pt x="10701" y="96899"/>
                    <a:pt x="11844" y="98233"/>
                  </a:cubicBezTo>
                  <a:cubicBezTo>
                    <a:pt x="12606" y="99090"/>
                    <a:pt x="13368" y="100328"/>
                    <a:pt x="14035" y="101947"/>
                  </a:cubicBezTo>
                  <a:cubicBezTo>
                    <a:pt x="14892" y="103948"/>
                    <a:pt x="15654" y="106710"/>
                    <a:pt x="16130" y="110139"/>
                  </a:cubicBezTo>
                  <a:cubicBezTo>
                    <a:pt x="15845" y="105091"/>
                    <a:pt x="15940" y="100233"/>
                    <a:pt x="16416" y="95566"/>
                  </a:cubicBezTo>
                  <a:cubicBezTo>
                    <a:pt x="16892" y="83564"/>
                    <a:pt x="17750" y="71467"/>
                    <a:pt x="19369" y="59561"/>
                  </a:cubicBezTo>
                  <a:cubicBezTo>
                    <a:pt x="21083" y="61752"/>
                    <a:pt x="22893" y="67848"/>
                    <a:pt x="22893" y="70515"/>
                  </a:cubicBezTo>
                  <a:cubicBezTo>
                    <a:pt x="22893" y="71848"/>
                    <a:pt x="22893" y="73277"/>
                    <a:pt x="22798" y="74706"/>
                  </a:cubicBezTo>
                  <a:cubicBezTo>
                    <a:pt x="22798" y="74420"/>
                    <a:pt x="22893" y="74039"/>
                    <a:pt x="22988" y="73753"/>
                  </a:cubicBezTo>
                  <a:cubicBezTo>
                    <a:pt x="22988" y="73753"/>
                    <a:pt x="25179" y="81850"/>
                    <a:pt x="24322" y="87184"/>
                  </a:cubicBezTo>
                  <a:cubicBezTo>
                    <a:pt x="25655" y="84898"/>
                    <a:pt x="31751" y="79087"/>
                    <a:pt x="33085" y="50989"/>
                  </a:cubicBezTo>
                  <a:cubicBezTo>
                    <a:pt x="33085" y="50417"/>
                    <a:pt x="33085" y="49846"/>
                    <a:pt x="33085" y="49274"/>
                  </a:cubicBezTo>
                  <a:cubicBezTo>
                    <a:pt x="33180" y="49655"/>
                    <a:pt x="33276" y="50131"/>
                    <a:pt x="33371" y="50608"/>
                  </a:cubicBezTo>
                  <a:cubicBezTo>
                    <a:pt x="33371" y="50608"/>
                    <a:pt x="33371" y="50608"/>
                    <a:pt x="33371" y="50608"/>
                  </a:cubicBezTo>
                  <a:cubicBezTo>
                    <a:pt x="34895" y="55275"/>
                    <a:pt x="36895" y="60323"/>
                    <a:pt x="40229" y="64038"/>
                  </a:cubicBezTo>
                  <a:cubicBezTo>
                    <a:pt x="45658" y="70229"/>
                    <a:pt x="54516" y="71753"/>
                    <a:pt x="62327" y="71944"/>
                  </a:cubicBezTo>
                  <a:cubicBezTo>
                    <a:pt x="57945" y="70420"/>
                    <a:pt x="53373" y="68800"/>
                    <a:pt x="49373" y="66324"/>
                  </a:cubicBezTo>
                  <a:cubicBezTo>
                    <a:pt x="45468" y="63943"/>
                    <a:pt x="42229" y="59656"/>
                    <a:pt x="40038" y="55656"/>
                  </a:cubicBezTo>
                  <a:cubicBezTo>
                    <a:pt x="38800" y="53465"/>
                    <a:pt x="37562" y="50703"/>
                    <a:pt x="36323" y="47560"/>
                  </a:cubicBezTo>
                  <a:cubicBezTo>
                    <a:pt x="35943" y="46607"/>
                    <a:pt x="35561" y="45464"/>
                    <a:pt x="35180" y="44416"/>
                  </a:cubicBezTo>
                  <a:cubicBezTo>
                    <a:pt x="34990" y="43845"/>
                    <a:pt x="34799" y="43273"/>
                    <a:pt x="34609" y="42607"/>
                  </a:cubicBezTo>
                  <a:cubicBezTo>
                    <a:pt x="34799" y="43178"/>
                    <a:pt x="34990" y="43654"/>
                    <a:pt x="35276" y="44226"/>
                  </a:cubicBezTo>
                  <a:cubicBezTo>
                    <a:pt x="35657" y="45083"/>
                    <a:pt x="36133" y="46036"/>
                    <a:pt x="36704" y="47083"/>
                  </a:cubicBezTo>
                  <a:cubicBezTo>
                    <a:pt x="41848" y="56513"/>
                    <a:pt x="54040" y="70039"/>
                    <a:pt x="80234" y="66324"/>
                  </a:cubicBezTo>
                  <a:cubicBezTo>
                    <a:pt x="79377" y="65848"/>
                    <a:pt x="78519" y="65467"/>
                    <a:pt x="77662" y="64990"/>
                  </a:cubicBezTo>
                  <a:cubicBezTo>
                    <a:pt x="70994" y="61085"/>
                    <a:pt x="64232" y="55656"/>
                    <a:pt x="59564" y="48607"/>
                  </a:cubicBezTo>
                  <a:cubicBezTo>
                    <a:pt x="59564" y="48607"/>
                    <a:pt x="60422" y="48988"/>
                    <a:pt x="62231" y="50131"/>
                  </a:cubicBezTo>
                  <a:cubicBezTo>
                    <a:pt x="64041" y="51274"/>
                    <a:pt x="66803" y="53084"/>
                    <a:pt x="70899" y="55656"/>
                  </a:cubicBezTo>
                  <a:cubicBezTo>
                    <a:pt x="74995" y="58228"/>
                    <a:pt x="80519" y="61276"/>
                    <a:pt x="87949" y="64990"/>
                  </a:cubicBezTo>
                  <a:cubicBezTo>
                    <a:pt x="91664" y="66800"/>
                    <a:pt x="95855" y="68896"/>
                    <a:pt x="100617" y="70801"/>
                  </a:cubicBezTo>
                  <a:cubicBezTo>
                    <a:pt x="103570" y="71944"/>
                    <a:pt x="106713" y="72896"/>
                    <a:pt x="110142" y="73468"/>
                  </a:cubicBezTo>
                  <a:cubicBezTo>
                    <a:pt x="106427" y="70610"/>
                    <a:pt x="103284" y="66991"/>
                    <a:pt x="101094" y="63181"/>
                  </a:cubicBezTo>
                  <a:cubicBezTo>
                    <a:pt x="103379" y="63657"/>
                    <a:pt x="105475" y="65086"/>
                    <a:pt x="107380" y="66324"/>
                  </a:cubicBezTo>
                  <a:cubicBezTo>
                    <a:pt x="109761" y="67848"/>
                    <a:pt x="112143" y="69467"/>
                    <a:pt x="114619" y="70991"/>
                  </a:cubicBezTo>
                  <a:cubicBezTo>
                    <a:pt x="116524" y="72134"/>
                    <a:pt x="118619" y="73277"/>
                    <a:pt x="120715" y="74134"/>
                  </a:cubicBezTo>
                  <a:lnTo>
                    <a:pt x="116238" y="59466"/>
                  </a:lnTo>
                  <a:cubicBezTo>
                    <a:pt x="116238" y="59466"/>
                    <a:pt x="118810" y="64228"/>
                    <a:pt x="121572" y="71086"/>
                  </a:cubicBezTo>
                  <a:cubicBezTo>
                    <a:pt x="121572" y="70801"/>
                    <a:pt x="121382" y="70515"/>
                    <a:pt x="121286" y="70229"/>
                  </a:cubicBezTo>
                  <a:cubicBezTo>
                    <a:pt x="120048" y="66800"/>
                    <a:pt x="119286" y="65752"/>
                    <a:pt x="116238" y="59180"/>
                  </a:cubicBezTo>
                  <a:cubicBezTo>
                    <a:pt x="120334" y="62800"/>
                    <a:pt x="125573" y="68324"/>
                    <a:pt x="127192" y="73563"/>
                  </a:cubicBezTo>
                  <a:cubicBezTo>
                    <a:pt x="127478" y="74420"/>
                    <a:pt x="127668" y="75277"/>
                    <a:pt x="127954" y="76230"/>
                  </a:cubicBezTo>
                  <a:cubicBezTo>
                    <a:pt x="129764" y="76516"/>
                    <a:pt x="131573" y="76611"/>
                    <a:pt x="133478" y="76420"/>
                  </a:cubicBezTo>
                  <a:cubicBezTo>
                    <a:pt x="131859" y="77373"/>
                    <a:pt x="130145" y="78040"/>
                    <a:pt x="128430" y="78421"/>
                  </a:cubicBezTo>
                  <a:cubicBezTo>
                    <a:pt x="129669" y="84421"/>
                    <a:pt x="130049" y="90708"/>
                    <a:pt x="132812" y="96328"/>
                  </a:cubicBezTo>
                  <a:cubicBezTo>
                    <a:pt x="129859" y="93661"/>
                    <a:pt x="127954" y="90327"/>
                    <a:pt x="126525" y="86707"/>
                  </a:cubicBezTo>
                  <a:cubicBezTo>
                    <a:pt x="127287" y="90232"/>
                    <a:pt x="127859" y="93851"/>
                    <a:pt x="128049" y="97375"/>
                  </a:cubicBezTo>
                  <a:cubicBezTo>
                    <a:pt x="128049" y="97661"/>
                    <a:pt x="128049" y="97947"/>
                    <a:pt x="128049" y="98137"/>
                  </a:cubicBezTo>
                  <a:cubicBezTo>
                    <a:pt x="128240" y="102995"/>
                    <a:pt x="129383" y="114997"/>
                    <a:pt x="129383" y="115378"/>
                  </a:cubicBezTo>
                  <a:cubicBezTo>
                    <a:pt x="129383" y="115378"/>
                    <a:pt x="129383" y="115378"/>
                    <a:pt x="129383" y="115378"/>
                  </a:cubicBezTo>
                  <a:cubicBezTo>
                    <a:pt x="129383" y="115378"/>
                    <a:pt x="129383" y="115378"/>
                    <a:pt x="129383" y="115378"/>
                  </a:cubicBezTo>
                  <a:cubicBezTo>
                    <a:pt x="129383" y="115187"/>
                    <a:pt x="129383" y="113949"/>
                    <a:pt x="129573" y="112139"/>
                  </a:cubicBezTo>
                  <a:cubicBezTo>
                    <a:pt x="129573" y="111187"/>
                    <a:pt x="129764" y="110044"/>
                    <a:pt x="129859" y="108901"/>
                  </a:cubicBezTo>
                  <a:cubicBezTo>
                    <a:pt x="130049" y="107472"/>
                    <a:pt x="130240" y="105948"/>
                    <a:pt x="130621" y="104424"/>
                  </a:cubicBezTo>
                  <a:cubicBezTo>
                    <a:pt x="131193" y="101947"/>
                    <a:pt x="131954" y="99661"/>
                    <a:pt x="133097" y="97947"/>
                  </a:cubicBezTo>
                  <a:cubicBezTo>
                    <a:pt x="133955" y="96709"/>
                    <a:pt x="134907" y="95851"/>
                    <a:pt x="136145" y="95470"/>
                  </a:cubicBezTo>
                  <a:cubicBezTo>
                    <a:pt x="136527" y="95470"/>
                    <a:pt x="136812" y="95280"/>
                    <a:pt x="137193" y="95280"/>
                  </a:cubicBezTo>
                  <a:cubicBezTo>
                    <a:pt x="137193" y="95280"/>
                    <a:pt x="139003" y="74706"/>
                    <a:pt x="136622" y="63752"/>
                  </a:cubicBezTo>
                  <a:cubicBezTo>
                    <a:pt x="139098" y="68134"/>
                    <a:pt x="140432" y="71086"/>
                    <a:pt x="140432" y="71086"/>
                  </a:cubicBezTo>
                  <a:lnTo>
                    <a:pt x="140432" y="71086"/>
                  </a:lnTo>
                  <a:cubicBezTo>
                    <a:pt x="140622" y="68991"/>
                    <a:pt x="140813" y="66991"/>
                    <a:pt x="140813" y="64990"/>
                  </a:cubicBezTo>
                  <a:cubicBezTo>
                    <a:pt x="141670" y="36034"/>
                    <a:pt x="125763" y="25366"/>
                    <a:pt x="123287" y="23842"/>
                  </a:cubicBezTo>
                  <a:close/>
                </a:path>
              </a:pathLst>
            </a:custGeom>
            <a:grpFill/>
            <a:ln w="9525" cap="flat">
              <a:noFill/>
              <a:prstDash val="solid"/>
              <a:miter/>
            </a:ln>
          </p:spPr>
          <p:txBody>
            <a:bodyPr rtlCol="0" anchor="ctr"/>
            <a:lstStyle/>
            <a:p>
              <a:endParaRPr lang="en-US" dirty="0"/>
            </a:p>
          </p:txBody>
        </p:sp>
        <p:sp>
          <p:nvSpPr>
            <p:cNvPr id="1332" name="Freeform: Shape 1331">
              <a:extLst>
                <a:ext uri="{FF2B5EF4-FFF2-40B4-BE49-F238E27FC236}">
                  <a16:creationId xmlns:a16="http://schemas.microsoft.com/office/drawing/2014/main" id="{5778B61D-FDA3-854D-B9C7-3B4B56DC2B88}"/>
                </a:ext>
              </a:extLst>
            </p:cNvPr>
            <p:cNvSpPr/>
            <p:nvPr/>
          </p:nvSpPr>
          <p:spPr>
            <a:xfrm>
              <a:off x="4803714" y="768959"/>
              <a:ext cx="23722" cy="18427"/>
            </a:xfrm>
            <a:custGeom>
              <a:avLst/>
              <a:gdLst>
                <a:gd name="connsiteX0" fmla="*/ 10668 w 10667"/>
                <a:gd name="connsiteY0" fmla="*/ 3905 h 8286"/>
                <a:gd name="connsiteX1" fmla="*/ 5715 w 10667"/>
                <a:gd name="connsiteY1" fmla="*/ 857 h 8286"/>
                <a:gd name="connsiteX2" fmla="*/ 4191 w 10667"/>
                <a:gd name="connsiteY2" fmla="*/ 0 h 8286"/>
                <a:gd name="connsiteX3" fmla="*/ 0 w 10667"/>
                <a:gd name="connsiteY3" fmla="*/ 2953 h 8286"/>
                <a:gd name="connsiteX4" fmla="*/ 7810 w 10667"/>
                <a:gd name="connsiteY4" fmla="*/ 8287 h 8286"/>
                <a:gd name="connsiteX5" fmla="*/ 10573 w 10667"/>
                <a:gd name="connsiteY5" fmla="*/ 3810 h 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67" h="8286">
                  <a:moveTo>
                    <a:pt x="10668" y="3905"/>
                  </a:moveTo>
                  <a:lnTo>
                    <a:pt x="5715" y="857"/>
                  </a:lnTo>
                  <a:lnTo>
                    <a:pt x="4191" y="0"/>
                  </a:lnTo>
                  <a:lnTo>
                    <a:pt x="0" y="2953"/>
                  </a:lnTo>
                  <a:cubicBezTo>
                    <a:pt x="0" y="2953"/>
                    <a:pt x="5715" y="6858"/>
                    <a:pt x="7810" y="8287"/>
                  </a:cubicBezTo>
                  <a:lnTo>
                    <a:pt x="10573" y="3810"/>
                  </a:lnTo>
                  <a:close/>
                </a:path>
              </a:pathLst>
            </a:custGeom>
            <a:grpFill/>
            <a:ln w="9525" cap="flat">
              <a:noFill/>
              <a:prstDash val="solid"/>
              <a:miter/>
            </a:ln>
          </p:spPr>
          <p:txBody>
            <a:bodyPr rtlCol="0" anchor="ctr"/>
            <a:lstStyle/>
            <a:p>
              <a:endParaRPr lang="en-US" dirty="0"/>
            </a:p>
          </p:txBody>
        </p:sp>
        <p:sp>
          <p:nvSpPr>
            <p:cNvPr id="1334" name="Freeform: Shape 1333">
              <a:extLst>
                <a:ext uri="{FF2B5EF4-FFF2-40B4-BE49-F238E27FC236}">
                  <a16:creationId xmlns:a16="http://schemas.microsoft.com/office/drawing/2014/main" id="{889C62E7-3AFB-657D-3AD2-F5787C5BD13F}"/>
                </a:ext>
              </a:extLst>
            </p:cNvPr>
            <p:cNvSpPr/>
            <p:nvPr/>
          </p:nvSpPr>
          <p:spPr>
            <a:xfrm>
              <a:off x="4601420" y="765781"/>
              <a:ext cx="29231" cy="18852"/>
            </a:xfrm>
            <a:custGeom>
              <a:avLst/>
              <a:gdLst>
                <a:gd name="connsiteX0" fmla="*/ 13145 w 13144"/>
                <a:gd name="connsiteY0" fmla="*/ 2953 h 8477"/>
                <a:gd name="connsiteX1" fmla="*/ 8954 w 13144"/>
                <a:gd name="connsiteY1" fmla="*/ 0 h 8477"/>
                <a:gd name="connsiteX2" fmla="*/ 7429 w 13144"/>
                <a:gd name="connsiteY2" fmla="*/ 857 h 8477"/>
                <a:gd name="connsiteX3" fmla="*/ 0 w 13144"/>
                <a:gd name="connsiteY3" fmla="*/ 5620 h 8477"/>
                <a:gd name="connsiteX4" fmla="*/ 1810 w 13144"/>
                <a:gd name="connsiteY4" fmla="*/ 8477 h 8477"/>
                <a:gd name="connsiteX5" fmla="*/ 13145 w 13144"/>
                <a:gd name="connsiteY5" fmla="*/ 3048 h 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44" h="8477">
                  <a:moveTo>
                    <a:pt x="13145" y="2953"/>
                  </a:moveTo>
                  <a:lnTo>
                    <a:pt x="8954" y="0"/>
                  </a:lnTo>
                  <a:lnTo>
                    <a:pt x="7429" y="857"/>
                  </a:lnTo>
                  <a:lnTo>
                    <a:pt x="0" y="5620"/>
                  </a:lnTo>
                  <a:lnTo>
                    <a:pt x="1810" y="8477"/>
                  </a:lnTo>
                  <a:cubicBezTo>
                    <a:pt x="5906" y="6477"/>
                    <a:pt x="13145" y="3048"/>
                    <a:pt x="13145" y="3048"/>
                  </a:cubicBezTo>
                  <a:close/>
                </a:path>
              </a:pathLst>
            </a:custGeom>
            <a:grpFill/>
            <a:ln w="9525" cap="flat">
              <a:noFill/>
              <a:prstDash val="solid"/>
              <a:miter/>
            </a:ln>
          </p:spPr>
          <p:txBody>
            <a:bodyPr rtlCol="0" anchor="ctr"/>
            <a:lstStyle/>
            <a:p>
              <a:endParaRPr lang="en-US" dirty="0"/>
            </a:p>
          </p:txBody>
        </p:sp>
        <p:sp>
          <p:nvSpPr>
            <p:cNvPr id="1336" name="Freeform: Shape 1335">
              <a:extLst>
                <a:ext uri="{FF2B5EF4-FFF2-40B4-BE49-F238E27FC236}">
                  <a16:creationId xmlns:a16="http://schemas.microsoft.com/office/drawing/2014/main" id="{64F12058-786D-9ED8-5DF5-77D575F37070}"/>
                </a:ext>
              </a:extLst>
            </p:cNvPr>
            <p:cNvSpPr/>
            <p:nvPr/>
          </p:nvSpPr>
          <p:spPr>
            <a:xfrm>
              <a:off x="4601420" y="765781"/>
              <a:ext cx="29231" cy="18852"/>
            </a:xfrm>
            <a:custGeom>
              <a:avLst/>
              <a:gdLst>
                <a:gd name="connsiteX0" fmla="*/ 8954 w 13144"/>
                <a:gd name="connsiteY0" fmla="*/ 0 h 8477"/>
                <a:gd name="connsiteX1" fmla="*/ 7429 w 13144"/>
                <a:gd name="connsiteY1" fmla="*/ 857 h 8477"/>
                <a:gd name="connsiteX2" fmla="*/ 0 w 13144"/>
                <a:gd name="connsiteY2" fmla="*/ 5620 h 8477"/>
                <a:gd name="connsiteX3" fmla="*/ 1810 w 13144"/>
                <a:gd name="connsiteY3" fmla="*/ 8477 h 8477"/>
                <a:gd name="connsiteX4" fmla="*/ 13145 w 13144"/>
                <a:gd name="connsiteY4" fmla="*/ 3048 h 8477"/>
                <a:gd name="connsiteX5" fmla="*/ 8954 w 13144"/>
                <a:gd name="connsiteY5" fmla="*/ 95 h 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44" h="8477">
                  <a:moveTo>
                    <a:pt x="8954" y="0"/>
                  </a:moveTo>
                  <a:lnTo>
                    <a:pt x="7429" y="857"/>
                  </a:lnTo>
                  <a:lnTo>
                    <a:pt x="0" y="5620"/>
                  </a:lnTo>
                  <a:lnTo>
                    <a:pt x="1810" y="8477"/>
                  </a:lnTo>
                  <a:cubicBezTo>
                    <a:pt x="5906" y="6477"/>
                    <a:pt x="13145" y="3048"/>
                    <a:pt x="13145" y="3048"/>
                  </a:cubicBezTo>
                  <a:lnTo>
                    <a:pt x="8954" y="95"/>
                  </a:lnTo>
                  <a:close/>
                </a:path>
              </a:pathLst>
            </a:custGeom>
            <a:grpFill/>
            <a:ln w="9525" cap="flat">
              <a:noFill/>
              <a:prstDash val="solid"/>
              <a:miter/>
            </a:ln>
          </p:spPr>
          <p:txBody>
            <a:bodyPr rtlCol="0" anchor="ctr"/>
            <a:lstStyle/>
            <a:p>
              <a:endParaRPr lang="en-US" dirty="0"/>
            </a:p>
          </p:txBody>
        </p:sp>
        <p:sp>
          <p:nvSpPr>
            <p:cNvPr id="1341" name="Freeform: Shape 1340">
              <a:extLst>
                <a:ext uri="{FF2B5EF4-FFF2-40B4-BE49-F238E27FC236}">
                  <a16:creationId xmlns:a16="http://schemas.microsoft.com/office/drawing/2014/main" id="{755F0D59-766E-E059-118B-3D9B55D0CF9B}"/>
                </a:ext>
              </a:extLst>
            </p:cNvPr>
            <p:cNvSpPr/>
            <p:nvPr/>
          </p:nvSpPr>
          <p:spPr>
            <a:xfrm>
              <a:off x="4803714" y="768747"/>
              <a:ext cx="23511" cy="18641"/>
            </a:xfrm>
            <a:custGeom>
              <a:avLst/>
              <a:gdLst>
                <a:gd name="connsiteX0" fmla="*/ 4191 w 10572"/>
                <a:gd name="connsiteY0" fmla="*/ 95 h 8382"/>
                <a:gd name="connsiteX1" fmla="*/ 0 w 10572"/>
                <a:gd name="connsiteY1" fmla="*/ 3048 h 8382"/>
                <a:gd name="connsiteX2" fmla="*/ 7810 w 10572"/>
                <a:gd name="connsiteY2" fmla="*/ 8382 h 8382"/>
                <a:gd name="connsiteX3" fmla="*/ 10573 w 10572"/>
                <a:gd name="connsiteY3" fmla="*/ 3905 h 8382"/>
                <a:gd name="connsiteX4" fmla="*/ 5620 w 10572"/>
                <a:gd name="connsiteY4" fmla="*/ 857 h 8382"/>
                <a:gd name="connsiteX5" fmla="*/ 4096 w 10572"/>
                <a:gd name="connsiteY5" fmla="*/ 0 h 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2" h="8382">
                  <a:moveTo>
                    <a:pt x="4191" y="95"/>
                  </a:moveTo>
                  <a:lnTo>
                    <a:pt x="0" y="3048"/>
                  </a:lnTo>
                  <a:cubicBezTo>
                    <a:pt x="0" y="3048"/>
                    <a:pt x="5715" y="6953"/>
                    <a:pt x="7810" y="8382"/>
                  </a:cubicBezTo>
                  <a:lnTo>
                    <a:pt x="10573" y="3905"/>
                  </a:lnTo>
                  <a:lnTo>
                    <a:pt x="5620" y="857"/>
                  </a:lnTo>
                  <a:lnTo>
                    <a:pt x="4096" y="0"/>
                  </a:lnTo>
                  <a:close/>
                </a:path>
              </a:pathLst>
            </a:custGeom>
            <a:grpFill/>
            <a:ln w="9525" cap="flat">
              <a:noFill/>
              <a:prstDash val="solid"/>
              <a:miter/>
            </a:ln>
          </p:spPr>
          <p:txBody>
            <a:bodyPr rtlCol="0" anchor="ctr"/>
            <a:lstStyle/>
            <a:p>
              <a:endParaRPr lang="en-US" dirty="0"/>
            </a:p>
          </p:txBody>
        </p:sp>
        <p:sp>
          <p:nvSpPr>
            <p:cNvPr id="1342" name="Freeform: Shape 1341">
              <a:extLst>
                <a:ext uri="{FF2B5EF4-FFF2-40B4-BE49-F238E27FC236}">
                  <a16:creationId xmlns:a16="http://schemas.microsoft.com/office/drawing/2014/main" id="{CD3261C9-6E20-031C-7968-DDF5AC5BA741}"/>
                </a:ext>
              </a:extLst>
            </p:cNvPr>
            <p:cNvSpPr/>
            <p:nvPr/>
          </p:nvSpPr>
          <p:spPr>
            <a:xfrm>
              <a:off x="4601420" y="765781"/>
              <a:ext cx="29231" cy="18852"/>
            </a:xfrm>
            <a:custGeom>
              <a:avLst/>
              <a:gdLst>
                <a:gd name="connsiteX0" fmla="*/ 8954 w 13144"/>
                <a:gd name="connsiteY0" fmla="*/ 0 h 8477"/>
                <a:gd name="connsiteX1" fmla="*/ 7429 w 13144"/>
                <a:gd name="connsiteY1" fmla="*/ 857 h 8477"/>
                <a:gd name="connsiteX2" fmla="*/ 0 w 13144"/>
                <a:gd name="connsiteY2" fmla="*/ 5620 h 8477"/>
                <a:gd name="connsiteX3" fmla="*/ 1810 w 13144"/>
                <a:gd name="connsiteY3" fmla="*/ 8477 h 8477"/>
                <a:gd name="connsiteX4" fmla="*/ 13145 w 13144"/>
                <a:gd name="connsiteY4" fmla="*/ 3048 h 8477"/>
                <a:gd name="connsiteX5" fmla="*/ 8954 w 13144"/>
                <a:gd name="connsiteY5" fmla="*/ 95 h 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44" h="8477">
                  <a:moveTo>
                    <a:pt x="8954" y="0"/>
                  </a:moveTo>
                  <a:lnTo>
                    <a:pt x="7429" y="857"/>
                  </a:lnTo>
                  <a:lnTo>
                    <a:pt x="0" y="5620"/>
                  </a:lnTo>
                  <a:lnTo>
                    <a:pt x="1810" y="8477"/>
                  </a:lnTo>
                  <a:cubicBezTo>
                    <a:pt x="5906" y="6477"/>
                    <a:pt x="13145" y="3048"/>
                    <a:pt x="13145" y="3048"/>
                  </a:cubicBezTo>
                  <a:lnTo>
                    <a:pt x="8954" y="95"/>
                  </a:lnTo>
                  <a:close/>
                </a:path>
              </a:pathLst>
            </a:custGeom>
            <a:grpFill/>
            <a:ln w="9525" cap="flat">
              <a:noFill/>
              <a:prstDash val="solid"/>
              <a:miter/>
            </a:ln>
          </p:spPr>
          <p:txBody>
            <a:bodyPr rtlCol="0" anchor="ctr"/>
            <a:lstStyle/>
            <a:p>
              <a:endParaRPr lang="en-US" dirty="0"/>
            </a:p>
          </p:txBody>
        </p:sp>
        <p:sp>
          <p:nvSpPr>
            <p:cNvPr id="1536" name="Freeform: Shape 1535">
              <a:extLst>
                <a:ext uri="{FF2B5EF4-FFF2-40B4-BE49-F238E27FC236}">
                  <a16:creationId xmlns:a16="http://schemas.microsoft.com/office/drawing/2014/main" id="{8280B310-1088-DF8F-173B-AA8FBC0174C1}"/>
                </a:ext>
              </a:extLst>
            </p:cNvPr>
            <p:cNvSpPr/>
            <p:nvPr/>
          </p:nvSpPr>
          <p:spPr>
            <a:xfrm>
              <a:off x="4311645" y="501847"/>
              <a:ext cx="48507" cy="2964"/>
            </a:xfrm>
            <a:custGeom>
              <a:avLst/>
              <a:gdLst>
                <a:gd name="connsiteX0" fmla="*/ 21812 w 21812"/>
                <a:gd name="connsiteY0" fmla="*/ 0 h 1333"/>
                <a:gd name="connsiteX1" fmla="*/ 0 w 21812"/>
                <a:gd name="connsiteY1" fmla="*/ 1334 h 1333"/>
                <a:gd name="connsiteX2" fmla="*/ 21812 w 21812"/>
                <a:gd name="connsiteY2" fmla="*/ 0 h 1333"/>
                <a:gd name="connsiteX3" fmla="*/ 21812 w 21812"/>
                <a:gd name="connsiteY3" fmla="*/ 0 h 1333"/>
              </a:gdLst>
              <a:ahLst/>
              <a:cxnLst>
                <a:cxn ang="0">
                  <a:pos x="connsiteX0" y="connsiteY0"/>
                </a:cxn>
                <a:cxn ang="0">
                  <a:pos x="connsiteX1" y="connsiteY1"/>
                </a:cxn>
                <a:cxn ang="0">
                  <a:pos x="connsiteX2" y="connsiteY2"/>
                </a:cxn>
                <a:cxn ang="0">
                  <a:pos x="connsiteX3" y="connsiteY3"/>
                </a:cxn>
              </a:cxnLst>
              <a:rect l="l" t="t" r="r" b="b"/>
              <a:pathLst>
                <a:path w="21812" h="1333">
                  <a:moveTo>
                    <a:pt x="21812" y="0"/>
                  </a:moveTo>
                  <a:cubicBezTo>
                    <a:pt x="14288" y="0"/>
                    <a:pt x="6953" y="381"/>
                    <a:pt x="0" y="1334"/>
                  </a:cubicBezTo>
                  <a:cubicBezTo>
                    <a:pt x="6953" y="381"/>
                    <a:pt x="14288" y="0"/>
                    <a:pt x="21812" y="0"/>
                  </a:cubicBezTo>
                  <a:lnTo>
                    <a:pt x="21812" y="0"/>
                  </a:lnTo>
                  <a:close/>
                </a:path>
              </a:pathLst>
            </a:custGeom>
            <a:grpFill/>
            <a:ln w="9525" cap="flat">
              <a:noFill/>
              <a:prstDash val="solid"/>
              <a:miter/>
            </a:ln>
          </p:spPr>
          <p:txBody>
            <a:bodyPr rtlCol="0" anchor="ctr"/>
            <a:lstStyle/>
            <a:p>
              <a:endParaRPr lang="en-US" dirty="0"/>
            </a:p>
          </p:txBody>
        </p:sp>
        <p:sp>
          <p:nvSpPr>
            <p:cNvPr id="1539" name="Freeform: Shape 1538">
              <a:extLst>
                <a:ext uri="{FF2B5EF4-FFF2-40B4-BE49-F238E27FC236}">
                  <a16:creationId xmlns:a16="http://schemas.microsoft.com/office/drawing/2014/main" id="{6303ABDA-5460-F808-34B3-19E74DC91077}"/>
                </a:ext>
              </a:extLst>
            </p:cNvPr>
            <p:cNvSpPr/>
            <p:nvPr/>
          </p:nvSpPr>
          <p:spPr>
            <a:xfrm>
              <a:off x="4803714" y="768747"/>
              <a:ext cx="23511" cy="18641"/>
            </a:xfrm>
            <a:custGeom>
              <a:avLst/>
              <a:gdLst>
                <a:gd name="connsiteX0" fmla="*/ 4191 w 10572"/>
                <a:gd name="connsiteY0" fmla="*/ 95 h 8382"/>
                <a:gd name="connsiteX1" fmla="*/ 0 w 10572"/>
                <a:gd name="connsiteY1" fmla="*/ 3048 h 8382"/>
                <a:gd name="connsiteX2" fmla="*/ 7810 w 10572"/>
                <a:gd name="connsiteY2" fmla="*/ 8382 h 8382"/>
                <a:gd name="connsiteX3" fmla="*/ 10573 w 10572"/>
                <a:gd name="connsiteY3" fmla="*/ 3905 h 8382"/>
                <a:gd name="connsiteX4" fmla="*/ 5620 w 10572"/>
                <a:gd name="connsiteY4" fmla="*/ 857 h 8382"/>
                <a:gd name="connsiteX5" fmla="*/ 4096 w 10572"/>
                <a:gd name="connsiteY5" fmla="*/ 0 h 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2" h="8382">
                  <a:moveTo>
                    <a:pt x="4191" y="95"/>
                  </a:moveTo>
                  <a:lnTo>
                    <a:pt x="0" y="3048"/>
                  </a:lnTo>
                  <a:cubicBezTo>
                    <a:pt x="0" y="3048"/>
                    <a:pt x="5715" y="6953"/>
                    <a:pt x="7810" y="8382"/>
                  </a:cubicBezTo>
                  <a:lnTo>
                    <a:pt x="10573" y="3905"/>
                  </a:lnTo>
                  <a:lnTo>
                    <a:pt x="5620" y="857"/>
                  </a:lnTo>
                  <a:lnTo>
                    <a:pt x="4096" y="0"/>
                  </a:lnTo>
                  <a:close/>
                </a:path>
              </a:pathLst>
            </a:custGeom>
            <a:grpFill/>
            <a:ln w="9525" cap="flat">
              <a:noFill/>
              <a:prstDash val="solid"/>
              <a:miter/>
            </a:ln>
          </p:spPr>
          <p:txBody>
            <a:bodyPr rtlCol="0" anchor="ctr"/>
            <a:lstStyle/>
            <a:p>
              <a:endParaRPr lang="en-US" dirty="0"/>
            </a:p>
          </p:txBody>
        </p:sp>
        <p:sp>
          <p:nvSpPr>
            <p:cNvPr id="1540" name="Freeform: Shape 1539">
              <a:extLst>
                <a:ext uri="{FF2B5EF4-FFF2-40B4-BE49-F238E27FC236}">
                  <a16:creationId xmlns:a16="http://schemas.microsoft.com/office/drawing/2014/main" id="{719F9FD1-26AC-A3D9-D85F-801B6B70390D}"/>
                </a:ext>
              </a:extLst>
            </p:cNvPr>
            <p:cNvSpPr/>
            <p:nvPr/>
          </p:nvSpPr>
          <p:spPr>
            <a:xfrm>
              <a:off x="4311645" y="501634"/>
              <a:ext cx="48507" cy="2964"/>
            </a:xfrm>
            <a:custGeom>
              <a:avLst/>
              <a:gdLst>
                <a:gd name="connsiteX0" fmla="*/ 0 w 21812"/>
                <a:gd name="connsiteY0" fmla="*/ 1334 h 1333"/>
                <a:gd name="connsiteX1" fmla="*/ 21812 w 21812"/>
                <a:gd name="connsiteY1" fmla="*/ 0 h 1333"/>
                <a:gd name="connsiteX2" fmla="*/ 0 w 21812"/>
                <a:gd name="connsiteY2" fmla="*/ 1334 h 1333"/>
              </a:gdLst>
              <a:ahLst/>
              <a:cxnLst>
                <a:cxn ang="0">
                  <a:pos x="connsiteX0" y="connsiteY0"/>
                </a:cxn>
                <a:cxn ang="0">
                  <a:pos x="connsiteX1" y="connsiteY1"/>
                </a:cxn>
                <a:cxn ang="0">
                  <a:pos x="connsiteX2" y="connsiteY2"/>
                </a:cxn>
              </a:cxnLst>
              <a:rect l="l" t="t" r="r" b="b"/>
              <a:pathLst>
                <a:path w="21812" h="1333">
                  <a:moveTo>
                    <a:pt x="0" y="1334"/>
                  </a:moveTo>
                  <a:cubicBezTo>
                    <a:pt x="6953" y="381"/>
                    <a:pt x="14288" y="0"/>
                    <a:pt x="21812" y="0"/>
                  </a:cubicBezTo>
                  <a:cubicBezTo>
                    <a:pt x="14288" y="0"/>
                    <a:pt x="6953" y="381"/>
                    <a:pt x="0" y="1334"/>
                  </a:cubicBezTo>
                  <a:close/>
                </a:path>
              </a:pathLst>
            </a:custGeom>
            <a:grpFill/>
            <a:ln w="9525" cap="flat">
              <a:noFill/>
              <a:prstDash val="solid"/>
              <a:miter/>
            </a:ln>
          </p:spPr>
          <p:txBody>
            <a:bodyPr rtlCol="0" anchor="ctr"/>
            <a:lstStyle/>
            <a:p>
              <a:endParaRPr lang="en-US" dirty="0"/>
            </a:p>
          </p:txBody>
        </p:sp>
        <p:sp>
          <p:nvSpPr>
            <p:cNvPr id="1541" name="Freeform: Shape 1540">
              <a:extLst>
                <a:ext uri="{FF2B5EF4-FFF2-40B4-BE49-F238E27FC236}">
                  <a16:creationId xmlns:a16="http://schemas.microsoft.com/office/drawing/2014/main" id="{803A1E03-A4AF-171B-B5BE-46DDE174E215}"/>
                </a:ext>
              </a:extLst>
            </p:cNvPr>
            <p:cNvSpPr/>
            <p:nvPr/>
          </p:nvSpPr>
          <p:spPr>
            <a:xfrm>
              <a:off x="4318635" y="509473"/>
              <a:ext cx="48930" cy="22875"/>
            </a:xfrm>
            <a:custGeom>
              <a:avLst/>
              <a:gdLst>
                <a:gd name="connsiteX0" fmla="*/ 190 w 22002"/>
                <a:gd name="connsiteY0" fmla="*/ 0 h 10286"/>
                <a:gd name="connsiteX1" fmla="*/ 0 w 22002"/>
                <a:gd name="connsiteY1" fmla="*/ 381 h 10286"/>
                <a:gd name="connsiteX2" fmla="*/ 0 w 22002"/>
                <a:gd name="connsiteY2" fmla="*/ 381 h 10286"/>
                <a:gd name="connsiteX3" fmla="*/ 18288 w 22002"/>
                <a:gd name="connsiteY3" fmla="*/ 8573 h 10286"/>
                <a:gd name="connsiteX4" fmla="*/ 22003 w 22002"/>
                <a:gd name="connsiteY4" fmla="*/ 10287 h 10286"/>
                <a:gd name="connsiteX5" fmla="*/ 22003 w 22002"/>
                <a:gd name="connsiteY5" fmla="*/ 10287 h 10286"/>
                <a:gd name="connsiteX6" fmla="*/ 18288 w 22002"/>
                <a:gd name="connsiteY6" fmla="*/ 8573 h 10286"/>
                <a:gd name="connsiteX7" fmla="*/ 286 w 22002"/>
                <a:gd name="connsiteY7" fmla="*/ 0 h 1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 h="10286">
                  <a:moveTo>
                    <a:pt x="190" y="0"/>
                  </a:moveTo>
                  <a:cubicBezTo>
                    <a:pt x="190" y="0"/>
                    <a:pt x="95" y="286"/>
                    <a:pt x="0" y="381"/>
                  </a:cubicBezTo>
                  <a:lnTo>
                    <a:pt x="0" y="381"/>
                  </a:lnTo>
                  <a:cubicBezTo>
                    <a:pt x="4953" y="3524"/>
                    <a:pt x="11144" y="6572"/>
                    <a:pt x="18288" y="8573"/>
                  </a:cubicBezTo>
                  <a:lnTo>
                    <a:pt x="22003" y="10287"/>
                  </a:lnTo>
                  <a:lnTo>
                    <a:pt x="22003" y="10287"/>
                  </a:lnTo>
                  <a:lnTo>
                    <a:pt x="18288" y="8573"/>
                  </a:lnTo>
                  <a:lnTo>
                    <a:pt x="286" y="0"/>
                  </a:lnTo>
                  <a:close/>
                </a:path>
              </a:pathLst>
            </a:custGeom>
            <a:grpFill/>
            <a:ln w="9525" cap="flat">
              <a:noFill/>
              <a:prstDash val="solid"/>
              <a:miter/>
            </a:ln>
          </p:spPr>
          <p:txBody>
            <a:bodyPr rtlCol="0" anchor="ctr"/>
            <a:lstStyle/>
            <a:p>
              <a:endParaRPr lang="en-US" dirty="0"/>
            </a:p>
          </p:txBody>
        </p:sp>
        <p:sp>
          <p:nvSpPr>
            <p:cNvPr id="1542" name="Freeform: Shape 1541">
              <a:extLst>
                <a:ext uri="{FF2B5EF4-FFF2-40B4-BE49-F238E27FC236}">
                  <a16:creationId xmlns:a16="http://schemas.microsoft.com/office/drawing/2014/main" id="{37ECCADA-D4D1-8B66-19F9-BFE70A769AC4}"/>
                </a:ext>
              </a:extLst>
            </p:cNvPr>
            <p:cNvSpPr/>
            <p:nvPr/>
          </p:nvSpPr>
          <p:spPr>
            <a:xfrm>
              <a:off x="4450814" y="539976"/>
              <a:ext cx="2753" cy="7837"/>
            </a:xfrm>
            <a:custGeom>
              <a:avLst/>
              <a:gdLst>
                <a:gd name="connsiteX0" fmla="*/ 0 w 1238"/>
                <a:gd name="connsiteY0" fmla="*/ 0 h 3524"/>
                <a:gd name="connsiteX1" fmla="*/ 1238 w 1238"/>
                <a:gd name="connsiteY1" fmla="*/ 1715 h 3524"/>
                <a:gd name="connsiteX2" fmla="*/ 1238 w 1238"/>
                <a:gd name="connsiteY2" fmla="*/ 3524 h 3524"/>
                <a:gd name="connsiteX3" fmla="*/ 1238 w 1238"/>
                <a:gd name="connsiteY3" fmla="*/ 1715 h 3524"/>
                <a:gd name="connsiteX4" fmla="*/ 0 w 1238"/>
                <a:gd name="connsiteY4" fmla="*/ 0 h 3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 h="3524">
                  <a:moveTo>
                    <a:pt x="0" y="0"/>
                  </a:moveTo>
                  <a:cubicBezTo>
                    <a:pt x="476" y="762"/>
                    <a:pt x="953" y="1429"/>
                    <a:pt x="1238" y="1715"/>
                  </a:cubicBezTo>
                  <a:cubicBezTo>
                    <a:pt x="1238" y="2286"/>
                    <a:pt x="1238" y="2857"/>
                    <a:pt x="1238" y="3524"/>
                  </a:cubicBezTo>
                  <a:cubicBezTo>
                    <a:pt x="1238" y="2953"/>
                    <a:pt x="1238" y="2381"/>
                    <a:pt x="1238" y="1715"/>
                  </a:cubicBezTo>
                  <a:cubicBezTo>
                    <a:pt x="953" y="1429"/>
                    <a:pt x="476" y="762"/>
                    <a:pt x="0" y="0"/>
                  </a:cubicBezTo>
                  <a:close/>
                </a:path>
              </a:pathLst>
            </a:custGeom>
            <a:grpFill/>
            <a:ln w="9525" cap="flat">
              <a:noFill/>
              <a:prstDash val="solid"/>
              <a:miter/>
            </a:ln>
          </p:spPr>
          <p:txBody>
            <a:bodyPr rtlCol="0" anchor="ctr"/>
            <a:lstStyle/>
            <a:p>
              <a:endParaRPr lang="en-US" dirty="0"/>
            </a:p>
          </p:txBody>
        </p:sp>
        <p:sp>
          <p:nvSpPr>
            <p:cNvPr id="1544" name="Freeform: Shape 1543">
              <a:extLst>
                <a:ext uri="{FF2B5EF4-FFF2-40B4-BE49-F238E27FC236}">
                  <a16:creationId xmlns:a16="http://schemas.microsoft.com/office/drawing/2014/main" id="{E7AC6E72-C601-6B05-A250-FB46B95E86F9}"/>
                </a:ext>
              </a:extLst>
            </p:cNvPr>
            <p:cNvSpPr/>
            <p:nvPr/>
          </p:nvSpPr>
          <p:spPr>
            <a:xfrm>
              <a:off x="4408449" y="525147"/>
              <a:ext cx="37068" cy="6776"/>
            </a:xfrm>
            <a:custGeom>
              <a:avLst/>
              <a:gdLst>
                <a:gd name="connsiteX0" fmla="*/ 15526 w 16668"/>
                <a:gd name="connsiteY0" fmla="*/ 857 h 3047"/>
                <a:gd name="connsiteX1" fmla="*/ 16669 w 16668"/>
                <a:gd name="connsiteY1" fmla="*/ 2953 h 3047"/>
                <a:gd name="connsiteX2" fmla="*/ 15526 w 16668"/>
                <a:gd name="connsiteY2" fmla="*/ 857 h 3047"/>
                <a:gd name="connsiteX3" fmla="*/ 15050 w 16668"/>
                <a:gd name="connsiteY3" fmla="*/ 0 h 3047"/>
                <a:gd name="connsiteX4" fmla="*/ 0 w 16668"/>
                <a:gd name="connsiteY4" fmla="*/ 3048 h 3047"/>
                <a:gd name="connsiteX5" fmla="*/ 15240 w 16668"/>
                <a:gd name="connsiteY5" fmla="*/ 762 h 3047"/>
                <a:gd name="connsiteX6" fmla="*/ 15526 w 16668"/>
                <a:gd name="connsiteY6" fmla="*/ 762 h 3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68" h="3047">
                  <a:moveTo>
                    <a:pt x="15526" y="857"/>
                  </a:moveTo>
                  <a:cubicBezTo>
                    <a:pt x="15812" y="1429"/>
                    <a:pt x="16192" y="2095"/>
                    <a:pt x="16669" y="2953"/>
                  </a:cubicBezTo>
                  <a:cubicBezTo>
                    <a:pt x="16192" y="2095"/>
                    <a:pt x="15812" y="1429"/>
                    <a:pt x="15526" y="857"/>
                  </a:cubicBezTo>
                  <a:cubicBezTo>
                    <a:pt x="15240" y="381"/>
                    <a:pt x="15050" y="0"/>
                    <a:pt x="15050" y="0"/>
                  </a:cubicBezTo>
                  <a:lnTo>
                    <a:pt x="0" y="3048"/>
                  </a:lnTo>
                  <a:cubicBezTo>
                    <a:pt x="4858" y="2857"/>
                    <a:pt x="9906" y="2191"/>
                    <a:pt x="15240" y="762"/>
                  </a:cubicBezTo>
                  <a:cubicBezTo>
                    <a:pt x="15335" y="762"/>
                    <a:pt x="15431" y="762"/>
                    <a:pt x="15526" y="762"/>
                  </a:cubicBezTo>
                  <a:close/>
                </a:path>
              </a:pathLst>
            </a:custGeom>
            <a:grpFill/>
            <a:ln w="9525" cap="flat">
              <a:noFill/>
              <a:prstDash val="solid"/>
              <a:miter/>
            </a:ln>
          </p:spPr>
          <p:txBody>
            <a:bodyPr rtlCol="0" anchor="ctr"/>
            <a:lstStyle/>
            <a:p>
              <a:endParaRPr lang="en-US" dirty="0"/>
            </a:p>
          </p:txBody>
        </p:sp>
        <p:sp>
          <p:nvSpPr>
            <p:cNvPr id="1545" name="Freeform: Shape 1544">
              <a:extLst>
                <a:ext uri="{FF2B5EF4-FFF2-40B4-BE49-F238E27FC236}">
                  <a16:creationId xmlns:a16="http://schemas.microsoft.com/office/drawing/2014/main" id="{9BF18514-C5E9-B890-1616-FCE3876D97E2}"/>
                </a:ext>
              </a:extLst>
            </p:cNvPr>
            <p:cNvSpPr/>
            <p:nvPr/>
          </p:nvSpPr>
          <p:spPr>
            <a:xfrm>
              <a:off x="4601420" y="765781"/>
              <a:ext cx="29231" cy="18852"/>
            </a:xfrm>
            <a:custGeom>
              <a:avLst/>
              <a:gdLst>
                <a:gd name="connsiteX0" fmla="*/ 8954 w 13144"/>
                <a:gd name="connsiteY0" fmla="*/ 0 h 8477"/>
                <a:gd name="connsiteX1" fmla="*/ 7429 w 13144"/>
                <a:gd name="connsiteY1" fmla="*/ 857 h 8477"/>
                <a:gd name="connsiteX2" fmla="*/ 0 w 13144"/>
                <a:gd name="connsiteY2" fmla="*/ 5620 h 8477"/>
                <a:gd name="connsiteX3" fmla="*/ 1810 w 13144"/>
                <a:gd name="connsiteY3" fmla="*/ 8477 h 8477"/>
                <a:gd name="connsiteX4" fmla="*/ 13145 w 13144"/>
                <a:gd name="connsiteY4" fmla="*/ 3048 h 8477"/>
                <a:gd name="connsiteX5" fmla="*/ 8954 w 13144"/>
                <a:gd name="connsiteY5" fmla="*/ 95 h 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44" h="8477">
                  <a:moveTo>
                    <a:pt x="8954" y="0"/>
                  </a:moveTo>
                  <a:lnTo>
                    <a:pt x="7429" y="857"/>
                  </a:lnTo>
                  <a:lnTo>
                    <a:pt x="0" y="5620"/>
                  </a:lnTo>
                  <a:lnTo>
                    <a:pt x="1810" y="8477"/>
                  </a:lnTo>
                  <a:cubicBezTo>
                    <a:pt x="5906" y="6477"/>
                    <a:pt x="13145" y="3048"/>
                    <a:pt x="13145" y="3048"/>
                  </a:cubicBezTo>
                  <a:lnTo>
                    <a:pt x="8954" y="95"/>
                  </a:lnTo>
                  <a:close/>
                </a:path>
              </a:pathLst>
            </a:custGeom>
            <a:grpFill/>
            <a:ln w="9525" cap="flat">
              <a:noFill/>
              <a:prstDash val="solid"/>
              <a:miter/>
            </a:ln>
          </p:spPr>
          <p:txBody>
            <a:bodyPr rtlCol="0" anchor="ctr"/>
            <a:lstStyle/>
            <a:p>
              <a:endParaRPr lang="en-US" dirty="0"/>
            </a:p>
          </p:txBody>
        </p:sp>
        <p:sp>
          <p:nvSpPr>
            <p:cNvPr id="1546" name="Freeform: Shape 1545">
              <a:extLst>
                <a:ext uri="{FF2B5EF4-FFF2-40B4-BE49-F238E27FC236}">
                  <a16:creationId xmlns:a16="http://schemas.microsoft.com/office/drawing/2014/main" id="{DBEBE4BB-57F1-E128-DF54-4FE59D3665B5}"/>
                </a:ext>
              </a:extLst>
            </p:cNvPr>
            <p:cNvSpPr/>
            <p:nvPr/>
          </p:nvSpPr>
          <p:spPr>
            <a:xfrm>
              <a:off x="4803714" y="768747"/>
              <a:ext cx="23511" cy="18641"/>
            </a:xfrm>
            <a:custGeom>
              <a:avLst/>
              <a:gdLst>
                <a:gd name="connsiteX0" fmla="*/ 4191 w 10572"/>
                <a:gd name="connsiteY0" fmla="*/ 95 h 8382"/>
                <a:gd name="connsiteX1" fmla="*/ 0 w 10572"/>
                <a:gd name="connsiteY1" fmla="*/ 3048 h 8382"/>
                <a:gd name="connsiteX2" fmla="*/ 7810 w 10572"/>
                <a:gd name="connsiteY2" fmla="*/ 8382 h 8382"/>
                <a:gd name="connsiteX3" fmla="*/ 10573 w 10572"/>
                <a:gd name="connsiteY3" fmla="*/ 3905 h 8382"/>
                <a:gd name="connsiteX4" fmla="*/ 5620 w 10572"/>
                <a:gd name="connsiteY4" fmla="*/ 857 h 8382"/>
                <a:gd name="connsiteX5" fmla="*/ 4096 w 10572"/>
                <a:gd name="connsiteY5" fmla="*/ 0 h 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2" h="8382">
                  <a:moveTo>
                    <a:pt x="4191" y="95"/>
                  </a:moveTo>
                  <a:lnTo>
                    <a:pt x="0" y="3048"/>
                  </a:lnTo>
                  <a:cubicBezTo>
                    <a:pt x="0" y="3048"/>
                    <a:pt x="5715" y="6953"/>
                    <a:pt x="7810" y="8382"/>
                  </a:cubicBezTo>
                  <a:lnTo>
                    <a:pt x="10573" y="3905"/>
                  </a:lnTo>
                  <a:lnTo>
                    <a:pt x="5620" y="857"/>
                  </a:lnTo>
                  <a:lnTo>
                    <a:pt x="4096" y="0"/>
                  </a:lnTo>
                  <a:close/>
                </a:path>
              </a:pathLst>
            </a:custGeom>
            <a:grpFill/>
            <a:ln w="9525" cap="flat">
              <a:noFill/>
              <a:prstDash val="solid"/>
              <a:miter/>
            </a:ln>
          </p:spPr>
          <p:txBody>
            <a:bodyPr rtlCol="0" anchor="ctr"/>
            <a:lstStyle/>
            <a:p>
              <a:endParaRPr lang="en-US" dirty="0"/>
            </a:p>
          </p:txBody>
        </p:sp>
        <p:sp>
          <p:nvSpPr>
            <p:cNvPr id="1549" name="Freeform: Shape 1548">
              <a:extLst>
                <a:ext uri="{FF2B5EF4-FFF2-40B4-BE49-F238E27FC236}">
                  <a16:creationId xmlns:a16="http://schemas.microsoft.com/office/drawing/2014/main" id="{D6EC8DD5-69DD-DA0A-0A1C-2AB6E11B043A}"/>
                </a:ext>
              </a:extLst>
            </p:cNvPr>
            <p:cNvSpPr/>
            <p:nvPr/>
          </p:nvSpPr>
          <p:spPr>
            <a:xfrm>
              <a:off x="4143030" y="369243"/>
              <a:ext cx="1389997" cy="674664"/>
            </a:xfrm>
            <a:custGeom>
              <a:avLst/>
              <a:gdLst>
                <a:gd name="connsiteX0" fmla="*/ 608743 w 625030"/>
                <a:gd name="connsiteY0" fmla="*/ 238030 h 303371"/>
                <a:gd name="connsiteX1" fmla="*/ 532924 w 625030"/>
                <a:gd name="connsiteY1" fmla="*/ 195644 h 303371"/>
                <a:gd name="connsiteX2" fmla="*/ 519875 w 625030"/>
                <a:gd name="connsiteY2" fmla="*/ 188976 h 303371"/>
                <a:gd name="connsiteX3" fmla="*/ 507111 w 625030"/>
                <a:gd name="connsiteY3" fmla="*/ 180689 h 303371"/>
                <a:gd name="connsiteX4" fmla="*/ 506254 w 625030"/>
                <a:gd name="connsiteY4" fmla="*/ 180308 h 303371"/>
                <a:gd name="connsiteX5" fmla="*/ 496538 w 625030"/>
                <a:gd name="connsiteY5" fmla="*/ 167354 h 303371"/>
                <a:gd name="connsiteX6" fmla="*/ 496538 w 625030"/>
                <a:gd name="connsiteY6" fmla="*/ 152495 h 303371"/>
                <a:gd name="connsiteX7" fmla="*/ 497586 w 625030"/>
                <a:gd name="connsiteY7" fmla="*/ 151352 h 303371"/>
                <a:gd name="connsiteX8" fmla="*/ 509111 w 625030"/>
                <a:gd name="connsiteY8" fmla="*/ 128778 h 303371"/>
                <a:gd name="connsiteX9" fmla="*/ 516446 w 625030"/>
                <a:gd name="connsiteY9" fmla="*/ 120301 h 303371"/>
                <a:gd name="connsiteX10" fmla="*/ 516541 w 625030"/>
                <a:gd name="connsiteY10" fmla="*/ 119634 h 303371"/>
                <a:gd name="connsiteX11" fmla="*/ 519493 w 625030"/>
                <a:gd name="connsiteY11" fmla="*/ 105537 h 303371"/>
                <a:gd name="connsiteX12" fmla="*/ 519875 w 625030"/>
                <a:gd name="connsiteY12" fmla="*/ 103918 h 303371"/>
                <a:gd name="connsiteX13" fmla="*/ 521017 w 625030"/>
                <a:gd name="connsiteY13" fmla="*/ 95440 h 303371"/>
                <a:gd name="connsiteX14" fmla="*/ 520160 w 625030"/>
                <a:gd name="connsiteY14" fmla="*/ 89345 h 303371"/>
                <a:gd name="connsiteX15" fmla="*/ 519493 w 625030"/>
                <a:gd name="connsiteY15" fmla="*/ 89630 h 303371"/>
                <a:gd name="connsiteX16" fmla="*/ 514064 w 625030"/>
                <a:gd name="connsiteY16" fmla="*/ 91059 h 303371"/>
                <a:gd name="connsiteX17" fmla="*/ 514636 w 625030"/>
                <a:gd name="connsiteY17" fmla="*/ 95440 h 303371"/>
                <a:gd name="connsiteX18" fmla="*/ 513302 w 625030"/>
                <a:gd name="connsiteY18" fmla="*/ 104013 h 303371"/>
                <a:gd name="connsiteX19" fmla="*/ 510064 w 625030"/>
                <a:gd name="connsiteY19" fmla="*/ 119348 h 303371"/>
                <a:gd name="connsiteX20" fmla="*/ 505873 w 625030"/>
                <a:gd name="connsiteY20" fmla="*/ 122968 h 303371"/>
                <a:gd name="connsiteX21" fmla="*/ 503587 w 625030"/>
                <a:gd name="connsiteY21" fmla="*/ 123253 h 303371"/>
                <a:gd name="connsiteX22" fmla="*/ 503206 w 625030"/>
                <a:gd name="connsiteY22" fmla="*/ 125539 h 303371"/>
                <a:gd name="connsiteX23" fmla="*/ 496062 w 625030"/>
                <a:gd name="connsiteY23" fmla="*/ 142875 h 303371"/>
                <a:gd name="connsiteX24" fmla="*/ 492824 w 625030"/>
                <a:gd name="connsiteY24" fmla="*/ 147066 h 303371"/>
                <a:gd name="connsiteX25" fmla="*/ 490633 w 625030"/>
                <a:gd name="connsiteY25" fmla="*/ 149543 h 303371"/>
                <a:gd name="connsiteX26" fmla="*/ 485870 w 625030"/>
                <a:gd name="connsiteY26" fmla="*/ 152495 h 303371"/>
                <a:gd name="connsiteX27" fmla="*/ 478155 w 625030"/>
                <a:gd name="connsiteY27" fmla="*/ 157258 h 303371"/>
                <a:gd name="connsiteX28" fmla="*/ 471678 w 625030"/>
                <a:gd name="connsiteY28" fmla="*/ 161258 h 303371"/>
                <a:gd name="connsiteX29" fmla="*/ 469011 w 625030"/>
                <a:gd name="connsiteY29" fmla="*/ 162116 h 303371"/>
                <a:gd name="connsiteX30" fmla="*/ 448818 w 625030"/>
                <a:gd name="connsiteY30" fmla="*/ 161830 h 303371"/>
                <a:gd name="connsiteX31" fmla="*/ 445008 w 625030"/>
                <a:gd name="connsiteY31" fmla="*/ 159734 h 303371"/>
                <a:gd name="connsiteX32" fmla="*/ 425482 w 625030"/>
                <a:gd name="connsiteY32" fmla="*/ 149066 h 303371"/>
                <a:gd name="connsiteX33" fmla="*/ 425196 w 625030"/>
                <a:gd name="connsiteY33" fmla="*/ 149066 h 303371"/>
                <a:gd name="connsiteX34" fmla="*/ 423482 w 625030"/>
                <a:gd name="connsiteY34" fmla="*/ 147066 h 303371"/>
                <a:gd name="connsiteX35" fmla="*/ 422243 w 625030"/>
                <a:gd name="connsiteY35" fmla="*/ 145447 h 303371"/>
                <a:gd name="connsiteX36" fmla="*/ 413671 w 625030"/>
                <a:gd name="connsiteY36" fmla="*/ 127826 h 303371"/>
                <a:gd name="connsiteX37" fmla="*/ 413671 w 625030"/>
                <a:gd name="connsiteY37" fmla="*/ 127540 h 303371"/>
                <a:gd name="connsiteX38" fmla="*/ 413194 w 625030"/>
                <a:gd name="connsiteY38" fmla="*/ 125539 h 303371"/>
                <a:gd name="connsiteX39" fmla="*/ 413004 w 625030"/>
                <a:gd name="connsiteY39" fmla="*/ 124587 h 303371"/>
                <a:gd name="connsiteX40" fmla="*/ 412814 w 625030"/>
                <a:gd name="connsiteY40" fmla="*/ 123253 h 303371"/>
                <a:gd name="connsiteX41" fmla="*/ 411290 w 625030"/>
                <a:gd name="connsiteY41" fmla="*/ 123063 h 303371"/>
                <a:gd name="connsiteX42" fmla="*/ 410527 w 625030"/>
                <a:gd name="connsiteY42" fmla="*/ 123063 h 303371"/>
                <a:gd name="connsiteX43" fmla="*/ 410527 w 625030"/>
                <a:gd name="connsiteY43" fmla="*/ 122968 h 303371"/>
                <a:gd name="connsiteX44" fmla="*/ 410527 w 625030"/>
                <a:gd name="connsiteY44" fmla="*/ 122968 h 303371"/>
                <a:gd name="connsiteX45" fmla="*/ 408051 w 625030"/>
                <a:gd name="connsiteY45" fmla="*/ 122015 h 303371"/>
                <a:gd name="connsiteX46" fmla="*/ 407384 w 625030"/>
                <a:gd name="connsiteY46" fmla="*/ 121349 h 303371"/>
                <a:gd name="connsiteX47" fmla="*/ 406432 w 625030"/>
                <a:gd name="connsiteY47" fmla="*/ 119348 h 303371"/>
                <a:gd name="connsiteX48" fmla="*/ 405765 w 625030"/>
                <a:gd name="connsiteY48" fmla="*/ 115634 h 303371"/>
                <a:gd name="connsiteX49" fmla="*/ 403193 w 625030"/>
                <a:gd name="connsiteY49" fmla="*/ 104013 h 303371"/>
                <a:gd name="connsiteX50" fmla="*/ 401860 w 625030"/>
                <a:gd name="connsiteY50" fmla="*/ 95440 h 303371"/>
                <a:gd name="connsiteX51" fmla="*/ 403574 w 625030"/>
                <a:gd name="connsiteY51" fmla="*/ 89726 h 303371"/>
                <a:gd name="connsiteX52" fmla="*/ 399669 w 625030"/>
                <a:gd name="connsiteY52" fmla="*/ 86487 h 303371"/>
                <a:gd name="connsiteX53" fmla="*/ 398717 w 625030"/>
                <a:gd name="connsiteY53" fmla="*/ 85249 h 303371"/>
                <a:gd name="connsiteX54" fmla="*/ 395383 w 625030"/>
                <a:gd name="connsiteY54" fmla="*/ 95440 h 303371"/>
                <a:gd name="connsiteX55" fmla="*/ 396907 w 625030"/>
                <a:gd name="connsiteY55" fmla="*/ 105632 h 303371"/>
                <a:gd name="connsiteX56" fmla="*/ 399955 w 625030"/>
                <a:gd name="connsiteY56" fmla="*/ 120396 h 303371"/>
                <a:gd name="connsiteX57" fmla="*/ 401098 w 625030"/>
                <a:gd name="connsiteY57" fmla="*/ 123825 h 303371"/>
                <a:gd name="connsiteX58" fmla="*/ 407289 w 625030"/>
                <a:gd name="connsiteY58" fmla="*/ 128873 h 303371"/>
                <a:gd name="connsiteX59" fmla="*/ 418814 w 625030"/>
                <a:gd name="connsiteY59" fmla="*/ 151448 h 303371"/>
                <a:gd name="connsiteX60" fmla="*/ 419862 w 625030"/>
                <a:gd name="connsiteY60" fmla="*/ 152591 h 303371"/>
                <a:gd name="connsiteX61" fmla="*/ 419862 w 625030"/>
                <a:gd name="connsiteY61" fmla="*/ 167450 h 303371"/>
                <a:gd name="connsiteX62" fmla="*/ 410147 w 625030"/>
                <a:gd name="connsiteY62" fmla="*/ 180404 h 303371"/>
                <a:gd name="connsiteX63" fmla="*/ 396240 w 625030"/>
                <a:gd name="connsiteY63" fmla="*/ 189262 h 303371"/>
                <a:gd name="connsiteX64" fmla="*/ 365760 w 625030"/>
                <a:gd name="connsiteY64" fmla="*/ 204788 h 303371"/>
                <a:gd name="connsiteX65" fmla="*/ 357664 w 625030"/>
                <a:gd name="connsiteY65" fmla="*/ 209169 h 303371"/>
                <a:gd name="connsiteX66" fmla="*/ 308896 w 625030"/>
                <a:gd name="connsiteY66" fmla="*/ 183833 h 303371"/>
                <a:gd name="connsiteX67" fmla="*/ 308515 w 625030"/>
                <a:gd name="connsiteY67" fmla="*/ 183642 h 303371"/>
                <a:gd name="connsiteX68" fmla="*/ 302800 w 625030"/>
                <a:gd name="connsiteY68" fmla="*/ 178880 h 303371"/>
                <a:gd name="connsiteX69" fmla="*/ 299371 w 625030"/>
                <a:gd name="connsiteY69" fmla="*/ 169450 h 303371"/>
                <a:gd name="connsiteX70" fmla="*/ 299371 w 625030"/>
                <a:gd name="connsiteY70" fmla="*/ 152972 h 303371"/>
                <a:gd name="connsiteX71" fmla="*/ 299847 w 625030"/>
                <a:gd name="connsiteY71" fmla="*/ 152210 h 303371"/>
                <a:gd name="connsiteX72" fmla="*/ 300800 w 625030"/>
                <a:gd name="connsiteY72" fmla="*/ 151162 h 303371"/>
                <a:gd name="connsiteX73" fmla="*/ 313373 w 625030"/>
                <a:gd name="connsiteY73" fmla="*/ 126206 h 303371"/>
                <a:gd name="connsiteX74" fmla="*/ 321278 w 625030"/>
                <a:gd name="connsiteY74" fmla="*/ 117443 h 303371"/>
                <a:gd name="connsiteX75" fmla="*/ 324707 w 625030"/>
                <a:gd name="connsiteY75" fmla="*/ 101060 h 303371"/>
                <a:gd name="connsiteX76" fmla="*/ 326326 w 625030"/>
                <a:gd name="connsiteY76" fmla="*/ 90107 h 303371"/>
                <a:gd name="connsiteX77" fmla="*/ 321659 w 625030"/>
                <a:gd name="connsiteY77" fmla="*/ 78486 h 303371"/>
                <a:gd name="connsiteX78" fmla="*/ 321659 w 625030"/>
                <a:gd name="connsiteY78" fmla="*/ 78486 h 303371"/>
                <a:gd name="connsiteX79" fmla="*/ 320897 w 625030"/>
                <a:gd name="connsiteY79" fmla="*/ 78105 h 303371"/>
                <a:gd name="connsiteX80" fmla="*/ 321659 w 625030"/>
                <a:gd name="connsiteY80" fmla="*/ 70390 h 303371"/>
                <a:gd name="connsiteX81" fmla="*/ 321659 w 625030"/>
                <a:gd name="connsiteY81" fmla="*/ 66389 h 303371"/>
                <a:gd name="connsiteX82" fmla="*/ 318611 w 625030"/>
                <a:gd name="connsiteY82" fmla="*/ 68866 h 303371"/>
                <a:gd name="connsiteX83" fmla="*/ 318611 w 625030"/>
                <a:gd name="connsiteY83" fmla="*/ 70295 h 303371"/>
                <a:gd name="connsiteX84" fmla="*/ 317659 w 625030"/>
                <a:gd name="connsiteY84" fmla="*/ 78867 h 303371"/>
                <a:gd name="connsiteX85" fmla="*/ 317373 w 625030"/>
                <a:gd name="connsiteY85" fmla="*/ 80391 h 303371"/>
                <a:gd name="connsiteX86" fmla="*/ 318897 w 625030"/>
                <a:gd name="connsiteY86" fmla="*/ 80677 h 303371"/>
                <a:gd name="connsiteX87" fmla="*/ 320135 w 625030"/>
                <a:gd name="connsiteY87" fmla="*/ 81153 h 303371"/>
                <a:gd name="connsiteX88" fmla="*/ 323183 w 625030"/>
                <a:gd name="connsiteY88" fmla="*/ 90202 h 303371"/>
                <a:gd name="connsiteX89" fmla="*/ 321659 w 625030"/>
                <a:gd name="connsiteY89" fmla="*/ 100489 h 303371"/>
                <a:gd name="connsiteX90" fmla="*/ 318230 w 625030"/>
                <a:gd name="connsiteY90" fmla="*/ 117062 h 303371"/>
                <a:gd name="connsiteX91" fmla="*/ 311658 w 625030"/>
                <a:gd name="connsiteY91" fmla="*/ 123539 h 303371"/>
                <a:gd name="connsiteX92" fmla="*/ 310610 w 625030"/>
                <a:gd name="connsiteY92" fmla="*/ 123730 h 303371"/>
                <a:gd name="connsiteX93" fmla="*/ 310420 w 625030"/>
                <a:gd name="connsiteY93" fmla="*/ 124777 h 303371"/>
                <a:gd name="connsiteX94" fmla="*/ 298418 w 625030"/>
                <a:gd name="connsiteY94" fmla="*/ 149257 h 303371"/>
                <a:gd name="connsiteX95" fmla="*/ 297371 w 625030"/>
                <a:gd name="connsiteY95" fmla="*/ 150495 h 303371"/>
                <a:gd name="connsiteX96" fmla="*/ 297085 w 625030"/>
                <a:gd name="connsiteY96" fmla="*/ 150971 h 303371"/>
                <a:gd name="connsiteX97" fmla="*/ 296799 w 625030"/>
                <a:gd name="connsiteY97" fmla="*/ 151352 h 303371"/>
                <a:gd name="connsiteX98" fmla="*/ 296323 w 625030"/>
                <a:gd name="connsiteY98" fmla="*/ 151829 h 303371"/>
                <a:gd name="connsiteX99" fmla="*/ 296323 w 625030"/>
                <a:gd name="connsiteY99" fmla="*/ 169545 h 303371"/>
                <a:gd name="connsiteX100" fmla="*/ 299466 w 625030"/>
                <a:gd name="connsiteY100" fmla="*/ 179546 h 303371"/>
                <a:gd name="connsiteX101" fmla="*/ 297751 w 625030"/>
                <a:gd name="connsiteY101" fmla="*/ 180785 h 303371"/>
                <a:gd name="connsiteX102" fmla="*/ 294227 w 625030"/>
                <a:gd name="connsiteY102" fmla="*/ 169545 h 303371"/>
                <a:gd name="connsiteX103" fmla="*/ 294227 w 625030"/>
                <a:gd name="connsiteY103" fmla="*/ 152972 h 303371"/>
                <a:gd name="connsiteX104" fmla="*/ 274320 w 625030"/>
                <a:gd name="connsiteY104" fmla="*/ 165259 h 303371"/>
                <a:gd name="connsiteX105" fmla="*/ 245459 w 625030"/>
                <a:gd name="connsiteY105" fmla="*/ 165830 h 303371"/>
                <a:gd name="connsiteX106" fmla="*/ 221456 w 625030"/>
                <a:gd name="connsiteY106" fmla="*/ 152781 h 303371"/>
                <a:gd name="connsiteX107" fmla="*/ 221456 w 625030"/>
                <a:gd name="connsiteY107" fmla="*/ 169545 h 303371"/>
                <a:gd name="connsiteX108" fmla="*/ 218980 w 625030"/>
                <a:gd name="connsiteY108" fmla="*/ 179261 h 303371"/>
                <a:gd name="connsiteX109" fmla="*/ 217360 w 625030"/>
                <a:gd name="connsiteY109" fmla="*/ 178118 h 303371"/>
                <a:gd name="connsiteX110" fmla="*/ 219456 w 625030"/>
                <a:gd name="connsiteY110" fmla="*/ 169545 h 303371"/>
                <a:gd name="connsiteX111" fmla="*/ 219456 w 625030"/>
                <a:gd name="connsiteY111" fmla="*/ 151733 h 303371"/>
                <a:gd name="connsiteX112" fmla="*/ 218980 w 625030"/>
                <a:gd name="connsiteY112" fmla="*/ 151257 h 303371"/>
                <a:gd name="connsiteX113" fmla="*/ 218694 w 625030"/>
                <a:gd name="connsiteY113" fmla="*/ 150876 h 303371"/>
                <a:gd name="connsiteX114" fmla="*/ 217360 w 625030"/>
                <a:gd name="connsiteY114" fmla="*/ 149162 h 303371"/>
                <a:gd name="connsiteX115" fmla="*/ 205359 w 625030"/>
                <a:gd name="connsiteY115" fmla="*/ 124682 h 303371"/>
                <a:gd name="connsiteX116" fmla="*/ 205169 w 625030"/>
                <a:gd name="connsiteY116" fmla="*/ 123635 h 303371"/>
                <a:gd name="connsiteX117" fmla="*/ 204121 w 625030"/>
                <a:gd name="connsiteY117" fmla="*/ 123444 h 303371"/>
                <a:gd name="connsiteX118" fmla="*/ 197549 w 625030"/>
                <a:gd name="connsiteY118" fmla="*/ 116967 h 303371"/>
                <a:gd name="connsiteX119" fmla="*/ 194120 w 625030"/>
                <a:gd name="connsiteY119" fmla="*/ 100298 h 303371"/>
                <a:gd name="connsiteX120" fmla="*/ 192596 w 625030"/>
                <a:gd name="connsiteY120" fmla="*/ 90107 h 303371"/>
                <a:gd name="connsiteX121" fmla="*/ 195644 w 625030"/>
                <a:gd name="connsiteY121" fmla="*/ 81058 h 303371"/>
                <a:gd name="connsiteX122" fmla="*/ 196882 w 625030"/>
                <a:gd name="connsiteY122" fmla="*/ 80582 h 303371"/>
                <a:gd name="connsiteX123" fmla="*/ 198406 w 625030"/>
                <a:gd name="connsiteY123" fmla="*/ 80296 h 303371"/>
                <a:gd name="connsiteX124" fmla="*/ 198120 w 625030"/>
                <a:gd name="connsiteY124" fmla="*/ 78772 h 303371"/>
                <a:gd name="connsiteX125" fmla="*/ 197167 w 625030"/>
                <a:gd name="connsiteY125" fmla="*/ 70199 h 303371"/>
                <a:gd name="connsiteX126" fmla="*/ 197167 w 625030"/>
                <a:gd name="connsiteY126" fmla="*/ 68866 h 303371"/>
                <a:gd name="connsiteX127" fmla="*/ 194120 w 625030"/>
                <a:gd name="connsiteY127" fmla="*/ 66485 h 303371"/>
                <a:gd name="connsiteX128" fmla="*/ 194120 w 625030"/>
                <a:gd name="connsiteY128" fmla="*/ 70295 h 303371"/>
                <a:gd name="connsiteX129" fmla="*/ 194882 w 625030"/>
                <a:gd name="connsiteY129" fmla="*/ 78010 h 303371"/>
                <a:gd name="connsiteX130" fmla="*/ 194120 w 625030"/>
                <a:gd name="connsiteY130" fmla="*/ 78391 h 303371"/>
                <a:gd name="connsiteX131" fmla="*/ 189452 w 625030"/>
                <a:gd name="connsiteY131" fmla="*/ 90011 h 303371"/>
                <a:gd name="connsiteX132" fmla="*/ 191071 w 625030"/>
                <a:gd name="connsiteY132" fmla="*/ 100965 h 303371"/>
                <a:gd name="connsiteX133" fmla="*/ 194500 w 625030"/>
                <a:gd name="connsiteY133" fmla="*/ 117348 h 303371"/>
                <a:gd name="connsiteX134" fmla="*/ 202502 w 625030"/>
                <a:gd name="connsiteY134" fmla="*/ 126111 h 303371"/>
                <a:gd name="connsiteX135" fmla="*/ 215075 w 625030"/>
                <a:gd name="connsiteY135" fmla="*/ 151067 h 303371"/>
                <a:gd name="connsiteX136" fmla="*/ 215932 w 625030"/>
                <a:gd name="connsiteY136" fmla="*/ 152019 h 303371"/>
                <a:gd name="connsiteX137" fmla="*/ 216503 w 625030"/>
                <a:gd name="connsiteY137" fmla="*/ 152876 h 303371"/>
                <a:gd name="connsiteX138" fmla="*/ 216503 w 625030"/>
                <a:gd name="connsiteY138" fmla="*/ 169355 h 303371"/>
                <a:gd name="connsiteX139" fmla="*/ 214122 w 625030"/>
                <a:gd name="connsiteY139" fmla="*/ 177546 h 303371"/>
                <a:gd name="connsiteX140" fmla="*/ 206216 w 625030"/>
                <a:gd name="connsiteY140" fmla="*/ 183547 h 303371"/>
                <a:gd name="connsiteX141" fmla="*/ 206216 w 625030"/>
                <a:gd name="connsiteY141" fmla="*/ 183547 h 303371"/>
                <a:gd name="connsiteX142" fmla="*/ 179832 w 625030"/>
                <a:gd name="connsiteY142" fmla="*/ 197168 h 303371"/>
                <a:gd name="connsiteX143" fmla="*/ 164973 w 625030"/>
                <a:gd name="connsiteY143" fmla="*/ 189643 h 303371"/>
                <a:gd name="connsiteX144" fmla="*/ 159544 w 625030"/>
                <a:gd name="connsiteY144" fmla="*/ 186881 h 303371"/>
                <a:gd name="connsiteX145" fmla="*/ 159544 w 625030"/>
                <a:gd name="connsiteY145" fmla="*/ 186881 h 303371"/>
                <a:gd name="connsiteX146" fmla="*/ 154210 w 625030"/>
                <a:gd name="connsiteY146" fmla="*/ 183452 h 303371"/>
                <a:gd name="connsiteX147" fmla="*/ 146780 w 625030"/>
                <a:gd name="connsiteY147" fmla="*/ 178689 h 303371"/>
                <a:gd name="connsiteX148" fmla="*/ 145923 w 625030"/>
                <a:gd name="connsiteY148" fmla="*/ 178308 h 303371"/>
                <a:gd name="connsiteX149" fmla="*/ 143161 w 625030"/>
                <a:gd name="connsiteY149" fmla="*/ 177165 h 303371"/>
                <a:gd name="connsiteX150" fmla="*/ 140208 w 625030"/>
                <a:gd name="connsiteY150" fmla="*/ 174974 h 303371"/>
                <a:gd name="connsiteX151" fmla="*/ 136208 w 625030"/>
                <a:gd name="connsiteY151" fmla="*/ 165354 h 303371"/>
                <a:gd name="connsiteX152" fmla="*/ 136208 w 625030"/>
                <a:gd name="connsiteY152" fmla="*/ 157353 h 303371"/>
                <a:gd name="connsiteX153" fmla="*/ 166592 w 625030"/>
                <a:gd name="connsiteY153" fmla="*/ 130016 h 303371"/>
                <a:gd name="connsiteX154" fmla="*/ 162306 w 625030"/>
                <a:gd name="connsiteY154" fmla="*/ 60865 h 303371"/>
                <a:gd name="connsiteX155" fmla="*/ 162496 w 625030"/>
                <a:gd name="connsiteY155" fmla="*/ 61151 h 303371"/>
                <a:gd name="connsiteX156" fmla="*/ 150686 w 625030"/>
                <a:gd name="connsiteY156" fmla="*/ 26194 h 303371"/>
                <a:gd name="connsiteX157" fmla="*/ 150209 w 625030"/>
                <a:gd name="connsiteY157" fmla="*/ 25527 h 303371"/>
                <a:gd name="connsiteX158" fmla="*/ 149638 w 625030"/>
                <a:gd name="connsiteY158" fmla="*/ 24765 h 303371"/>
                <a:gd name="connsiteX159" fmla="*/ 148495 w 625030"/>
                <a:gd name="connsiteY159" fmla="*/ 23241 h 303371"/>
                <a:gd name="connsiteX160" fmla="*/ 146399 w 625030"/>
                <a:gd name="connsiteY160" fmla="*/ 20669 h 303371"/>
                <a:gd name="connsiteX161" fmla="*/ 145352 w 625030"/>
                <a:gd name="connsiteY161" fmla="*/ 19526 h 303371"/>
                <a:gd name="connsiteX162" fmla="*/ 144304 w 625030"/>
                <a:gd name="connsiteY162" fmla="*/ 18383 h 303371"/>
                <a:gd name="connsiteX163" fmla="*/ 142875 w 625030"/>
                <a:gd name="connsiteY163" fmla="*/ 16859 h 303371"/>
                <a:gd name="connsiteX164" fmla="*/ 142304 w 625030"/>
                <a:gd name="connsiteY164" fmla="*/ 16288 h 303371"/>
                <a:gd name="connsiteX165" fmla="*/ 116396 w 625030"/>
                <a:gd name="connsiteY165" fmla="*/ 1619 h 303371"/>
                <a:gd name="connsiteX166" fmla="*/ 116396 w 625030"/>
                <a:gd name="connsiteY166" fmla="*/ 1619 h 303371"/>
                <a:gd name="connsiteX167" fmla="*/ 116015 w 625030"/>
                <a:gd name="connsiteY167" fmla="*/ 1619 h 303371"/>
                <a:gd name="connsiteX168" fmla="*/ 115157 w 625030"/>
                <a:gd name="connsiteY168" fmla="*/ 1429 h 303371"/>
                <a:gd name="connsiteX169" fmla="*/ 114109 w 625030"/>
                <a:gd name="connsiteY169" fmla="*/ 1143 h 303371"/>
                <a:gd name="connsiteX170" fmla="*/ 113252 w 625030"/>
                <a:gd name="connsiteY170" fmla="*/ 953 h 303371"/>
                <a:gd name="connsiteX171" fmla="*/ 112204 w 625030"/>
                <a:gd name="connsiteY171" fmla="*/ 762 h 303371"/>
                <a:gd name="connsiteX172" fmla="*/ 111728 w 625030"/>
                <a:gd name="connsiteY172" fmla="*/ 762 h 303371"/>
                <a:gd name="connsiteX173" fmla="*/ 111728 w 625030"/>
                <a:gd name="connsiteY173" fmla="*/ 762 h 303371"/>
                <a:gd name="connsiteX174" fmla="*/ 99822 w 625030"/>
                <a:gd name="connsiteY174" fmla="*/ 190 h 303371"/>
                <a:gd name="connsiteX175" fmla="*/ 99441 w 625030"/>
                <a:gd name="connsiteY175" fmla="*/ 190 h 303371"/>
                <a:gd name="connsiteX176" fmla="*/ 99441 w 625030"/>
                <a:gd name="connsiteY176" fmla="*/ 190 h 303371"/>
                <a:gd name="connsiteX177" fmla="*/ 99155 w 625030"/>
                <a:gd name="connsiteY177" fmla="*/ 190 h 303371"/>
                <a:gd name="connsiteX178" fmla="*/ 99155 w 625030"/>
                <a:gd name="connsiteY178" fmla="*/ 190 h 303371"/>
                <a:gd name="connsiteX179" fmla="*/ 98108 w 625030"/>
                <a:gd name="connsiteY179" fmla="*/ 95 h 303371"/>
                <a:gd name="connsiteX180" fmla="*/ 97917 w 625030"/>
                <a:gd name="connsiteY180" fmla="*/ 95 h 303371"/>
                <a:gd name="connsiteX181" fmla="*/ 97631 w 625030"/>
                <a:gd name="connsiteY181" fmla="*/ 95 h 303371"/>
                <a:gd name="connsiteX182" fmla="*/ 97155 w 625030"/>
                <a:gd name="connsiteY182" fmla="*/ 95 h 303371"/>
                <a:gd name="connsiteX183" fmla="*/ 97060 w 625030"/>
                <a:gd name="connsiteY183" fmla="*/ 95 h 303371"/>
                <a:gd name="connsiteX184" fmla="*/ 94679 w 625030"/>
                <a:gd name="connsiteY184" fmla="*/ 0 h 303371"/>
                <a:gd name="connsiteX185" fmla="*/ 94679 w 625030"/>
                <a:gd name="connsiteY185" fmla="*/ 0 h 303371"/>
                <a:gd name="connsiteX186" fmla="*/ 84296 w 625030"/>
                <a:gd name="connsiteY186" fmla="*/ 857 h 303371"/>
                <a:gd name="connsiteX187" fmla="*/ 84296 w 625030"/>
                <a:gd name="connsiteY187" fmla="*/ 857 h 303371"/>
                <a:gd name="connsiteX188" fmla="*/ 62770 w 625030"/>
                <a:gd name="connsiteY188" fmla="*/ 9144 h 303371"/>
                <a:gd name="connsiteX189" fmla="*/ 62198 w 625030"/>
                <a:gd name="connsiteY189" fmla="*/ 9525 h 303371"/>
                <a:gd name="connsiteX190" fmla="*/ 61055 w 625030"/>
                <a:gd name="connsiteY190" fmla="*/ 10287 h 303371"/>
                <a:gd name="connsiteX191" fmla="*/ 59627 w 625030"/>
                <a:gd name="connsiteY191" fmla="*/ 11335 h 303371"/>
                <a:gd name="connsiteX192" fmla="*/ 59055 w 625030"/>
                <a:gd name="connsiteY192" fmla="*/ 11811 h 303371"/>
                <a:gd name="connsiteX193" fmla="*/ 57055 w 625030"/>
                <a:gd name="connsiteY193" fmla="*/ 13430 h 303371"/>
                <a:gd name="connsiteX194" fmla="*/ 56864 w 625030"/>
                <a:gd name="connsiteY194" fmla="*/ 13621 h 303371"/>
                <a:gd name="connsiteX195" fmla="*/ 47530 w 625030"/>
                <a:gd name="connsiteY195" fmla="*/ 23527 h 303371"/>
                <a:gd name="connsiteX196" fmla="*/ 46577 w 625030"/>
                <a:gd name="connsiteY196" fmla="*/ 24860 h 303371"/>
                <a:gd name="connsiteX197" fmla="*/ 33814 w 625030"/>
                <a:gd name="connsiteY197" fmla="*/ 61436 h 303371"/>
                <a:gd name="connsiteX198" fmla="*/ 33814 w 625030"/>
                <a:gd name="connsiteY198" fmla="*/ 61913 h 303371"/>
                <a:gd name="connsiteX199" fmla="*/ 29623 w 625030"/>
                <a:gd name="connsiteY199" fmla="*/ 130302 h 303371"/>
                <a:gd name="connsiteX200" fmla="*/ 59436 w 625030"/>
                <a:gd name="connsiteY200" fmla="*/ 157544 h 303371"/>
                <a:gd name="connsiteX201" fmla="*/ 59436 w 625030"/>
                <a:gd name="connsiteY201" fmla="*/ 165735 h 303371"/>
                <a:gd name="connsiteX202" fmla="*/ 49721 w 625030"/>
                <a:gd name="connsiteY202" fmla="*/ 178689 h 303371"/>
                <a:gd name="connsiteX203" fmla="*/ 35814 w 625030"/>
                <a:gd name="connsiteY203" fmla="*/ 187547 h 303371"/>
                <a:gd name="connsiteX204" fmla="*/ 12859 w 625030"/>
                <a:gd name="connsiteY204" fmla="*/ 199168 h 303371"/>
                <a:gd name="connsiteX205" fmla="*/ 0 w 625030"/>
                <a:gd name="connsiteY205" fmla="*/ 205740 h 303371"/>
                <a:gd name="connsiteX206" fmla="*/ 191 w 625030"/>
                <a:gd name="connsiteY206" fmla="*/ 207550 h 303371"/>
                <a:gd name="connsiteX207" fmla="*/ 9811 w 625030"/>
                <a:gd name="connsiteY207" fmla="*/ 296609 h 303371"/>
                <a:gd name="connsiteX208" fmla="*/ 10573 w 625030"/>
                <a:gd name="connsiteY208" fmla="*/ 303371 h 303371"/>
                <a:gd name="connsiteX209" fmla="*/ 625031 w 625030"/>
                <a:gd name="connsiteY209" fmla="*/ 303371 h 303371"/>
                <a:gd name="connsiteX210" fmla="*/ 625031 w 625030"/>
                <a:gd name="connsiteY210" fmla="*/ 279749 h 303371"/>
                <a:gd name="connsiteX211" fmla="*/ 609219 w 625030"/>
                <a:gd name="connsiteY211" fmla="*/ 238506 h 303371"/>
                <a:gd name="connsiteX212" fmla="*/ 139637 w 625030"/>
                <a:gd name="connsiteY212" fmla="*/ 78486 h 303371"/>
                <a:gd name="connsiteX213" fmla="*/ 139637 w 625030"/>
                <a:gd name="connsiteY213" fmla="*/ 80296 h 303371"/>
                <a:gd name="connsiteX214" fmla="*/ 139637 w 625030"/>
                <a:gd name="connsiteY214" fmla="*/ 82106 h 303371"/>
                <a:gd name="connsiteX215" fmla="*/ 144685 w 625030"/>
                <a:gd name="connsiteY215" fmla="*/ 82487 h 303371"/>
                <a:gd name="connsiteX216" fmla="*/ 146018 w 625030"/>
                <a:gd name="connsiteY216" fmla="*/ 85915 h 303371"/>
                <a:gd name="connsiteX217" fmla="*/ 141732 w 625030"/>
                <a:gd name="connsiteY217" fmla="*/ 93631 h 303371"/>
                <a:gd name="connsiteX218" fmla="*/ 139065 w 625030"/>
                <a:gd name="connsiteY218" fmla="*/ 100584 h 303371"/>
                <a:gd name="connsiteX219" fmla="*/ 134874 w 625030"/>
                <a:gd name="connsiteY219" fmla="*/ 141161 h 303371"/>
                <a:gd name="connsiteX220" fmla="*/ 132017 w 625030"/>
                <a:gd name="connsiteY220" fmla="*/ 144875 h 303371"/>
                <a:gd name="connsiteX221" fmla="*/ 129826 w 625030"/>
                <a:gd name="connsiteY221" fmla="*/ 147352 h 303371"/>
                <a:gd name="connsiteX222" fmla="*/ 130397 w 625030"/>
                <a:gd name="connsiteY222" fmla="*/ 146971 h 303371"/>
                <a:gd name="connsiteX223" fmla="*/ 132017 w 625030"/>
                <a:gd name="connsiteY223" fmla="*/ 146685 h 303371"/>
                <a:gd name="connsiteX224" fmla="*/ 133350 w 625030"/>
                <a:gd name="connsiteY224" fmla="*/ 147638 h 303371"/>
                <a:gd name="connsiteX225" fmla="*/ 133636 w 625030"/>
                <a:gd name="connsiteY225" fmla="*/ 149257 h 303371"/>
                <a:gd name="connsiteX226" fmla="*/ 132683 w 625030"/>
                <a:gd name="connsiteY226" fmla="*/ 150590 h 303371"/>
                <a:gd name="connsiteX227" fmla="*/ 129445 w 625030"/>
                <a:gd name="connsiteY227" fmla="*/ 152591 h 303371"/>
                <a:gd name="connsiteX228" fmla="*/ 129445 w 625030"/>
                <a:gd name="connsiteY228" fmla="*/ 165259 h 303371"/>
                <a:gd name="connsiteX229" fmla="*/ 143351 w 625030"/>
                <a:gd name="connsiteY229" fmla="*/ 184214 h 303371"/>
                <a:gd name="connsiteX230" fmla="*/ 154686 w 625030"/>
                <a:gd name="connsiteY230" fmla="*/ 191548 h 303371"/>
                <a:gd name="connsiteX231" fmla="*/ 135922 w 625030"/>
                <a:gd name="connsiteY231" fmla="*/ 241840 h 303371"/>
                <a:gd name="connsiteX232" fmla="*/ 97536 w 625030"/>
                <a:gd name="connsiteY232" fmla="*/ 261938 h 303371"/>
                <a:gd name="connsiteX233" fmla="*/ 59150 w 625030"/>
                <a:gd name="connsiteY233" fmla="*/ 241840 h 303371"/>
                <a:gd name="connsiteX234" fmla="*/ 40386 w 625030"/>
                <a:gd name="connsiteY234" fmla="*/ 191453 h 303371"/>
                <a:gd name="connsiteX235" fmla="*/ 51625 w 625030"/>
                <a:gd name="connsiteY235" fmla="*/ 184214 h 303371"/>
                <a:gd name="connsiteX236" fmla="*/ 65532 w 625030"/>
                <a:gd name="connsiteY236" fmla="*/ 165259 h 303371"/>
                <a:gd name="connsiteX237" fmla="*/ 65532 w 625030"/>
                <a:gd name="connsiteY237" fmla="*/ 152114 h 303371"/>
                <a:gd name="connsiteX238" fmla="*/ 62865 w 625030"/>
                <a:gd name="connsiteY238" fmla="*/ 150686 h 303371"/>
                <a:gd name="connsiteX239" fmla="*/ 62008 w 625030"/>
                <a:gd name="connsiteY239" fmla="*/ 147828 h 303371"/>
                <a:gd name="connsiteX240" fmla="*/ 63246 w 625030"/>
                <a:gd name="connsiteY240" fmla="*/ 146780 h 303371"/>
                <a:gd name="connsiteX241" fmla="*/ 64579 w 625030"/>
                <a:gd name="connsiteY241" fmla="*/ 146780 h 303371"/>
                <a:gd name="connsiteX242" fmla="*/ 62865 w 625030"/>
                <a:gd name="connsiteY242" fmla="*/ 144780 h 303371"/>
                <a:gd name="connsiteX243" fmla="*/ 60388 w 625030"/>
                <a:gd name="connsiteY243" fmla="*/ 139541 h 303371"/>
                <a:gd name="connsiteX244" fmla="*/ 56293 w 625030"/>
                <a:gd name="connsiteY244" fmla="*/ 98012 h 303371"/>
                <a:gd name="connsiteX245" fmla="*/ 55531 w 625030"/>
                <a:gd name="connsiteY245" fmla="*/ 93440 h 303371"/>
                <a:gd name="connsiteX246" fmla="*/ 51245 w 625030"/>
                <a:gd name="connsiteY246" fmla="*/ 85725 h 303371"/>
                <a:gd name="connsiteX247" fmla="*/ 52578 w 625030"/>
                <a:gd name="connsiteY247" fmla="*/ 82296 h 303371"/>
                <a:gd name="connsiteX248" fmla="*/ 55912 w 625030"/>
                <a:gd name="connsiteY248" fmla="*/ 82010 h 303371"/>
                <a:gd name="connsiteX249" fmla="*/ 58960 w 625030"/>
                <a:gd name="connsiteY249" fmla="*/ 81820 h 303371"/>
                <a:gd name="connsiteX250" fmla="*/ 60008 w 625030"/>
                <a:gd name="connsiteY250" fmla="*/ 82010 h 303371"/>
                <a:gd name="connsiteX251" fmla="*/ 62198 w 625030"/>
                <a:gd name="connsiteY251" fmla="*/ 82010 h 303371"/>
                <a:gd name="connsiteX252" fmla="*/ 77819 w 625030"/>
                <a:gd name="connsiteY252" fmla="*/ 64770 h 303371"/>
                <a:gd name="connsiteX253" fmla="*/ 78391 w 625030"/>
                <a:gd name="connsiteY253" fmla="*/ 64198 h 303371"/>
                <a:gd name="connsiteX254" fmla="*/ 77819 w 625030"/>
                <a:gd name="connsiteY254" fmla="*/ 64770 h 303371"/>
                <a:gd name="connsiteX255" fmla="*/ 134017 w 625030"/>
                <a:gd name="connsiteY255" fmla="*/ 73819 h 303371"/>
                <a:gd name="connsiteX256" fmla="*/ 138970 w 625030"/>
                <a:gd name="connsiteY256" fmla="*/ 79820 h 303371"/>
                <a:gd name="connsiteX257" fmla="*/ 139732 w 625030"/>
                <a:gd name="connsiteY257" fmla="*/ 80391 h 303371"/>
                <a:gd name="connsiteX258" fmla="*/ 139732 w 625030"/>
                <a:gd name="connsiteY258" fmla="*/ 78581 h 303371"/>
                <a:gd name="connsiteX259" fmla="*/ 206216 w 625030"/>
                <a:gd name="connsiteY259" fmla="*/ 183833 h 303371"/>
                <a:gd name="connsiteX260" fmla="*/ 213646 w 625030"/>
                <a:gd name="connsiteY260" fmla="*/ 179070 h 303371"/>
                <a:gd name="connsiteX261" fmla="*/ 215170 w 625030"/>
                <a:gd name="connsiteY261" fmla="*/ 178213 h 303371"/>
                <a:gd name="connsiteX262" fmla="*/ 219361 w 625030"/>
                <a:gd name="connsiteY262" fmla="*/ 181166 h 303371"/>
                <a:gd name="connsiteX263" fmla="*/ 208026 w 625030"/>
                <a:gd name="connsiteY263" fmla="*/ 186595 h 303371"/>
                <a:gd name="connsiteX264" fmla="*/ 206216 w 625030"/>
                <a:gd name="connsiteY264" fmla="*/ 183737 h 303371"/>
                <a:gd name="connsiteX265" fmla="*/ 256984 w 625030"/>
                <a:gd name="connsiteY265" fmla="*/ 264700 h 303371"/>
                <a:gd name="connsiteX266" fmla="*/ 210979 w 625030"/>
                <a:gd name="connsiteY266" fmla="*/ 191548 h 303371"/>
                <a:gd name="connsiteX267" fmla="*/ 220504 w 625030"/>
                <a:gd name="connsiteY267" fmla="*/ 182023 h 303371"/>
                <a:gd name="connsiteX268" fmla="*/ 224314 w 625030"/>
                <a:gd name="connsiteY268" fmla="*/ 169259 h 303371"/>
                <a:gd name="connsiteX269" fmla="*/ 224314 w 625030"/>
                <a:gd name="connsiteY269" fmla="*/ 157639 h 303371"/>
                <a:gd name="connsiteX270" fmla="*/ 243745 w 625030"/>
                <a:gd name="connsiteY270" fmla="*/ 168212 h 303371"/>
                <a:gd name="connsiteX271" fmla="*/ 244221 w 625030"/>
                <a:gd name="connsiteY271" fmla="*/ 168402 h 303371"/>
                <a:gd name="connsiteX272" fmla="*/ 275368 w 625030"/>
                <a:gd name="connsiteY272" fmla="*/ 167735 h 303371"/>
                <a:gd name="connsiteX273" fmla="*/ 290989 w 625030"/>
                <a:gd name="connsiteY273" fmla="*/ 158115 h 303371"/>
                <a:gd name="connsiteX274" fmla="*/ 290989 w 625030"/>
                <a:gd name="connsiteY274" fmla="*/ 169164 h 303371"/>
                <a:gd name="connsiteX275" fmla="*/ 295942 w 625030"/>
                <a:gd name="connsiteY275" fmla="*/ 183452 h 303371"/>
                <a:gd name="connsiteX276" fmla="*/ 304229 w 625030"/>
                <a:gd name="connsiteY276" fmla="*/ 189167 h 303371"/>
                <a:gd name="connsiteX277" fmla="*/ 257080 w 625030"/>
                <a:gd name="connsiteY277" fmla="*/ 264509 h 303371"/>
                <a:gd name="connsiteX278" fmla="*/ 304991 w 625030"/>
                <a:gd name="connsiteY278" fmla="*/ 188024 h 303371"/>
                <a:gd name="connsiteX279" fmla="*/ 297180 w 625030"/>
                <a:gd name="connsiteY279" fmla="*/ 182690 h 303371"/>
                <a:gd name="connsiteX280" fmla="*/ 301371 w 625030"/>
                <a:gd name="connsiteY280" fmla="*/ 179737 h 303371"/>
                <a:gd name="connsiteX281" fmla="*/ 302895 w 625030"/>
                <a:gd name="connsiteY281" fmla="*/ 180594 h 303371"/>
                <a:gd name="connsiteX282" fmla="*/ 307848 w 625030"/>
                <a:gd name="connsiteY282" fmla="*/ 183642 h 303371"/>
                <a:gd name="connsiteX283" fmla="*/ 305086 w 625030"/>
                <a:gd name="connsiteY283" fmla="*/ 188119 h 303371"/>
                <a:gd name="connsiteX284" fmla="*/ 514922 w 625030"/>
                <a:gd name="connsiteY284" fmla="*/ 204026 h 303371"/>
                <a:gd name="connsiteX285" fmla="*/ 496538 w 625030"/>
                <a:gd name="connsiteY285" fmla="*/ 244031 h 303371"/>
                <a:gd name="connsiteX286" fmla="*/ 458152 w 625030"/>
                <a:gd name="connsiteY286" fmla="*/ 264128 h 303371"/>
                <a:gd name="connsiteX287" fmla="*/ 419767 w 625030"/>
                <a:gd name="connsiteY287" fmla="*/ 244031 h 303371"/>
                <a:gd name="connsiteX288" fmla="*/ 401384 w 625030"/>
                <a:gd name="connsiteY288" fmla="*/ 204026 h 303371"/>
                <a:gd name="connsiteX289" fmla="*/ 400907 w 625030"/>
                <a:gd name="connsiteY289" fmla="*/ 193643 h 303371"/>
                <a:gd name="connsiteX290" fmla="*/ 412051 w 625030"/>
                <a:gd name="connsiteY290" fmla="*/ 186404 h 303371"/>
                <a:gd name="connsiteX291" fmla="*/ 425958 w 625030"/>
                <a:gd name="connsiteY291" fmla="*/ 167450 h 303371"/>
                <a:gd name="connsiteX292" fmla="*/ 425958 w 625030"/>
                <a:gd name="connsiteY292" fmla="*/ 154305 h 303371"/>
                <a:gd name="connsiteX293" fmla="*/ 446913 w 625030"/>
                <a:gd name="connsiteY293" fmla="*/ 165735 h 303371"/>
                <a:gd name="connsiteX294" fmla="*/ 459486 w 625030"/>
                <a:gd name="connsiteY294" fmla="*/ 168116 h 303371"/>
                <a:gd name="connsiteX295" fmla="*/ 473297 w 625030"/>
                <a:gd name="connsiteY295" fmla="*/ 165164 h 303371"/>
                <a:gd name="connsiteX296" fmla="*/ 490061 w 625030"/>
                <a:gd name="connsiteY296" fmla="*/ 154781 h 303371"/>
                <a:gd name="connsiteX297" fmla="*/ 490061 w 625030"/>
                <a:gd name="connsiteY297" fmla="*/ 167450 h 303371"/>
                <a:gd name="connsiteX298" fmla="*/ 503968 w 625030"/>
                <a:gd name="connsiteY298" fmla="*/ 186404 h 303371"/>
                <a:gd name="connsiteX299" fmla="*/ 515302 w 625030"/>
                <a:gd name="connsiteY299" fmla="*/ 193739 h 303371"/>
                <a:gd name="connsiteX300" fmla="*/ 514826 w 625030"/>
                <a:gd name="connsiteY300" fmla="*/ 204026 h 303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625030" h="303371">
                  <a:moveTo>
                    <a:pt x="608743" y="238030"/>
                  </a:moveTo>
                  <a:cubicBezTo>
                    <a:pt x="607505" y="220504"/>
                    <a:pt x="532924" y="195644"/>
                    <a:pt x="532924" y="195644"/>
                  </a:cubicBezTo>
                  <a:lnTo>
                    <a:pt x="519875" y="188976"/>
                  </a:lnTo>
                  <a:lnTo>
                    <a:pt x="507111" y="180689"/>
                  </a:lnTo>
                  <a:lnTo>
                    <a:pt x="506254" y="180308"/>
                  </a:lnTo>
                  <a:cubicBezTo>
                    <a:pt x="500539" y="178689"/>
                    <a:pt x="496538" y="173355"/>
                    <a:pt x="496538" y="167354"/>
                  </a:cubicBezTo>
                  <a:lnTo>
                    <a:pt x="496538" y="152495"/>
                  </a:lnTo>
                  <a:lnTo>
                    <a:pt x="497586" y="151352"/>
                  </a:lnTo>
                  <a:cubicBezTo>
                    <a:pt x="503301" y="144971"/>
                    <a:pt x="507301" y="137160"/>
                    <a:pt x="509111" y="128778"/>
                  </a:cubicBezTo>
                  <a:cubicBezTo>
                    <a:pt x="512445" y="127635"/>
                    <a:pt x="515684" y="125063"/>
                    <a:pt x="516446" y="120301"/>
                  </a:cubicBezTo>
                  <a:cubicBezTo>
                    <a:pt x="516446" y="120015"/>
                    <a:pt x="516446" y="119825"/>
                    <a:pt x="516541" y="119634"/>
                  </a:cubicBezTo>
                  <a:cubicBezTo>
                    <a:pt x="517779" y="112395"/>
                    <a:pt x="518732" y="108490"/>
                    <a:pt x="519493" y="105537"/>
                  </a:cubicBezTo>
                  <a:cubicBezTo>
                    <a:pt x="519684" y="104965"/>
                    <a:pt x="519779" y="104394"/>
                    <a:pt x="519875" y="103918"/>
                  </a:cubicBezTo>
                  <a:cubicBezTo>
                    <a:pt x="520541" y="101251"/>
                    <a:pt x="521017" y="98965"/>
                    <a:pt x="521017" y="95440"/>
                  </a:cubicBezTo>
                  <a:cubicBezTo>
                    <a:pt x="521017" y="93059"/>
                    <a:pt x="520636" y="91059"/>
                    <a:pt x="520160" y="89345"/>
                  </a:cubicBezTo>
                  <a:cubicBezTo>
                    <a:pt x="519970" y="89345"/>
                    <a:pt x="519684" y="89535"/>
                    <a:pt x="519493" y="89630"/>
                  </a:cubicBezTo>
                  <a:cubicBezTo>
                    <a:pt x="517779" y="90297"/>
                    <a:pt x="515874" y="90773"/>
                    <a:pt x="514064" y="91059"/>
                  </a:cubicBezTo>
                  <a:cubicBezTo>
                    <a:pt x="514350" y="92012"/>
                    <a:pt x="514636" y="93345"/>
                    <a:pt x="514636" y="95440"/>
                  </a:cubicBezTo>
                  <a:cubicBezTo>
                    <a:pt x="514636" y="98965"/>
                    <a:pt x="514159" y="100584"/>
                    <a:pt x="513302" y="104013"/>
                  </a:cubicBezTo>
                  <a:cubicBezTo>
                    <a:pt x="512540" y="106966"/>
                    <a:pt x="511397" y="111347"/>
                    <a:pt x="510064" y="119348"/>
                  </a:cubicBezTo>
                  <a:cubicBezTo>
                    <a:pt x="509588" y="122111"/>
                    <a:pt x="507301" y="122777"/>
                    <a:pt x="505873" y="122968"/>
                  </a:cubicBezTo>
                  <a:lnTo>
                    <a:pt x="503587" y="123253"/>
                  </a:lnTo>
                  <a:lnTo>
                    <a:pt x="503206" y="125539"/>
                  </a:lnTo>
                  <a:cubicBezTo>
                    <a:pt x="502158" y="131826"/>
                    <a:pt x="499682" y="137732"/>
                    <a:pt x="496062" y="142875"/>
                  </a:cubicBezTo>
                  <a:cubicBezTo>
                    <a:pt x="495014" y="144304"/>
                    <a:pt x="493967" y="145733"/>
                    <a:pt x="492824" y="147066"/>
                  </a:cubicBezTo>
                  <a:lnTo>
                    <a:pt x="490633" y="149543"/>
                  </a:lnTo>
                  <a:lnTo>
                    <a:pt x="485870" y="152495"/>
                  </a:lnTo>
                  <a:lnTo>
                    <a:pt x="478155" y="157258"/>
                  </a:lnTo>
                  <a:lnTo>
                    <a:pt x="471678" y="161258"/>
                  </a:lnTo>
                  <a:cubicBezTo>
                    <a:pt x="470821" y="161639"/>
                    <a:pt x="469964" y="161830"/>
                    <a:pt x="469011" y="162116"/>
                  </a:cubicBezTo>
                  <a:cubicBezTo>
                    <a:pt x="462439" y="164306"/>
                    <a:pt x="455200" y="164306"/>
                    <a:pt x="448818" y="161830"/>
                  </a:cubicBezTo>
                  <a:lnTo>
                    <a:pt x="445008" y="159734"/>
                  </a:lnTo>
                  <a:lnTo>
                    <a:pt x="425482" y="149066"/>
                  </a:lnTo>
                  <a:cubicBezTo>
                    <a:pt x="425482" y="149066"/>
                    <a:pt x="425291" y="149066"/>
                    <a:pt x="425196" y="149066"/>
                  </a:cubicBezTo>
                  <a:lnTo>
                    <a:pt x="423482" y="147066"/>
                  </a:lnTo>
                  <a:cubicBezTo>
                    <a:pt x="423005" y="146590"/>
                    <a:pt x="422719" y="146018"/>
                    <a:pt x="422243" y="145447"/>
                  </a:cubicBezTo>
                  <a:cubicBezTo>
                    <a:pt x="418052" y="140303"/>
                    <a:pt x="415100" y="134303"/>
                    <a:pt x="413671" y="127826"/>
                  </a:cubicBezTo>
                  <a:cubicBezTo>
                    <a:pt x="413671" y="127826"/>
                    <a:pt x="413671" y="127635"/>
                    <a:pt x="413671" y="127540"/>
                  </a:cubicBezTo>
                  <a:cubicBezTo>
                    <a:pt x="413480" y="126873"/>
                    <a:pt x="413290" y="126206"/>
                    <a:pt x="413194" y="125539"/>
                  </a:cubicBezTo>
                  <a:lnTo>
                    <a:pt x="413004" y="124587"/>
                  </a:lnTo>
                  <a:lnTo>
                    <a:pt x="412814" y="123253"/>
                  </a:lnTo>
                  <a:lnTo>
                    <a:pt x="411290" y="123063"/>
                  </a:lnTo>
                  <a:lnTo>
                    <a:pt x="410527" y="123063"/>
                  </a:lnTo>
                  <a:cubicBezTo>
                    <a:pt x="410527" y="123063"/>
                    <a:pt x="410527" y="122968"/>
                    <a:pt x="410527" y="122968"/>
                  </a:cubicBezTo>
                  <a:cubicBezTo>
                    <a:pt x="410527" y="122968"/>
                    <a:pt x="410527" y="122968"/>
                    <a:pt x="410527" y="122968"/>
                  </a:cubicBezTo>
                  <a:cubicBezTo>
                    <a:pt x="409861" y="122873"/>
                    <a:pt x="408908" y="122587"/>
                    <a:pt x="408051" y="122015"/>
                  </a:cubicBezTo>
                  <a:cubicBezTo>
                    <a:pt x="407765" y="121825"/>
                    <a:pt x="407575" y="121539"/>
                    <a:pt x="407384" y="121349"/>
                  </a:cubicBezTo>
                  <a:cubicBezTo>
                    <a:pt x="406908" y="120872"/>
                    <a:pt x="406527" y="120206"/>
                    <a:pt x="406432" y="119348"/>
                  </a:cubicBezTo>
                  <a:cubicBezTo>
                    <a:pt x="406241" y="118015"/>
                    <a:pt x="406051" y="116776"/>
                    <a:pt x="405765" y="115634"/>
                  </a:cubicBezTo>
                  <a:cubicBezTo>
                    <a:pt x="404717" y="110014"/>
                    <a:pt x="403860" y="106585"/>
                    <a:pt x="403193" y="104013"/>
                  </a:cubicBezTo>
                  <a:cubicBezTo>
                    <a:pt x="402336" y="100679"/>
                    <a:pt x="401860" y="98965"/>
                    <a:pt x="401860" y="95440"/>
                  </a:cubicBezTo>
                  <a:cubicBezTo>
                    <a:pt x="401860" y="91916"/>
                    <a:pt x="402526" y="90297"/>
                    <a:pt x="403574" y="89726"/>
                  </a:cubicBezTo>
                  <a:cubicBezTo>
                    <a:pt x="402146" y="88868"/>
                    <a:pt x="400812" y="87725"/>
                    <a:pt x="399669" y="86487"/>
                  </a:cubicBezTo>
                  <a:cubicBezTo>
                    <a:pt x="399288" y="86106"/>
                    <a:pt x="399098" y="85630"/>
                    <a:pt x="398717" y="85249"/>
                  </a:cubicBezTo>
                  <a:cubicBezTo>
                    <a:pt x="396526" y="87249"/>
                    <a:pt x="395383" y="90678"/>
                    <a:pt x="395383" y="95440"/>
                  </a:cubicBezTo>
                  <a:cubicBezTo>
                    <a:pt x="395383" y="99727"/>
                    <a:pt x="395954" y="102108"/>
                    <a:pt x="396907" y="105632"/>
                  </a:cubicBezTo>
                  <a:cubicBezTo>
                    <a:pt x="397669" y="108680"/>
                    <a:pt x="398717" y="112776"/>
                    <a:pt x="399955" y="120396"/>
                  </a:cubicBezTo>
                  <a:cubicBezTo>
                    <a:pt x="400145" y="121730"/>
                    <a:pt x="400622" y="122777"/>
                    <a:pt x="401098" y="123825"/>
                  </a:cubicBezTo>
                  <a:cubicBezTo>
                    <a:pt x="402526" y="126397"/>
                    <a:pt x="404813" y="128111"/>
                    <a:pt x="407289" y="128873"/>
                  </a:cubicBezTo>
                  <a:cubicBezTo>
                    <a:pt x="409099" y="137255"/>
                    <a:pt x="413099" y="145066"/>
                    <a:pt x="418814" y="151448"/>
                  </a:cubicBezTo>
                  <a:lnTo>
                    <a:pt x="419862" y="152591"/>
                  </a:lnTo>
                  <a:lnTo>
                    <a:pt x="419862" y="167450"/>
                  </a:lnTo>
                  <a:cubicBezTo>
                    <a:pt x="419862" y="173450"/>
                    <a:pt x="415861" y="178689"/>
                    <a:pt x="410147" y="180404"/>
                  </a:cubicBezTo>
                  <a:lnTo>
                    <a:pt x="396240" y="189262"/>
                  </a:lnTo>
                  <a:lnTo>
                    <a:pt x="365760" y="204788"/>
                  </a:lnTo>
                  <a:lnTo>
                    <a:pt x="357664" y="209169"/>
                  </a:lnTo>
                  <a:lnTo>
                    <a:pt x="308896" y="183833"/>
                  </a:lnTo>
                  <a:lnTo>
                    <a:pt x="308515" y="183642"/>
                  </a:lnTo>
                  <a:lnTo>
                    <a:pt x="302800" y="178880"/>
                  </a:lnTo>
                  <a:cubicBezTo>
                    <a:pt x="300609" y="176022"/>
                    <a:pt x="299371" y="172688"/>
                    <a:pt x="299371" y="169450"/>
                  </a:cubicBezTo>
                  <a:lnTo>
                    <a:pt x="299371" y="152972"/>
                  </a:lnTo>
                  <a:cubicBezTo>
                    <a:pt x="299371" y="152972"/>
                    <a:pt x="299752" y="152495"/>
                    <a:pt x="299847" y="152210"/>
                  </a:cubicBezTo>
                  <a:lnTo>
                    <a:pt x="300800" y="151162"/>
                  </a:lnTo>
                  <a:cubicBezTo>
                    <a:pt x="307181" y="144113"/>
                    <a:pt x="311467" y="135446"/>
                    <a:pt x="313373" y="126206"/>
                  </a:cubicBezTo>
                  <a:cubicBezTo>
                    <a:pt x="317659" y="124968"/>
                    <a:pt x="320611" y="121730"/>
                    <a:pt x="321278" y="117443"/>
                  </a:cubicBezTo>
                  <a:cubicBezTo>
                    <a:pt x="322612" y="109061"/>
                    <a:pt x="323755" y="104489"/>
                    <a:pt x="324707" y="101060"/>
                  </a:cubicBezTo>
                  <a:cubicBezTo>
                    <a:pt x="325660" y="97346"/>
                    <a:pt x="326326" y="94678"/>
                    <a:pt x="326326" y="90107"/>
                  </a:cubicBezTo>
                  <a:cubicBezTo>
                    <a:pt x="326326" y="84201"/>
                    <a:pt x="324802" y="80201"/>
                    <a:pt x="321659" y="78486"/>
                  </a:cubicBezTo>
                  <a:lnTo>
                    <a:pt x="321659" y="78486"/>
                  </a:lnTo>
                  <a:cubicBezTo>
                    <a:pt x="321659" y="78486"/>
                    <a:pt x="321183" y="78200"/>
                    <a:pt x="320897" y="78105"/>
                  </a:cubicBezTo>
                  <a:cubicBezTo>
                    <a:pt x="321278" y="75629"/>
                    <a:pt x="321564" y="73057"/>
                    <a:pt x="321659" y="70390"/>
                  </a:cubicBezTo>
                  <a:cubicBezTo>
                    <a:pt x="321659" y="69056"/>
                    <a:pt x="321659" y="67723"/>
                    <a:pt x="321659" y="66389"/>
                  </a:cubicBezTo>
                  <a:cubicBezTo>
                    <a:pt x="320421" y="66675"/>
                    <a:pt x="319468" y="67628"/>
                    <a:pt x="318611" y="68866"/>
                  </a:cubicBezTo>
                  <a:cubicBezTo>
                    <a:pt x="318611" y="69342"/>
                    <a:pt x="318611" y="69818"/>
                    <a:pt x="318611" y="70295"/>
                  </a:cubicBezTo>
                  <a:cubicBezTo>
                    <a:pt x="318611" y="73247"/>
                    <a:pt x="318230" y="76105"/>
                    <a:pt x="317659" y="78867"/>
                  </a:cubicBezTo>
                  <a:lnTo>
                    <a:pt x="317373" y="80391"/>
                  </a:lnTo>
                  <a:lnTo>
                    <a:pt x="318897" y="80677"/>
                  </a:lnTo>
                  <a:cubicBezTo>
                    <a:pt x="319468" y="80772"/>
                    <a:pt x="319850" y="80963"/>
                    <a:pt x="320135" y="81153"/>
                  </a:cubicBezTo>
                  <a:cubicBezTo>
                    <a:pt x="322231" y="82391"/>
                    <a:pt x="323183" y="85344"/>
                    <a:pt x="323183" y="90202"/>
                  </a:cubicBezTo>
                  <a:cubicBezTo>
                    <a:pt x="323183" y="94488"/>
                    <a:pt x="322612" y="96679"/>
                    <a:pt x="321659" y="100489"/>
                  </a:cubicBezTo>
                  <a:cubicBezTo>
                    <a:pt x="320802" y="103918"/>
                    <a:pt x="319564" y="108490"/>
                    <a:pt x="318230" y="117062"/>
                  </a:cubicBezTo>
                  <a:cubicBezTo>
                    <a:pt x="317468" y="121730"/>
                    <a:pt x="313754" y="123158"/>
                    <a:pt x="311658" y="123539"/>
                  </a:cubicBezTo>
                  <a:lnTo>
                    <a:pt x="310610" y="123730"/>
                  </a:lnTo>
                  <a:lnTo>
                    <a:pt x="310420" y="124777"/>
                  </a:lnTo>
                  <a:cubicBezTo>
                    <a:pt x="308705" y="133922"/>
                    <a:pt x="304514" y="142304"/>
                    <a:pt x="298418" y="149257"/>
                  </a:cubicBezTo>
                  <a:lnTo>
                    <a:pt x="297371" y="150495"/>
                  </a:lnTo>
                  <a:lnTo>
                    <a:pt x="297085" y="150971"/>
                  </a:lnTo>
                  <a:cubicBezTo>
                    <a:pt x="297085" y="150971"/>
                    <a:pt x="296894" y="151257"/>
                    <a:pt x="296799" y="151352"/>
                  </a:cubicBezTo>
                  <a:lnTo>
                    <a:pt x="296323" y="151829"/>
                  </a:lnTo>
                  <a:lnTo>
                    <a:pt x="296323" y="169545"/>
                  </a:lnTo>
                  <a:cubicBezTo>
                    <a:pt x="296323" y="173069"/>
                    <a:pt x="297371" y="176498"/>
                    <a:pt x="299466" y="179546"/>
                  </a:cubicBezTo>
                  <a:lnTo>
                    <a:pt x="297751" y="180785"/>
                  </a:lnTo>
                  <a:cubicBezTo>
                    <a:pt x="295466" y="177356"/>
                    <a:pt x="294227" y="173450"/>
                    <a:pt x="294227" y="169545"/>
                  </a:cubicBezTo>
                  <a:lnTo>
                    <a:pt x="294227" y="152972"/>
                  </a:lnTo>
                  <a:lnTo>
                    <a:pt x="274320" y="165259"/>
                  </a:lnTo>
                  <a:cubicBezTo>
                    <a:pt x="265462" y="169259"/>
                    <a:pt x="254889" y="169545"/>
                    <a:pt x="245459" y="165830"/>
                  </a:cubicBezTo>
                  <a:lnTo>
                    <a:pt x="221456" y="152781"/>
                  </a:lnTo>
                  <a:lnTo>
                    <a:pt x="221456" y="169545"/>
                  </a:lnTo>
                  <a:cubicBezTo>
                    <a:pt x="221456" y="172879"/>
                    <a:pt x="220599" y="176213"/>
                    <a:pt x="218980" y="179261"/>
                  </a:cubicBezTo>
                  <a:lnTo>
                    <a:pt x="217360" y="178118"/>
                  </a:lnTo>
                  <a:cubicBezTo>
                    <a:pt x="218789" y="175451"/>
                    <a:pt x="219456" y="172498"/>
                    <a:pt x="219456" y="169545"/>
                  </a:cubicBezTo>
                  <a:lnTo>
                    <a:pt x="219456" y="151733"/>
                  </a:lnTo>
                  <a:lnTo>
                    <a:pt x="218980" y="151257"/>
                  </a:lnTo>
                  <a:cubicBezTo>
                    <a:pt x="218980" y="151257"/>
                    <a:pt x="218694" y="150971"/>
                    <a:pt x="218694" y="150876"/>
                  </a:cubicBezTo>
                  <a:lnTo>
                    <a:pt x="217360" y="149162"/>
                  </a:lnTo>
                  <a:cubicBezTo>
                    <a:pt x="211169" y="142208"/>
                    <a:pt x="206978" y="133731"/>
                    <a:pt x="205359" y="124682"/>
                  </a:cubicBezTo>
                  <a:lnTo>
                    <a:pt x="205169" y="123635"/>
                  </a:lnTo>
                  <a:lnTo>
                    <a:pt x="204121" y="123444"/>
                  </a:lnTo>
                  <a:cubicBezTo>
                    <a:pt x="202025" y="122968"/>
                    <a:pt x="198311" y="121539"/>
                    <a:pt x="197549" y="116967"/>
                  </a:cubicBezTo>
                  <a:cubicBezTo>
                    <a:pt x="196120" y="108299"/>
                    <a:pt x="194977" y="103727"/>
                    <a:pt x="194120" y="100298"/>
                  </a:cubicBezTo>
                  <a:cubicBezTo>
                    <a:pt x="193167" y="96584"/>
                    <a:pt x="192596" y="94298"/>
                    <a:pt x="192596" y="90107"/>
                  </a:cubicBezTo>
                  <a:cubicBezTo>
                    <a:pt x="192596" y="86773"/>
                    <a:pt x="193167" y="82582"/>
                    <a:pt x="195644" y="81058"/>
                  </a:cubicBezTo>
                  <a:cubicBezTo>
                    <a:pt x="196025" y="80867"/>
                    <a:pt x="196406" y="80677"/>
                    <a:pt x="196882" y="80582"/>
                  </a:cubicBezTo>
                  <a:lnTo>
                    <a:pt x="198406" y="80296"/>
                  </a:lnTo>
                  <a:lnTo>
                    <a:pt x="198120" y="78772"/>
                  </a:lnTo>
                  <a:cubicBezTo>
                    <a:pt x="197549" y="76010"/>
                    <a:pt x="197263" y="73152"/>
                    <a:pt x="197167" y="70199"/>
                  </a:cubicBezTo>
                  <a:cubicBezTo>
                    <a:pt x="197167" y="69723"/>
                    <a:pt x="197167" y="69342"/>
                    <a:pt x="197167" y="68866"/>
                  </a:cubicBezTo>
                  <a:cubicBezTo>
                    <a:pt x="196025" y="67532"/>
                    <a:pt x="194977" y="66866"/>
                    <a:pt x="194120" y="66485"/>
                  </a:cubicBezTo>
                  <a:cubicBezTo>
                    <a:pt x="194120" y="67723"/>
                    <a:pt x="194120" y="68961"/>
                    <a:pt x="194120" y="70295"/>
                  </a:cubicBezTo>
                  <a:cubicBezTo>
                    <a:pt x="194120" y="72962"/>
                    <a:pt x="194405" y="75533"/>
                    <a:pt x="194882" y="78010"/>
                  </a:cubicBezTo>
                  <a:cubicBezTo>
                    <a:pt x="194596" y="78105"/>
                    <a:pt x="194310" y="78296"/>
                    <a:pt x="194120" y="78391"/>
                  </a:cubicBezTo>
                  <a:cubicBezTo>
                    <a:pt x="191071" y="80201"/>
                    <a:pt x="189452" y="84106"/>
                    <a:pt x="189452" y="90011"/>
                  </a:cubicBezTo>
                  <a:cubicBezTo>
                    <a:pt x="189452" y="94678"/>
                    <a:pt x="190119" y="97346"/>
                    <a:pt x="191071" y="100965"/>
                  </a:cubicBezTo>
                  <a:cubicBezTo>
                    <a:pt x="191929" y="104299"/>
                    <a:pt x="193072" y="108776"/>
                    <a:pt x="194500" y="117348"/>
                  </a:cubicBezTo>
                  <a:cubicBezTo>
                    <a:pt x="195167" y="121634"/>
                    <a:pt x="198120" y="124873"/>
                    <a:pt x="202502" y="126111"/>
                  </a:cubicBezTo>
                  <a:cubicBezTo>
                    <a:pt x="204407" y="135350"/>
                    <a:pt x="208788" y="144018"/>
                    <a:pt x="215075" y="151067"/>
                  </a:cubicBezTo>
                  <a:lnTo>
                    <a:pt x="215932" y="152019"/>
                  </a:lnTo>
                  <a:cubicBezTo>
                    <a:pt x="215932" y="152019"/>
                    <a:pt x="216217" y="152591"/>
                    <a:pt x="216503" y="152876"/>
                  </a:cubicBezTo>
                  <a:lnTo>
                    <a:pt x="216503" y="169355"/>
                  </a:lnTo>
                  <a:cubicBezTo>
                    <a:pt x="216503" y="172212"/>
                    <a:pt x="215646" y="175070"/>
                    <a:pt x="214122" y="177546"/>
                  </a:cubicBezTo>
                  <a:lnTo>
                    <a:pt x="206216" y="183547"/>
                  </a:lnTo>
                  <a:lnTo>
                    <a:pt x="206216" y="183547"/>
                  </a:lnTo>
                  <a:cubicBezTo>
                    <a:pt x="206216" y="183547"/>
                    <a:pt x="179832" y="197168"/>
                    <a:pt x="179832" y="197168"/>
                  </a:cubicBezTo>
                  <a:lnTo>
                    <a:pt x="164973" y="189643"/>
                  </a:lnTo>
                  <a:lnTo>
                    <a:pt x="159544" y="186881"/>
                  </a:lnTo>
                  <a:lnTo>
                    <a:pt x="159544" y="186881"/>
                  </a:lnTo>
                  <a:cubicBezTo>
                    <a:pt x="159544" y="186881"/>
                    <a:pt x="154210" y="183452"/>
                    <a:pt x="154210" y="183452"/>
                  </a:cubicBezTo>
                  <a:lnTo>
                    <a:pt x="146780" y="178689"/>
                  </a:lnTo>
                  <a:lnTo>
                    <a:pt x="145923" y="178308"/>
                  </a:lnTo>
                  <a:cubicBezTo>
                    <a:pt x="144971" y="178022"/>
                    <a:pt x="144018" y="177641"/>
                    <a:pt x="143161" y="177165"/>
                  </a:cubicBezTo>
                  <a:cubicBezTo>
                    <a:pt x="142113" y="176594"/>
                    <a:pt x="141065" y="175832"/>
                    <a:pt x="140208" y="174974"/>
                  </a:cubicBezTo>
                  <a:cubicBezTo>
                    <a:pt x="137732" y="172498"/>
                    <a:pt x="136208" y="169069"/>
                    <a:pt x="136208" y="165354"/>
                  </a:cubicBezTo>
                  <a:lnTo>
                    <a:pt x="136208" y="157353"/>
                  </a:lnTo>
                  <a:cubicBezTo>
                    <a:pt x="144113" y="155353"/>
                    <a:pt x="162306" y="148685"/>
                    <a:pt x="166592" y="130016"/>
                  </a:cubicBezTo>
                  <a:cubicBezTo>
                    <a:pt x="166592" y="130016"/>
                    <a:pt x="168116" y="93059"/>
                    <a:pt x="162306" y="60865"/>
                  </a:cubicBezTo>
                  <a:cubicBezTo>
                    <a:pt x="162306" y="60960"/>
                    <a:pt x="162401" y="61055"/>
                    <a:pt x="162496" y="61151"/>
                  </a:cubicBezTo>
                  <a:cubicBezTo>
                    <a:pt x="160115" y="47720"/>
                    <a:pt x="156400" y="35147"/>
                    <a:pt x="150686" y="26194"/>
                  </a:cubicBezTo>
                  <a:cubicBezTo>
                    <a:pt x="150495" y="26003"/>
                    <a:pt x="150400" y="25717"/>
                    <a:pt x="150209" y="25527"/>
                  </a:cubicBezTo>
                  <a:cubicBezTo>
                    <a:pt x="150019" y="25241"/>
                    <a:pt x="149828" y="24955"/>
                    <a:pt x="149638" y="24765"/>
                  </a:cubicBezTo>
                  <a:cubicBezTo>
                    <a:pt x="149257" y="24194"/>
                    <a:pt x="148876" y="23717"/>
                    <a:pt x="148495" y="23241"/>
                  </a:cubicBezTo>
                  <a:cubicBezTo>
                    <a:pt x="147828" y="22289"/>
                    <a:pt x="147066" y="21431"/>
                    <a:pt x="146399" y="20669"/>
                  </a:cubicBezTo>
                  <a:cubicBezTo>
                    <a:pt x="146018" y="20288"/>
                    <a:pt x="145733" y="19907"/>
                    <a:pt x="145352" y="19526"/>
                  </a:cubicBezTo>
                  <a:cubicBezTo>
                    <a:pt x="144971" y="19145"/>
                    <a:pt x="144685" y="18764"/>
                    <a:pt x="144304" y="18383"/>
                  </a:cubicBezTo>
                  <a:cubicBezTo>
                    <a:pt x="143828" y="17907"/>
                    <a:pt x="143351" y="17336"/>
                    <a:pt x="142875" y="16859"/>
                  </a:cubicBezTo>
                  <a:cubicBezTo>
                    <a:pt x="142684" y="16669"/>
                    <a:pt x="142494" y="16478"/>
                    <a:pt x="142304" y="16288"/>
                  </a:cubicBezTo>
                  <a:cubicBezTo>
                    <a:pt x="133541" y="7715"/>
                    <a:pt x="124111" y="3620"/>
                    <a:pt x="116396" y="1619"/>
                  </a:cubicBezTo>
                  <a:cubicBezTo>
                    <a:pt x="116396" y="1619"/>
                    <a:pt x="116396" y="1619"/>
                    <a:pt x="116396" y="1619"/>
                  </a:cubicBezTo>
                  <a:cubicBezTo>
                    <a:pt x="116300" y="1619"/>
                    <a:pt x="116205" y="1619"/>
                    <a:pt x="116015" y="1619"/>
                  </a:cubicBezTo>
                  <a:cubicBezTo>
                    <a:pt x="115729" y="1619"/>
                    <a:pt x="115443" y="1524"/>
                    <a:pt x="115157" y="1429"/>
                  </a:cubicBezTo>
                  <a:cubicBezTo>
                    <a:pt x="114776" y="1429"/>
                    <a:pt x="114395" y="1238"/>
                    <a:pt x="114109" y="1143"/>
                  </a:cubicBezTo>
                  <a:cubicBezTo>
                    <a:pt x="113824" y="1143"/>
                    <a:pt x="113538" y="1048"/>
                    <a:pt x="113252" y="953"/>
                  </a:cubicBezTo>
                  <a:cubicBezTo>
                    <a:pt x="112871" y="953"/>
                    <a:pt x="112586" y="857"/>
                    <a:pt x="112204" y="762"/>
                  </a:cubicBezTo>
                  <a:cubicBezTo>
                    <a:pt x="112014" y="762"/>
                    <a:pt x="111919" y="762"/>
                    <a:pt x="111728" y="762"/>
                  </a:cubicBezTo>
                  <a:lnTo>
                    <a:pt x="111728" y="762"/>
                  </a:lnTo>
                  <a:cubicBezTo>
                    <a:pt x="105918" y="-190"/>
                    <a:pt x="101537" y="0"/>
                    <a:pt x="99822" y="190"/>
                  </a:cubicBezTo>
                  <a:cubicBezTo>
                    <a:pt x="99727" y="190"/>
                    <a:pt x="99536" y="190"/>
                    <a:pt x="99441" y="190"/>
                  </a:cubicBezTo>
                  <a:cubicBezTo>
                    <a:pt x="99441" y="190"/>
                    <a:pt x="99441" y="190"/>
                    <a:pt x="99441" y="190"/>
                  </a:cubicBezTo>
                  <a:cubicBezTo>
                    <a:pt x="99346" y="190"/>
                    <a:pt x="99250" y="190"/>
                    <a:pt x="99155" y="190"/>
                  </a:cubicBezTo>
                  <a:cubicBezTo>
                    <a:pt x="99155" y="190"/>
                    <a:pt x="99155" y="190"/>
                    <a:pt x="99155" y="190"/>
                  </a:cubicBezTo>
                  <a:cubicBezTo>
                    <a:pt x="99155" y="190"/>
                    <a:pt x="98774" y="190"/>
                    <a:pt x="98108" y="95"/>
                  </a:cubicBezTo>
                  <a:cubicBezTo>
                    <a:pt x="98108" y="95"/>
                    <a:pt x="98012" y="95"/>
                    <a:pt x="97917" y="95"/>
                  </a:cubicBezTo>
                  <a:cubicBezTo>
                    <a:pt x="97917" y="95"/>
                    <a:pt x="97727" y="95"/>
                    <a:pt x="97631" y="95"/>
                  </a:cubicBezTo>
                  <a:cubicBezTo>
                    <a:pt x="97441" y="95"/>
                    <a:pt x="97346" y="95"/>
                    <a:pt x="97155" y="95"/>
                  </a:cubicBezTo>
                  <a:cubicBezTo>
                    <a:pt x="97155" y="95"/>
                    <a:pt x="97155" y="95"/>
                    <a:pt x="97060" y="95"/>
                  </a:cubicBezTo>
                  <a:cubicBezTo>
                    <a:pt x="96393" y="95"/>
                    <a:pt x="95631" y="95"/>
                    <a:pt x="94679" y="0"/>
                  </a:cubicBezTo>
                  <a:cubicBezTo>
                    <a:pt x="94679" y="0"/>
                    <a:pt x="94679" y="0"/>
                    <a:pt x="94679" y="0"/>
                  </a:cubicBezTo>
                  <a:cubicBezTo>
                    <a:pt x="92107" y="0"/>
                    <a:pt x="88487" y="95"/>
                    <a:pt x="84296" y="857"/>
                  </a:cubicBezTo>
                  <a:cubicBezTo>
                    <a:pt x="84296" y="857"/>
                    <a:pt x="84296" y="857"/>
                    <a:pt x="84296" y="857"/>
                  </a:cubicBezTo>
                  <a:cubicBezTo>
                    <a:pt x="78200" y="1810"/>
                    <a:pt x="70580" y="4096"/>
                    <a:pt x="62770" y="9144"/>
                  </a:cubicBezTo>
                  <a:cubicBezTo>
                    <a:pt x="62579" y="9239"/>
                    <a:pt x="62389" y="9335"/>
                    <a:pt x="62198" y="9525"/>
                  </a:cubicBezTo>
                  <a:cubicBezTo>
                    <a:pt x="61817" y="9811"/>
                    <a:pt x="61436" y="10001"/>
                    <a:pt x="61055" y="10287"/>
                  </a:cubicBezTo>
                  <a:cubicBezTo>
                    <a:pt x="60579" y="10573"/>
                    <a:pt x="60103" y="10954"/>
                    <a:pt x="59627" y="11335"/>
                  </a:cubicBezTo>
                  <a:cubicBezTo>
                    <a:pt x="59436" y="11525"/>
                    <a:pt x="59246" y="11621"/>
                    <a:pt x="59055" y="11811"/>
                  </a:cubicBezTo>
                  <a:cubicBezTo>
                    <a:pt x="58388" y="12287"/>
                    <a:pt x="57721" y="12859"/>
                    <a:pt x="57055" y="13430"/>
                  </a:cubicBezTo>
                  <a:cubicBezTo>
                    <a:pt x="57055" y="13430"/>
                    <a:pt x="56959" y="13526"/>
                    <a:pt x="56864" y="13621"/>
                  </a:cubicBezTo>
                  <a:cubicBezTo>
                    <a:pt x="53626" y="16383"/>
                    <a:pt x="50483" y="19622"/>
                    <a:pt x="47530" y="23527"/>
                  </a:cubicBezTo>
                  <a:cubicBezTo>
                    <a:pt x="47149" y="24003"/>
                    <a:pt x="46863" y="24384"/>
                    <a:pt x="46577" y="24860"/>
                  </a:cubicBezTo>
                  <a:cubicBezTo>
                    <a:pt x="40196" y="33909"/>
                    <a:pt x="36290" y="47149"/>
                    <a:pt x="33814" y="61436"/>
                  </a:cubicBezTo>
                  <a:cubicBezTo>
                    <a:pt x="33814" y="61627"/>
                    <a:pt x="33814" y="61722"/>
                    <a:pt x="33814" y="61913"/>
                  </a:cubicBezTo>
                  <a:cubicBezTo>
                    <a:pt x="28099" y="94012"/>
                    <a:pt x="29623" y="130302"/>
                    <a:pt x="29623" y="130302"/>
                  </a:cubicBezTo>
                  <a:cubicBezTo>
                    <a:pt x="33814" y="148495"/>
                    <a:pt x="51340" y="155258"/>
                    <a:pt x="59436" y="157544"/>
                  </a:cubicBezTo>
                  <a:lnTo>
                    <a:pt x="59436" y="165735"/>
                  </a:lnTo>
                  <a:cubicBezTo>
                    <a:pt x="59436" y="171736"/>
                    <a:pt x="55436" y="176975"/>
                    <a:pt x="49721" y="178689"/>
                  </a:cubicBezTo>
                  <a:lnTo>
                    <a:pt x="35814" y="187547"/>
                  </a:lnTo>
                  <a:lnTo>
                    <a:pt x="12859" y="199168"/>
                  </a:lnTo>
                  <a:lnTo>
                    <a:pt x="0" y="205740"/>
                  </a:lnTo>
                  <a:lnTo>
                    <a:pt x="191" y="207550"/>
                  </a:lnTo>
                  <a:lnTo>
                    <a:pt x="9811" y="296609"/>
                  </a:lnTo>
                  <a:lnTo>
                    <a:pt x="10573" y="303371"/>
                  </a:lnTo>
                  <a:lnTo>
                    <a:pt x="625031" y="303371"/>
                  </a:lnTo>
                  <a:lnTo>
                    <a:pt x="625031" y="279749"/>
                  </a:lnTo>
                  <a:cubicBezTo>
                    <a:pt x="625031" y="279749"/>
                    <a:pt x="610552" y="256032"/>
                    <a:pt x="609219" y="238506"/>
                  </a:cubicBezTo>
                  <a:close/>
                  <a:moveTo>
                    <a:pt x="139637" y="78486"/>
                  </a:moveTo>
                  <a:cubicBezTo>
                    <a:pt x="139637" y="79058"/>
                    <a:pt x="139637" y="79629"/>
                    <a:pt x="139637" y="80296"/>
                  </a:cubicBezTo>
                  <a:cubicBezTo>
                    <a:pt x="139637" y="80867"/>
                    <a:pt x="139637" y="81439"/>
                    <a:pt x="139637" y="82106"/>
                  </a:cubicBezTo>
                  <a:cubicBezTo>
                    <a:pt x="141542" y="82106"/>
                    <a:pt x="143351" y="82296"/>
                    <a:pt x="144685" y="82487"/>
                  </a:cubicBezTo>
                  <a:cubicBezTo>
                    <a:pt x="147161" y="82772"/>
                    <a:pt x="146018" y="85915"/>
                    <a:pt x="146018" y="85915"/>
                  </a:cubicBezTo>
                  <a:cubicBezTo>
                    <a:pt x="146018" y="85915"/>
                    <a:pt x="142113" y="85630"/>
                    <a:pt x="141732" y="93631"/>
                  </a:cubicBezTo>
                  <a:cubicBezTo>
                    <a:pt x="141637" y="96202"/>
                    <a:pt x="141446" y="98679"/>
                    <a:pt x="139065" y="100584"/>
                  </a:cubicBezTo>
                  <a:cubicBezTo>
                    <a:pt x="138208" y="116110"/>
                    <a:pt x="136398" y="130683"/>
                    <a:pt x="134874" y="141161"/>
                  </a:cubicBezTo>
                  <a:cubicBezTo>
                    <a:pt x="134017" y="142399"/>
                    <a:pt x="133064" y="143637"/>
                    <a:pt x="132017" y="144875"/>
                  </a:cubicBezTo>
                  <a:lnTo>
                    <a:pt x="129826" y="147352"/>
                  </a:lnTo>
                  <a:lnTo>
                    <a:pt x="130397" y="146971"/>
                  </a:lnTo>
                  <a:cubicBezTo>
                    <a:pt x="130397" y="146971"/>
                    <a:pt x="131445" y="146590"/>
                    <a:pt x="132017" y="146685"/>
                  </a:cubicBezTo>
                  <a:cubicBezTo>
                    <a:pt x="132588" y="146780"/>
                    <a:pt x="133064" y="147161"/>
                    <a:pt x="133350" y="147638"/>
                  </a:cubicBezTo>
                  <a:cubicBezTo>
                    <a:pt x="133636" y="148114"/>
                    <a:pt x="133731" y="148685"/>
                    <a:pt x="133636" y="149257"/>
                  </a:cubicBezTo>
                  <a:cubicBezTo>
                    <a:pt x="133541" y="149828"/>
                    <a:pt x="133159" y="150305"/>
                    <a:pt x="132683" y="150590"/>
                  </a:cubicBezTo>
                  <a:lnTo>
                    <a:pt x="129445" y="152591"/>
                  </a:lnTo>
                  <a:lnTo>
                    <a:pt x="129445" y="165259"/>
                  </a:lnTo>
                  <a:cubicBezTo>
                    <a:pt x="129445" y="173927"/>
                    <a:pt x="135160" y="181642"/>
                    <a:pt x="143351" y="184214"/>
                  </a:cubicBezTo>
                  <a:lnTo>
                    <a:pt x="154686" y="191548"/>
                  </a:lnTo>
                  <a:cubicBezTo>
                    <a:pt x="155162" y="201549"/>
                    <a:pt x="153162" y="220504"/>
                    <a:pt x="135922" y="241840"/>
                  </a:cubicBezTo>
                  <a:cubicBezTo>
                    <a:pt x="119158" y="262509"/>
                    <a:pt x="97536" y="261938"/>
                    <a:pt x="97536" y="261938"/>
                  </a:cubicBezTo>
                  <a:cubicBezTo>
                    <a:pt x="97536" y="261938"/>
                    <a:pt x="75914" y="262509"/>
                    <a:pt x="59150" y="241840"/>
                  </a:cubicBezTo>
                  <a:cubicBezTo>
                    <a:pt x="41815" y="220409"/>
                    <a:pt x="39815" y="201454"/>
                    <a:pt x="40386" y="191453"/>
                  </a:cubicBezTo>
                  <a:lnTo>
                    <a:pt x="51625" y="184214"/>
                  </a:lnTo>
                  <a:cubicBezTo>
                    <a:pt x="59817" y="181642"/>
                    <a:pt x="65532" y="173927"/>
                    <a:pt x="65532" y="165259"/>
                  </a:cubicBezTo>
                  <a:lnTo>
                    <a:pt x="65532" y="152114"/>
                  </a:lnTo>
                  <a:lnTo>
                    <a:pt x="62865" y="150686"/>
                  </a:lnTo>
                  <a:cubicBezTo>
                    <a:pt x="61817" y="150114"/>
                    <a:pt x="61436" y="148876"/>
                    <a:pt x="62008" y="147828"/>
                  </a:cubicBezTo>
                  <a:cubicBezTo>
                    <a:pt x="62294" y="147352"/>
                    <a:pt x="62770" y="146971"/>
                    <a:pt x="63246" y="146780"/>
                  </a:cubicBezTo>
                  <a:cubicBezTo>
                    <a:pt x="63722" y="146685"/>
                    <a:pt x="64103" y="146780"/>
                    <a:pt x="64579" y="146780"/>
                  </a:cubicBezTo>
                  <a:lnTo>
                    <a:pt x="62865" y="144780"/>
                  </a:lnTo>
                  <a:lnTo>
                    <a:pt x="60388" y="139541"/>
                  </a:lnTo>
                  <a:cubicBezTo>
                    <a:pt x="58865" y="128588"/>
                    <a:pt x="57055" y="113728"/>
                    <a:pt x="56293" y="98012"/>
                  </a:cubicBezTo>
                  <a:cubicBezTo>
                    <a:pt x="55721" y="96584"/>
                    <a:pt x="55626" y="95060"/>
                    <a:pt x="55531" y="93440"/>
                  </a:cubicBezTo>
                  <a:cubicBezTo>
                    <a:pt x="55054" y="85439"/>
                    <a:pt x="51245" y="85725"/>
                    <a:pt x="51245" y="85725"/>
                  </a:cubicBezTo>
                  <a:cubicBezTo>
                    <a:pt x="51245" y="85725"/>
                    <a:pt x="50197" y="82582"/>
                    <a:pt x="52578" y="82296"/>
                  </a:cubicBezTo>
                  <a:cubicBezTo>
                    <a:pt x="53531" y="82201"/>
                    <a:pt x="54674" y="82106"/>
                    <a:pt x="55912" y="82010"/>
                  </a:cubicBezTo>
                  <a:cubicBezTo>
                    <a:pt x="56864" y="82010"/>
                    <a:pt x="57817" y="81915"/>
                    <a:pt x="58960" y="81820"/>
                  </a:cubicBezTo>
                  <a:moveTo>
                    <a:pt x="60008" y="82010"/>
                  </a:moveTo>
                  <a:cubicBezTo>
                    <a:pt x="60770" y="82010"/>
                    <a:pt x="61436" y="82010"/>
                    <a:pt x="62198" y="82010"/>
                  </a:cubicBezTo>
                  <a:lnTo>
                    <a:pt x="77819" y="64770"/>
                  </a:lnTo>
                  <a:lnTo>
                    <a:pt x="78391" y="64198"/>
                  </a:lnTo>
                  <a:lnTo>
                    <a:pt x="77819" y="64770"/>
                  </a:lnTo>
                  <a:cubicBezTo>
                    <a:pt x="90107" y="72485"/>
                    <a:pt x="109347" y="79724"/>
                    <a:pt x="134017" y="73819"/>
                  </a:cubicBezTo>
                  <a:lnTo>
                    <a:pt x="138970" y="79820"/>
                  </a:lnTo>
                  <a:cubicBezTo>
                    <a:pt x="138970" y="79820"/>
                    <a:pt x="139446" y="80296"/>
                    <a:pt x="139732" y="80391"/>
                  </a:cubicBezTo>
                  <a:cubicBezTo>
                    <a:pt x="139732" y="79820"/>
                    <a:pt x="139732" y="79248"/>
                    <a:pt x="139732" y="78581"/>
                  </a:cubicBezTo>
                  <a:moveTo>
                    <a:pt x="206216" y="183833"/>
                  </a:moveTo>
                  <a:lnTo>
                    <a:pt x="213646" y="179070"/>
                  </a:lnTo>
                  <a:lnTo>
                    <a:pt x="215170" y="178213"/>
                  </a:lnTo>
                  <a:lnTo>
                    <a:pt x="219361" y="181166"/>
                  </a:lnTo>
                  <a:cubicBezTo>
                    <a:pt x="219361" y="181166"/>
                    <a:pt x="212217" y="184595"/>
                    <a:pt x="208026" y="186595"/>
                  </a:cubicBezTo>
                  <a:lnTo>
                    <a:pt x="206216" y="183737"/>
                  </a:lnTo>
                  <a:close/>
                  <a:moveTo>
                    <a:pt x="256984" y="264700"/>
                  </a:moveTo>
                  <a:lnTo>
                    <a:pt x="210979" y="191548"/>
                  </a:lnTo>
                  <a:lnTo>
                    <a:pt x="220504" y="182023"/>
                  </a:lnTo>
                  <a:cubicBezTo>
                    <a:pt x="222980" y="178213"/>
                    <a:pt x="224314" y="173736"/>
                    <a:pt x="224314" y="169259"/>
                  </a:cubicBezTo>
                  <a:lnTo>
                    <a:pt x="224314" y="157639"/>
                  </a:lnTo>
                  <a:lnTo>
                    <a:pt x="243745" y="168212"/>
                  </a:lnTo>
                  <a:lnTo>
                    <a:pt x="244221" y="168402"/>
                  </a:lnTo>
                  <a:cubicBezTo>
                    <a:pt x="254127" y="172307"/>
                    <a:pt x="265748" y="172117"/>
                    <a:pt x="275368" y="167735"/>
                  </a:cubicBezTo>
                  <a:lnTo>
                    <a:pt x="290989" y="158115"/>
                  </a:lnTo>
                  <a:lnTo>
                    <a:pt x="290989" y="169164"/>
                  </a:lnTo>
                  <a:cubicBezTo>
                    <a:pt x="290989" y="174212"/>
                    <a:pt x="292703" y="179165"/>
                    <a:pt x="295942" y="183452"/>
                  </a:cubicBezTo>
                  <a:lnTo>
                    <a:pt x="304229" y="189167"/>
                  </a:lnTo>
                  <a:lnTo>
                    <a:pt x="257080" y="264509"/>
                  </a:lnTo>
                  <a:close/>
                  <a:moveTo>
                    <a:pt x="304991" y="188024"/>
                  </a:moveTo>
                  <a:cubicBezTo>
                    <a:pt x="302800" y="186500"/>
                    <a:pt x="297466" y="182975"/>
                    <a:pt x="297180" y="182690"/>
                  </a:cubicBezTo>
                  <a:lnTo>
                    <a:pt x="301371" y="179737"/>
                  </a:lnTo>
                  <a:lnTo>
                    <a:pt x="302895" y="180594"/>
                  </a:lnTo>
                  <a:lnTo>
                    <a:pt x="307848" y="183642"/>
                  </a:lnTo>
                  <a:lnTo>
                    <a:pt x="305086" y="188119"/>
                  </a:lnTo>
                  <a:close/>
                  <a:moveTo>
                    <a:pt x="514922" y="204026"/>
                  </a:moveTo>
                  <a:cubicBezTo>
                    <a:pt x="513588" y="214503"/>
                    <a:pt x="509016" y="228600"/>
                    <a:pt x="496538" y="244031"/>
                  </a:cubicBezTo>
                  <a:cubicBezTo>
                    <a:pt x="479774" y="264700"/>
                    <a:pt x="458152" y="264128"/>
                    <a:pt x="458152" y="264128"/>
                  </a:cubicBezTo>
                  <a:cubicBezTo>
                    <a:pt x="458152" y="264128"/>
                    <a:pt x="436531" y="264700"/>
                    <a:pt x="419767" y="244031"/>
                  </a:cubicBezTo>
                  <a:cubicBezTo>
                    <a:pt x="407289" y="228600"/>
                    <a:pt x="402812" y="214503"/>
                    <a:pt x="401384" y="204026"/>
                  </a:cubicBezTo>
                  <a:cubicBezTo>
                    <a:pt x="400812" y="199930"/>
                    <a:pt x="400812" y="196406"/>
                    <a:pt x="400907" y="193643"/>
                  </a:cubicBezTo>
                  <a:lnTo>
                    <a:pt x="412051" y="186404"/>
                  </a:lnTo>
                  <a:cubicBezTo>
                    <a:pt x="420243" y="183833"/>
                    <a:pt x="425958" y="176117"/>
                    <a:pt x="425958" y="167450"/>
                  </a:cubicBezTo>
                  <a:lnTo>
                    <a:pt x="425958" y="154305"/>
                  </a:lnTo>
                  <a:lnTo>
                    <a:pt x="446913" y="165735"/>
                  </a:lnTo>
                  <a:cubicBezTo>
                    <a:pt x="450914" y="167354"/>
                    <a:pt x="455105" y="168116"/>
                    <a:pt x="459486" y="168116"/>
                  </a:cubicBezTo>
                  <a:cubicBezTo>
                    <a:pt x="464249" y="168116"/>
                    <a:pt x="469011" y="167069"/>
                    <a:pt x="473297" y="165164"/>
                  </a:cubicBezTo>
                  <a:lnTo>
                    <a:pt x="490061" y="154781"/>
                  </a:lnTo>
                  <a:lnTo>
                    <a:pt x="490061" y="167450"/>
                  </a:lnTo>
                  <a:cubicBezTo>
                    <a:pt x="490061" y="176117"/>
                    <a:pt x="495776" y="183833"/>
                    <a:pt x="503968" y="186404"/>
                  </a:cubicBezTo>
                  <a:lnTo>
                    <a:pt x="515302" y="193739"/>
                  </a:lnTo>
                  <a:cubicBezTo>
                    <a:pt x="515398" y="196501"/>
                    <a:pt x="515302" y="200025"/>
                    <a:pt x="514826" y="204026"/>
                  </a:cubicBezTo>
                  <a:close/>
                </a:path>
              </a:pathLst>
            </a:custGeom>
            <a:grpFill/>
            <a:ln w="9525" cap="flat">
              <a:noFill/>
              <a:prstDash val="solid"/>
              <a:miter/>
            </a:ln>
          </p:spPr>
          <p:txBody>
            <a:bodyPr rtlCol="0" anchor="ctr"/>
            <a:lstStyle/>
            <a:p>
              <a:endParaRPr lang="en-US" dirty="0"/>
            </a:p>
          </p:txBody>
        </p:sp>
      </p:grpSp>
      <p:grpSp>
        <p:nvGrpSpPr>
          <p:cNvPr id="1553" name="Group 1552">
            <a:extLst>
              <a:ext uri="{FF2B5EF4-FFF2-40B4-BE49-F238E27FC236}">
                <a16:creationId xmlns:a16="http://schemas.microsoft.com/office/drawing/2014/main" id="{91EBD1CF-F2DE-A63B-44AD-765AECEF243A}"/>
              </a:ext>
            </a:extLst>
          </p:cNvPr>
          <p:cNvGrpSpPr/>
          <p:nvPr/>
        </p:nvGrpSpPr>
        <p:grpSpPr>
          <a:xfrm>
            <a:off x="7596492" y="5622970"/>
            <a:ext cx="698503" cy="402713"/>
            <a:chOff x="4069951" y="200390"/>
            <a:chExt cx="1463076" cy="843517"/>
          </a:xfrm>
          <a:solidFill>
            <a:schemeClr val="bg1"/>
          </a:solidFill>
        </p:grpSpPr>
        <p:sp>
          <p:nvSpPr>
            <p:cNvPr id="1554" name="Freeform: Shape 1553">
              <a:extLst>
                <a:ext uri="{FF2B5EF4-FFF2-40B4-BE49-F238E27FC236}">
                  <a16:creationId xmlns:a16="http://schemas.microsoft.com/office/drawing/2014/main" id="{2B3DE3C4-69B2-8720-C147-5ACC60D2D10A}"/>
                </a:ext>
              </a:extLst>
            </p:cNvPr>
            <p:cNvSpPr/>
            <p:nvPr/>
          </p:nvSpPr>
          <p:spPr>
            <a:xfrm>
              <a:off x="5367383" y="439781"/>
              <a:ext cx="3600" cy="4234"/>
            </a:xfrm>
            <a:custGeom>
              <a:avLst/>
              <a:gdLst>
                <a:gd name="connsiteX0" fmla="*/ 1429 w 1619"/>
                <a:gd name="connsiteY0" fmla="*/ 1905 h 1904"/>
                <a:gd name="connsiteX1" fmla="*/ 1619 w 1619"/>
                <a:gd name="connsiteY1" fmla="*/ 1334 h 1904"/>
                <a:gd name="connsiteX2" fmla="*/ 1238 w 1619"/>
                <a:gd name="connsiteY2" fmla="*/ 953 h 1904"/>
                <a:gd name="connsiteX3" fmla="*/ 0 w 1619"/>
                <a:gd name="connsiteY3" fmla="*/ 0 h 1904"/>
                <a:gd name="connsiteX4" fmla="*/ 1238 w 1619"/>
                <a:gd name="connsiteY4" fmla="*/ 1715 h 1904"/>
                <a:gd name="connsiteX5" fmla="*/ 1334 w 1619"/>
                <a:gd name="connsiteY5" fmla="*/ 1905 h 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9" h="1904">
                  <a:moveTo>
                    <a:pt x="1429" y="1905"/>
                  </a:moveTo>
                  <a:cubicBezTo>
                    <a:pt x="1429" y="1905"/>
                    <a:pt x="1619" y="1524"/>
                    <a:pt x="1619" y="1334"/>
                  </a:cubicBezTo>
                  <a:cubicBezTo>
                    <a:pt x="1619" y="1143"/>
                    <a:pt x="1334" y="1048"/>
                    <a:pt x="1238" y="953"/>
                  </a:cubicBezTo>
                  <a:cubicBezTo>
                    <a:pt x="762" y="667"/>
                    <a:pt x="381" y="286"/>
                    <a:pt x="0" y="0"/>
                  </a:cubicBezTo>
                  <a:cubicBezTo>
                    <a:pt x="476" y="572"/>
                    <a:pt x="857" y="1143"/>
                    <a:pt x="1238" y="1715"/>
                  </a:cubicBezTo>
                  <a:cubicBezTo>
                    <a:pt x="1238" y="1715"/>
                    <a:pt x="1334" y="1905"/>
                    <a:pt x="1334" y="1905"/>
                  </a:cubicBezTo>
                  <a:close/>
                </a:path>
              </a:pathLst>
            </a:custGeom>
            <a:grpFill/>
            <a:ln w="9525" cap="flat">
              <a:noFill/>
              <a:prstDash val="solid"/>
              <a:miter/>
            </a:ln>
          </p:spPr>
          <p:txBody>
            <a:bodyPr rtlCol="0" anchor="ctr"/>
            <a:lstStyle/>
            <a:p>
              <a:endParaRPr lang="en-US" dirty="0"/>
            </a:p>
          </p:txBody>
        </p:sp>
        <p:sp>
          <p:nvSpPr>
            <p:cNvPr id="1555" name="Freeform: Shape 1554">
              <a:extLst>
                <a:ext uri="{FF2B5EF4-FFF2-40B4-BE49-F238E27FC236}">
                  <a16:creationId xmlns:a16="http://schemas.microsoft.com/office/drawing/2014/main" id="{FB089E94-3511-6CA7-1A6E-183E3623798D}"/>
                </a:ext>
              </a:extLst>
            </p:cNvPr>
            <p:cNvSpPr/>
            <p:nvPr/>
          </p:nvSpPr>
          <p:spPr>
            <a:xfrm>
              <a:off x="5055151" y="641016"/>
              <a:ext cx="2117" cy="1692"/>
            </a:xfrm>
            <a:custGeom>
              <a:avLst/>
              <a:gdLst>
                <a:gd name="connsiteX0" fmla="*/ 190 w 952"/>
                <a:gd name="connsiteY0" fmla="*/ 762 h 761"/>
                <a:gd name="connsiteX1" fmla="*/ 952 w 952"/>
                <a:gd name="connsiteY1" fmla="*/ 762 h 761"/>
                <a:gd name="connsiteX2" fmla="*/ 0 w 952"/>
                <a:gd name="connsiteY2" fmla="*/ 0 h 761"/>
                <a:gd name="connsiteX3" fmla="*/ 190 w 952"/>
                <a:gd name="connsiteY3" fmla="*/ 762 h 761"/>
              </a:gdLst>
              <a:ahLst/>
              <a:cxnLst>
                <a:cxn ang="0">
                  <a:pos x="connsiteX0" y="connsiteY0"/>
                </a:cxn>
                <a:cxn ang="0">
                  <a:pos x="connsiteX1" y="connsiteY1"/>
                </a:cxn>
                <a:cxn ang="0">
                  <a:pos x="connsiteX2" y="connsiteY2"/>
                </a:cxn>
                <a:cxn ang="0">
                  <a:pos x="connsiteX3" y="connsiteY3"/>
                </a:cxn>
              </a:cxnLst>
              <a:rect l="l" t="t" r="r" b="b"/>
              <a:pathLst>
                <a:path w="952" h="761">
                  <a:moveTo>
                    <a:pt x="190" y="762"/>
                  </a:moveTo>
                  <a:lnTo>
                    <a:pt x="952" y="762"/>
                  </a:lnTo>
                  <a:cubicBezTo>
                    <a:pt x="952" y="762"/>
                    <a:pt x="0" y="0"/>
                    <a:pt x="0" y="0"/>
                  </a:cubicBezTo>
                  <a:cubicBezTo>
                    <a:pt x="95" y="190"/>
                    <a:pt x="190" y="476"/>
                    <a:pt x="190" y="762"/>
                  </a:cubicBezTo>
                  <a:close/>
                </a:path>
              </a:pathLst>
            </a:custGeom>
            <a:grpFill/>
            <a:ln w="9525" cap="flat">
              <a:noFill/>
              <a:prstDash val="solid"/>
              <a:miter/>
            </a:ln>
          </p:spPr>
          <p:txBody>
            <a:bodyPr rtlCol="0" anchor="ctr"/>
            <a:lstStyle/>
            <a:p>
              <a:endParaRPr lang="en-US" dirty="0"/>
            </a:p>
          </p:txBody>
        </p:sp>
        <p:sp>
          <p:nvSpPr>
            <p:cNvPr id="1556" name="Freeform: Shape 1555">
              <a:extLst>
                <a:ext uri="{FF2B5EF4-FFF2-40B4-BE49-F238E27FC236}">
                  <a16:creationId xmlns:a16="http://schemas.microsoft.com/office/drawing/2014/main" id="{DE7BF942-EEEF-CDF0-75A7-67A71B0BF9D6}"/>
                </a:ext>
              </a:extLst>
            </p:cNvPr>
            <p:cNvSpPr/>
            <p:nvPr/>
          </p:nvSpPr>
          <p:spPr>
            <a:xfrm>
              <a:off x="5361027" y="567512"/>
              <a:ext cx="10379" cy="1788"/>
            </a:xfrm>
            <a:custGeom>
              <a:avLst/>
              <a:gdLst>
                <a:gd name="connsiteX0" fmla="*/ 762 w 4667"/>
                <a:gd name="connsiteY0" fmla="*/ 762 h 804"/>
                <a:gd name="connsiteX1" fmla="*/ 2476 w 4667"/>
                <a:gd name="connsiteY1" fmla="*/ 762 h 804"/>
                <a:gd name="connsiteX2" fmla="*/ 2381 w 4667"/>
                <a:gd name="connsiteY2" fmla="*/ 762 h 804"/>
                <a:gd name="connsiteX3" fmla="*/ 3143 w 4667"/>
                <a:gd name="connsiteY3" fmla="*/ 762 h 804"/>
                <a:gd name="connsiteX4" fmla="*/ 4667 w 4667"/>
                <a:gd name="connsiteY4" fmla="*/ 667 h 804"/>
                <a:gd name="connsiteX5" fmla="*/ 0 w 4667"/>
                <a:gd name="connsiteY5" fmla="*/ 0 h 804"/>
                <a:gd name="connsiteX6" fmla="*/ 0 w 4667"/>
                <a:gd name="connsiteY6" fmla="*/ 572 h 804"/>
                <a:gd name="connsiteX7" fmla="*/ 667 w 4667"/>
                <a:gd name="connsiteY7" fmla="*/ 667 h 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7" h="804">
                  <a:moveTo>
                    <a:pt x="762" y="762"/>
                  </a:moveTo>
                  <a:cubicBezTo>
                    <a:pt x="1333" y="762"/>
                    <a:pt x="1905" y="857"/>
                    <a:pt x="2476" y="762"/>
                  </a:cubicBezTo>
                  <a:cubicBezTo>
                    <a:pt x="2476" y="762"/>
                    <a:pt x="2476" y="762"/>
                    <a:pt x="2381" y="762"/>
                  </a:cubicBezTo>
                  <a:cubicBezTo>
                    <a:pt x="2667" y="762"/>
                    <a:pt x="2953" y="762"/>
                    <a:pt x="3143" y="762"/>
                  </a:cubicBezTo>
                  <a:cubicBezTo>
                    <a:pt x="3619" y="762"/>
                    <a:pt x="4191" y="762"/>
                    <a:pt x="4667" y="667"/>
                  </a:cubicBezTo>
                  <a:cubicBezTo>
                    <a:pt x="3048" y="762"/>
                    <a:pt x="1524" y="476"/>
                    <a:pt x="0" y="0"/>
                  </a:cubicBezTo>
                  <a:cubicBezTo>
                    <a:pt x="0" y="95"/>
                    <a:pt x="0" y="476"/>
                    <a:pt x="0" y="572"/>
                  </a:cubicBezTo>
                  <a:cubicBezTo>
                    <a:pt x="95" y="667"/>
                    <a:pt x="476" y="572"/>
                    <a:pt x="667" y="667"/>
                  </a:cubicBezTo>
                  <a:close/>
                </a:path>
              </a:pathLst>
            </a:custGeom>
            <a:grpFill/>
            <a:ln w="9525" cap="flat">
              <a:noFill/>
              <a:prstDash val="solid"/>
              <a:miter/>
            </a:ln>
          </p:spPr>
          <p:txBody>
            <a:bodyPr rtlCol="0" anchor="ctr"/>
            <a:lstStyle/>
            <a:p>
              <a:endParaRPr lang="en-US" dirty="0"/>
            </a:p>
          </p:txBody>
        </p:sp>
        <p:sp>
          <p:nvSpPr>
            <p:cNvPr id="1557" name="Freeform: Shape 1556">
              <a:extLst>
                <a:ext uri="{FF2B5EF4-FFF2-40B4-BE49-F238E27FC236}">
                  <a16:creationId xmlns:a16="http://schemas.microsoft.com/office/drawing/2014/main" id="{D2895387-747A-9B7E-664A-DCDA86659CFC}"/>
                </a:ext>
              </a:extLst>
            </p:cNvPr>
            <p:cNvSpPr/>
            <p:nvPr/>
          </p:nvSpPr>
          <p:spPr>
            <a:xfrm>
              <a:off x="4913863" y="411186"/>
              <a:ext cx="11649" cy="6354"/>
            </a:xfrm>
            <a:custGeom>
              <a:avLst/>
              <a:gdLst>
                <a:gd name="connsiteX0" fmla="*/ 190 w 5238"/>
                <a:gd name="connsiteY0" fmla="*/ 2762 h 2857"/>
                <a:gd name="connsiteX1" fmla="*/ 286 w 5238"/>
                <a:gd name="connsiteY1" fmla="*/ 2762 h 2857"/>
                <a:gd name="connsiteX2" fmla="*/ 5239 w 5238"/>
                <a:gd name="connsiteY2" fmla="*/ 1143 h 2857"/>
                <a:gd name="connsiteX3" fmla="*/ 0 w 5238"/>
                <a:gd name="connsiteY3" fmla="*/ 0 h 2857"/>
                <a:gd name="connsiteX4" fmla="*/ 190 w 5238"/>
                <a:gd name="connsiteY4" fmla="*/ 2857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 h="2857">
                  <a:moveTo>
                    <a:pt x="190" y="2762"/>
                  </a:moveTo>
                  <a:cubicBezTo>
                    <a:pt x="190" y="2762"/>
                    <a:pt x="190" y="2762"/>
                    <a:pt x="286" y="2762"/>
                  </a:cubicBezTo>
                  <a:cubicBezTo>
                    <a:pt x="1429" y="2476"/>
                    <a:pt x="4191" y="1619"/>
                    <a:pt x="5239" y="1143"/>
                  </a:cubicBezTo>
                  <a:cubicBezTo>
                    <a:pt x="4001" y="762"/>
                    <a:pt x="1143" y="667"/>
                    <a:pt x="0" y="0"/>
                  </a:cubicBezTo>
                  <a:cubicBezTo>
                    <a:pt x="381" y="857"/>
                    <a:pt x="381" y="1905"/>
                    <a:pt x="190" y="2857"/>
                  </a:cubicBezTo>
                  <a:close/>
                </a:path>
              </a:pathLst>
            </a:custGeom>
            <a:grpFill/>
            <a:ln w="9525" cap="flat">
              <a:noFill/>
              <a:prstDash val="solid"/>
              <a:miter/>
            </a:ln>
          </p:spPr>
          <p:txBody>
            <a:bodyPr rtlCol="0" anchor="ctr"/>
            <a:lstStyle/>
            <a:p>
              <a:endParaRPr lang="en-US" dirty="0"/>
            </a:p>
          </p:txBody>
        </p:sp>
        <p:sp>
          <p:nvSpPr>
            <p:cNvPr id="1558" name="Freeform: Shape 1557">
              <a:extLst>
                <a:ext uri="{FF2B5EF4-FFF2-40B4-BE49-F238E27FC236}">
                  <a16:creationId xmlns:a16="http://schemas.microsoft.com/office/drawing/2014/main" id="{897C7D23-8456-8B8F-B651-1DAA9AB8993E}"/>
                </a:ext>
              </a:extLst>
            </p:cNvPr>
            <p:cNvSpPr/>
            <p:nvPr/>
          </p:nvSpPr>
          <p:spPr>
            <a:xfrm>
              <a:off x="5312731" y="614750"/>
              <a:ext cx="12707" cy="6776"/>
            </a:xfrm>
            <a:custGeom>
              <a:avLst/>
              <a:gdLst>
                <a:gd name="connsiteX0" fmla="*/ 0 w 5714"/>
                <a:gd name="connsiteY0" fmla="*/ 2095 h 3047"/>
                <a:gd name="connsiteX1" fmla="*/ 3143 w 5714"/>
                <a:gd name="connsiteY1" fmla="*/ 2381 h 3047"/>
                <a:gd name="connsiteX2" fmla="*/ 5715 w 5714"/>
                <a:gd name="connsiteY2" fmla="*/ 3048 h 3047"/>
                <a:gd name="connsiteX3" fmla="*/ 1143 w 5714"/>
                <a:gd name="connsiteY3" fmla="*/ 0 h 3047"/>
                <a:gd name="connsiteX4" fmla="*/ 0 w 5714"/>
                <a:gd name="connsiteY4" fmla="*/ 2095 h 3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3047">
                  <a:moveTo>
                    <a:pt x="0" y="2095"/>
                  </a:moveTo>
                  <a:cubicBezTo>
                    <a:pt x="1048" y="2000"/>
                    <a:pt x="3238" y="2381"/>
                    <a:pt x="3143" y="2381"/>
                  </a:cubicBezTo>
                  <a:cubicBezTo>
                    <a:pt x="3143" y="2381"/>
                    <a:pt x="4858" y="2857"/>
                    <a:pt x="5715" y="3048"/>
                  </a:cubicBezTo>
                  <a:cubicBezTo>
                    <a:pt x="4096" y="2191"/>
                    <a:pt x="2572" y="1143"/>
                    <a:pt x="1143" y="0"/>
                  </a:cubicBezTo>
                  <a:cubicBezTo>
                    <a:pt x="857" y="762"/>
                    <a:pt x="476" y="1429"/>
                    <a:pt x="0" y="2095"/>
                  </a:cubicBezTo>
                  <a:close/>
                </a:path>
              </a:pathLst>
            </a:custGeom>
            <a:grpFill/>
            <a:ln w="9525" cap="flat">
              <a:noFill/>
              <a:prstDash val="solid"/>
              <a:miter/>
            </a:ln>
          </p:spPr>
          <p:txBody>
            <a:bodyPr rtlCol="0" anchor="ctr"/>
            <a:lstStyle/>
            <a:p>
              <a:endParaRPr lang="en-US" dirty="0"/>
            </a:p>
          </p:txBody>
        </p:sp>
        <p:sp>
          <p:nvSpPr>
            <p:cNvPr id="1559" name="Freeform: Shape 1558">
              <a:extLst>
                <a:ext uri="{FF2B5EF4-FFF2-40B4-BE49-F238E27FC236}">
                  <a16:creationId xmlns:a16="http://schemas.microsoft.com/office/drawing/2014/main" id="{CA7BBE9D-5417-88B2-9C6B-DA5C1E2D3553}"/>
                </a:ext>
              </a:extLst>
            </p:cNvPr>
            <p:cNvSpPr/>
            <p:nvPr/>
          </p:nvSpPr>
          <p:spPr>
            <a:xfrm>
              <a:off x="4813459" y="436391"/>
              <a:ext cx="14402" cy="34315"/>
            </a:xfrm>
            <a:custGeom>
              <a:avLst/>
              <a:gdLst>
                <a:gd name="connsiteX0" fmla="*/ 5334 w 6476"/>
                <a:gd name="connsiteY0" fmla="*/ 11621 h 15430"/>
                <a:gd name="connsiteX1" fmla="*/ 0 w 6476"/>
                <a:gd name="connsiteY1" fmla="*/ 0 h 15430"/>
                <a:gd name="connsiteX2" fmla="*/ 4477 w 6476"/>
                <a:gd name="connsiteY2" fmla="*/ 14669 h 15430"/>
                <a:gd name="connsiteX3" fmla="*/ 6477 w 6476"/>
                <a:gd name="connsiteY3" fmla="*/ 15430 h 15430"/>
                <a:gd name="connsiteX4" fmla="*/ 5239 w 6476"/>
                <a:gd name="connsiteY4" fmla="*/ 11621 h 15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6" h="15430">
                  <a:moveTo>
                    <a:pt x="5334" y="11621"/>
                  </a:moveTo>
                  <a:cubicBezTo>
                    <a:pt x="2572" y="4667"/>
                    <a:pt x="0" y="0"/>
                    <a:pt x="0" y="0"/>
                  </a:cubicBezTo>
                  <a:lnTo>
                    <a:pt x="4477" y="14669"/>
                  </a:lnTo>
                  <a:cubicBezTo>
                    <a:pt x="5144" y="14954"/>
                    <a:pt x="5810" y="15240"/>
                    <a:pt x="6477" y="15430"/>
                  </a:cubicBezTo>
                  <a:cubicBezTo>
                    <a:pt x="6096" y="14192"/>
                    <a:pt x="5715" y="12859"/>
                    <a:pt x="5239" y="11621"/>
                  </a:cubicBezTo>
                  <a:close/>
                </a:path>
              </a:pathLst>
            </a:custGeom>
            <a:grpFill/>
            <a:ln w="9525" cap="flat">
              <a:noFill/>
              <a:prstDash val="solid"/>
              <a:miter/>
            </a:ln>
          </p:spPr>
          <p:txBody>
            <a:bodyPr rtlCol="0" anchor="ctr"/>
            <a:lstStyle/>
            <a:p>
              <a:endParaRPr lang="en-US" dirty="0"/>
            </a:p>
          </p:txBody>
        </p:sp>
        <p:sp>
          <p:nvSpPr>
            <p:cNvPr id="1560" name="Freeform: Shape 1559">
              <a:extLst>
                <a:ext uri="{FF2B5EF4-FFF2-40B4-BE49-F238E27FC236}">
                  <a16:creationId xmlns:a16="http://schemas.microsoft.com/office/drawing/2014/main" id="{A067F1E0-0F57-FAC7-5E3C-0829A37DC237}"/>
                </a:ext>
              </a:extLst>
            </p:cNvPr>
            <p:cNvSpPr/>
            <p:nvPr/>
          </p:nvSpPr>
          <p:spPr>
            <a:xfrm>
              <a:off x="5334549" y="312899"/>
              <a:ext cx="9954" cy="7201"/>
            </a:xfrm>
            <a:custGeom>
              <a:avLst/>
              <a:gdLst>
                <a:gd name="connsiteX0" fmla="*/ 1238 w 4476"/>
                <a:gd name="connsiteY0" fmla="*/ 0 h 3238"/>
                <a:gd name="connsiteX1" fmla="*/ 0 w 4476"/>
                <a:gd name="connsiteY1" fmla="*/ 3239 h 3238"/>
                <a:gd name="connsiteX2" fmla="*/ 4477 w 4476"/>
                <a:gd name="connsiteY2" fmla="*/ 2667 h 3238"/>
                <a:gd name="connsiteX3" fmla="*/ 1333 w 4476"/>
                <a:gd name="connsiteY3" fmla="*/ 95 h 3238"/>
              </a:gdLst>
              <a:ahLst/>
              <a:cxnLst>
                <a:cxn ang="0">
                  <a:pos x="connsiteX0" y="connsiteY0"/>
                </a:cxn>
                <a:cxn ang="0">
                  <a:pos x="connsiteX1" y="connsiteY1"/>
                </a:cxn>
                <a:cxn ang="0">
                  <a:pos x="connsiteX2" y="connsiteY2"/>
                </a:cxn>
                <a:cxn ang="0">
                  <a:pos x="connsiteX3" y="connsiteY3"/>
                </a:cxn>
              </a:cxnLst>
              <a:rect l="l" t="t" r="r" b="b"/>
              <a:pathLst>
                <a:path w="4476" h="3238">
                  <a:moveTo>
                    <a:pt x="1238" y="0"/>
                  </a:moveTo>
                  <a:cubicBezTo>
                    <a:pt x="857" y="1048"/>
                    <a:pt x="476" y="2191"/>
                    <a:pt x="0" y="3239"/>
                  </a:cubicBezTo>
                  <a:cubicBezTo>
                    <a:pt x="1429" y="2953"/>
                    <a:pt x="2953" y="2762"/>
                    <a:pt x="4477" y="2667"/>
                  </a:cubicBezTo>
                  <a:cubicBezTo>
                    <a:pt x="3238" y="2096"/>
                    <a:pt x="2096" y="1238"/>
                    <a:pt x="1333" y="95"/>
                  </a:cubicBezTo>
                  <a:close/>
                </a:path>
              </a:pathLst>
            </a:custGeom>
            <a:grpFill/>
            <a:ln w="9525" cap="flat">
              <a:noFill/>
              <a:prstDash val="solid"/>
              <a:miter/>
            </a:ln>
          </p:spPr>
          <p:txBody>
            <a:bodyPr rtlCol="0" anchor="ctr"/>
            <a:lstStyle/>
            <a:p>
              <a:endParaRPr lang="en-US" dirty="0"/>
            </a:p>
          </p:txBody>
        </p:sp>
        <p:sp>
          <p:nvSpPr>
            <p:cNvPr id="1561" name="Freeform: Shape 1560">
              <a:extLst>
                <a:ext uri="{FF2B5EF4-FFF2-40B4-BE49-F238E27FC236}">
                  <a16:creationId xmlns:a16="http://schemas.microsoft.com/office/drawing/2014/main" id="{290760AC-C6FA-8917-9E95-855CDF650E3B}"/>
                </a:ext>
              </a:extLst>
            </p:cNvPr>
            <p:cNvSpPr/>
            <p:nvPr/>
          </p:nvSpPr>
          <p:spPr>
            <a:xfrm>
              <a:off x="5062566" y="652878"/>
              <a:ext cx="21183" cy="634"/>
            </a:xfrm>
            <a:custGeom>
              <a:avLst/>
              <a:gdLst>
                <a:gd name="connsiteX0" fmla="*/ 0 w 9525"/>
                <a:gd name="connsiteY0" fmla="*/ 0 h 285"/>
                <a:gd name="connsiteX1" fmla="*/ 0 w 9525"/>
                <a:gd name="connsiteY1" fmla="*/ 286 h 285"/>
                <a:gd name="connsiteX2" fmla="*/ 0 w 9525"/>
                <a:gd name="connsiteY2" fmla="*/ 0 h 285"/>
                <a:gd name="connsiteX3" fmla="*/ 0 w 9525"/>
                <a:gd name="connsiteY3" fmla="*/ 0 h 285"/>
              </a:gdLst>
              <a:ahLst/>
              <a:cxnLst>
                <a:cxn ang="0">
                  <a:pos x="connsiteX0" y="connsiteY0"/>
                </a:cxn>
                <a:cxn ang="0">
                  <a:pos x="connsiteX1" y="connsiteY1"/>
                </a:cxn>
                <a:cxn ang="0">
                  <a:pos x="connsiteX2" y="connsiteY2"/>
                </a:cxn>
                <a:cxn ang="0">
                  <a:pos x="connsiteX3" y="connsiteY3"/>
                </a:cxn>
              </a:cxnLst>
              <a:rect l="l" t="t" r="r" b="b"/>
              <a:pathLst>
                <a:path w="9525" h="285">
                  <a:moveTo>
                    <a:pt x="0" y="0"/>
                  </a:moveTo>
                  <a:cubicBezTo>
                    <a:pt x="0" y="0"/>
                    <a:pt x="0" y="191"/>
                    <a:pt x="0" y="286"/>
                  </a:cubicBezTo>
                  <a:lnTo>
                    <a:pt x="0" y="0"/>
                  </a:lnTo>
                  <a:cubicBezTo>
                    <a:pt x="0" y="0"/>
                    <a:pt x="0" y="0"/>
                    <a:pt x="0" y="0"/>
                  </a:cubicBezTo>
                  <a:close/>
                </a:path>
              </a:pathLst>
            </a:custGeom>
            <a:grpFill/>
            <a:ln w="9525" cap="flat">
              <a:noFill/>
              <a:prstDash val="solid"/>
              <a:miter/>
            </a:ln>
          </p:spPr>
          <p:txBody>
            <a:bodyPr rtlCol="0" anchor="ctr"/>
            <a:lstStyle/>
            <a:p>
              <a:endParaRPr lang="en-US" dirty="0"/>
            </a:p>
          </p:txBody>
        </p:sp>
        <p:sp>
          <p:nvSpPr>
            <p:cNvPr id="1562" name="Freeform: Shape 1561">
              <a:extLst>
                <a:ext uri="{FF2B5EF4-FFF2-40B4-BE49-F238E27FC236}">
                  <a16:creationId xmlns:a16="http://schemas.microsoft.com/office/drawing/2014/main" id="{65D70F95-08AC-BE6C-C514-F1CCD7C2519F}"/>
                </a:ext>
              </a:extLst>
            </p:cNvPr>
            <p:cNvSpPr/>
            <p:nvPr/>
          </p:nvSpPr>
          <p:spPr>
            <a:xfrm>
              <a:off x="5270155" y="248079"/>
              <a:ext cx="11437" cy="11649"/>
            </a:xfrm>
            <a:custGeom>
              <a:avLst/>
              <a:gdLst>
                <a:gd name="connsiteX0" fmla="*/ 0 w 5143"/>
                <a:gd name="connsiteY0" fmla="*/ 5143 h 5238"/>
                <a:gd name="connsiteX1" fmla="*/ 2762 w 5143"/>
                <a:gd name="connsiteY1" fmla="*/ 2286 h 5238"/>
                <a:gd name="connsiteX2" fmla="*/ 5144 w 5143"/>
                <a:gd name="connsiteY2" fmla="*/ 381 h 5238"/>
                <a:gd name="connsiteX3" fmla="*/ 2857 w 5143"/>
                <a:gd name="connsiteY3" fmla="*/ 0 h 5238"/>
                <a:gd name="connsiteX4" fmla="*/ 0 w 5143"/>
                <a:gd name="connsiteY4" fmla="*/ 5239 h 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 h="5238">
                  <a:moveTo>
                    <a:pt x="0" y="5143"/>
                  </a:moveTo>
                  <a:cubicBezTo>
                    <a:pt x="857" y="4096"/>
                    <a:pt x="1810" y="3143"/>
                    <a:pt x="2762" y="2286"/>
                  </a:cubicBezTo>
                  <a:cubicBezTo>
                    <a:pt x="3429" y="1619"/>
                    <a:pt x="4286" y="952"/>
                    <a:pt x="5144" y="381"/>
                  </a:cubicBezTo>
                  <a:cubicBezTo>
                    <a:pt x="4381" y="381"/>
                    <a:pt x="3524" y="381"/>
                    <a:pt x="2857" y="0"/>
                  </a:cubicBezTo>
                  <a:cubicBezTo>
                    <a:pt x="2857" y="2667"/>
                    <a:pt x="1238" y="2953"/>
                    <a:pt x="0" y="5239"/>
                  </a:cubicBezTo>
                  <a:close/>
                </a:path>
              </a:pathLst>
            </a:custGeom>
            <a:grpFill/>
            <a:ln w="9525" cap="flat">
              <a:noFill/>
              <a:prstDash val="solid"/>
              <a:miter/>
            </a:ln>
          </p:spPr>
          <p:txBody>
            <a:bodyPr rtlCol="0" anchor="ctr"/>
            <a:lstStyle/>
            <a:p>
              <a:endParaRPr lang="en-US" dirty="0"/>
            </a:p>
          </p:txBody>
        </p:sp>
        <p:sp>
          <p:nvSpPr>
            <p:cNvPr id="1563" name="Freeform: Shape 1562">
              <a:extLst>
                <a:ext uri="{FF2B5EF4-FFF2-40B4-BE49-F238E27FC236}">
                  <a16:creationId xmlns:a16="http://schemas.microsoft.com/office/drawing/2014/main" id="{A58CFDD8-0926-9A5D-AB52-BBC428859211}"/>
                </a:ext>
              </a:extLst>
            </p:cNvPr>
            <p:cNvSpPr/>
            <p:nvPr/>
          </p:nvSpPr>
          <p:spPr>
            <a:xfrm>
              <a:off x="5281592" y="246173"/>
              <a:ext cx="6776" cy="2753"/>
            </a:xfrm>
            <a:custGeom>
              <a:avLst/>
              <a:gdLst>
                <a:gd name="connsiteX0" fmla="*/ 3048 w 3047"/>
                <a:gd name="connsiteY0" fmla="*/ 0 h 1238"/>
                <a:gd name="connsiteX1" fmla="*/ 0 w 3047"/>
                <a:gd name="connsiteY1" fmla="*/ 1238 h 1238"/>
                <a:gd name="connsiteX2" fmla="*/ 3048 w 3047"/>
                <a:gd name="connsiteY2" fmla="*/ 0 h 1238"/>
              </a:gdLst>
              <a:ahLst/>
              <a:cxnLst>
                <a:cxn ang="0">
                  <a:pos x="connsiteX0" y="connsiteY0"/>
                </a:cxn>
                <a:cxn ang="0">
                  <a:pos x="connsiteX1" y="connsiteY1"/>
                </a:cxn>
                <a:cxn ang="0">
                  <a:pos x="connsiteX2" y="connsiteY2"/>
                </a:cxn>
              </a:cxnLst>
              <a:rect l="l" t="t" r="r" b="b"/>
              <a:pathLst>
                <a:path w="3047" h="1238">
                  <a:moveTo>
                    <a:pt x="3048" y="0"/>
                  </a:moveTo>
                  <a:cubicBezTo>
                    <a:pt x="2000" y="95"/>
                    <a:pt x="952" y="571"/>
                    <a:pt x="0" y="1238"/>
                  </a:cubicBezTo>
                  <a:cubicBezTo>
                    <a:pt x="1143" y="1238"/>
                    <a:pt x="2191" y="762"/>
                    <a:pt x="3048" y="0"/>
                  </a:cubicBezTo>
                  <a:close/>
                </a:path>
              </a:pathLst>
            </a:custGeom>
            <a:grpFill/>
            <a:ln w="9525" cap="flat">
              <a:noFill/>
              <a:prstDash val="solid"/>
              <a:miter/>
            </a:ln>
          </p:spPr>
          <p:txBody>
            <a:bodyPr rtlCol="0" anchor="ctr"/>
            <a:lstStyle/>
            <a:p>
              <a:endParaRPr lang="en-US" dirty="0"/>
            </a:p>
          </p:txBody>
        </p:sp>
        <p:sp>
          <p:nvSpPr>
            <p:cNvPr id="1564" name="Freeform: Shape 1563">
              <a:extLst>
                <a:ext uri="{FF2B5EF4-FFF2-40B4-BE49-F238E27FC236}">
                  <a16:creationId xmlns:a16="http://schemas.microsoft.com/office/drawing/2014/main" id="{440E22D1-0607-9011-9318-D42C012A692D}"/>
                </a:ext>
              </a:extLst>
            </p:cNvPr>
            <p:cNvSpPr/>
            <p:nvPr/>
          </p:nvSpPr>
          <p:spPr>
            <a:xfrm>
              <a:off x="5305952" y="280183"/>
              <a:ext cx="5718" cy="941"/>
            </a:xfrm>
            <a:custGeom>
              <a:avLst/>
              <a:gdLst>
                <a:gd name="connsiteX0" fmla="*/ 2572 w 2571"/>
                <a:gd name="connsiteY0" fmla="*/ 42 h 423"/>
                <a:gd name="connsiteX1" fmla="*/ 953 w 2571"/>
                <a:gd name="connsiteY1" fmla="*/ 42 h 423"/>
                <a:gd name="connsiteX2" fmla="*/ 0 w 2571"/>
                <a:gd name="connsiteY2" fmla="*/ 423 h 423"/>
                <a:gd name="connsiteX3" fmla="*/ 286 w 2571"/>
                <a:gd name="connsiteY3" fmla="*/ 423 h 423"/>
                <a:gd name="connsiteX4" fmla="*/ 2572 w 2571"/>
                <a:gd name="connsiteY4" fmla="*/ 233 h 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 h="423">
                  <a:moveTo>
                    <a:pt x="2572" y="42"/>
                  </a:moveTo>
                  <a:cubicBezTo>
                    <a:pt x="2096" y="42"/>
                    <a:pt x="1524" y="-53"/>
                    <a:pt x="953" y="42"/>
                  </a:cubicBezTo>
                  <a:cubicBezTo>
                    <a:pt x="762" y="42"/>
                    <a:pt x="0" y="328"/>
                    <a:pt x="0" y="423"/>
                  </a:cubicBezTo>
                  <a:cubicBezTo>
                    <a:pt x="0" y="423"/>
                    <a:pt x="190" y="423"/>
                    <a:pt x="286" y="423"/>
                  </a:cubicBezTo>
                  <a:cubicBezTo>
                    <a:pt x="1048" y="328"/>
                    <a:pt x="1810" y="233"/>
                    <a:pt x="2572" y="233"/>
                  </a:cubicBezTo>
                  <a:close/>
                </a:path>
              </a:pathLst>
            </a:custGeom>
            <a:grpFill/>
            <a:ln w="9525" cap="flat">
              <a:noFill/>
              <a:prstDash val="solid"/>
              <a:miter/>
            </a:ln>
          </p:spPr>
          <p:txBody>
            <a:bodyPr rtlCol="0" anchor="ctr"/>
            <a:lstStyle/>
            <a:p>
              <a:endParaRPr lang="en-US" dirty="0"/>
            </a:p>
          </p:txBody>
        </p:sp>
        <p:sp>
          <p:nvSpPr>
            <p:cNvPr id="1565" name="Freeform: Shape 1564">
              <a:extLst>
                <a:ext uri="{FF2B5EF4-FFF2-40B4-BE49-F238E27FC236}">
                  <a16:creationId xmlns:a16="http://schemas.microsoft.com/office/drawing/2014/main" id="{E6C679F3-1BC7-E910-6EE7-311BDECA886C}"/>
                </a:ext>
              </a:extLst>
            </p:cNvPr>
            <p:cNvSpPr/>
            <p:nvPr/>
          </p:nvSpPr>
          <p:spPr>
            <a:xfrm>
              <a:off x="5075658" y="228289"/>
              <a:ext cx="11477" cy="7781"/>
            </a:xfrm>
            <a:custGeom>
              <a:avLst/>
              <a:gdLst>
                <a:gd name="connsiteX0" fmla="*/ 1828 w 5161"/>
                <a:gd name="connsiteY0" fmla="*/ 136 h 3499"/>
                <a:gd name="connsiteX1" fmla="*/ 18 w 5161"/>
                <a:gd name="connsiteY1" fmla="*/ 1946 h 3499"/>
                <a:gd name="connsiteX2" fmla="*/ 3924 w 5161"/>
                <a:gd name="connsiteY2" fmla="*/ 2993 h 3499"/>
                <a:gd name="connsiteX3" fmla="*/ 5162 w 5161"/>
                <a:gd name="connsiteY3" fmla="*/ 2231 h 3499"/>
                <a:gd name="connsiteX4" fmla="*/ 1828 w 5161"/>
                <a:gd name="connsiteY4" fmla="*/ 136 h 3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1" h="3499">
                  <a:moveTo>
                    <a:pt x="1828" y="136"/>
                  </a:moveTo>
                  <a:cubicBezTo>
                    <a:pt x="1161" y="326"/>
                    <a:pt x="-172" y="1088"/>
                    <a:pt x="18" y="1946"/>
                  </a:cubicBezTo>
                  <a:cubicBezTo>
                    <a:pt x="18" y="2422"/>
                    <a:pt x="1352" y="4422"/>
                    <a:pt x="3924" y="2993"/>
                  </a:cubicBezTo>
                  <a:cubicBezTo>
                    <a:pt x="4114" y="2993"/>
                    <a:pt x="4686" y="2612"/>
                    <a:pt x="5162" y="2231"/>
                  </a:cubicBezTo>
                  <a:cubicBezTo>
                    <a:pt x="5162" y="898"/>
                    <a:pt x="3352" y="-436"/>
                    <a:pt x="1828" y="136"/>
                  </a:cubicBezTo>
                  <a:close/>
                </a:path>
              </a:pathLst>
            </a:custGeom>
            <a:grpFill/>
            <a:ln w="9525" cap="flat">
              <a:noFill/>
              <a:prstDash val="solid"/>
              <a:miter/>
            </a:ln>
          </p:spPr>
          <p:txBody>
            <a:bodyPr rtlCol="0" anchor="ctr"/>
            <a:lstStyle/>
            <a:p>
              <a:endParaRPr lang="en-US" dirty="0"/>
            </a:p>
          </p:txBody>
        </p:sp>
        <p:sp>
          <p:nvSpPr>
            <p:cNvPr id="1566" name="Freeform: Shape 1565">
              <a:extLst>
                <a:ext uri="{FF2B5EF4-FFF2-40B4-BE49-F238E27FC236}">
                  <a16:creationId xmlns:a16="http://schemas.microsoft.com/office/drawing/2014/main" id="{4E2B7D72-5F96-FE79-FB89-992377C9B5BE}"/>
                </a:ext>
              </a:extLst>
            </p:cNvPr>
            <p:cNvSpPr/>
            <p:nvPr/>
          </p:nvSpPr>
          <p:spPr>
            <a:xfrm>
              <a:off x="5087349" y="233252"/>
              <a:ext cx="21183" cy="634"/>
            </a:xfrm>
            <a:custGeom>
              <a:avLst/>
              <a:gdLst>
                <a:gd name="connsiteX0" fmla="*/ 0 w 9525"/>
                <a:gd name="connsiteY0" fmla="*/ 286 h 285"/>
                <a:gd name="connsiteX1" fmla="*/ 0 w 9525"/>
                <a:gd name="connsiteY1" fmla="*/ 0 h 285"/>
                <a:gd name="connsiteX2" fmla="*/ 0 w 9525"/>
                <a:gd name="connsiteY2" fmla="*/ 0 h 285"/>
                <a:gd name="connsiteX3" fmla="*/ 0 w 9525"/>
                <a:gd name="connsiteY3" fmla="*/ 286 h 285"/>
              </a:gdLst>
              <a:ahLst/>
              <a:cxnLst>
                <a:cxn ang="0">
                  <a:pos x="connsiteX0" y="connsiteY0"/>
                </a:cxn>
                <a:cxn ang="0">
                  <a:pos x="connsiteX1" y="connsiteY1"/>
                </a:cxn>
                <a:cxn ang="0">
                  <a:pos x="connsiteX2" y="connsiteY2"/>
                </a:cxn>
                <a:cxn ang="0">
                  <a:pos x="connsiteX3" y="connsiteY3"/>
                </a:cxn>
              </a:cxnLst>
              <a:rect l="l" t="t" r="r" b="b"/>
              <a:pathLst>
                <a:path w="9525" h="285">
                  <a:moveTo>
                    <a:pt x="0" y="286"/>
                  </a:moveTo>
                  <a:cubicBezTo>
                    <a:pt x="0" y="286"/>
                    <a:pt x="0" y="190"/>
                    <a:pt x="0" y="0"/>
                  </a:cubicBezTo>
                  <a:cubicBezTo>
                    <a:pt x="0" y="0"/>
                    <a:pt x="0" y="0"/>
                    <a:pt x="0" y="0"/>
                  </a:cubicBezTo>
                  <a:cubicBezTo>
                    <a:pt x="0" y="0"/>
                    <a:pt x="0" y="190"/>
                    <a:pt x="0" y="286"/>
                  </a:cubicBezTo>
                  <a:close/>
                </a:path>
              </a:pathLst>
            </a:custGeom>
            <a:grpFill/>
            <a:ln w="9525" cap="flat">
              <a:noFill/>
              <a:prstDash val="solid"/>
              <a:miter/>
            </a:ln>
          </p:spPr>
          <p:txBody>
            <a:bodyPr rtlCol="0" anchor="ctr"/>
            <a:lstStyle/>
            <a:p>
              <a:endParaRPr lang="en-US" dirty="0"/>
            </a:p>
          </p:txBody>
        </p:sp>
        <p:sp>
          <p:nvSpPr>
            <p:cNvPr id="1567" name="Freeform: Shape 1566">
              <a:extLst>
                <a:ext uri="{FF2B5EF4-FFF2-40B4-BE49-F238E27FC236}">
                  <a16:creationId xmlns:a16="http://schemas.microsoft.com/office/drawing/2014/main" id="{04152364-6758-8D06-8270-27CED25B8A16}"/>
                </a:ext>
              </a:extLst>
            </p:cNvPr>
            <p:cNvSpPr/>
            <p:nvPr/>
          </p:nvSpPr>
          <p:spPr>
            <a:xfrm>
              <a:off x="5354249" y="526630"/>
              <a:ext cx="7201" cy="7837"/>
            </a:xfrm>
            <a:custGeom>
              <a:avLst/>
              <a:gdLst>
                <a:gd name="connsiteX0" fmla="*/ 3238 w 3238"/>
                <a:gd name="connsiteY0" fmla="*/ 1524 h 3524"/>
                <a:gd name="connsiteX1" fmla="*/ 2857 w 3238"/>
                <a:gd name="connsiteY1" fmla="*/ 1429 h 3524"/>
                <a:gd name="connsiteX2" fmla="*/ 0 w 3238"/>
                <a:gd name="connsiteY2" fmla="*/ 0 h 3524"/>
                <a:gd name="connsiteX3" fmla="*/ 381 w 3238"/>
                <a:gd name="connsiteY3" fmla="*/ 3524 h 3524"/>
                <a:gd name="connsiteX4" fmla="*/ 3238 w 3238"/>
                <a:gd name="connsiteY4" fmla="*/ 1524 h 3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3524">
                  <a:moveTo>
                    <a:pt x="3238" y="1524"/>
                  </a:moveTo>
                  <a:cubicBezTo>
                    <a:pt x="3238" y="1524"/>
                    <a:pt x="2953" y="1429"/>
                    <a:pt x="2857" y="1429"/>
                  </a:cubicBezTo>
                  <a:cubicBezTo>
                    <a:pt x="1905" y="1048"/>
                    <a:pt x="953" y="571"/>
                    <a:pt x="0" y="0"/>
                  </a:cubicBezTo>
                  <a:cubicBezTo>
                    <a:pt x="190" y="1143"/>
                    <a:pt x="286" y="2381"/>
                    <a:pt x="381" y="3524"/>
                  </a:cubicBezTo>
                  <a:cubicBezTo>
                    <a:pt x="1143" y="2572"/>
                    <a:pt x="2191" y="2096"/>
                    <a:pt x="3238" y="1524"/>
                  </a:cubicBezTo>
                  <a:close/>
                </a:path>
              </a:pathLst>
            </a:custGeom>
            <a:grpFill/>
            <a:ln w="9525" cap="flat">
              <a:noFill/>
              <a:prstDash val="solid"/>
              <a:miter/>
            </a:ln>
          </p:spPr>
          <p:txBody>
            <a:bodyPr rtlCol="0" anchor="ctr"/>
            <a:lstStyle/>
            <a:p>
              <a:endParaRPr lang="en-US" dirty="0"/>
            </a:p>
          </p:txBody>
        </p:sp>
        <p:sp>
          <p:nvSpPr>
            <p:cNvPr id="1568" name="Freeform: Shape 1567">
              <a:extLst>
                <a:ext uri="{FF2B5EF4-FFF2-40B4-BE49-F238E27FC236}">
                  <a16:creationId xmlns:a16="http://schemas.microsoft.com/office/drawing/2014/main" id="{0358728A-71DF-824A-6A7A-93D490F4D10B}"/>
                </a:ext>
              </a:extLst>
            </p:cNvPr>
            <p:cNvSpPr/>
            <p:nvPr/>
          </p:nvSpPr>
          <p:spPr>
            <a:xfrm>
              <a:off x="4922716" y="330519"/>
              <a:ext cx="21647" cy="13466"/>
            </a:xfrm>
            <a:custGeom>
              <a:avLst/>
              <a:gdLst>
                <a:gd name="connsiteX0" fmla="*/ 6020 w 9734"/>
                <a:gd name="connsiteY0" fmla="*/ 1126 h 6055"/>
                <a:gd name="connsiteX1" fmla="*/ 5068 w 9734"/>
                <a:gd name="connsiteY1" fmla="*/ 1411 h 6055"/>
                <a:gd name="connsiteX2" fmla="*/ 1353 w 9734"/>
                <a:gd name="connsiteY2" fmla="*/ 364 h 6055"/>
                <a:gd name="connsiteX3" fmla="*/ 115 w 9734"/>
                <a:gd name="connsiteY3" fmla="*/ 3697 h 6055"/>
                <a:gd name="connsiteX4" fmla="*/ 972 w 9734"/>
                <a:gd name="connsiteY4" fmla="*/ 5602 h 6055"/>
                <a:gd name="connsiteX5" fmla="*/ 3544 w 9734"/>
                <a:gd name="connsiteY5" fmla="*/ 5983 h 6055"/>
                <a:gd name="connsiteX6" fmla="*/ 9640 w 9734"/>
                <a:gd name="connsiteY6" fmla="*/ 5126 h 6055"/>
                <a:gd name="connsiteX7" fmla="*/ 9735 w 9734"/>
                <a:gd name="connsiteY7" fmla="*/ 5126 h 6055"/>
                <a:gd name="connsiteX8" fmla="*/ 6020 w 9734"/>
                <a:gd name="connsiteY8" fmla="*/ 1221 h 6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34" h="6055">
                  <a:moveTo>
                    <a:pt x="6020" y="1126"/>
                  </a:moveTo>
                  <a:cubicBezTo>
                    <a:pt x="6020" y="2840"/>
                    <a:pt x="5734" y="2935"/>
                    <a:pt x="5068" y="1411"/>
                  </a:cubicBezTo>
                  <a:cubicBezTo>
                    <a:pt x="4496" y="78"/>
                    <a:pt x="2496" y="-398"/>
                    <a:pt x="1353" y="364"/>
                  </a:cubicBezTo>
                  <a:cubicBezTo>
                    <a:pt x="20" y="1126"/>
                    <a:pt x="-171" y="2269"/>
                    <a:pt x="115" y="3697"/>
                  </a:cubicBezTo>
                  <a:cubicBezTo>
                    <a:pt x="210" y="4364"/>
                    <a:pt x="496" y="5126"/>
                    <a:pt x="972" y="5602"/>
                  </a:cubicBezTo>
                  <a:cubicBezTo>
                    <a:pt x="1639" y="6174"/>
                    <a:pt x="2687" y="6079"/>
                    <a:pt x="3544" y="5983"/>
                  </a:cubicBezTo>
                  <a:cubicBezTo>
                    <a:pt x="5544" y="5793"/>
                    <a:pt x="7544" y="5221"/>
                    <a:pt x="9640" y="5126"/>
                  </a:cubicBezTo>
                  <a:cubicBezTo>
                    <a:pt x="9640" y="5126"/>
                    <a:pt x="9640" y="5126"/>
                    <a:pt x="9735" y="5126"/>
                  </a:cubicBezTo>
                  <a:cubicBezTo>
                    <a:pt x="8402" y="3983"/>
                    <a:pt x="7068" y="2745"/>
                    <a:pt x="6020" y="1221"/>
                  </a:cubicBezTo>
                  <a:close/>
                </a:path>
              </a:pathLst>
            </a:custGeom>
            <a:grpFill/>
            <a:ln w="9525" cap="flat">
              <a:noFill/>
              <a:prstDash val="solid"/>
              <a:miter/>
            </a:ln>
          </p:spPr>
          <p:txBody>
            <a:bodyPr rtlCol="0" anchor="ctr"/>
            <a:lstStyle/>
            <a:p>
              <a:endParaRPr lang="en-US" dirty="0"/>
            </a:p>
          </p:txBody>
        </p:sp>
        <p:sp>
          <p:nvSpPr>
            <p:cNvPr id="1569" name="Freeform: Shape 1568">
              <a:extLst>
                <a:ext uri="{FF2B5EF4-FFF2-40B4-BE49-F238E27FC236}">
                  <a16:creationId xmlns:a16="http://schemas.microsoft.com/office/drawing/2014/main" id="{FD22C0EA-DEC2-61EE-6FE5-2290082662B7}"/>
                </a:ext>
              </a:extLst>
            </p:cNvPr>
            <p:cNvSpPr/>
            <p:nvPr/>
          </p:nvSpPr>
          <p:spPr>
            <a:xfrm>
              <a:off x="4995765" y="588906"/>
              <a:ext cx="7277" cy="28172"/>
            </a:xfrm>
            <a:custGeom>
              <a:avLst/>
              <a:gdLst>
                <a:gd name="connsiteX0" fmla="*/ 1939 w 3272"/>
                <a:gd name="connsiteY0" fmla="*/ 6763 h 12668"/>
                <a:gd name="connsiteX1" fmla="*/ 2701 w 3272"/>
                <a:gd name="connsiteY1" fmla="*/ 0 h 12668"/>
                <a:gd name="connsiteX2" fmla="*/ 1177 w 3272"/>
                <a:gd name="connsiteY2" fmla="*/ 953 h 12668"/>
                <a:gd name="connsiteX3" fmla="*/ 701 w 3272"/>
                <a:gd name="connsiteY3" fmla="*/ 1619 h 12668"/>
                <a:gd name="connsiteX4" fmla="*/ 415 w 3272"/>
                <a:gd name="connsiteY4" fmla="*/ 2477 h 12668"/>
                <a:gd name="connsiteX5" fmla="*/ 34 w 3272"/>
                <a:gd name="connsiteY5" fmla="*/ 6382 h 12668"/>
                <a:gd name="connsiteX6" fmla="*/ 891 w 3272"/>
                <a:gd name="connsiteY6" fmla="*/ 10001 h 12668"/>
                <a:gd name="connsiteX7" fmla="*/ 2797 w 3272"/>
                <a:gd name="connsiteY7" fmla="*/ 12478 h 12668"/>
                <a:gd name="connsiteX8" fmla="*/ 2797 w 3272"/>
                <a:gd name="connsiteY8" fmla="*/ 12478 h 12668"/>
                <a:gd name="connsiteX9" fmla="*/ 2797 w 3272"/>
                <a:gd name="connsiteY9" fmla="*/ 12478 h 12668"/>
                <a:gd name="connsiteX10" fmla="*/ 2797 w 3272"/>
                <a:gd name="connsiteY10" fmla="*/ 12478 h 12668"/>
                <a:gd name="connsiteX11" fmla="*/ 3273 w 3272"/>
                <a:gd name="connsiteY11" fmla="*/ 12668 h 12668"/>
                <a:gd name="connsiteX12" fmla="*/ 1939 w 3272"/>
                <a:gd name="connsiteY12" fmla="*/ 6668 h 1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72" h="12668">
                  <a:moveTo>
                    <a:pt x="1939" y="6763"/>
                  </a:moveTo>
                  <a:cubicBezTo>
                    <a:pt x="1939" y="4477"/>
                    <a:pt x="2225" y="2286"/>
                    <a:pt x="2701" y="0"/>
                  </a:cubicBezTo>
                  <a:cubicBezTo>
                    <a:pt x="2130" y="286"/>
                    <a:pt x="1558" y="476"/>
                    <a:pt x="1177" y="953"/>
                  </a:cubicBezTo>
                  <a:cubicBezTo>
                    <a:pt x="987" y="1143"/>
                    <a:pt x="796" y="1238"/>
                    <a:pt x="701" y="1619"/>
                  </a:cubicBezTo>
                  <a:cubicBezTo>
                    <a:pt x="701" y="1905"/>
                    <a:pt x="511" y="2191"/>
                    <a:pt x="415" y="2477"/>
                  </a:cubicBezTo>
                  <a:cubicBezTo>
                    <a:pt x="34" y="3715"/>
                    <a:pt x="-61" y="5048"/>
                    <a:pt x="34" y="6382"/>
                  </a:cubicBezTo>
                  <a:cubicBezTo>
                    <a:pt x="34" y="7620"/>
                    <a:pt x="415" y="8858"/>
                    <a:pt x="891" y="10001"/>
                  </a:cubicBezTo>
                  <a:cubicBezTo>
                    <a:pt x="1273" y="10954"/>
                    <a:pt x="1939" y="11906"/>
                    <a:pt x="2797" y="12478"/>
                  </a:cubicBezTo>
                  <a:cubicBezTo>
                    <a:pt x="2606" y="12383"/>
                    <a:pt x="1939" y="12002"/>
                    <a:pt x="2797" y="12478"/>
                  </a:cubicBezTo>
                  <a:cubicBezTo>
                    <a:pt x="2797" y="12478"/>
                    <a:pt x="2797" y="12478"/>
                    <a:pt x="2797" y="12478"/>
                  </a:cubicBezTo>
                  <a:cubicBezTo>
                    <a:pt x="2797" y="12478"/>
                    <a:pt x="2797" y="12478"/>
                    <a:pt x="2797" y="12478"/>
                  </a:cubicBezTo>
                  <a:cubicBezTo>
                    <a:pt x="2987" y="12478"/>
                    <a:pt x="3082" y="12668"/>
                    <a:pt x="3273" y="12668"/>
                  </a:cubicBezTo>
                  <a:cubicBezTo>
                    <a:pt x="2225" y="10858"/>
                    <a:pt x="1939" y="8763"/>
                    <a:pt x="1939" y="6668"/>
                  </a:cubicBezTo>
                  <a:close/>
                </a:path>
              </a:pathLst>
            </a:custGeom>
            <a:grpFill/>
            <a:ln w="9525" cap="flat">
              <a:noFill/>
              <a:prstDash val="solid"/>
              <a:miter/>
            </a:ln>
          </p:spPr>
          <p:txBody>
            <a:bodyPr rtlCol="0" anchor="ctr"/>
            <a:lstStyle/>
            <a:p>
              <a:endParaRPr lang="en-US" dirty="0"/>
            </a:p>
          </p:txBody>
        </p:sp>
        <p:sp>
          <p:nvSpPr>
            <p:cNvPr id="1570" name="Freeform: Shape 1569">
              <a:extLst>
                <a:ext uri="{FF2B5EF4-FFF2-40B4-BE49-F238E27FC236}">
                  <a16:creationId xmlns:a16="http://schemas.microsoft.com/office/drawing/2014/main" id="{F45AE59C-3F41-5F88-50B9-6EB7B3472712}"/>
                </a:ext>
              </a:extLst>
            </p:cNvPr>
            <p:cNvSpPr/>
            <p:nvPr/>
          </p:nvSpPr>
          <p:spPr>
            <a:xfrm>
              <a:off x="5300444" y="272440"/>
              <a:ext cx="1695" cy="7201"/>
            </a:xfrm>
            <a:custGeom>
              <a:avLst/>
              <a:gdLst>
                <a:gd name="connsiteX0" fmla="*/ 667 w 762"/>
                <a:gd name="connsiteY0" fmla="*/ 2381 h 3238"/>
                <a:gd name="connsiteX1" fmla="*/ 476 w 762"/>
                <a:gd name="connsiteY1" fmla="*/ 1619 h 3238"/>
                <a:gd name="connsiteX2" fmla="*/ 95 w 762"/>
                <a:gd name="connsiteY2" fmla="*/ 0 h 3238"/>
                <a:gd name="connsiteX3" fmla="*/ 0 w 762"/>
                <a:gd name="connsiteY3" fmla="*/ 3238 h 3238"/>
                <a:gd name="connsiteX4" fmla="*/ 667 w 762"/>
                <a:gd name="connsiteY4" fmla="*/ 2857 h 3238"/>
                <a:gd name="connsiteX5" fmla="*/ 762 w 762"/>
                <a:gd name="connsiteY5" fmla="*/ 2381 h 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 h="3238">
                  <a:moveTo>
                    <a:pt x="667" y="2381"/>
                  </a:moveTo>
                  <a:cubicBezTo>
                    <a:pt x="667" y="2381"/>
                    <a:pt x="571" y="1905"/>
                    <a:pt x="476" y="1619"/>
                  </a:cubicBezTo>
                  <a:cubicBezTo>
                    <a:pt x="286" y="1048"/>
                    <a:pt x="190" y="476"/>
                    <a:pt x="95" y="0"/>
                  </a:cubicBezTo>
                  <a:cubicBezTo>
                    <a:pt x="95" y="1048"/>
                    <a:pt x="95" y="2191"/>
                    <a:pt x="0" y="3238"/>
                  </a:cubicBezTo>
                  <a:cubicBezTo>
                    <a:pt x="286" y="3238"/>
                    <a:pt x="571" y="2857"/>
                    <a:pt x="667" y="2857"/>
                  </a:cubicBezTo>
                  <a:cubicBezTo>
                    <a:pt x="667" y="2667"/>
                    <a:pt x="762" y="2572"/>
                    <a:pt x="762" y="2381"/>
                  </a:cubicBezTo>
                  <a:close/>
                </a:path>
              </a:pathLst>
            </a:custGeom>
            <a:grpFill/>
            <a:ln w="9525" cap="flat">
              <a:noFill/>
              <a:prstDash val="solid"/>
              <a:miter/>
            </a:ln>
          </p:spPr>
          <p:txBody>
            <a:bodyPr rtlCol="0" anchor="ctr"/>
            <a:lstStyle/>
            <a:p>
              <a:endParaRPr lang="en-US" dirty="0"/>
            </a:p>
          </p:txBody>
        </p:sp>
        <p:sp>
          <p:nvSpPr>
            <p:cNvPr id="1571" name="Freeform: Shape 1570">
              <a:extLst>
                <a:ext uri="{FF2B5EF4-FFF2-40B4-BE49-F238E27FC236}">
                  <a16:creationId xmlns:a16="http://schemas.microsoft.com/office/drawing/2014/main" id="{4779155A-BA77-50BE-7EE1-AB282FA3F707}"/>
                </a:ext>
              </a:extLst>
            </p:cNvPr>
            <p:cNvSpPr/>
            <p:nvPr/>
          </p:nvSpPr>
          <p:spPr>
            <a:xfrm>
              <a:off x="4904756" y="409447"/>
              <a:ext cx="8048" cy="8304"/>
            </a:xfrm>
            <a:custGeom>
              <a:avLst/>
              <a:gdLst>
                <a:gd name="connsiteX0" fmla="*/ 3048 w 3619"/>
                <a:gd name="connsiteY0" fmla="*/ 1925 h 3734"/>
                <a:gd name="connsiteX1" fmla="*/ 1429 w 3619"/>
                <a:gd name="connsiteY1" fmla="*/ 20 h 3734"/>
                <a:gd name="connsiteX2" fmla="*/ 0 w 3619"/>
                <a:gd name="connsiteY2" fmla="*/ 401 h 3734"/>
                <a:gd name="connsiteX3" fmla="*/ 190 w 3619"/>
                <a:gd name="connsiteY3" fmla="*/ 2782 h 3734"/>
                <a:gd name="connsiteX4" fmla="*/ 953 w 3619"/>
                <a:gd name="connsiteY4" fmla="*/ 3734 h 3734"/>
                <a:gd name="connsiteX5" fmla="*/ 1619 w 3619"/>
                <a:gd name="connsiteY5" fmla="*/ 3734 h 3734"/>
                <a:gd name="connsiteX6" fmla="*/ 2572 w 3619"/>
                <a:gd name="connsiteY6" fmla="*/ 3734 h 3734"/>
                <a:gd name="connsiteX7" fmla="*/ 2667 w 3619"/>
                <a:gd name="connsiteY7" fmla="*/ 3734 h 3734"/>
                <a:gd name="connsiteX8" fmla="*/ 3620 w 3619"/>
                <a:gd name="connsiteY8" fmla="*/ 3449 h 3734"/>
                <a:gd name="connsiteX9" fmla="*/ 3429 w 3619"/>
                <a:gd name="connsiteY9" fmla="*/ 2687 h 3734"/>
                <a:gd name="connsiteX10" fmla="*/ 3143 w 3619"/>
                <a:gd name="connsiteY10" fmla="*/ 1925 h 3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9" h="3734">
                  <a:moveTo>
                    <a:pt x="3048" y="1925"/>
                  </a:moveTo>
                  <a:cubicBezTo>
                    <a:pt x="2572" y="1067"/>
                    <a:pt x="2477" y="-171"/>
                    <a:pt x="1429" y="20"/>
                  </a:cubicBezTo>
                  <a:cubicBezTo>
                    <a:pt x="953" y="115"/>
                    <a:pt x="95" y="-171"/>
                    <a:pt x="0" y="401"/>
                  </a:cubicBezTo>
                  <a:cubicBezTo>
                    <a:pt x="0" y="877"/>
                    <a:pt x="0" y="2401"/>
                    <a:pt x="190" y="2782"/>
                  </a:cubicBezTo>
                  <a:cubicBezTo>
                    <a:pt x="381" y="3068"/>
                    <a:pt x="571" y="3544"/>
                    <a:pt x="953" y="3734"/>
                  </a:cubicBezTo>
                  <a:cubicBezTo>
                    <a:pt x="1143" y="3734"/>
                    <a:pt x="1333" y="3734"/>
                    <a:pt x="1619" y="3734"/>
                  </a:cubicBezTo>
                  <a:cubicBezTo>
                    <a:pt x="1905" y="3734"/>
                    <a:pt x="2286" y="3734"/>
                    <a:pt x="2572" y="3734"/>
                  </a:cubicBezTo>
                  <a:cubicBezTo>
                    <a:pt x="2286" y="3734"/>
                    <a:pt x="2667" y="3734"/>
                    <a:pt x="2667" y="3734"/>
                  </a:cubicBezTo>
                  <a:cubicBezTo>
                    <a:pt x="2953" y="3734"/>
                    <a:pt x="3524" y="3734"/>
                    <a:pt x="3620" y="3449"/>
                  </a:cubicBezTo>
                  <a:cubicBezTo>
                    <a:pt x="3620" y="3258"/>
                    <a:pt x="3524" y="2877"/>
                    <a:pt x="3429" y="2687"/>
                  </a:cubicBezTo>
                  <a:cubicBezTo>
                    <a:pt x="3429" y="2401"/>
                    <a:pt x="3238" y="2115"/>
                    <a:pt x="3143" y="1925"/>
                  </a:cubicBezTo>
                  <a:close/>
                </a:path>
              </a:pathLst>
            </a:custGeom>
            <a:grpFill/>
            <a:ln w="9525" cap="flat">
              <a:noFill/>
              <a:prstDash val="solid"/>
              <a:miter/>
            </a:ln>
          </p:spPr>
          <p:txBody>
            <a:bodyPr rtlCol="0" anchor="ctr"/>
            <a:lstStyle/>
            <a:p>
              <a:endParaRPr lang="en-US" dirty="0"/>
            </a:p>
          </p:txBody>
        </p:sp>
        <p:sp>
          <p:nvSpPr>
            <p:cNvPr id="1572" name="Freeform: Shape 1571">
              <a:extLst>
                <a:ext uri="{FF2B5EF4-FFF2-40B4-BE49-F238E27FC236}">
                  <a16:creationId xmlns:a16="http://schemas.microsoft.com/office/drawing/2014/main" id="{39E2D560-1F03-FCC7-E27A-DAA0000D11AA}"/>
                </a:ext>
              </a:extLst>
            </p:cNvPr>
            <p:cNvSpPr/>
            <p:nvPr/>
          </p:nvSpPr>
          <p:spPr>
            <a:xfrm>
              <a:off x="4940561" y="509262"/>
              <a:ext cx="6136" cy="19274"/>
            </a:xfrm>
            <a:custGeom>
              <a:avLst/>
              <a:gdLst>
                <a:gd name="connsiteX0" fmla="*/ 1807 w 2759"/>
                <a:gd name="connsiteY0" fmla="*/ 1333 h 8667"/>
                <a:gd name="connsiteX1" fmla="*/ 664 w 2759"/>
                <a:gd name="connsiteY1" fmla="*/ 3715 h 8667"/>
                <a:gd name="connsiteX2" fmla="*/ 283 w 2759"/>
                <a:gd name="connsiteY2" fmla="*/ 8668 h 8667"/>
                <a:gd name="connsiteX3" fmla="*/ 473 w 2759"/>
                <a:gd name="connsiteY3" fmla="*/ 7906 h 8667"/>
                <a:gd name="connsiteX4" fmla="*/ 473 w 2759"/>
                <a:gd name="connsiteY4" fmla="*/ 7620 h 8667"/>
                <a:gd name="connsiteX5" fmla="*/ 2759 w 2759"/>
                <a:gd name="connsiteY5" fmla="*/ 0 h 8667"/>
                <a:gd name="connsiteX6" fmla="*/ 1711 w 2759"/>
                <a:gd name="connsiteY6" fmla="*/ 1238 h 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9" h="8667">
                  <a:moveTo>
                    <a:pt x="1807" y="1333"/>
                  </a:moveTo>
                  <a:cubicBezTo>
                    <a:pt x="1330" y="2095"/>
                    <a:pt x="950" y="2857"/>
                    <a:pt x="664" y="3715"/>
                  </a:cubicBezTo>
                  <a:cubicBezTo>
                    <a:pt x="92" y="5239"/>
                    <a:pt x="-289" y="7144"/>
                    <a:pt x="283" y="8668"/>
                  </a:cubicBezTo>
                  <a:cubicBezTo>
                    <a:pt x="283" y="8382"/>
                    <a:pt x="378" y="8096"/>
                    <a:pt x="473" y="7906"/>
                  </a:cubicBezTo>
                  <a:cubicBezTo>
                    <a:pt x="473" y="7906"/>
                    <a:pt x="473" y="7715"/>
                    <a:pt x="473" y="7620"/>
                  </a:cubicBezTo>
                  <a:cubicBezTo>
                    <a:pt x="1045" y="5048"/>
                    <a:pt x="1902" y="2476"/>
                    <a:pt x="2759" y="0"/>
                  </a:cubicBezTo>
                  <a:cubicBezTo>
                    <a:pt x="2473" y="0"/>
                    <a:pt x="1902" y="1048"/>
                    <a:pt x="1711" y="1238"/>
                  </a:cubicBezTo>
                  <a:close/>
                </a:path>
              </a:pathLst>
            </a:custGeom>
            <a:grpFill/>
            <a:ln w="9525" cap="flat">
              <a:noFill/>
              <a:prstDash val="solid"/>
              <a:miter/>
            </a:ln>
          </p:spPr>
          <p:txBody>
            <a:bodyPr rtlCol="0" anchor="ctr"/>
            <a:lstStyle/>
            <a:p>
              <a:endParaRPr lang="en-US" dirty="0"/>
            </a:p>
          </p:txBody>
        </p:sp>
        <p:sp>
          <p:nvSpPr>
            <p:cNvPr id="1573" name="Freeform: Shape 1572">
              <a:extLst>
                <a:ext uri="{FF2B5EF4-FFF2-40B4-BE49-F238E27FC236}">
                  <a16:creationId xmlns:a16="http://schemas.microsoft.com/office/drawing/2014/main" id="{F8034EC4-5FE1-B1DA-6D55-D8DD07052D8D}"/>
                </a:ext>
              </a:extLst>
            </p:cNvPr>
            <p:cNvSpPr/>
            <p:nvPr/>
          </p:nvSpPr>
          <p:spPr>
            <a:xfrm>
              <a:off x="4951240" y="569207"/>
              <a:ext cx="10495" cy="11264"/>
            </a:xfrm>
            <a:custGeom>
              <a:avLst/>
              <a:gdLst>
                <a:gd name="connsiteX0" fmla="*/ 4339 w 4719"/>
                <a:gd name="connsiteY0" fmla="*/ 762 h 5065"/>
                <a:gd name="connsiteX1" fmla="*/ 2624 w 4719"/>
                <a:gd name="connsiteY1" fmla="*/ 0 h 5065"/>
                <a:gd name="connsiteX2" fmla="*/ 148 w 4719"/>
                <a:gd name="connsiteY2" fmla="*/ 1619 h 5065"/>
                <a:gd name="connsiteX3" fmla="*/ 1196 w 4719"/>
                <a:gd name="connsiteY3" fmla="*/ 4382 h 5065"/>
                <a:gd name="connsiteX4" fmla="*/ 3767 w 4719"/>
                <a:gd name="connsiteY4" fmla="*/ 4763 h 5065"/>
                <a:gd name="connsiteX5" fmla="*/ 4720 w 4719"/>
                <a:gd name="connsiteY5" fmla="*/ 2191 h 5065"/>
                <a:gd name="connsiteX6" fmla="*/ 4720 w 4719"/>
                <a:gd name="connsiteY6" fmla="*/ 1810 h 5065"/>
                <a:gd name="connsiteX7" fmla="*/ 4720 w 4719"/>
                <a:gd name="connsiteY7" fmla="*/ 2000 h 5065"/>
                <a:gd name="connsiteX8" fmla="*/ 4243 w 4719"/>
                <a:gd name="connsiteY8" fmla="*/ 667 h 5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19" h="5065">
                  <a:moveTo>
                    <a:pt x="4339" y="762"/>
                  </a:moveTo>
                  <a:cubicBezTo>
                    <a:pt x="3863" y="286"/>
                    <a:pt x="3291" y="0"/>
                    <a:pt x="2624" y="0"/>
                  </a:cubicBezTo>
                  <a:cubicBezTo>
                    <a:pt x="1576" y="0"/>
                    <a:pt x="624" y="667"/>
                    <a:pt x="148" y="1619"/>
                  </a:cubicBezTo>
                  <a:cubicBezTo>
                    <a:pt x="-328" y="2667"/>
                    <a:pt x="433" y="3715"/>
                    <a:pt x="1196" y="4382"/>
                  </a:cubicBezTo>
                  <a:cubicBezTo>
                    <a:pt x="1862" y="4858"/>
                    <a:pt x="3005" y="5429"/>
                    <a:pt x="3767" y="4763"/>
                  </a:cubicBezTo>
                  <a:cubicBezTo>
                    <a:pt x="4434" y="4191"/>
                    <a:pt x="4624" y="3143"/>
                    <a:pt x="4720" y="2191"/>
                  </a:cubicBezTo>
                  <a:cubicBezTo>
                    <a:pt x="4720" y="2096"/>
                    <a:pt x="4720" y="1810"/>
                    <a:pt x="4720" y="1810"/>
                  </a:cubicBezTo>
                  <a:cubicBezTo>
                    <a:pt x="4720" y="1810"/>
                    <a:pt x="4720" y="1905"/>
                    <a:pt x="4720" y="2000"/>
                  </a:cubicBezTo>
                  <a:cubicBezTo>
                    <a:pt x="4720" y="1429"/>
                    <a:pt x="4720" y="1048"/>
                    <a:pt x="4243" y="667"/>
                  </a:cubicBezTo>
                  <a:close/>
                </a:path>
              </a:pathLst>
            </a:custGeom>
            <a:grpFill/>
            <a:ln w="9525" cap="flat">
              <a:noFill/>
              <a:prstDash val="solid"/>
              <a:miter/>
            </a:ln>
          </p:spPr>
          <p:txBody>
            <a:bodyPr rtlCol="0" anchor="ctr"/>
            <a:lstStyle/>
            <a:p>
              <a:endParaRPr lang="en-US" dirty="0"/>
            </a:p>
          </p:txBody>
        </p:sp>
        <p:sp>
          <p:nvSpPr>
            <p:cNvPr id="1574" name="Freeform: Shape 1573">
              <a:extLst>
                <a:ext uri="{FF2B5EF4-FFF2-40B4-BE49-F238E27FC236}">
                  <a16:creationId xmlns:a16="http://schemas.microsoft.com/office/drawing/2014/main" id="{44A6D10E-8C7E-5808-00DD-A8151FFD7928}"/>
                </a:ext>
              </a:extLst>
            </p:cNvPr>
            <p:cNvSpPr/>
            <p:nvPr/>
          </p:nvSpPr>
          <p:spPr>
            <a:xfrm>
              <a:off x="4968938" y="557558"/>
              <a:ext cx="2753" cy="10590"/>
            </a:xfrm>
            <a:custGeom>
              <a:avLst/>
              <a:gdLst>
                <a:gd name="connsiteX0" fmla="*/ 286 w 1238"/>
                <a:gd name="connsiteY0" fmla="*/ 1619 h 4762"/>
                <a:gd name="connsiteX1" fmla="*/ 0 w 1238"/>
                <a:gd name="connsiteY1" fmla="*/ 4572 h 4762"/>
                <a:gd name="connsiteX2" fmla="*/ 0 w 1238"/>
                <a:gd name="connsiteY2" fmla="*/ 4763 h 4762"/>
                <a:gd name="connsiteX3" fmla="*/ 190 w 1238"/>
                <a:gd name="connsiteY3" fmla="*/ 4096 h 4762"/>
                <a:gd name="connsiteX4" fmla="*/ 1238 w 1238"/>
                <a:gd name="connsiteY4" fmla="*/ 0 h 4762"/>
                <a:gd name="connsiteX5" fmla="*/ 571 w 1238"/>
                <a:gd name="connsiteY5" fmla="*/ 381 h 4762"/>
                <a:gd name="connsiteX6" fmla="*/ 286 w 1238"/>
                <a:gd name="connsiteY6" fmla="*/ 1619 h 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 h="4762">
                  <a:moveTo>
                    <a:pt x="286" y="1619"/>
                  </a:moveTo>
                  <a:cubicBezTo>
                    <a:pt x="95" y="2572"/>
                    <a:pt x="0" y="3524"/>
                    <a:pt x="0" y="4572"/>
                  </a:cubicBezTo>
                  <a:cubicBezTo>
                    <a:pt x="0" y="4572"/>
                    <a:pt x="0" y="4667"/>
                    <a:pt x="0" y="4763"/>
                  </a:cubicBezTo>
                  <a:cubicBezTo>
                    <a:pt x="0" y="4763"/>
                    <a:pt x="190" y="4286"/>
                    <a:pt x="190" y="4096"/>
                  </a:cubicBezTo>
                  <a:cubicBezTo>
                    <a:pt x="476" y="2762"/>
                    <a:pt x="857" y="1333"/>
                    <a:pt x="1238" y="0"/>
                  </a:cubicBezTo>
                  <a:cubicBezTo>
                    <a:pt x="1048" y="0"/>
                    <a:pt x="667" y="95"/>
                    <a:pt x="571" y="381"/>
                  </a:cubicBezTo>
                  <a:cubicBezTo>
                    <a:pt x="381" y="762"/>
                    <a:pt x="381" y="1238"/>
                    <a:pt x="286" y="1619"/>
                  </a:cubicBezTo>
                  <a:close/>
                </a:path>
              </a:pathLst>
            </a:custGeom>
            <a:grpFill/>
            <a:ln w="9525" cap="flat">
              <a:noFill/>
              <a:prstDash val="solid"/>
              <a:miter/>
            </a:ln>
          </p:spPr>
          <p:txBody>
            <a:bodyPr rtlCol="0" anchor="ctr"/>
            <a:lstStyle/>
            <a:p>
              <a:endParaRPr lang="en-US" dirty="0"/>
            </a:p>
          </p:txBody>
        </p:sp>
        <p:sp>
          <p:nvSpPr>
            <p:cNvPr id="1575" name="Freeform: Shape 1574">
              <a:extLst>
                <a:ext uri="{FF2B5EF4-FFF2-40B4-BE49-F238E27FC236}">
                  <a16:creationId xmlns:a16="http://schemas.microsoft.com/office/drawing/2014/main" id="{B845FFF1-6B30-328A-F0ED-918FF244F4EA}"/>
                </a:ext>
              </a:extLst>
            </p:cNvPr>
            <p:cNvSpPr/>
            <p:nvPr/>
          </p:nvSpPr>
          <p:spPr>
            <a:xfrm>
              <a:off x="4901919" y="431310"/>
              <a:ext cx="10036" cy="28595"/>
            </a:xfrm>
            <a:custGeom>
              <a:avLst/>
              <a:gdLst>
                <a:gd name="connsiteX0" fmla="*/ 2133 w 4513"/>
                <a:gd name="connsiteY0" fmla="*/ 2762 h 12858"/>
                <a:gd name="connsiteX1" fmla="*/ 37 w 4513"/>
                <a:gd name="connsiteY1" fmla="*/ 8668 h 12858"/>
                <a:gd name="connsiteX2" fmla="*/ 3657 w 4513"/>
                <a:gd name="connsiteY2" fmla="*/ 12668 h 12858"/>
                <a:gd name="connsiteX3" fmla="*/ 3657 w 4513"/>
                <a:gd name="connsiteY3" fmla="*/ 12668 h 12858"/>
                <a:gd name="connsiteX4" fmla="*/ 4514 w 4513"/>
                <a:gd name="connsiteY4" fmla="*/ 12859 h 12858"/>
                <a:gd name="connsiteX5" fmla="*/ 1561 w 4513"/>
                <a:gd name="connsiteY5" fmla="*/ 7239 h 12858"/>
                <a:gd name="connsiteX6" fmla="*/ 4514 w 4513"/>
                <a:gd name="connsiteY6" fmla="*/ 0 h 12858"/>
                <a:gd name="connsiteX7" fmla="*/ 2037 w 4513"/>
                <a:gd name="connsiteY7" fmla="*/ 2762 h 1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13" h="12858">
                  <a:moveTo>
                    <a:pt x="2133" y="2762"/>
                  </a:moveTo>
                  <a:cubicBezTo>
                    <a:pt x="1180" y="4477"/>
                    <a:pt x="-249" y="6667"/>
                    <a:pt x="37" y="8668"/>
                  </a:cubicBezTo>
                  <a:cubicBezTo>
                    <a:pt x="227" y="10763"/>
                    <a:pt x="1656" y="12287"/>
                    <a:pt x="3657" y="12668"/>
                  </a:cubicBezTo>
                  <a:cubicBezTo>
                    <a:pt x="2609" y="12478"/>
                    <a:pt x="3561" y="12668"/>
                    <a:pt x="3657" y="12668"/>
                  </a:cubicBezTo>
                  <a:cubicBezTo>
                    <a:pt x="3657" y="12668"/>
                    <a:pt x="4228" y="12764"/>
                    <a:pt x="4514" y="12859"/>
                  </a:cubicBezTo>
                  <a:cubicBezTo>
                    <a:pt x="2323" y="11716"/>
                    <a:pt x="1561" y="9811"/>
                    <a:pt x="1561" y="7239"/>
                  </a:cubicBezTo>
                  <a:cubicBezTo>
                    <a:pt x="1561" y="4572"/>
                    <a:pt x="2990" y="2096"/>
                    <a:pt x="4514" y="0"/>
                  </a:cubicBezTo>
                  <a:cubicBezTo>
                    <a:pt x="3657" y="857"/>
                    <a:pt x="2609" y="1810"/>
                    <a:pt x="2037" y="2762"/>
                  </a:cubicBezTo>
                  <a:close/>
                </a:path>
              </a:pathLst>
            </a:custGeom>
            <a:grpFill/>
            <a:ln w="9525" cap="flat">
              <a:noFill/>
              <a:prstDash val="solid"/>
              <a:miter/>
            </a:ln>
          </p:spPr>
          <p:txBody>
            <a:bodyPr rtlCol="0" anchor="ctr"/>
            <a:lstStyle/>
            <a:p>
              <a:endParaRPr lang="en-US" dirty="0"/>
            </a:p>
          </p:txBody>
        </p:sp>
        <p:sp>
          <p:nvSpPr>
            <p:cNvPr id="1576" name="Freeform: Shape 1575">
              <a:extLst>
                <a:ext uri="{FF2B5EF4-FFF2-40B4-BE49-F238E27FC236}">
                  <a16:creationId xmlns:a16="http://schemas.microsoft.com/office/drawing/2014/main" id="{9B191AC7-E94B-F6BE-E096-A776D49DF340}"/>
                </a:ext>
              </a:extLst>
            </p:cNvPr>
            <p:cNvSpPr/>
            <p:nvPr/>
          </p:nvSpPr>
          <p:spPr>
            <a:xfrm>
              <a:off x="5178221" y="216400"/>
              <a:ext cx="27429" cy="14522"/>
            </a:xfrm>
            <a:custGeom>
              <a:avLst/>
              <a:gdLst>
                <a:gd name="connsiteX0" fmla="*/ 6858 w 12334"/>
                <a:gd name="connsiteY0" fmla="*/ 1863 h 6530"/>
                <a:gd name="connsiteX1" fmla="*/ 12192 w 12334"/>
                <a:gd name="connsiteY1" fmla="*/ 6530 h 6530"/>
                <a:gd name="connsiteX2" fmla="*/ 12192 w 12334"/>
                <a:gd name="connsiteY2" fmla="*/ 6149 h 6530"/>
                <a:gd name="connsiteX3" fmla="*/ 11525 w 12334"/>
                <a:gd name="connsiteY3" fmla="*/ 5387 h 6530"/>
                <a:gd name="connsiteX4" fmla="*/ 10287 w 12334"/>
                <a:gd name="connsiteY4" fmla="*/ 3673 h 6530"/>
                <a:gd name="connsiteX5" fmla="*/ 7429 w 12334"/>
                <a:gd name="connsiteY5" fmla="*/ 1101 h 6530"/>
                <a:gd name="connsiteX6" fmla="*/ 0 w 12334"/>
                <a:gd name="connsiteY6" fmla="*/ 720 h 6530"/>
                <a:gd name="connsiteX7" fmla="*/ 6858 w 12334"/>
                <a:gd name="connsiteY7" fmla="*/ 1958 h 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34" h="6530">
                  <a:moveTo>
                    <a:pt x="6858" y="1863"/>
                  </a:moveTo>
                  <a:cubicBezTo>
                    <a:pt x="8858" y="3101"/>
                    <a:pt x="10573" y="4720"/>
                    <a:pt x="12192" y="6530"/>
                  </a:cubicBezTo>
                  <a:cubicBezTo>
                    <a:pt x="12382" y="6340"/>
                    <a:pt x="12382" y="6340"/>
                    <a:pt x="12192" y="6149"/>
                  </a:cubicBezTo>
                  <a:cubicBezTo>
                    <a:pt x="12001" y="5959"/>
                    <a:pt x="11716" y="5673"/>
                    <a:pt x="11525" y="5387"/>
                  </a:cubicBezTo>
                  <a:cubicBezTo>
                    <a:pt x="11049" y="4816"/>
                    <a:pt x="10668" y="4244"/>
                    <a:pt x="10287" y="3673"/>
                  </a:cubicBezTo>
                  <a:cubicBezTo>
                    <a:pt x="9525" y="2625"/>
                    <a:pt x="8572" y="1768"/>
                    <a:pt x="7429" y="1101"/>
                  </a:cubicBezTo>
                  <a:cubicBezTo>
                    <a:pt x="5143" y="-137"/>
                    <a:pt x="2381" y="-423"/>
                    <a:pt x="0" y="720"/>
                  </a:cubicBezTo>
                  <a:cubicBezTo>
                    <a:pt x="2381" y="-137"/>
                    <a:pt x="4763" y="720"/>
                    <a:pt x="6858" y="1958"/>
                  </a:cubicBezTo>
                  <a:close/>
                </a:path>
              </a:pathLst>
            </a:custGeom>
            <a:grpFill/>
            <a:ln w="9525" cap="flat">
              <a:noFill/>
              <a:prstDash val="solid"/>
              <a:miter/>
            </a:ln>
          </p:spPr>
          <p:txBody>
            <a:bodyPr rtlCol="0" anchor="ctr"/>
            <a:lstStyle/>
            <a:p>
              <a:endParaRPr lang="en-US" dirty="0"/>
            </a:p>
          </p:txBody>
        </p:sp>
        <p:sp>
          <p:nvSpPr>
            <p:cNvPr id="1577" name="Freeform: Shape 1576">
              <a:extLst>
                <a:ext uri="{FF2B5EF4-FFF2-40B4-BE49-F238E27FC236}">
                  <a16:creationId xmlns:a16="http://schemas.microsoft.com/office/drawing/2014/main" id="{27232526-CF1C-3419-9F26-FAA2B8B86C84}"/>
                </a:ext>
              </a:extLst>
            </p:cNvPr>
            <p:cNvSpPr/>
            <p:nvPr/>
          </p:nvSpPr>
          <p:spPr>
            <a:xfrm>
              <a:off x="5000288" y="278159"/>
              <a:ext cx="5929" cy="8896"/>
            </a:xfrm>
            <a:custGeom>
              <a:avLst/>
              <a:gdLst>
                <a:gd name="connsiteX0" fmla="*/ 2667 w 2666"/>
                <a:gd name="connsiteY0" fmla="*/ 2762 h 4000"/>
                <a:gd name="connsiteX1" fmla="*/ 2191 w 2666"/>
                <a:gd name="connsiteY1" fmla="*/ 2000 h 4000"/>
                <a:gd name="connsiteX2" fmla="*/ 1238 w 2666"/>
                <a:gd name="connsiteY2" fmla="*/ 0 h 4000"/>
                <a:gd name="connsiteX3" fmla="*/ 0 w 2666"/>
                <a:gd name="connsiteY3" fmla="*/ 2667 h 4000"/>
                <a:gd name="connsiteX4" fmla="*/ 2667 w 2666"/>
                <a:gd name="connsiteY4" fmla="*/ 4001 h 4000"/>
                <a:gd name="connsiteX5" fmla="*/ 2667 w 2666"/>
                <a:gd name="connsiteY5" fmla="*/ 2762 h 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6" h="4000">
                  <a:moveTo>
                    <a:pt x="2667" y="2762"/>
                  </a:moveTo>
                  <a:cubicBezTo>
                    <a:pt x="2667" y="2762"/>
                    <a:pt x="2381" y="2191"/>
                    <a:pt x="2191" y="2000"/>
                  </a:cubicBezTo>
                  <a:cubicBezTo>
                    <a:pt x="1809" y="1333"/>
                    <a:pt x="1429" y="667"/>
                    <a:pt x="1238" y="0"/>
                  </a:cubicBezTo>
                  <a:cubicBezTo>
                    <a:pt x="952" y="952"/>
                    <a:pt x="476" y="1810"/>
                    <a:pt x="0" y="2667"/>
                  </a:cubicBezTo>
                  <a:cubicBezTo>
                    <a:pt x="952" y="3048"/>
                    <a:pt x="1809" y="3524"/>
                    <a:pt x="2667" y="4001"/>
                  </a:cubicBezTo>
                  <a:cubicBezTo>
                    <a:pt x="2667" y="3620"/>
                    <a:pt x="2667" y="3143"/>
                    <a:pt x="2667" y="2762"/>
                  </a:cubicBezTo>
                  <a:close/>
                </a:path>
              </a:pathLst>
            </a:custGeom>
            <a:grpFill/>
            <a:ln w="9525" cap="flat">
              <a:noFill/>
              <a:prstDash val="solid"/>
              <a:miter/>
            </a:ln>
          </p:spPr>
          <p:txBody>
            <a:bodyPr rtlCol="0" anchor="ctr"/>
            <a:lstStyle/>
            <a:p>
              <a:endParaRPr lang="en-US" dirty="0"/>
            </a:p>
          </p:txBody>
        </p:sp>
        <p:sp>
          <p:nvSpPr>
            <p:cNvPr id="1578" name="Freeform: Shape 1577">
              <a:extLst>
                <a:ext uri="{FF2B5EF4-FFF2-40B4-BE49-F238E27FC236}">
                  <a16:creationId xmlns:a16="http://schemas.microsoft.com/office/drawing/2014/main" id="{77548C0B-C8EF-5441-96CB-D03E4BF1BC8A}"/>
                </a:ext>
              </a:extLst>
            </p:cNvPr>
            <p:cNvSpPr/>
            <p:nvPr/>
          </p:nvSpPr>
          <p:spPr>
            <a:xfrm>
              <a:off x="5119546" y="211625"/>
              <a:ext cx="9093" cy="24167"/>
            </a:xfrm>
            <a:custGeom>
              <a:avLst/>
              <a:gdLst>
                <a:gd name="connsiteX0" fmla="*/ 571 w 4089"/>
                <a:gd name="connsiteY0" fmla="*/ 10868 h 10867"/>
                <a:gd name="connsiteX1" fmla="*/ 3810 w 4089"/>
                <a:gd name="connsiteY1" fmla="*/ 4200 h 10867"/>
                <a:gd name="connsiteX2" fmla="*/ 3334 w 4089"/>
                <a:gd name="connsiteY2" fmla="*/ 1057 h 10867"/>
                <a:gd name="connsiteX3" fmla="*/ 2191 w 4089"/>
                <a:gd name="connsiteY3" fmla="*/ 9 h 10867"/>
                <a:gd name="connsiteX4" fmla="*/ 1048 w 4089"/>
                <a:gd name="connsiteY4" fmla="*/ 962 h 10867"/>
                <a:gd name="connsiteX5" fmla="*/ 0 w 4089"/>
                <a:gd name="connsiteY5" fmla="*/ 4391 h 10867"/>
                <a:gd name="connsiteX6" fmla="*/ 667 w 4089"/>
                <a:gd name="connsiteY6" fmla="*/ 10582 h 10867"/>
                <a:gd name="connsiteX7" fmla="*/ 667 w 4089"/>
                <a:gd name="connsiteY7" fmla="*/ 10868 h 1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9" h="10867">
                  <a:moveTo>
                    <a:pt x="571" y="10868"/>
                  </a:moveTo>
                  <a:cubicBezTo>
                    <a:pt x="1048" y="9248"/>
                    <a:pt x="3239" y="5629"/>
                    <a:pt x="3810" y="4200"/>
                  </a:cubicBezTo>
                  <a:cubicBezTo>
                    <a:pt x="4382" y="2867"/>
                    <a:pt x="4001" y="2009"/>
                    <a:pt x="3334" y="1057"/>
                  </a:cubicBezTo>
                  <a:cubicBezTo>
                    <a:pt x="3048" y="676"/>
                    <a:pt x="2667" y="104"/>
                    <a:pt x="2191" y="9"/>
                  </a:cubicBezTo>
                  <a:cubicBezTo>
                    <a:pt x="1715" y="-86"/>
                    <a:pt x="1238" y="581"/>
                    <a:pt x="1048" y="962"/>
                  </a:cubicBezTo>
                  <a:cubicBezTo>
                    <a:pt x="381" y="2009"/>
                    <a:pt x="0" y="3152"/>
                    <a:pt x="0" y="4391"/>
                  </a:cubicBezTo>
                  <a:cubicBezTo>
                    <a:pt x="0" y="4676"/>
                    <a:pt x="286" y="8963"/>
                    <a:pt x="667" y="10582"/>
                  </a:cubicBezTo>
                  <a:cubicBezTo>
                    <a:pt x="667" y="10582"/>
                    <a:pt x="667" y="10772"/>
                    <a:pt x="667" y="10868"/>
                  </a:cubicBezTo>
                  <a:close/>
                </a:path>
              </a:pathLst>
            </a:custGeom>
            <a:grpFill/>
            <a:ln w="9525" cap="flat">
              <a:noFill/>
              <a:prstDash val="solid"/>
              <a:miter/>
            </a:ln>
          </p:spPr>
          <p:txBody>
            <a:bodyPr rtlCol="0" anchor="ctr"/>
            <a:lstStyle/>
            <a:p>
              <a:endParaRPr lang="en-US" dirty="0"/>
            </a:p>
          </p:txBody>
        </p:sp>
        <p:sp>
          <p:nvSpPr>
            <p:cNvPr id="1579" name="Freeform: Shape 1578">
              <a:extLst>
                <a:ext uri="{FF2B5EF4-FFF2-40B4-BE49-F238E27FC236}">
                  <a16:creationId xmlns:a16="http://schemas.microsoft.com/office/drawing/2014/main" id="{0F341CE7-ABBD-3740-4A2F-C679003BD837}"/>
                </a:ext>
              </a:extLst>
            </p:cNvPr>
            <p:cNvSpPr/>
            <p:nvPr/>
          </p:nvSpPr>
          <p:spPr>
            <a:xfrm>
              <a:off x="5244735" y="230844"/>
              <a:ext cx="24994" cy="4948"/>
            </a:xfrm>
            <a:custGeom>
              <a:avLst/>
              <a:gdLst>
                <a:gd name="connsiteX0" fmla="*/ 11240 w 11239"/>
                <a:gd name="connsiteY0" fmla="*/ 2035 h 2225"/>
                <a:gd name="connsiteX1" fmla="*/ 5715 w 11239"/>
                <a:gd name="connsiteY1" fmla="*/ 35 h 2225"/>
                <a:gd name="connsiteX2" fmla="*/ 2096 w 11239"/>
                <a:gd name="connsiteY2" fmla="*/ 892 h 2225"/>
                <a:gd name="connsiteX3" fmla="*/ 0 w 11239"/>
                <a:gd name="connsiteY3" fmla="*/ 2226 h 2225"/>
                <a:gd name="connsiteX4" fmla="*/ 5810 w 11239"/>
                <a:gd name="connsiteY4" fmla="*/ 1464 h 2225"/>
                <a:gd name="connsiteX5" fmla="*/ 11240 w 11239"/>
                <a:gd name="connsiteY5" fmla="*/ 2035 h 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39" h="2225">
                  <a:moveTo>
                    <a:pt x="11240" y="2035"/>
                  </a:moveTo>
                  <a:cubicBezTo>
                    <a:pt x="9906" y="416"/>
                    <a:pt x="7715" y="-155"/>
                    <a:pt x="5715" y="35"/>
                  </a:cubicBezTo>
                  <a:cubicBezTo>
                    <a:pt x="4477" y="130"/>
                    <a:pt x="3334" y="511"/>
                    <a:pt x="2096" y="892"/>
                  </a:cubicBezTo>
                  <a:cubicBezTo>
                    <a:pt x="1334" y="1178"/>
                    <a:pt x="381" y="1464"/>
                    <a:pt x="0" y="2226"/>
                  </a:cubicBezTo>
                  <a:cubicBezTo>
                    <a:pt x="0" y="2226"/>
                    <a:pt x="4191" y="1559"/>
                    <a:pt x="5810" y="1464"/>
                  </a:cubicBezTo>
                  <a:cubicBezTo>
                    <a:pt x="7620" y="1464"/>
                    <a:pt x="9525" y="1464"/>
                    <a:pt x="11240" y="2035"/>
                  </a:cubicBezTo>
                  <a:close/>
                </a:path>
              </a:pathLst>
            </a:custGeom>
            <a:grpFill/>
            <a:ln w="9525" cap="flat">
              <a:noFill/>
              <a:prstDash val="solid"/>
              <a:miter/>
            </a:ln>
          </p:spPr>
          <p:txBody>
            <a:bodyPr rtlCol="0" anchor="ctr"/>
            <a:lstStyle/>
            <a:p>
              <a:endParaRPr lang="en-US" dirty="0"/>
            </a:p>
          </p:txBody>
        </p:sp>
        <p:sp>
          <p:nvSpPr>
            <p:cNvPr id="1580" name="Freeform: Shape 1579">
              <a:extLst>
                <a:ext uri="{FF2B5EF4-FFF2-40B4-BE49-F238E27FC236}">
                  <a16:creationId xmlns:a16="http://schemas.microsoft.com/office/drawing/2014/main" id="{3C188847-F9E7-4E13-0659-B3E9787A0DF3}"/>
                </a:ext>
              </a:extLst>
            </p:cNvPr>
            <p:cNvSpPr/>
            <p:nvPr/>
          </p:nvSpPr>
          <p:spPr>
            <a:xfrm>
              <a:off x="5075486" y="243827"/>
              <a:ext cx="9320" cy="8700"/>
            </a:xfrm>
            <a:custGeom>
              <a:avLst/>
              <a:gdLst>
                <a:gd name="connsiteX0" fmla="*/ 4191 w 4191"/>
                <a:gd name="connsiteY0" fmla="*/ 769 h 3912"/>
                <a:gd name="connsiteX1" fmla="*/ 2857 w 4191"/>
                <a:gd name="connsiteY1" fmla="*/ 7 h 3912"/>
                <a:gd name="connsiteX2" fmla="*/ 2286 w 4191"/>
                <a:gd name="connsiteY2" fmla="*/ 388 h 3912"/>
                <a:gd name="connsiteX3" fmla="*/ 1333 w 4191"/>
                <a:gd name="connsiteY3" fmla="*/ 1341 h 3912"/>
                <a:gd name="connsiteX4" fmla="*/ 286 w 4191"/>
                <a:gd name="connsiteY4" fmla="*/ 3055 h 3912"/>
                <a:gd name="connsiteX5" fmla="*/ 0 w 4191"/>
                <a:gd name="connsiteY5" fmla="*/ 3913 h 3912"/>
                <a:gd name="connsiteX6" fmla="*/ 4096 w 4191"/>
                <a:gd name="connsiteY6" fmla="*/ 769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1" h="3912">
                  <a:moveTo>
                    <a:pt x="4191" y="769"/>
                  </a:moveTo>
                  <a:cubicBezTo>
                    <a:pt x="4191" y="769"/>
                    <a:pt x="3143" y="-88"/>
                    <a:pt x="2857" y="7"/>
                  </a:cubicBezTo>
                  <a:cubicBezTo>
                    <a:pt x="2667" y="7"/>
                    <a:pt x="2477" y="293"/>
                    <a:pt x="2286" y="388"/>
                  </a:cubicBezTo>
                  <a:cubicBezTo>
                    <a:pt x="1905" y="674"/>
                    <a:pt x="1619" y="960"/>
                    <a:pt x="1333" y="1341"/>
                  </a:cubicBezTo>
                  <a:cubicBezTo>
                    <a:pt x="953" y="1817"/>
                    <a:pt x="571" y="2389"/>
                    <a:pt x="286" y="3055"/>
                  </a:cubicBezTo>
                  <a:cubicBezTo>
                    <a:pt x="190" y="3341"/>
                    <a:pt x="95" y="3817"/>
                    <a:pt x="0" y="3913"/>
                  </a:cubicBezTo>
                  <a:cubicBezTo>
                    <a:pt x="762" y="2389"/>
                    <a:pt x="2667" y="1722"/>
                    <a:pt x="4096" y="769"/>
                  </a:cubicBezTo>
                  <a:close/>
                </a:path>
              </a:pathLst>
            </a:custGeom>
            <a:grpFill/>
            <a:ln w="9525" cap="flat">
              <a:noFill/>
              <a:prstDash val="solid"/>
              <a:miter/>
            </a:ln>
          </p:spPr>
          <p:txBody>
            <a:bodyPr rtlCol="0" anchor="ctr"/>
            <a:lstStyle/>
            <a:p>
              <a:endParaRPr lang="en-US" dirty="0"/>
            </a:p>
          </p:txBody>
        </p:sp>
        <p:sp>
          <p:nvSpPr>
            <p:cNvPr id="1581" name="Freeform: Shape 1580">
              <a:extLst>
                <a:ext uri="{FF2B5EF4-FFF2-40B4-BE49-F238E27FC236}">
                  <a16:creationId xmlns:a16="http://schemas.microsoft.com/office/drawing/2014/main" id="{035829CB-28B6-E171-9E99-0AED4BDDC98B}"/>
                </a:ext>
              </a:extLst>
            </p:cNvPr>
            <p:cNvSpPr/>
            <p:nvPr/>
          </p:nvSpPr>
          <p:spPr>
            <a:xfrm>
              <a:off x="5094763" y="239230"/>
              <a:ext cx="24147" cy="7154"/>
            </a:xfrm>
            <a:custGeom>
              <a:avLst/>
              <a:gdLst>
                <a:gd name="connsiteX0" fmla="*/ 6191 w 10858"/>
                <a:gd name="connsiteY0" fmla="*/ 265 h 3217"/>
                <a:gd name="connsiteX1" fmla="*/ 381 w 10858"/>
                <a:gd name="connsiteY1" fmla="*/ 646 h 3217"/>
                <a:gd name="connsiteX2" fmla="*/ 0 w 10858"/>
                <a:gd name="connsiteY2" fmla="*/ 741 h 3217"/>
                <a:gd name="connsiteX3" fmla="*/ 10858 w 10858"/>
                <a:gd name="connsiteY3" fmla="*/ 3217 h 3217"/>
                <a:gd name="connsiteX4" fmla="*/ 6191 w 10858"/>
                <a:gd name="connsiteY4" fmla="*/ 265 h 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8" h="3217">
                  <a:moveTo>
                    <a:pt x="6191" y="265"/>
                  </a:moveTo>
                  <a:cubicBezTo>
                    <a:pt x="4286" y="-212"/>
                    <a:pt x="2191" y="-21"/>
                    <a:pt x="381" y="646"/>
                  </a:cubicBezTo>
                  <a:cubicBezTo>
                    <a:pt x="286" y="646"/>
                    <a:pt x="95" y="646"/>
                    <a:pt x="0" y="741"/>
                  </a:cubicBezTo>
                  <a:cubicBezTo>
                    <a:pt x="3715" y="741"/>
                    <a:pt x="7429" y="1884"/>
                    <a:pt x="10858" y="3217"/>
                  </a:cubicBezTo>
                  <a:cubicBezTo>
                    <a:pt x="9620" y="1789"/>
                    <a:pt x="8001" y="741"/>
                    <a:pt x="6191" y="265"/>
                  </a:cubicBezTo>
                  <a:close/>
                </a:path>
              </a:pathLst>
            </a:custGeom>
            <a:grpFill/>
            <a:ln w="9525" cap="flat">
              <a:noFill/>
              <a:prstDash val="solid"/>
              <a:miter/>
            </a:ln>
          </p:spPr>
          <p:txBody>
            <a:bodyPr rtlCol="0" anchor="ctr"/>
            <a:lstStyle/>
            <a:p>
              <a:endParaRPr lang="en-US" dirty="0"/>
            </a:p>
          </p:txBody>
        </p:sp>
        <p:sp>
          <p:nvSpPr>
            <p:cNvPr id="1582" name="Freeform: Shape 1581">
              <a:extLst>
                <a:ext uri="{FF2B5EF4-FFF2-40B4-BE49-F238E27FC236}">
                  <a16:creationId xmlns:a16="http://schemas.microsoft.com/office/drawing/2014/main" id="{507D19DD-7D07-BF9C-05F2-918E7FF9D07D}"/>
                </a:ext>
              </a:extLst>
            </p:cNvPr>
            <p:cNvSpPr/>
            <p:nvPr/>
          </p:nvSpPr>
          <p:spPr>
            <a:xfrm>
              <a:off x="5370136" y="325608"/>
              <a:ext cx="4250" cy="8684"/>
            </a:xfrm>
            <a:custGeom>
              <a:avLst/>
              <a:gdLst>
                <a:gd name="connsiteX0" fmla="*/ 476 w 1911"/>
                <a:gd name="connsiteY0" fmla="*/ 3810 h 3905"/>
                <a:gd name="connsiteX1" fmla="*/ 1905 w 1911"/>
                <a:gd name="connsiteY1" fmla="*/ 1524 h 3905"/>
                <a:gd name="connsiteX2" fmla="*/ 381 w 1911"/>
                <a:gd name="connsiteY2" fmla="*/ 0 h 3905"/>
                <a:gd name="connsiteX3" fmla="*/ 0 w 1911"/>
                <a:gd name="connsiteY3" fmla="*/ 0 h 3905"/>
                <a:gd name="connsiteX4" fmla="*/ 476 w 1911"/>
                <a:gd name="connsiteY4" fmla="*/ 3905 h 3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 h="3905">
                  <a:moveTo>
                    <a:pt x="476" y="3810"/>
                  </a:moveTo>
                  <a:cubicBezTo>
                    <a:pt x="1048" y="3143"/>
                    <a:pt x="2000" y="2477"/>
                    <a:pt x="1905" y="1524"/>
                  </a:cubicBezTo>
                  <a:cubicBezTo>
                    <a:pt x="1905" y="762"/>
                    <a:pt x="1048" y="286"/>
                    <a:pt x="381" y="0"/>
                  </a:cubicBezTo>
                  <a:cubicBezTo>
                    <a:pt x="571" y="0"/>
                    <a:pt x="0" y="0"/>
                    <a:pt x="0" y="0"/>
                  </a:cubicBezTo>
                  <a:cubicBezTo>
                    <a:pt x="667" y="1143"/>
                    <a:pt x="667" y="2572"/>
                    <a:pt x="476" y="3905"/>
                  </a:cubicBezTo>
                  <a:close/>
                </a:path>
              </a:pathLst>
            </a:custGeom>
            <a:grpFill/>
            <a:ln w="9525" cap="flat">
              <a:noFill/>
              <a:prstDash val="solid"/>
              <a:miter/>
            </a:ln>
          </p:spPr>
          <p:txBody>
            <a:bodyPr rtlCol="0" anchor="ctr"/>
            <a:lstStyle/>
            <a:p>
              <a:endParaRPr lang="en-US" dirty="0"/>
            </a:p>
          </p:txBody>
        </p:sp>
        <p:sp>
          <p:nvSpPr>
            <p:cNvPr id="1583" name="Freeform: Shape 1582">
              <a:extLst>
                <a:ext uri="{FF2B5EF4-FFF2-40B4-BE49-F238E27FC236}">
                  <a16:creationId xmlns:a16="http://schemas.microsoft.com/office/drawing/2014/main" id="{E506A772-BA5F-8E01-7F28-5AA8C2066804}"/>
                </a:ext>
              </a:extLst>
            </p:cNvPr>
            <p:cNvSpPr/>
            <p:nvPr/>
          </p:nvSpPr>
          <p:spPr>
            <a:xfrm>
              <a:off x="5049856" y="639533"/>
              <a:ext cx="5506" cy="3176"/>
            </a:xfrm>
            <a:custGeom>
              <a:avLst/>
              <a:gdLst>
                <a:gd name="connsiteX0" fmla="*/ 1048 w 2476"/>
                <a:gd name="connsiteY0" fmla="*/ 0 h 1428"/>
                <a:gd name="connsiteX1" fmla="*/ 190 w 2476"/>
                <a:gd name="connsiteY1" fmla="*/ 191 h 1428"/>
                <a:gd name="connsiteX2" fmla="*/ 0 w 2476"/>
                <a:gd name="connsiteY2" fmla="*/ 476 h 1428"/>
                <a:gd name="connsiteX3" fmla="*/ 2476 w 2476"/>
                <a:gd name="connsiteY3" fmla="*/ 1429 h 1428"/>
                <a:gd name="connsiteX4" fmla="*/ 1143 w 2476"/>
                <a:gd name="connsiteY4" fmla="*/ 95 h 1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6" h="1428">
                  <a:moveTo>
                    <a:pt x="1048" y="0"/>
                  </a:moveTo>
                  <a:cubicBezTo>
                    <a:pt x="1048" y="0"/>
                    <a:pt x="476" y="0"/>
                    <a:pt x="190" y="191"/>
                  </a:cubicBezTo>
                  <a:cubicBezTo>
                    <a:pt x="190" y="191"/>
                    <a:pt x="95" y="381"/>
                    <a:pt x="0" y="476"/>
                  </a:cubicBezTo>
                  <a:cubicBezTo>
                    <a:pt x="857" y="1048"/>
                    <a:pt x="1714" y="1334"/>
                    <a:pt x="2476" y="1429"/>
                  </a:cubicBezTo>
                  <a:cubicBezTo>
                    <a:pt x="2096" y="857"/>
                    <a:pt x="1619" y="572"/>
                    <a:pt x="1143" y="95"/>
                  </a:cubicBezTo>
                  <a:close/>
                </a:path>
              </a:pathLst>
            </a:custGeom>
            <a:grpFill/>
            <a:ln w="9525" cap="flat">
              <a:noFill/>
              <a:prstDash val="solid"/>
              <a:miter/>
            </a:ln>
          </p:spPr>
          <p:txBody>
            <a:bodyPr rtlCol="0" anchor="ctr"/>
            <a:lstStyle/>
            <a:p>
              <a:endParaRPr lang="en-US" dirty="0"/>
            </a:p>
          </p:txBody>
        </p:sp>
        <p:sp>
          <p:nvSpPr>
            <p:cNvPr id="1584" name="Freeform: Shape 1583">
              <a:extLst>
                <a:ext uri="{FF2B5EF4-FFF2-40B4-BE49-F238E27FC236}">
                  <a16:creationId xmlns:a16="http://schemas.microsoft.com/office/drawing/2014/main" id="{86EA9D7A-2A91-1BAA-487C-6CE0A2FE4CA7}"/>
                </a:ext>
              </a:extLst>
            </p:cNvPr>
            <p:cNvSpPr/>
            <p:nvPr/>
          </p:nvSpPr>
          <p:spPr>
            <a:xfrm>
              <a:off x="5044772" y="625976"/>
              <a:ext cx="7201" cy="12710"/>
            </a:xfrm>
            <a:custGeom>
              <a:avLst/>
              <a:gdLst>
                <a:gd name="connsiteX0" fmla="*/ 2953 w 3238"/>
                <a:gd name="connsiteY0" fmla="*/ 5524 h 5715"/>
                <a:gd name="connsiteX1" fmla="*/ 3238 w 3238"/>
                <a:gd name="connsiteY1" fmla="*/ 5524 h 5715"/>
                <a:gd name="connsiteX2" fmla="*/ 667 w 3238"/>
                <a:gd name="connsiteY2" fmla="*/ 3239 h 5715"/>
                <a:gd name="connsiteX3" fmla="*/ 476 w 3238"/>
                <a:gd name="connsiteY3" fmla="*/ 0 h 5715"/>
                <a:gd name="connsiteX4" fmla="*/ 0 w 3238"/>
                <a:gd name="connsiteY4" fmla="*/ 0 h 5715"/>
                <a:gd name="connsiteX5" fmla="*/ 667 w 3238"/>
                <a:gd name="connsiteY5" fmla="*/ 3715 h 5715"/>
                <a:gd name="connsiteX6" fmla="*/ 1619 w 3238"/>
                <a:gd name="connsiteY6" fmla="*/ 5715 h 5715"/>
                <a:gd name="connsiteX7" fmla="*/ 1619 w 3238"/>
                <a:gd name="connsiteY7" fmla="*/ 5620 h 5715"/>
                <a:gd name="connsiteX8" fmla="*/ 2953 w 3238"/>
                <a:gd name="connsiteY8" fmla="*/ 5429 h 5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8" h="5715">
                  <a:moveTo>
                    <a:pt x="2953" y="5524"/>
                  </a:moveTo>
                  <a:cubicBezTo>
                    <a:pt x="2953" y="5524"/>
                    <a:pt x="3143" y="5524"/>
                    <a:pt x="3238" y="5524"/>
                  </a:cubicBezTo>
                  <a:lnTo>
                    <a:pt x="667" y="3239"/>
                  </a:lnTo>
                  <a:lnTo>
                    <a:pt x="476" y="0"/>
                  </a:lnTo>
                  <a:cubicBezTo>
                    <a:pt x="476" y="0"/>
                    <a:pt x="191" y="0"/>
                    <a:pt x="0" y="0"/>
                  </a:cubicBezTo>
                  <a:cubicBezTo>
                    <a:pt x="191" y="1143"/>
                    <a:pt x="381" y="2381"/>
                    <a:pt x="667" y="3715"/>
                  </a:cubicBezTo>
                  <a:cubicBezTo>
                    <a:pt x="762" y="4572"/>
                    <a:pt x="1143" y="5239"/>
                    <a:pt x="1619" y="5715"/>
                  </a:cubicBezTo>
                  <a:cubicBezTo>
                    <a:pt x="1619" y="5715"/>
                    <a:pt x="1619" y="5715"/>
                    <a:pt x="1619" y="5620"/>
                  </a:cubicBezTo>
                  <a:cubicBezTo>
                    <a:pt x="2000" y="5334"/>
                    <a:pt x="2477" y="5524"/>
                    <a:pt x="2953" y="5429"/>
                  </a:cubicBezTo>
                  <a:close/>
                </a:path>
              </a:pathLst>
            </a:custGeom>
            <a:grpFill/>
            <a:ln w="9525" cap="flat">
              <a:noFill/>
              <a:prstDash val="solid"/>
              <a:miter/>
            </a:ln>
          </p:spPr>
          <p:txBody>
            <a:bodyPr rtlCol="0" anchor="ctr"/>
            <a:lstStyle/>
            <a:p>
              <a:endParaRPr lang="en-US" dirty="0"/>
            </a:p>
          </p:txBody>
        </p:sp>
        <p:sp>
          <p:nvSpPr>
            <p:cNvPr id="1585" name="Freeform: Shape 1584">
              <a:extLst>
                <a:ext uri="{FF2B5EF4-FFF2-40B4-BE49-F238E27FC236}">
                  <a16:creationId xmlns:a16="http://schemas.microsoft.com/office/drawing/2014/main" id="{D2835A93-53F3-CFF9-7F42-39B8D363FE5F}"/>
                </a:ext>
              </a:extLst>
            </p:cNvPr>
            <p:cNvSpPr/>
            <p:nvPr/>
          </p:nvSpPr>
          <p:spPr>
            <a:xfrm>
              <a:off x="4454203" y="757944"/>
              <a:ext cx="6565" cy="4870"/>
            </a:xfrm>
            <a:custGeom>
              <a:avLst/>
              <a:gdLst>
                <a:gd name="connsiteX0" fmla="*/ 2953 w 2952"/>
                <a:gd name="connsiteY0" fmla="*/ 2191 h 2190"/>
                <a:gd name="connsiteX1" fmla="*/ 0 w 2952"/>
                <a:gd name="connsiteY1" fmla="*/ 0 h 2190"/>
                <a:gd name="connsiteX2" fmla="*/ 2953 w 2952"/>
                <a:gd name="connsiteY2" fmla="*/ 2191 h 2190"/>
              </a:gdLst>
              <a:ahLst/>
              <a:cxnLst>
                <a:cxn ang="0">
                  <a:pos x="connsiteX0" y="connsiteY0"/>
                </a:cxn>
                <a:cxn ang="0">
                  <a:pos x="connsiteX1" y="connsiteY1"/>
                </a:cxn>
                <a:cxn ang="0">
                  <a:pos x="connsiteX2" y="connsiteY2"/>
                </a:cxn>
              </a:cxnLst>
              <a:rect l="l" t="t" r="r" b="b"/>
              <a:pathLst>
                <a:path w="2952" h="2190">
                  <a:moveTo>
                    <a:pt x="2953" y="2191"/>
                  </a:moveTo>
                  <a:lnTo>
                    <a:pt x="0" y="0"/>
                  </a:lnTo>
                  <a:cubicBezTo>
                    <a:pt x="857" y="857"/>
                    <a:pt x="1810" y="1524"/>
                    <a:pt x="2953" y="2191"/>
                  </a:cubicBezTo>
                  <a:close/>
                </a:path>
              </a:pathLst>
            </a:custGeom>
            <a:grpFill/>
            <a:ln w="9525" cap="flat">
              <a:noFill/>
              <a:prstDash val="solid"/>
              <a:miter/>
            </a:ln>
          </p:spPr>
          <p:txBody>
            <a:bodyPr rtlCol="0" anchor="ctr"/>
            <a:lstStyle/>
            <a:p>
              <a:endParaRPr lang="en-US" dirty="0"/>
            </a:p>
          </p:txBody>
        </p:sp>
        <p:sp>
          <p:nvSpPr>
            <p:cNvPr id="1586" name="Freeform: Shape 1585">
              <a:extLst>
                <a:ext uri="{FF2B5EF4-FFF2-40B4-BE49-F238E27FC236}">
                  <a16:creationId xmlns:a16="http://schemas.microsoft.com/office/drawing/2014/main" id="{DE1A12C5-660C-BC7F-EE9F-C1AA278860F2}"/>
                </a:ext>
              </a:extLst>
            </p:cNvPr>
            <p:cNvSpPr/>
            <p:nvPr/>
          </p:nvSpPr>
          <p:spPr>
            <a:xfrm>
              <a:off x="4074612" y="829753"/>
              <a:ext cx="89178" cy="213095"/>
            </a:xfrm>
            <a:custGeom>
              <a:avLst/>
              <a:gdLst>
                <a:gd name="connsiteX0" fmla="*/ 30480 w 40100"/>
                <a:gd name="connsiteY0" fmla="*/ 0 h 95821"/>
                <a:gd name="connsiteX1" fmla="*/ 3810 w 40100"/>
                <a:gd name="connsiteY1" fmla="*/ 33337 h 95821"/>
                <a:gd name="connsiteX2" fmla="*/ 0 w 40100"/>
                <a:gd name="connsiteY2" fmla="*/ 95821 h 95821"/>
                <a:gd name="connsiteX3" fmla="*/ 39910 w 40100"/>
                <a:gd name="connsiteY3" fmla="*/ 95821 h 95821"/>
                <a:gd name="connsiteX4" fmla="*/ 40100 w 40100"/>
                <a:gd name="connsiteY4" fmla="*/ 89059 h 95821"/>
                <a:gd name="connsiteX5" fmla="*/ 30480 w 40100"/>
                <a:gd name="connsiteY5" fmla="*/ 0 h 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00" h="95821">
                  <a:moveTo>
                    <a:pt x="30480" y="0"/>
                  </a:moveTo>
                  <a:cubicBezTo>
                    <a:pt x="14954" y="4858"/>
                    <a:pt x="3810" y="17907"/>
                    <a:pt x="3810" y="33337"/>
                  </a:cubicBezTo>
                  <a:lnTo>
                    <a:pt x="0" y="95821"/>
                  </a:lnTo>
                  <a:lnTo>
                    <a:pt x="39910" y="95821"/>
                  </a:lnTo>
                  <a:lnTo>
                    <a:pt x="40100" y="89059"/>
                  </a:lnTo>
                  <a:lnTo>
                    <a:pt x="30480" y="0"/>
                  </a:lnTo>
                  <a:close/>
                </a:path>
              </a:pathLst>
            </a:custGeom>
            <a:grpFill/>
            <a:ln w="9525" cap="flat">
              <a:noFill/>
              <a:prstDash val="solid"/>
              <a:miter/>
            </a:ln>
          </p:spPr>
          <p:txBody>
            <a:bodyPr rtlCol="0" anchor="ctr"/>
            <a:lstStyle/>
            <a:p>
              <a:endParaRPr lang="en-US" dirty="0"/>
            </a:p>
          </p:txBody>
        </p:sp>
        <p:sp>
          <p:nvSpPr>
            <p:cNvPr id="1587" name="Freeform: Shape 1586">
              <a:extLst>
                <a:ext uri="{FF2B5EF4-FFF2-40B4-BE49-F238E27FC236}">
                  <a16:creationId xmlns:a16="http://schemas.microsoft.com/office/drawing/2014/main" id="{15AE226A-2FA3-887C-8B43-1EB385611BCA}"/>
                </a:ext>
              </a:extLst>
            </p:cNvPr>
            <p:cNvSpPr/>
            <p:nvPr/>
          </p:nvSpPr>
          <p:spPr>
            <a:xfrm>
              <a:off x="4163368" y="1027810"/>
              <a:ext cx="2117" cy="14827"/>
            </a:xfrm>
            <a:custGeom>
              <a:avLst/>
              <a:gdLst>
                <a:gd name="connsiteX0" fmla="*/ 0 w 952"/>
                <a:gd name="connsiteY0" fmla="*/ 6668 h 6667"/>
                <a:gd name="connsiteX1" fmla="*/ 952 w 952"/>
                <a:gd name="connsiteY1" fmla="*/ 6668 h 6667"/>
                <a:gd name="connsiteX2" fmla="*/ 190 w 952"/>
                <a:gd name="connsiteY2" fmla="*/ 0 h 6667"/>
                <a:gd name="connsiteX3" fmla="*/ 0 w 952"/>
                <a:gd name="connsiteY3" fmla="*/ 6668 h 6667"/>
              </a:gdLst>
              <a:ahLst/>
              <a:cxnLst>
                <a:cxn ang="0">
                  <a:pos x="connsiteX0" y="connsiteY0"/>
                </a:cxn>
                <a:cxn ang="0">
                  <a:pos x="connsiteX1" y="connsiteY1"/>
                </a:cxn>
                <a:cxn ang="0">
                  <a:pos x="connsiteX2" y="connsiteY2"/>
                </a:cxn>
                <a:cxn ang="0">
                  <a:pos x="connsiteX3" y="connsiteY3"/>
                </a:cxn>
              </a:cxnLst>
              <a:rect l="l" t="t" r="r" b="b"/>
              <a:pathLst>
                <a:path w="952" h="6667">
                  <a:moveTo>
                    <a:pt x="0" y="6668"/>
                  </a:moveTo>
                  <a:lnTo>
                    <a:pt x="952" y="6668"/>
                  </a:lnTo>
                  <a:lnTo>
                    <a:pt x="190" y="0"/>
                  </a:lnTo>
                  <a:lnTo>
                    <a:pt x="0" y="6668"/>
                  </a:lnTo>
                  <a:close/>
                </a:path>
              </a:pathLst>
            </a:custGeom>
            <a:grpFill/>
            <a:ln w="9525" cap="flat">
              <a:noFill/>
              <a:prstDash val="solid"/>
              <a:miter/>
            </a:ln>
          </p:spPr>
          <p:txBody>
            <a:bodyPr rtlCol="0" anchor="ctr"/>
            <a:lstStyle/>
            <a:p>
              <a:endParaRPr lang="en-US" dirty="0"/>
            </a:p>
          </p:txBody>
        </p:sp>
        <p:sp>
          <p:nvSpPr>
            <p:cNvPr id="1588" name="Freeform: Shape 1587">
              <a:extLst>
                <a:ext uri="{FF2B5EF4-FFF2-40B4-BE49-F238E27FC236}">
                  <a16:creationId xmlns:a16="http://schemas.microsoft.com/office/drawing/2014/main" id="{E42F6D37-0C45-0B91-5A35-7A70A4CE992A}"/>
                </a:ext>
              </a:extLst>
            </p:cNvPr>
            <p:cNvSpPr/>
            <p:nvPr/>
          </p:nvSpPr>
          <p:spPr>
            <a:xfrm>
              <a:off x="4069951" y="814924"/>
              <a:ext cx="110147" cy="227711"/>
            </a:xfrm>
            <a:custGeom>
              <a:avLst/>
              <a:gdLst>
                <a:gd name="connsiteX0" fmla="*/ 6382 w 49529"/>
                <a:gd name="connsiteY0" fmla="*/ 102394 h 102393"/>
                <a:gd name="connsiteX1" fmla="*/ 10192 w 49529"/>
                <a:gd name="connsiteY1" fmla="*/ 41719 h 102393"/>
                <a:gd name="connsiteX2" fmla="*/ 36862 w 49529"/>
                <a:gd name="connsiteY2" fmla="*/ 8382 h 102393"/>
                <a:gd name="connsiteX3" fmla="*/ 36671 w 49529"/>
                <a:gd name="connsiteY3" fmla="*/ 6572 h 102393"/>
                <a:gd name="connsiteX4" fmla="*/ 49530 w 49529"/>
                <a:gd name="connsiteY4" fmla="*/ 0 h 102393"/>
                <a:gd name="connsiteX5" fmla="*/ 9144 w 49529"/>
                <a:gd name="connsiteY5" fmla="*/ 22193 h 102393"/>
                <a:gd name="connsiteX6" fmla="*/ 5525 w 49529"/>
                <a:gd name="connsiteY6" fmla="*/ 30385 h 102393"/>
                <a:gd name="connsiteX7" fmla="*/ 3810 w 49529"/>
                <a:gd name="connsiteY7" fmla="*/ 41529 h 102393"/>
                <a:gd name="connsiteX8" fmla="*/ 0 w 49529"/>
                <a:gd name="connsiteY8" fmla="*/ 102394 h 102393"/>
                <a:gd name="connsiteX9" fmla="*/ 6382 w 49529"/>
                <a:gd name="connsiteY9" fmla="*/ 102394 h 102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529" h="102393">
                  <a:moveTo>
                    <a:pt x="6382" y="102394"/>
                  </a:moveTo>
                  <a:lnTo>
                    <a:pt x="10192" y="41719"/>
                  </a:lnTo>
                  <a:cubicBezTo>
                    <a:pt x="10192" y="26289"/>
                    <a:pt x="21336" y="13240"/>
                    <a:pt x="36862" y="8382"/>
                  </a:cubicBezTo>
                  <a:lnTo>
                    <a:pt x="36671" y="6572"/>
                  </a:lnTo>
                  <a:lnTo>
                    <a:pt x="49530" y="0"/>
                  </a:lnTo>
                  <a:cubicBezTo>
                    <a:pt x="32004" y="95"/>
                    <a:pt x="16859" y="9049"/>
                    <a:pt x="9144" y="22193"/>
                  </a:cubicBezTo>
                  <a:cubicBezTo>
                    <a:pt x="7620" y="24765"/>
                    <a:pt x="6477" y="27527"/>
                    <a:pt x="5525" y="30385"/>
                  </a:cubicBezTo>
                  <a:cubicBezTo>
                    <a:pt x="4382" y="33909"/>
                    <a:pt x="3810" y="37624"/>
                    <a:pt x="3810" y="41529"/>
                  </a:cubicBezTo>
                  <a:lnTo>
                    <a:pt x="0" y="102394"/>
                  </a:lnTo>
                  <a:lnTo>
                    <a:pt x="6382" y="102394"/>
                  </a:lnTo>
                  <a:close/>
                </a:path>
              </a:pathLst>
            </a:custGeom>
            <a:grpFill/>
            <a:ln w="9525" cap="flat">
              <a:noFill/>
              <a:prstDash val="solid"/>
              <a:miter/>
            </a:ln>
          </p:spPr>
          <p:txBody>
            <a:bodyPr rtlCol="0" anchor="ctr"/>
            <a:lstStyle/>
            <a:p>
              <a:endParaRPr lang="en-US" dirty="0"/>
            </a:p>
          </p:txBody>
        </p:sp>
        <p:sp>
          <p:nvSpPr>
            <p:cNvPr id="1589" name="Freeform: Shape 1588">
              <a:extLst>
                <a:ext uri="{FF2B5EF4-FFF2-40B4-BE49-F238E27FC236}">
                  <a16:creationId xmlns:a16="http://schemas.microsoft.com/office/drawing/2014/main" id="{6463F303-3B64-A700-98F1-7F2BE6D49938}"/>
                </a:ext>
              </a:extLst>
            </p:cNvPr>
            <p:cNvSpPr/>
            <p:nvPr/>
          </p:nvSpPr>
          <p:spPr>
            <a:xfrm>
              <a:off x="4283600" y="699269"/>
              <a:ext cx="153019" cy="35444"/>
            </a:xfrm>
            <a:custGeom>
              <a:avLst/>
              <a:gdLst>
                <a:gd name="connsiteX0" fmla="*/ 23755 w 68807"/>
                <a:gd name="connsiteY0" fmla="*/ 13716 h 15938"/>
                <a:gd name="connsiteX1" fmla="*/ 48805 w 68807"/>
                <a:gd name="connsiteY1" fmla="*/ 13144 h 15938"/>
                <a:gd name="connsiteX2" fmla="*/ 68617 w 68807"/>
                <a:gd name="connsiteY2" fmla="*/ 857 h 15938"/>
                <a:gd name="connsiteX3" fmla="*/ 68808 w 68807"/>
                <a:gd name="connsiteY3" fmla="*/ 571 h 15938"/>
                <a:gd name="connsiteX4" fmla="*/ 68808 w 68807"/>
                <a:gd name="connsiteY4" fmla="*/ 190 h 15938"/>
                <a:gd name="connsiteX5" fmla="*/ 68522 w 68807"/>
                <a:gd name="connsiteY5" fmla="*/ 0 h 15938"/>
                <a:gd name="connsiteX6" fmla="*/ 68141 w 68807"/>
                <a:gd name="connsiteY6" fmla="*/ 0 h 15938"/>
                <a:gd name="connsiteX7" fmla="*/ 48520 w 68807"/>
                <a:gd name="connsiteY7" fmla="*/ 12192 h 15938"/>
                <a:gd name="connsiteX8" fmla="*/ 24231 w 68807"/>
                <a:gd name="connsiteY8" fmla="*/ 12764 h 15938"/>
                <a:gd name="connsiteX9" fmla="*/ 799 w 68807"/>
                <a:gd name="connsiteY9" fmla="*/ 0 h 15938"/>
                <a:gd name="connsiteX10" fmla="*/ 514 w 68807"/>
                <a:gd name="connsiteY10" fmla="*/ 0 h 15938"/>
                <a:gd name="connsiteX11" fmla="*/ 323 w 68807"/>
                <a:gd name="connsiteY11" fmla="*/ 0 h 15938"/>
                <a:gd name="connsiteX12" fmla="*/ 37 w 68807"/>
                <a:gd name="connsiteY12" fmla="*/ 190 h 15938"/>
                <a:gd name="connsiteX13" fmla="*/ 228 w 68807"/>
                <a:gd name="connsiteY13" fmla="*/ 857 h 15938"/>
                <a:gd name="connsiteX14" fmla="*/ 23755 w 68807"/>
                <a:gd name="connsiteY14" fmla="*/ 13621 h 1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807" h="15938">
                  <a:moveTo>
                    <a:pt x="23755" y="13716"/>
                  </a:moveTo>
                  <a:cubicBezTo>
                    <a:pt x="31565" y="16859"/>
                    <a:pt x="40995" y="16669"/>
                    <a:pt x="48805" y="13144"/>
                  </a:cubicBezTo>
                  <a:lnTo>
                    <a:pt x="68617" y="857"/>
                  </a:lnTo>
                  <a:cubicBezTo>
                    <a:pt x="68617" y="857"/>
                    <a:pt x="68808" y="667"/>
                    <a:pt x="68808" y="571"/>
                  </a:cubicBezTo>
                  <a:cubicBezTo>
                    <a:pt x="68808" y="476"/>
                    <a:pt x="68808" y="286"/>
                    <a:pt x="68808" y="190"/>
                  </a:cubicBezTo>
                  <a:cubicBezTo>
                    <a:pt x="68808" y="95"/>
                    <a:pt x="68617" y="0"/>
                    <a:pt x="68522" y="0"/>
                  </a:cubicBezTo>
                  <a:cubicBezTo>
                    <a:pt x="68427" y="0"/>
                    <a:pt x="68236" y="0"/>
                    <a:pt x="68141" y="0"/>
                  </a:cubicBezTo>
                  <a:lnTo>
                    <a:pt x="48520" y="12192"/>
                  </a:lnTo>
                  <a:cubicBezTo>
                    <a:pt x="40804" y="15621"/>
                    <a:pt x="31946" y="15811"/>
                    <a:pt x="24231" y="12764"/>
                  </a:cubicBezTo>
                  <a:lnTo>
                    <a:pt x="799" y="0"/>
                  </a:lnTo>
                  <a:cubicBezTo>
                    <a:pt x="799" y="0"/>
                    <a:pt x="609" y="0"/>
                    <a:pt x="514" y="0"/>
                  </a:cubicBezTo>
                  <a:cubicBezTo>
                    <a:pt x="514" y="0"/>
                    <a:pt x="514" y="0"/>
                    <a:pt x="323" y="0"/>
                  </a:cubicBezTo>
                  <a:cubicBezTo>
                    <a:pt x="228" y="0"/>
                    <a:pt x="133" y="95"/>
                    <a:pt x="37" y="190"/>
                  </a:cubicBezTo>
                  <a:cubicBezTo>
                    <a:pt x="-58" y="476"/>
                    <a:pt x="37" y="762"/>
                    <a:pt x="228" y="857"/>
                  </a:cubicBezTo>
                  <a:lnTo>
                    <a:pt x="23755" y="13621"/>
                  </a:lnTo>
                  <a:close/>
                </a:path>
              </a:pathLst>
            </a:custGeom>
            <a:grpFill/>
            <a:ln w="9525" cap="flat">
              <a:noFill/>
              <a:prstDash val="solid"/>
              <a:miter/>
            </a:ln>
          </p:spPr>
          <p:txBody>
            <a:bodyPr rtlCol="0" anchor="ctr"/>
            <a:lstStyle/>
            <a:p>
              <a:endParaRPr lang="en-US" dirty="0"/>
            </a:p>
          </p:txBody>
        </p:sp>
        <p:sp>
          <p:nvSpPr>
            <p:cNvPr id="1590" name="Freeform: Shape 1589">
              <a:extLst>
                <a:ext uri="{FF2B5EF4-FFF2-40B4-BE49-F238E27FC236}">
                  <a16:creationId xmlns:a16="http://schemas.microsoft.com/office/drawing/2014/main" id="{06AB8405-9D79-F310-4A0B-0DD46E3250B2}"/>
                </a:ext>
              </a:extLst>
            </p:cNvPr>
            <p:cNvSpPr/>
            <p:nvPr/>
          </p:nvSpPr>
          <p:spPr>
            <a:xfrm>
              <a:off x="4279704" y="695377"/>
              <a:ext cx="160596" cy="43079"/>
            </a:xfrm>
            <a:custGeom>
              <a:avLst/>
              <a:gdLst>
                <a:gd name="connsiteX0" fmla="*/ 37413 w 72214"/>
                <a:gd name="connsiteY0" fmla="*/ 19276 h 19371"/>
                <a:gd name="connsiteX1" fmla="*/ 51224 w 72214"/>
                <a:gd name="connsiteY1" fmla="*/ 16323 h 19371"/>
                <a:gd name="connsiteX2" fmla="*/ 67988 w 72214"/>
                <a:gd name="connsiteY2" fmla="*/ 5941 h 19371"/>
                <a:gd name="connsiteX3" fmla="*/ 71227 w 72214"/>
                <a:gd name="connsiteY3" fmla="*/ 3941 h 19371"/>
                <a:gd name="connsiteX4" fmla="*/ 72179 w 72214"/>
                <a:gd name="connsiteY4" fmla="*/ 2607 h 19371"/>
                <a:gd name="connsiteX5" fmla="*/ 71893 w 72214"/>
                <a:gd name="connsiteY5" fmla="*/ 988 h 19371"/>
                <a:gd name="connsiteX6" fmla="*/ 70560 w 72214"/>
                <a:gd name="connsiteY6" fmla="*/ 36 h 19371"/>
                <a:gd name="connsiteX7" fmla="*/ 68941 w 72214"/>
                <a:gd name="connsiteY7" fmla="*/ 321 h 19371"/>
                <a:gd name="connsiteX8" fmla="*/ 68369 w 72214"/>
                <a:gd name="connsiteY8" fmla="*/ 702 h 19371"/>
                <a:gd name="connsiteX9" fmla="*/ 49414 w 72214"/>
                <a:gd name="connsiteY9" fmla="*/ 12513 h 19371"/>
                <a:gd name="connsiteX10" fmla="*/ 26555 w 72214"/>
                <a:gd name="connsiteY10" fmla="*/ 13085 h 19371"/>
                <a:gd name="connsiteX11" fmla="*/ 3123 w 72214"/>
                <a:gd name="connsiteY11" fmla="*/ 321 h 19371"/>
                <a:gd name="connsiteX12" fmla="*/ 2837 w 72214"/>
                <a:gd name="connsiteY12" fmla="*/ 226 h 19371"/>
                <a:gd name="connsiteX13" fmla="*/ 1504 w 72214"/>
                <a:gd name="connsiteY13" fmla="*/ 226 h 19371"/>
                <a:gd name="connsiteX14" fmla="*/ 265 w 72214"/>
                <a:gd name="connsiteY14" fmla="*/ 1274 h 19371"/>
                <a:gd name="connsiteX15" fmla="*/ 1123 w 72214"/>
                <a:gd name="connsiteY15" fmla="*/ 4131 h 19371"/>
                <a:gd name="connsiteX16" fmla="*/ 3790 w 72214"/>
                <a:gd name="connsiteY16" fmla="*/ 5560 h 19371"/>
                <a:gd name="connsiteX17" fmla="*/ 24745 w 72214"/>
                <a:gd name="connsiteY17" fmla="*/ 16990 h 19371"/>
                <a:gd name="connsiteX18" fmla="*/ 37318 w 72214"/>
                <a:gd name="connsiteY18" fmla="*/ 19371 h 19371"/>
                <a:gd name="connsiteX19" fmla="*/ 1789 w 72214"/>
                <a:gd name="connsiteY19" fmla="*/ 1941 h 19371"/>
                <a:gd name="connsiteX20" fmla="*/ 2075 w 72214"/>
                <a:gd name="connsiteY20" fmla="*/ 1750 h 19371"/>
                <a:gd name="connsiteX21" fmla="*/ 2266 w 72214"/>
                <a:gd name="connsiteY21" fmla="*/ 1750 h 19371"/>
                <a:gd name="connsiteX22" fmla="*/ 2551 w 72214"/>
                <a:gd name="connsiteY22" fmla="*/ 1750 h 19371"/>
                <a:gd name="connsiteX23" fmla="*/ 25983 w 72214"/>
                <a:gd name="connsiteY23" fmla="*/ 14514 h 19371"/>
                <a:gd name="connsiteX24" fmla="*/ 50272 w 72214"/>
                <a:gd name="connsiteY24" fmla="*/ 13942 h 19371"/>
                <a:gd name="connsiteX25" fmla="*/ 69893 w 72214"/>
                <a:gd name="connsiteY25" fmla="*/ 1750 h 19371"/>
                <a:gd name="connsiteX26" fmla="*/ 70274 w 72214"/>
                <a:gd name="connsiteY26" fmla="*/ 1750 h 19371"/>
                <a:gd name="connsiteX27" fmla="*/ 70560 w 72214"/>
                <a:gd name="connsiteY27" fmla="*/ 1941 h 19371"/>
                <a:gd name="connsiteX28" fmla="*/ 70560 w 72214"/>
                <a:gd name="connsiteY28" fmla="*/ 2322 h 19371"/>
                <a:gd name="connsiteX29" fmla="*/ 70369 w 72214"/>
                <a:gd name="connsiteY29" fmla="*/ 2607 h 19371"/>
                <a:gd name="connsiteX30" fmla="*/ 50558 w 72214"/>
                <a:gd name="connsiteY30" fmla="*/ 14895 h 19371"/>
                <a:gd name="connsiteX31" fmla="*/ 25507 w 72214"/>
                <a:gd name="connsiteY31" fmla="*/ 15466 h 19371"/>
                <a:gd name="connsiteX32" fmla="*/ 1980 w 72214"/>
                <a:gd name="connsiteY32" fmla="*/ 2703 h 19371"/>
                <a:gd name="connsiteX33" fmla="*/ 1789 w 72214"/>
                <a:gd name="connsiteY33" fmla="*/ 2036 h 1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214" h="19371">
                  <a:moveTo>
                    <a:pt x="37413" y="19276"/>
                  </a:moveTo>
                  <a:cubicBezTo>
                    <a:pt x="42176" y="19276"/>
                    <a:pt x="46938" y="18228"/>
                    <a:pt x="51224" y="16323"/>
                  </a:cubicBezTo>
                  <a:lnTo>
                    <a:pt x="67988" y="5941"/>
                  </a:lnTo>
                  <a:lnTo>
                    <a:pt x="71227" y="3941"/>
                  </a:lnTo>
                  <a:cubicBezTo>
                    <a:pt x="71703" y="3655"/>
                    <a:pt x="72084" y="3179"/>
                    <a:pt x="72179" y="2607"/>
                  </a:cubicBezTo>
                  <a:cubicBezTo>
                    <a:pt x="72275" y="2036"/>
                    <a:pt x="72179" y="1464"/>
                    <a:pt x="71893" y="988"/>
                  </a:cubicBezTo>
                  <a:cubicBezTo>
                    <a:pt x="71608" y="512"/>
                    <a:pt x="71131" y="131"/>
                    <a:pt x="70560" y="36"/>
                  </a:cubicBezTo>
                  <a:cubicBezTo>
                    <a:pt x="69989" y="-60"/>
                    <a:pt x="69417" y="36"/>
                    <a:pt x="68941" y="321"/>
                  </a:cubicBezTo>
                  <a:lnTo>
                    <a:pt x="68369" y="702"/>
                  </a:lnTo>
                  <a:lnTo>
                    <a:pt x="49414" y="12513"/>
                  </a:lnTo>
                  <a:cubicBezTo>
                    <a:pt x="42176" y="15752"/>
                    <a:pt x="33793" y="15942"/>
                    <a:pt x="26555" y="13085"/>
                  </a:cubicBezTo>
                  <a:lnTo>
                    <a:pt x="3123" y="321"/>
                  </a:lnTo>
                  <a:cubicBezTo>
                    <a:pt x="3123" y="321"/>
                    <a:pt x="2933" y="321"/>
                    <a:pt x="2837" y="226"/>
                  </a:cubicBezTo>
                  <a:cubicBezTo>
                    <a:pt x="2456" y="36"/>
                    <a:pt x="1980" y="36"/>
                    <a:pt x="1504" y="226"/>
                  </a:cubicBezTo>
                  <a:cubicBezTo>
                    <a:pt x="932" y="417"/>
                    <a:pt x="551" y="702"/>
                    <a:pt x="265" y="1274"/>
                  </a:cubicBezTo>
                  <a:cubicBezTo>
                    <a:pt x="-306" y="2322"/>
                    <a:pt x="75" y="3560"/>
                    <a:pt x="1123" y="4131"/>
                  </a:cubicBezTo>
                  <a:lnTo>
                    <a:pt x="3790" y="5560"/>
                  </a:lnTo>
                  <a:lnTo>
                    <a:pt x="24745" y="16990"/>
                  </a:lnTo>
                  <a:cubicBezTo>
                    <a:pt x="28745" y="18609"/>
                    <a:pt x="32936" y="19371"/>
                    <a:pt x="37318" y="19371"/>
                  </a:cubicBezTo>
                  <a:close/>
                  <a:moveTo>
                    <a:pt x="1789" y="1941"/>
                  </a:moveTo>
                  <a:cubicBezTo>
                    <a:pt x="1789" y="1941"/>
                    <a:pt x="1980" y="1750"/>
                    <a:pt x="2075" y="1750"/>
                  </a:cubicBezTo>
                  <a:cubicBezTo>
                    <a:pt x="2075" y="1750"/>
                    <a:pt x="2075" y="1750"/>
                    <a:pt x="2266" y="1750"/>
                  </a:cubicBezTo>
                  <a:cubicBezTo>
                    <a:pt x="2266" y="1750"/>
                    <a:pt x="2456" y="1750"/>
                    <a:pt x="2551" y="1750"/>
                  </a:cubicBezTo>
                  <a:lnTo>
                    <a:pt x="25983" y="14514"/>
                  </a:lnTo>
                  <a:cubicBezTo>
                    <a:pt x="33698" y="17562"/>
                    <a:pt x="42461" y="17371"/>
                    <a:pt x="50272" y="13942"/>
                  </a:cubicBezTo>
                  <a:lnTo>
                    <a:pt x="69893" y="1750"/>
                  </a:lnTo>
                  <a:cubicBezTo>
                    <a:pt x="69893" y="1750"/>
                    <a:pt x="70179" y="1750"/>
                    <a:pt x="70274" y="1750"/>
                  </a:cubicBezTo>
                  <a:cubicBezTo>
                    <a:pt x="70369" y="1750"/>
                    <a:pt x="70560" y="1845"/>
                    <a:pt x="70560" y="1941"/>
                  </a:cubicBezTo>
                  <a:cubicBezTo>
                    <a:pt x="70560" y="2036"/>
                    <a:pt x="70560" y="2226"/>
                    <a:pt x="70560" y="2322"/>
                  </a:cubicBezTo>
                  <a:cubicBezTo>
                    <a:pt x="70560" y="2417"/>
                    <a:pt x="70465" y="2607"/>
                    <a:pt x="70369" y="2607"/>
                  </a:cubicBezTo>
                  <a:lnTo>
                    <a:pt x="50558" y="14895"/>
                  </a:lnTo>
                  <a:cubicBezTo>
                    <a:pt x="42747" y="18419"/>
                    <a:pt x="33222" y="18514"/>
                    <a:pt x="25507" y="15466"/>
                  </a:cubicBezTo>
                  <a:lnTo>
                    <a:pt x="1980" y="2703"/>
                  </a:lnTo>
                  <a:cubicBezTo>
                    <a:pt x="1980" y="2703"/>
                    <a:pt x="1599" y="2226"/>
                    <a:pt x="1789" y="2036"/>
                  </a:cubicBezTo>
                  <a:close/>
                </a:path>
              </a:pathLst>
            </a:custGeom>
            <a:grpFill/>
            <a:ln w="9525" cap="flat">
              <a:noFill/>
              <a:prstDash val="solid"/>
              <a:miter/>
            </a:ln>
          </p:spPr>
          <p:txBody>
            <a:bodyPr rtlCol="0" anchor="ctr"/>
            <a:lstStyle/>
            <a:p>
              <a:endParaRPr lang="en-US" dirty="0"/>
            </a:p>
          </p:txBody>
        </p:sp>
        <p:sp>
          <p:nvSpPr>
            <p:cNvPr id="1591" name="Freeform: Shape 1590">
              <a:extLst>
                <a:ext uri="{FF2B5EF4-FFF2-40B4-BE49-F238E27FC236}">
                  <a16:creationId xmlns:a16="http://schemas.microsoft.com/office/drawing/2014/main" id="{2ECDD6A6-E12C-A6A7-818E-5B8607482E46}"/>
                </a:ext>
              </a:extLst>
            </p:cNvPr>
            <p:cNvSpPr/>
            <p:nvPr/>
          </p:nvSpPr>
          <p:spPr>
            <a:xfrm>
              <a:off x="4318422" y="509473"/>
              <a:ext cx="40668" cy="19063"/>
            </a:xfrm>
            <a:custGeom>
              <a:avLst/>
              <a:gdLst>
                <a:gd name="connsiteX0" fmla="*/ 0 w 18287"/>
                <a:gd name="connsiteY0" fmla="*/ 476 h 8572"/>
                <a:gd name="connsiteX1" fmla="*/ 18288 w 18287"/>
                <a:gd name="connsiteY1" fmla="*/ 8573 h 8572"/>
                <a:gd name="connsiteX2" fmla="*/ 286 w 18287"/>
                <a:gd name="connsiteY2" fmla="*/ 0 h 8572"/>
                <a:gd name="connsiteX3" fmla="*/ 95 w 18287"/>
                <a:gd name="connsiteY3" fmla="*/ 381 h 8572"/>
                <a:gd name="connsiteX4" fmla="*/ 95 w 18287"/>
                <a:gd name="connsiteY4" fmla="*/ 381 h 8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 h="8572">
                  <a:moveTo>
                    <a:pt x="0" y="476"/>
                  </a:moveTo>
                  <a:cubicBezTo>
                    <a:pt x="4953" y="3620"/>
                    <a:pt x="11144" y="6572"/>
                    <a:pt x="18288" y="8573"/>
                  </a:cubicBezTo>
                  <a:lnTo>
                    <a:pt x="286" y="0"/>
                  </a:lnTo>
                  <a:cubicBezTo>
                    <a:pt x="286" y="0"/>
                    <a:pt x="191" y="286"/>
                    <a:pt x="95" y="381"/>
                  </a:cubicBezTo>
                  <a:lnTo>
                    <a:pt x="95" y="381"/>
                  </a:lnTo>
                  <a:close/>
                </a:path>
              </a:pathLst>
            </a:custGeom>
            <a:grpFill/>
            <a:ln w="9525" cap="flat">
              <a:noFill/>
              <a:prstDash val="solid"/>
              <a:miter/>
            </a:ln>
          </p:spPr>
          <p:txBody>
            <a:bodyPr rtlCol="0" anchor="ctr"/>
            <a:lstStyle/>
            <a:p>
              <a:endParaRPr lang="en-US" dirty="0"/>
            </a:p>
          </p:txBody>
        </p:sp>
        <p:sp>
          <p:nvSpPr>
            <p:cNvPr id="1592" name="Freeform: Shape 1591">
              <a:extLst>
                <a:ext uri="{FF2B5EF4-FFF2-40B4-BE49-F238E27FC236}">
                  <a16:creationId xmlns:a16="http://schemas.microsoft.com/office/drawing/2014/main" id="{E587A309-D585-1E4F-0935-98CB39F4EA2E}"/>
                </a:ext>
              </a:extLst>
            </p:cNvPr>
            <p:cNvSpPr/>
            <p:nvPr/>
          </p:nvSpPr>
          <p:spPr>
            <a:xfrm>
              <a:off x="4406118" y="524936"/>
              <a:ext cx="36856" cy="6990"/>
            </a:xfrm>
            <a:custGeom>
              <a:avLst/>
              <a:gdLst>
                <a:gd name="connsiteX0" fmla="*/ 16288 w 16573"/>
                <a:gd name="connsiteY0" fmla="*/ 857 h 3143"/>
                <a:gd name="connsiteX1" fmla="*/ 16574 w 16573"/>
                <a:gd name="connsiteY1" fmla="*/ 857 h 3143"/>
                <a:gd name="connsiteX2" fmla="*/ 16097 w 16573"/>
                <a:gd name="connsiteY2" fmla="*/ 0 h 3143"/>
                <a:gd name="connsiteX3" fmla="*/ 667 w 16573"/>
                <a:gd name="connsiteY3" fmla="*/ 3143 h 3143"/>
                <a:gd name="connsiteX4" fmla="*/ 0 w 16573"/>
                <a:gd name="connsiteY4" fmla="*/ 3143 h 3143"/>
                <a:gd name="connsiteX5" fmla="*/ 16288 w 16573"/>
                <a:gd name="connsiteY5" fmla="*/ 762 h 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73" h="3143">
                  <a:moveTo>
                    <a:pt x="16288" y="857"/>
                  </a:moveTo>
                  <a:cubicBezTo>
                    <a:pt x="16288" y="857"/>
                    <a:pt x="16478" y="857"/>
                    <a:pt x="16574" y="857"/>
                  </a:cubicBezTo>
                  <a:cubicBezTo>
                    <a:pt x="16288" y="381"/>
                    <a:pt x="16097" y="0"/>
                    <a:pt x="16097" y="0"/>
                  </a:cubicBezTo>
                  <a:lnTo>
                    <a:pt x="667" y="3143"/>
                  </a:lnTo>
                  <a:lnTo>
                    <a:pt x="0" y="3143"/>
                  </a:lnTo>
                  <a:cubicBezTo>
                    <a:pt x="5144" y="2953"/>
                    <a:pt x="10573" y="2286"/>
                    <a:pt x="16288" y="762"/>
                  </a:cubicBezTo>
                  <a:close/>
                </a:path>
              </a:pathLst>
            </a:custGeom>
            <a:grpFill/>
            <a:ln w="9525" cap="flat">
              <a:noFill/>
              <a:prstDash val="solid"/>
              <a:miter/>
            </a:ln>
          </p:spPr>
          <p:txBody>
            <a:bodyPr rtlCol="0" anchor="ctr"/>
            <a:lstStyle/>
            <a:p>
              <a:endParaRPr lang="en-US" dirty="0"/>
            </a:p>
          </p:txBody>
        </p:sp>
        <p:sp>
          <p:nvSpPr>
            <p:cNvPr id="1593" name="Freeform: Shape 1592">
              <a:extLst>
                <a:ext uri="{FF2B5EF4-FFF2-40B4-BE49-F238E27FC236}">
                  <a16:creationId xmlns:a16="http://schemas.microsoft.com/office/drawing/2014/main" id="{B62754BC-BFB7-C40E-2600-A362E3B96947}"/>
                </a:ext>
              </a:extLst>
            </p:cNvPr>
            <p:cNvSpPr/>
            <p:nvPr/>
          </p:nvSpPr>
          <p:spPr>
            <a:xfrm>
              <a:off x="4273517" y="507990"/>
              <a:ext cx="42365" cy="43635"/>
            </a:xfrm>
            <a:custGeom>
              <a:avLst/>
              <a:gdLst>
                <a:gd name="connsiteX0" fmla="*/ 19050 w 19050"/>
                <a:gd name="connsiteY0" fmla="*/ 0 h 19621"/>
                <a:gd name="connsiteX1" fmla="*/ 0 w 19050"/>
                <a:gd name="connsiteY1" fmla="*/ 19621 h 19621"/>
                <a:gd name="connsiteX2" fmla="*/ 1238 w 19050"/>
                <a:gd name="connsiteY2" fmla="*/ 19621 h 19621"/>
                <a:gd name="connsiteX3" fmla="*/ 19050 w 19050"/>
                <a:gd name="connsiteY3" fmla="*/ 0 h 19621"/>
              </a:gdLst>
              <a:ahLst/>
              <a:cxnLst>
                <a:cxn ang="0">
                  <a:pos x="connsiteX0" y="connsiteY0"/>
                </a:cxn>
                <a:cxn ang="0">
                  <a:pos x="connsiteX1" y="connsiteY1"/>
                </a:cxn>
                <a:cxn ang="0">
                  <a:pos x="connsiteX2" y="connsiteY2"/>
                </a:cxn>
                <a:cxn ang="0">
                  <a:pos x="connsiteX3" y="connsiteY3"/>
                </a:cxn>
              </a:cxnLst>
              <a:rect l="l" t="t" r="r" b="b"/>
              <a:pathLst>
                <a:path w="19050" h="19621">
                  <a:moveTo>
                    <a:pt x="19050" y="0"/>
                  </a:moveTo>
                  <a:lnTo>
                    <a:pt x="0" y="19621"/>
                  </a:lnTo>
                  <a:cubicBezTo>
                    <a:pt x="0" y="19621"/>
                    <a:pt x="857" y="19621"/>
                    <a:pt x="1238" y="19621"/>
                  </a:cubicBezTo>
                  <a:lnTo>
                    <a:pt x="19050" y="0"/>
                  </a:lnTo>
                  <a:close/>
                </a:path>
              </a:pathLst>
            </a:custGeom>
            <a:grpFill/>
            <a:ln w="9525" cap="flat">
              <a:noFill/>
              <a:prstDash val="solid"/>
              <a:miter/>
            </a:ln>
          </p:spPr>
          <p:txBody>
            <a:bodyPr rtlCol="0" anchor="ctr"/>
            <a:lstStyle/>
            <a:p>
              <a:endParaRPr lang="en-US" dirty="0"/>
            </a:p>
          </p:txBody>
        </p:sp>
        <p:sp>
          <p:nvSpPr>
            <p:cNvPr id="1594" name="Freeform: Shape 1593">
              <a:extLst>
                <a:ext uri="{FF2B5EF4-FFF2-40B4-BE49-F238E27FC236}">
                  <a16:creationId xmlns:a16="http://schemas.microsoft.com/office/drawing/2014/main" id="{837957E2-A203-57EB-060C-16988FAF9012}"/>
                </a:ext>
              </a:extLst>
            </p:cNvPr>
            <p:cNvSpPr/>
            <p:nvPr/>
          </p:nvSpPr>
          <p:spPr>
            <a:xfrm>
              <a:off x="4256695" y="551531"/>
              <a:ext cx="211999" cy="49528"/>
            </a:xfrm>
            <a:custGeom>
              <a:avLst/>
              <a:gdLst>
                <a:gd name="connsiteX0" fmla="*/ 19946 w 95328"/>
                <a:gd name="connsiteY0" fmla="*/ 22045 h 22271"/>
                <a:gd name="connsiteX1" fmla="*/ 44426 w 95328"/>
                <a:gd name="connsiteY1" fmla="*/ 10139 h 22271"/>
                <a:gd name="connsiteX2" fmla="*/ 47474 w 95328"/>
                <a:gd name="connsiteY2" fmla="*/ 7186 h 22271"/>
                <a:gd name="connsiteX3" fmla="*/ 50522 w 95328"/>
                <a:gd name="connsiteY3" fmla="*/ 10139 h 22271"/>
                <a:gd name="connsiteX4" fmla="*/ 75001 w 95328"/>
                <a:gd name="connsiteY4" fmla="*/ 22045 h 22271"/>
                <a:gd name="connsiteX5" fmla="*/ 88145 w 95328"/>
                <a:gd name="connsiteY5" fmla="*/ 18616 h 22271"/>
                <a:gd name="connsiteX6" fmla="*/ 90812 w 95328"/>
                <a:gd name="connsiteY6" fmla="*/ 11663 h 22271"/>
                <a:gd name="connsiteX7" fmla="*/ 95099 w 95328"/>
                <a:gd name="connsiteY7" fmla="*/ 3948 h 22271"/>
                <a:gd name="connsiteX8" fmla="*/ 93765 w 95328"/>
                <a:gd name="connsiteY8" fmla="*/ 519 h 22271"/>
                <a:gd name="connsiteX9" fmla="*/ 88717 w 95328"/>
                <a:gd name="connsiteY9" fmla="*/ 138 h 22271"/>
                <a:gd name="connsiteX10" fmla="*/ 69572 w 95328"/>
                <a:gd name="connsiteY10" fmla="*/ 423 h 22271"/>
                <a:gd name="connsiteX11" fmla="*/ 49855 w 95328"/>
                <a:gd name="connsiteY11" fmla="*/ 4138 h 22271"/>
                <a:gd name="connsiteX12" fmla="*/ 45378 w 95328"/>
                <a:gd name="connsiteY12" fmla="*/ 4138 h 22271"/>
                <a:gd name="connsiteX13" fmla="*/ 25661 w 95328"/>
                <a:gd name="connsiteY13" fmla="*/ 423 h 22271"/>
                <a:gd name="connsiteX14" fmla="*/ 11279 w 95328"/>
                <a:gd name="connsiteY14" fmla="*/ 42 h 22271"/>
                <a:gd name="connsiteX15" fmla="*/ 9088 w 95328"/>
                <a:gd name="connsiteY15" fmla="*/ 42 h 22271"/>
                <a:gd name="connsiteX16" fmla="*/ 7850 w 95328"/>
                <a:gd name="connsiteY16" fmla="*/ 42 h 22271"/>
                <a:gd name="connsiteX17" fmla="*/ 4897 w 95328"/>
                <a:gd name="connsiteY17" fmla="*/ 233 h 22271"/>
                <a:gd name="connsiteX18" fmla="*/ 1563 w 95328"/>
                <a:gd name="connsiteY18" fmla="*/ 519 h 22271"/>
                <a:gd name="connsiteX19" fmla="*/ 230 w 95328"/>
                <a:gd name="connsiteY19" fmla="*/ 3948 h 22271"/>
                <a:gd name="connsiteX20" fmla="*/ 4516 w 95328"/>
                <a:gd name="connsiteY20" fmla="*/ 11663 h 22271"/>
                <a:gd name="connsiteX21" fmla="*/ 5278 w 95328"/>
                <a:gd name="connsiteY21" fmla="*/ 16235 h 22271"/>
                <a:gd name="connsiteX22" fmla="*/ 20232 w 95328"/>
                <a:gd name="connsiteY22" fmla="*/ 22045 h 22271"/>
                <a:gd name="connsiteX23" fmla="*/ 57856 w 95328"/>
                <a:gd name="connsiteY23" fmla="*/ 3186 h 22271"/>
                <a:gd name="connsiteX24" fmla="*/ 77477 w 95328"/>
                <a:gd name="connsiteY24" fmla="*/ 1376 h 22271"/>
                <a:gd name="connsiteX25" fmla="*/ 87574 w 95328"/>
                <a:gd name="connsiteY25" fmla="*/ 11187 h 22271"/>
                <a:gd name="connsiteX26" fmla="*/ 73382 w 95328"/>
                <a:gd name="connsiteY26" fmla="*/ 21093 h 22271"/>
                <a:gd name="connsiteX27" fmla="*/ 54617 w 95328"/>
                <a:gd name="connsiteY27" fmla="*/ 11663 h 22271"/>
                <a:gd name="connsiteX28" fmla="*/ 57856 w 95328"/>
                <a:gd name="connsiteY28" fmla="*/ 3186 h 22271"/>
                <a:gd name="connsiteX29" fmla="*/ 17470 w 95328"/>
                <a:gd name="connsiteY29" fmla="*/ 1376 h 22271"/>
                <a:gd name="connsiteX30" fmla="*/ 37091 w 95328"/>
                <a:gd name="connsiteY30" fmla="*/ 3186 h 22271"/>
                <a:gd name="connsiteX31" fmla="*/ 40330 w 95328"/>
                <a:gd name="connsiteY31" fmla="*/ 11663 h 22271"/>
                <a:gd name="connsiteX32" fmla="*/ 21566 w 95328"/>
                <a:gd name="connsiteY32" fmla="*/ 21093 h 22271"/>
                <a:gd name="connsiteX33" fmla="*/ 7373 w 95328"/>
                <a:gd name="connsiteY33" fmla="*/ 11187 h 22271"/>
                <a:gd name="connsiteX34" fmla="*/ 17470 w 95328"/>
                <a:gd name="connsiteY34" fmla="*/ 1376 h 22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5328" h="22271">
                  <a:moveTo>
                    <a:pt x="19946" y="22045"/>
                  </a:moveTo>
                  <a:cubicBezTo>
                    <a:pt x="27852" y="22521"/>
                    <a:pt x="36710" y="23474"/>
                    <a:pt x="44426" y="10139"/>
                  </a:cubicBezTo>
                  <a:cubicBezTo>
                    <a:pt x="44997" y="9091"/>
                    <a:pt x="45854" y="7186"/>
                    <a:pt x="47474" y="7186"/>
                  </a:cubicBezTo>
                  <a:cubicBezTo>
                    <a:pt x="49093" y="7186"/>
                    <a:pt x="49950" y="9091"/>
                    <a:pt x="50522" y="10139"/>
                  </a:cubicBezTo>
                  <a:cubicBezTo>
                    <a:pt x="58237" y="23474"/>
                    <a:pt x="67000" y="22521"/>
                    <a:pt x="75001" y="22045"/>
                  </a:cubicBezTo>
                  <a:cubicBezTo>
                    <a:pt x="82240" y="21569"/>
                    <a:pt x="86050" y="20331"/>
                    <a:pt x="88145" y="18616"/>
                  </a:cubicBezTo>
                  <a:cubicBezTo>
                    <a:pt x="90527" y="16711"/>
                    <a:pt x="90622" y="14235"/>
                    <a:pt x="90812" y="11663"/>
                  </a:cubicBezTo>
                  <a:cubicBezTo>
                    <a:pt x="91289" y="3662"/>
                    <a:pt x="95099" y="3948"/>
                    <a:pt x="95099" y="3948"/>
                  </a:cubicBezTo>
                  <a:cubicBezTo>
                    <a:pt x="95099" y="3948"/>
                    <a:pt x="96146" y="804"/>
                    <a:pt x="93765" y="519"/>
                  </a:cubicBezTo>
                  <a:cubicBezTo>
                    <a:pt x="92432" y="328"/>
                    <a:pt x="90622" y="233"/>
                    <a:pt x="88717" y="138"/>
                  </a:cubicBezTo>
                  <a:cubicBezTo>
                    <a:pt x="81954" y="-148"/>
                    <a:pt x="72905" y="42"/>
                    <a:pt x="69572" y="423"/>
                  </a:cubicBezTo>
                  <a:cubicBezTo>
                    <a:pt x="64238" y="1090"/>
                    <a:pt x="55665" y="2805"/>
                    <a:pt x="49855" y="4138"/>
                  </a:cubicBezTo>
                  <a:cubicBezTo>
                    <a:pt x="48807" y="4424"/>
                    <a:pt x="46426" y="4424"/>
                    <a:pt x="45378" y="4138"/>
                  </a:cubicBezTo>
                  <a:cubicBezTo>
                    <a:pt x="39473" y="2805"/>
                    <a:pt x="30995" y="995"/>
                    <a:pt x="25661" y="423"/>
                  </a:cubicBezTo>
                  <a:cubicBezTo>
                    <a:pt x="23090" y="138"/>
                    <a:pt x="16994" y="-53"/>
                    <a:pt x="11279" y="42"/>
                  </a:cubicBezTo>
                  <a:cubicBezTo>
                    <a:pt x="10517" y="42"/>
                    <a:pt x="9755" y="42"/>
                    <a:pt x="9088" y="42"/>
                  </a:cubicBezTo>
                  <a:cubicBezTo>
                    <a:pt x="8707" y="42"/>
                    <a:pt x="8231" y="42"/>
                    <a:pt x="7850" y="42"/>
                  </a:cubicBezTo>
                  <a:cubicBezTo>
                    <a:pt x="6802" y="42"/>
                    <a:pt x="5754" y="42"/>
                    <a:pt x="4897" y="233"/>
                  </a:cubicBezTo>
                  <a:cubicBezTo>
                    <a:pt x="3659" y="233"/>
                    <a:pt x="2516" y="423"/>
                    <a:pt x="1563" y="519"/>
                  </a:cubicBezTo>
                  <a:cubicBezTo>
                    <a:pt x="-818" y="804"/>
                    <a:pt x="230" y="3948"/>
                    <a:pt x="230" y="3948"/>
                  </a:cubicBezTo>
                  <a:cubicBezTo>
                    <a:pt x="230" y="3948"/>
                    <a:pt x="4135" y="3662"/>
                    <a:pt x="4516" y="11663"/>
                  </a:cubicBezTo>
                  <a:cubicBezTo>
                    <a:pt x="4516" y="13282"/>
                    <a:pt x="4706" y="14806"/>
                    <a:pt x="5278" y="16235"/>
                  </a:cubicBezTo>
                  <a:cubicBezTo>
                    <a:pt x="6516" y="19188"/>
                    <a:pt x="9945" y="21474"/>
                    <a:pt x="20232" y="22045"/>
                  </a:cubicBezTo>
                  <a:close/>
                  <a:moveTo>
                    <a:pt x="57856" y="3186"/>
                  </a:moveTo>
                  <a:cubicBezTo>
                    <a:pt x="63761" y="1852"/>
                    <a:pt x="71762" y="1185"/>
                    <a:pt x="77477" y="1376"/>
                  </a:cubicBezTo>
                  <a:cubicBezTo>
                    <a:pt x="81764" y="1566"/>
                    <a:pt x="88241" y="1852"/>
                    <a:pt x="87574" y="11187"/>
                  </a:cubicBezTo>
                  <a:cubicBezTo>
                    <a:pt x="87193" y="16044"/>
                    <a:pt x="88717" y="20140"/>
                    <a:pt x="73382" y="21093"/>
                  </a:cubicBezTo>
                  <a:cubicBezTo>
                    <a:pt x="65476" y="21569"/>
                    <a:pt x="58427" y="20331"/>
                    <a:pt x="54617" y="11663"/>
                  </a:cubicBezTo>
                  <a:cubicBezTo>
                    <a:pt x="53570" y="9282"/>
                    <a:pt x="51188" y="4710"/>
                    <a:pt x="57856" y="3186"/>
                  </a:cubicBezTo>
                  <a:close/>
                  <a:moveTo>
                    <a:pt x="17470" y="1376"/>
                  </a:moveTo>
                  <a:cubicBezTo>
                    <a:pt x="23185" y="1185"/>
                    <a:pt x="31186" y="1757"/>
                    <a:pt x="37091" y="3186"/>
                  </a:cubicBezTo>
                  <a:cubicBezTo>
                    <a:pt x="43759" y="4710"/>
                    <a:pt x="41473" y="9282"/>
                    <a:pt x="40330" y="11663"/>
                  </a:cubicBezTo>
                  <a:cubicBezTo>
                    <a:pt x="36520" y="20235"/>
                    <a:pt x="29567" y="21569"/>
                    <a:pt x="21566" y="21093"/>
                  </a:cubicBezTo>
                  <a:cubicBezTo>
                    <a:pt x="6326" y="20140"/>
                    <a:pt x="7754" y="16140"/>
                    <a:pt x="7373" y="11187"/>
                  </a:cubicBezTo>
                  <a:cubicBezTo>
                    <a:pt x="6611" y="1852"/>
                    <a:pt x="13088" y="1471"/>
                    <a:pt x="17470" y="1376"/>
                  </a:cubicBezTo>
                  <a:close/>
                </a:path>
              </a:pathLst>
            </a:custGeom>
            <a:grpFill/>
            <a:ln w="9525" cap="flat">
              <a:noFill/>
              <a:prstDash val="solid"/>
              <a:miter/>
            </a:ln>
          </p:spPr>
          <p:txBody>
            <a:bodyPr rtlCol="0" anchor="ctr"/>
            <a:lstStyle/>
            <a:p>
              <a:endParaRPr lang="en-US" dirty="0"/>
            </a:p>
          </p:txBody>
        </p:sp>
        <p:sp>
          <p:nvSpPr>
            <p:cNvPr id="1595" name="Freeform: Shape 1594">
              <a:extLst>
                <a:ext uri="{FF2B5EF4-FFF2-40B4-BE49-F238E27FC236}">
                  <a16:creationId xmlns:a16="http://schemas.microsoft.com/office/drawing/2014/main" id="{850C6A89-B03D-6B74-B8E9-FF82CE971AF0}"/>
                </a:ext>
              </a:extLst>
            </p:cNvPr>
            <p:cNvSpPr/>
            <p:nvPr/>
          </p:nvSpPr>
          <p:spPr>
            <a:xfrm>
              <a:off x="5142423" y="371149"/>
              <a:ext cx="7623" cy="19488"/>
            </a:xfrm>
            <a:custGeom>
              <a:avLst/>
              <a:gdLst>
                <a:gd name="connsiteX0" fmla="*/ 2096 w 3428"/>
                <a:gd name="connsiteY0" fmla="*/ 6763 h 8763"/>
                <a:gd name="connsiteX1" fmla="*/ 3143 w 3428"/>
                <a:gd name="connsiteY1" fmla="*/ 2381 h 8763"/>
                <a:gd name="connsiteX2" fmla="*/ 3429 w 3428"/>
                <a:gd name="connsiteY2" fmla="*/ 0 h 8763"/>
                <a:gd name="connsiteX3" fmla="*/ 1810 w 3428"/>
                <a:gd name="connsiteY3" fmla="*/ 5620 h 8763"/>
                <a:gd name="connsiteX4" fmla="*/ 0 w 3428"/>
                <a:gd name="connsiteY4" fmla="*/ 8763 h 8763"/>
                <a:gd name="connsiteX5" fmla="*/ 1333 w 3428"/>
                <a:gd name="connsiteY5" fmla="*/ 8572 h 8763"/>
                <a:gd name="connsiteX6" fmla="*/ 2096 w 3428"/>
                <a:gd name="connsiteY6" fmla="*/ 6763 h 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8" h="8763">
                  <a:moveTo>
                    <a:pt x="2096" y="6763"/>
                  </a:moveTo>
                  <a:cubicBezTo>
                    <a:pt x="2667" y="5334"/>
                    <a:pt x="3048" y="3905"/>
                    <a:pt x="3143" y="2381"/>
                  </a:cubicBezTo>
                  <a:cubicBezTo>
                    <a:pt x="3143" y="1619"/>
                    <a:pt x="3334" y="762"/>
                    <a:pt x="3429" y="0"/>
                  </a:cubicBezTo>
                  <a:cubicBezTo>
                    <a:pt x="3048" y="1905"/>
                    <a:pt x="2477" y="3810"/>
                    <a:pt x="1810" y="5620"/>
                  </a:cubicBezTo>
                  <a:cubicBezTo>
                    <a:pt x="1333" y="6763"/>
                    <a:pt x="762" y="7810"/>
                    <a:pt x="0" y="8763"/>
                  </a:cubicBezTo>
                  <a:cubicBezTo>
                    <a:pt x="476" y="8763"/>
                    <a:pt x="857" y="8668"/>
                    <a:pt x="1333" y="8572"/>
                  </a:cubicBezTo>
                  <a:cubicBezTo>
                    <a:pt x="1619" y="8001"/>
                    <a:pt x="1905" y="7429"/>
                    <a:pt x="2096" y="6763"/>
                  </a:cubicBezTo>
                  <a:close/>
                </a:path>
              </a:pathLst>
            </a:custGeom>
            <a:grpFill/>
            <a:ln w="9525" cap="flat">
              <a:noFill/>
              <a:prstDash val="solid"/>
              <a:miter/>
            </a:ln>
          </p:spPr>
          <p:txBody>
            <a:bodyPr rtlCol="0" anchor="ctr"/>
            <a:lstStyle/>
            <a:p>
              <a:endParaRPr lang="en-US" dirty="0"/>
            </a:p>
          </p:txBody>
        </p:sp>
        <p:sp>
          <p:nvSpPr>
            <p:cNvPr id="1596" name="Freeform: Shape 1595">
              <a:extLst>
                <a:ext uri="{FF2B5EF4-FFF2-40B4-BE49-F238E27FC236}">
                  <a16:creationId xmlns:a16="http://schemas.microsoft.com/office/drawing/2014/main" id="{BC74F9F3-7804-1923-6661-FFEEA0355C50}"/>
                </a:ext>
              </a:extLst>
            </p:cNvPr>
            <p:cNvSpPr/>
            <p:nvPr/>
          </p:nvSpPr>
          <p:spPr>
            <a:xfrm>
              <a:off x="5117852" y="382589"/>
              <a:ext cx="11013" cy="13343"/>
            </a:xfrm>
            <a:custGeom>
              <a:avLst/>
              <a:gdLst>
                <a:gd name="connsiteX0" fmla="*/ 3715 w 4952"/>
                <a:gd name="connsiteY0" fmla="*/ 4096 h 6000"/>
                <a:gd name="connsiteX1" fmla="*/ 0 w 4952"/>
                <a:gd name="connsiteY1" fmla="*/ 0 h 6000"/>
                <a:gd name="connsiteX2" fmla="*/ 0 w 4952"/>
                <a:gd name="connsiteY2" fmla="*/ 667 h 6000"/>
                <a:gd name="connsiteX3" fmla="*/ 190 w 4952"/>
                <a:gd name="connsiteY3" fmla="*/ 1048 h 6000"/>
                <a:gd name="connsiteX4" fmla="*/ 571 w 4952"/>
                <a:gd name="connsiteY4" fmla="*/ 1810 h 6000"/>
                <a:gd name="connsiteX5" fmla="*/ 1143 w 4952"/>
                <a:gd name="connsiteY5" fmla="*/ 3620 h 6000"/>
                <a:gd name="connsiteX6" fmla="*/ 1429 w 4952"/>
                <a:gd name="connsiteY6" fmla="*/ 6001 h 6000"/>
                <a:gd name="connsiteX7" fmla="*/ 4953 w 4952"/>
                <a:gd name="connsiteY7" fmla="*/ 4953 h 6000"/>
                <a:gd name="connsiteX8" fmla="*/ 3620 w 4952"/>
                <a:gd name="connsiteY8" fmla="*/ 4096 h 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52" h="6000">
                  <a:moveTo>
                    <a:pt x="3715" y="4096"/>
                  </a:moveTo>
                  <a:cubicBezTo>
                    <a:pt x="2286" y="2953"/>
                    <a:pt x="1048" y="1524"/>
                    <a:pt x="0" y="0"/>
                  </a:cubicBezTo>
                  <a:cubicBezTo>
                    <a:pt x="0" y="191"/>
                    <a:pt x="0" y="476"/>
                    <a:pt x="0" y="667"/>
                  </a:cubicBezTo>
                  <a:cubicBezTo>
                    <a:pt x="0" y="762"/>
                    <a:pt x="95" y="953"/>
                    <a:pt x="190" y="1048"/>
                  </a:cubicBezTo>
                  <a:cubicBezTo>
                    <a:pt x="286" y="1334"/>
                    <a:pt x="476" y="1619"/>
                    <a:pt x="571" y="1810"/>
                  </a:cubicBezTo>
                  <a:cubicBezTo>
                    <a:pt x="857" y="2381"/>
                    <a:pt x="1048" y="3048"/>
                    <a:pt x="1143" y="3620"/>
                  </a:cubicBezTo>
                  <a:cubicBezTo>
                    <a:pt x="1333" y="4382"/>
                    <a:pt x="1429" y="5239"/>
                    <a:pt x="1429" y="6001"/>
                  </a:cubicBezTo>
                  <a:cubicBezTo>
                    <a:pt x="2572" y="5620"/>
                    <a:pt x="3810" y="5239"/>
                    <a:pt x="4953" y="4953"/>
                  </a:cubicBezTo>
                  <a:cubicBezTo>
                    <a:pt x="4477" y="4667"/>
                    <a:pt x="4001" y="4382"/>
                    <a:pt x="3620" y="4096"/>
                  </a:cubicBezTo>
                  <a:close/>
                </a:path>
              </a:pathLst>
            </a:custGeom>
            <a:grpFill/>
            <a:ln w="9525" cap="flat">
              <a:noFill/>
              <a:prstDash val="solid"/>
              <a:miter/>
            </a:ln>
          </p:spPr>
          <p:txBody>
            <a:bodyPr rtlCol="0" anchor="ctr"/>
            <a:lstStyle/>
            <a:p>
              <a:endParaRPr lang="en-US" dirty="0"/>
            </a:p>
          </p:txBody>
        </p:sp>
        <p:sp>
          <p:nvSpPr>
            <p:cNvPr id="1597" name="Freeform: Shape 1596">
              <a:extLst>
                <a:ext uri="{FF2B5EF4-FFF2-40B4-BE49-F238E27FC236}">
                  <a16:creationId xmlns:a16="http://schemas.microsoft.com/office/drawing/2014/main" id="{F160A378-83C0-100E-F5B9-0BF90A750559}"/>
                </a:ext>
              </a:extLst>
            </p:cNvPr>
            <p:cNvSpPr/>
            <p:nvPr/>
          </p:nvSpPr>
          <p:spPr>
            <a:xfrm>
              <a:off x="5052821" y="492527"/>
              <a:ext cx="21183" cy="423"/>
            </a:xfrm>
            <a:custGeom>
              <a:avLst/>
              <a:gdLst>
                <a:gd name="connsiteX0" fmla="*/ 0 w 9525"/>
                <a:gd name="connsiteY0" fmla="*/ 190 h 190"/>
                <a:gd name="connsiteX1" fmla="*/ 0 w 9525"/>
                <a:gd name="connsiteY1" fmla="*/ 0 h 190"/>
                <a:gd name="connsiteX2" fmla="*/ 0 w 9525"/>
                <a:gd name="connsiteY2" fmla="*/ 0 h 190"/>
                <a:gd name="connsiteX3" fmla="*/ 0 w 9525"/>
                <a:gd name="connsiteY3" fmla="*/ 95 h 190"/>
              </a:gdLst>
              <a:ahLst/>
              <a:cxnLst>
                <a:cxn ang="0">
                  <a:pos x="connsiteX0" y="connsiteY0"/>
                </a:cxn>
                <a:cxn ang="0">
                  <a:pos x="connsiteX1" y="connsiteY1"/>
                </a:cxn>
                <a:cxn ang="0">
                  <a:pos x="connsiteX2" y="connsiteY2"/>
                </a:cxn>
                <a:cxn ang="0">
                  <a:pos x="connsiteX3" y="connsiteY3"/>
                </a:cxn>
              </a:cxnLst>
              <a:rect l="l" t="t" r="r" b="b"/>
              <a:pathLst>
                <a:path w="9525" h="190">
                  <a:moveTo>
                    <a:pt x="0" y="190"/>
                  </a:moveTo>
                  <a:lnTo>
                    <a:pt x="0" y="0"/>
                  </a:lnTo>
                  <a:cubicBezTo>
                    <a:pt x="0" y="0"/>
                    <a:pt x="0" y="0"/>
                    <a:pt x="0" y="0"/>
                  </a:cubicBezTo>
                  <a:cubicBezTo>
                    <a:pt x="0" y="0"/>
                    <a:pt x="0" y="0"/>
                    <a:pt x="0" y="95"/>
                  </a:cubicBezTo>
                  <a:close/>
                </a:path>
              </a:pathLst>
            </a:custGeom>
            <a:grpFill/>
            <a:ln w="9525" cap="flat">
              <a:noFill/>
              <a:prstDash val="solid"/>
              <a:miter/>
            </a:ln>
          </p:spPr>
          <p:txBody>
            <a:bodyPr rtlCol="0" anchor="ctr"/>
            <a:lstStyle/>
            <a:p>
              <a:endParaRPr lang="en-US" dirty="0"/>
            </a:p>
          </p:txBody>
        </p:sp>
        <p:sp>
          <p:nvSpPr>
            <p:cNvPr id="1598" name="Freeform: Shape 1597">
              <a:extLst>
                <a:ext uri="{FF2B5EF4-FFF2-40B4-BE49-F238E27FC236}">
                  <a16:creationId xmlns:a16="http://schemas.microsoft.com/office/drawing/2014/main" id="{B8BDA1AB-FB86-EF2E-71DF-AE05A78441F4}"/>
                </a:ext>
              </a:extLst>
            </p:cNvPr>
            <p:cNvSpPr/>
            <p:nvPr/>
          </p:nvSpPr>
          <p:spPr>
            <a:xfrm>
              <a:off x="5079512" y="416692"/>
              <a:ext cx="2540" cy="2117"/>
            </a:xfrm>
            <a:custGeom>
              <a:avLst/>
              <a:gdLst>
                <a:gd name="connsiteX0" fmla="*/ 0 w 1142"/>
                <a:gd name="connsiteY0" fmla="*/ 0 h 952"/>
                <a:gd name="connsiteX1" fmla="*/ 762 w 1142"/>
                <a:gd name="connsiteY1" fmla="*/ 953 h 952"/>
                <a:gd name="connsiteX2" fmla="*/ 1143 w 1142"/>
                <a:gd name="connsiteY2" fmla="*/ 667 h 952"/>
                <a:gd name="connsiteX3" fmla="*/ 0 w 1142"/>
                <a:gd name="connsiteY3" fmla="*/ 95 h 952"/>
              </a:gdLst>
              <a:ahLst/>
              <a:cxnLst>
                <a:cxn ang="0">
                  <a:pos x="connsiteX0" y="connsiteY0"/>
                </a:cxn>
                <a:cxn ang="0">
                  <a:pos x="connsiteX1" y="connsiteY1"/>
                </a:cxn>
                <a:cxn ang="0">
                  <a:pos x="connsiteX2" y="connsiteY2"/>
                </a:cxn>
                <a:cxn ang="0">
                  <a:pos x="connsiteX3" y="connsiteY3"/>
                </a:cxn>
              </a:cxnLst>
              <a:rect l="l" t="t" r="r" b="b"/>
              <a:pathLst>
                <a:path w="1142" h="952">
                  <a:moveTo>
                    <a:pt x="0" y="0"/>
                  </a:moveTo>
                  <a:cubicBezTo>
                    <a:pt x="0" y="0"/>
                    <a:pt x="476" y="572"/>
                    <a:pt x="762" y="953"/>
                  </a:cubicBezTo>
                  <a:cubicBezTo>
                    <a:pt x="857" y="857"/>
                    <a:pt x="1048" y="762"/>
                    <a:pt x="1143" y="667"/>
                  </a:cubicBezTo>
                  <a:cubicBezTo>
                    <a:pt x="762" y="476"/>
                    <a:pt x="286" y="286"/>
                    <a:pt x="0" y="95"/>
                  </a:cubicBezTo>
                  <a:close/>
                </a:path>
              </a:pathLst>
            </a:custGeom>
            <a:grpFill/>
            <a:ln w="9525" cap="flat">
              <a:noFill/>
              <a:prstDash val="solid"/>
              <a:miter/>
            </a:ln>
          </p:spPr>
          <p:txBody>
            <a:bodyPr rtlCol="0" anchor="ctr"/>
            <a:lstStyle/>
            <a:p>
              <a:endParaRPr lang="en-US" dirty="0"/>
            </a:p>
          </p:txBody>
        </p:sp>
        <p:sp>
          <p:nvSpPr>
            <p:cNvPr id="1599" name="Freeform: Shape 1598">
              <a:extLst>
                <a:ext uri="{FF2B5EF4-FFF2-40B4-BE49-F238E27FC236}">
                  <a16:creationId xmlns:a16="http://schemas.microsoft.com/office/drawing/2014/main" id="{CAF9DE4C-5EB8-1262-B7A7-AFB208EC1F4C}"/>
                </a:ext>
              </a:extLst>
            </p:cNvPr>
            <p:cNvSpPr/>
            <p:nvPr/>
          </p:nvSpPr>
          <p:spPr>
            <a:xfrm>
              <a:off x="5061082" y="646311"/>
              <a:ext cx="1481" cy="6565"/>
            </a:xfrm>
            <a:custGeom>
              <a:avLst/>
              <a:gdLst>
                <a:gd name="connsiteX0" fmla="*/ 381 w 666"/>
                <a:gd name="connsiteY0" fmla="*/ 381 h 2952"/>
                <a:gd name="connsiteX1" fmla="*/ 0 w 666"/>
                <a:gd name="connsiteY1" fmla="*/ 0 h 2952"/>
                <a:gd name="connsiteX2" fmla="*/ 190 w 666"/>
                <a:gd name="connsiteY2" fmla="*/ 952 h 2952"/>
                <a:gd name="connsiteX3" fmla="*/ 667 w 666"/>
                <a:gd name="connsiteY3" fmla="*/ 2953 h 2952"/>
                <a:gd name="connsiteX4" fmla="*/ 667 w 666"/>
                <a:gd name="connsiteY4" fmla="*/ 2953 h 2952"/>
                <a:gd name="connsiteX5" fmla="*/ 381 w 666"/>
                <a:gd name="connsiteY5" fmla="*/ 381 h 2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 h="2952">
                  <a:moveTo>
                    <a:pt x="381" y="381"/>
                  </a:moveTo>
                  <a:lnTo>
                    <a:pt x="0" y="0"/>
                  </a:lnTo>
                  <a:lnTo>
                    <a:pt x="190" y="952"/>
                  </a:lnTo>
                  <a:cubicBezTo>
                    <a:pt x="286" y="1619"/>
                    <a:pt x="571" y="2286"/>
                    <a:pt x="667" y="2953"/>
                  </a:cubicBezTo>
                  <a:cubicBezTo>
                    <a:pt x="667" y="2953"/>
                    <a:pt x="667" y="2953"/>
                    <a:pt x="667" y="2953"/>
                  </a:cubicBezTo>
                  <a:lnTo>
                    <a:pt x="381" y="381"/>
                  </a:lnTo>
                  <a:close/>
                </a:path>
              </a:pathLst>
            </a:custGeom>
            <a:grpFill/>
            <a:ln w="9525" cap="flat">
              <a:noFill/>
              <a:prstDash val="solid"/>
              <a:miter/>
            </a:ln>
          </p:spPr>
          <p:txBody>
            <a:bodyPr rtlCol="0" anchor="ctr"/>
            <a:lstStyle/>
            <a:p>
              <a:endParaRPr lang="en-US" dirty="0"/>
            </a:p>
          </p:txBody>
        </p:sp>
        <p:sp>
          <p:nvSpPr>
            <p:cNvPr id="1600" name="Freeform: Shape 1599">
              <a:extLst>
                <a:ext uri="{FF2B5EF4-FFF2-40B4-BE49-F238E27FC236}">
                  <a16:creationId xmlns:a16="http://schemas.microsoft.com/office/drawing/2014/main" id="{F2D63B74-1771-0ECE-4233-8C8BEA9F73C1}"/>
                </a:ext>
              </a:extLst>
            </p:cNvPr>
            <p:cNvSpPr/>
            <p:nvPr/>
          </p:nvSpPr>
          <p:spPr>
            <a:xfrm>
              <a:off x="5048373" y="637838"/>
              <a:ext cx="6778" cy="4448"/>
            </a:xfrm>
            <a:custGeom>
              <a:avLst/>
              <a:gdLst>
                <a:gd name="connsiteX0" fmla="*/ 1619 w 3048"/>
                <a:gd name="connsiteY0" fmla="*/ 191 h 2000"/>
                <a:gd name="connsiteX1" fmla="*/ 1333 w 3048"/>
                <a:gd name="connsiteY1" fmla="*/ 191 h 2000"/>
                <a:gd name="connsiteX2" fmla="*/ 0 w 3048"/>
                <a:gd name="connsiteY2" fmla="*/ 381 h 2000"/>
                <a:gd name="connsiteX3" fmla="*/ 0 w 3048"/>
                <a:gd name="connsiteY3" fmla="*/ 476 h 2000"/>
                <a:gd name="connsiteX4" fmla="*/ 667 w 3048"/>
                <a:gd name="connsiteY4" fmla="*/ 1143 h 2000"/>
                <a:gd name="connsiteX5" fmla="*/ 857 w 3048"/>
                <a:gd name="connsiteY5" fmla="*/ 857 h 2000"/>
                <a:gd name="connsiteX6" fmla="*/ 1714 w 3048"/>
                <a:gd name="connsiteY6" fmla="*/ 667 h 2000"/>
                <a:gd name="connsiteX7" fmla="*/ 3048 w 3048"/>
                <a:gd name="connsiteY7" fmla="*/ 2000 h 2000"/>
                <a:gd name="connsiteX8" fmla="*/ 3048 w 3048"/>
                <a:gd name="connsiteY8" fmla="*/ 2000 h 2000"/>
                <a:gd name="connsiteX9" fmla="*/ 3048 w 3048"/>
                <a:gd name="connsiteY9" fmla="*/ 2000 h 2000"/>
                <a:gd name="connsiteX10" fmla="*/ 2857 w 3048"/>
                <a:gd name="connsiteY10" fmla="*/ 1238 h 2000"/>
                <a:gd name="connsiteX11" fmla="*/ 1429 w 3048"/>
                <a:gd name="connsiteY11" fmla="*/ 0 h 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8" h="2000">
                  <a:moveTo>
                    <a:pt x="1619" y="191"/>
                  </a:moveTo>
                  <a:cubicBezTo>
                    <a:pt x="1619" y="191"/>
                    <a:pt x="1429" y="191"/>
                    <a:pt x="1333" y="191"/>
                  </a:cubicBezTo>
                  <a:cubicBezTo>
                    <a:pt x="857" y="286"/>
                    <a:pt x="381" y="191"/>
                    <a:pt x="0" y="381"/>
                  </a:cubicBezTo>
                  <a:cubicBezTo>
                    <a:pt x="0" y="381"/>
                    <a:pt x="0" y="381"/>
                    <a:pt x="0" y="476"/>
                  </a:cubicBezTo>
                  <a:cubicBezTo>
                    <a:pt x="190" y="762"/>
                    <a:pt x="476" y="953"/>
                    <a:pt x="667" y="1143"/>
                  </a:cubicBezTo>
                  <a:cubicBezTo>
                    <a:pt x="667" y="1048"/>
                    <a:pt x="762" y="953"/>
                    <a:pt x="857" y="857"/>
                  </a:cubicBezTo>
                  <a:cubicBezTo>
                    <a:pt x="1143" y="667"/>
                    <a:pt x="1524" y="476"/>
                    <a:pt x="1714" y="667"/>
                  </a:cubicBezTo>
                  <a:cubicBezTo>
                    <a:pt x="2191" y="1143"/>
                    <a:pt x="2762" y="1429"/>
                    <a:pt x="3048" y="2000"/>
                  </a:cubicBezTo>
                  <a:cubicBezTo>
                    <a:pt x="3048" y="2000"/>
                    <a:pt x="3048" y="2000"/>
                    <a:pt x="3048" y="2000"/>
                  </a:cubicBezTo>
                  <a:lnTo>
                    <a:pt x="3048" y="2000"/>
                  </a:lnTo>
                  <a:cubicBezTo>
                    <a:pt x="3048" y="2000"/>
                    <a:pt x="2953" y="1429"/>
                    <a:pt x="2857" y="1238"/>
                  </a:cubicBezTo>
                  <a:lnTo>
                    <a:pt x="1429" y="0"/>
                  </a:lnTo>
                  <a:close/>
                </a:path>
              </a:pathLst>
            </a:custGeom>
            <a:grpFill/>
            <a:ln w="9525" cap="flat">
              <a:noFill/>
              <a:prstDash val="solid"/>
              <a:miter/>
            </a:ln>
          </p:spPr>
          <p:txBody>
            <a:bodyPr rtlCol="0" anchor="ctr"/>
            <a:lstStyle/>
            <a:p>
              <a:endParaRPr lang="en-US" dirty="0"/>
            </a:p>
          </p:txBody>
        </p:sp>
        <p:sp>
          <p:nvSpPr>
            <p:cNvPr id="1601" name="Freeform: Shape 1600">
              <a:extLst>
                <a:ext uri="{FF2B5EF4-FFF2-40B4-BE49-F238E27FC236}">
                  <a16:creationId xmlns:a16="http://schemas.microsoft.com/office/drawing/2014/main" id="{F88C6E2E-252E-2E76-27E2-9576E88698B3}"/>
                </a:ext>
              </a:extLst>
            </p:cNvPr>
            <p:cNvSpPr/>
            <p:nvPr/>
          </p:nvSpPr>
          <p:spPr>
            <a:xfrm>
              <a:off x="5036086" y="568784"/>
              <a:ext cx="9743" cy="57614"/>
            </a:xfrm>
            <a:custGeom>
              <a:avLst/>
              <a:gdLst>
                <a:gd name="connsiteX0" fmla="*/ 2477 w 4381"/>
                <a:gd name="connsiteY0" fmla="*/ 476 h 25907"/>
                <a:gd name="connsiteX1" fmla="*/ 2477 w 4381"/>
                <a:gd name="connsiteY1" fmla="*/ 476 h 25907"/>
                <a:gd name="connsiteX2" fmla="*/ 1715 w 4381"/>
                <a:gd name="connsiteY2" fmla="*/ 0 h 25907"/>
                <a:gd name="connsiteX3" fmla="*/ 0 w 4381"/>
                <a:gd name="connsiteY3" fmla="*/ 5715 h 25907"/>
                <a:gd name="connsiteX4" fmla="*/ 1334 w 4381"/>
                <a:gd name="connsiteY4" fmla="*/ 14288 h 25907"/>
                <a:gd name="connsiteX5" fmla="*/ 3905 w 4381"/>
                <a:gd name="connsiteY5" fmla="*/ 25908 h 25907"/>
                <a:gd name="connsiteX6" fmla="*/ 4382 w 4381"/>
                <a:gd name="connsiteY6" fmla="*/ 25908 h 25907"/>
                <a:gd name="connsiteX7" fmla="*/ 2572 w 4381"/>
                <a:gd name="connsiteY7" fmla="*/ 667 h 2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1" h="25907">
                  <a:moveTo>
                    <a:pt x="2477" y="476"/>
                  </a:moveTo>
                  <a:cubicBezTo>
                    <a:pt x="2477" y="476"/>
                    <a:pt x="2477" y="476"/>
                    <a:pt x="2477" y="476"/>
                  </a:cubicBezTo>
                  <a:cubicBezTo>
                    <a:pt x="2191" y="381"/>
                    <a:pt x="2000" y="95"/>
                    <a:pt x="1715" y="0"/>
                  </a:cubicBezTo>
                  <a:cubicBezTo>
                    <a:pt x="667" y="571"/>
                    <a:pt x="0" y="2286"/>
                    <a:pt x="0" y="5715"/>
                  </a:cubicBezTo>
                  <a:cubicBezTo>
                    <a:pt x="0" y="9144"/>
                    <a:pt x="476" y="10858"/>
                    <a:pt x="1334" y="14288"/>
                  </a:cubicBezTo>
                  <a:cubicBezTo>
                    <a:pt x="2000" y="16859"/>
                    <a:pt x="2858" y="20288"/>
                    <a:pt x="3905" y="25908"/>
                  </a:cubicBezTo>
                  <a:cubicBezTo>
                    <a:pt x="4096" y="25908"/>
                    <a:pt x="4191" y="25908"/>
                    <a:pt x="4382" y="25908"/>
                  </a:cubicBezTo>
                  <a:lnTo>
                    <a:pt x="2572" y="667"/>
                  </a:lnTo>
                  <a:close/>
                </a:path>
              </a:pathLst>
            </a:custGeom>
            <a:grpFill/>
            <a:ln w="9525" cap="flat">
              <a:noFill/>
              <a:prstDash val="solid"/>
              <a:miter/>
            </a:ln>
          </p:spPr>
          <p:txBody>
            <a:bodyPr rtlCol="0" anchor="ctr"/>
            <a:lstStyle/>
            <a:p>
              <a:endParaRPr lang="en-US" dirty="0"/>
            </a:p>
          </p:txBody>
        </p:sp>
        <p:sp>
          <p:nvSpPr>
            <p:cNvPr id="1602" name="Freeform: Shape 1601">
              <a:extLst>
                <a:ext uri="{FF2B5EF4-FFF2-40B4-BE49-F238E27FC236}">
                  <a16:creationId xmlns:a16="http://schemas.microsoft.com/office/drawing/2014/main" id="{50F72700-3DFE-7AB7-CCD5-AFC4E36E7898}"/>
                </a:ext>
              </a:extLst>
            </p:cNvPr>
            <p:cNvSpPr/>
            <p:nvPr/>
          </p:nvSpPr>
          <p:spPr>
            <a:xfrm>
              <a:off x="5258928" y="505659"/>
              <a:ext cx="2540" cy="4659"/>
            </a:xfrm>
            <a:custGeom>
              <a:avLst/>
              <a:gdLst>
                <a:gd name="connsiteX0" fmla="*/ 0 w 1142"/>
                <a:gd name="connsiteY0" fmla="*/ 2095 h 2095"/>
                <a:gd name="connsiteX1" fmla="*/ 1143 w 1142"/>
                <a:gd name="connsiteY1" fmla="*/ 0 h 2095"/>
                <a:gd name="connsiteX2" fmla="*/ 1143 w 1142"/>
                <a:gd name="connsiteY2" fmla="*/ 0 h 2095"/>
                <a:gd name="connsiteX3" fmla="*/ 95 w 1142"/>
                <a:gd name="connsiteY3" fmla="*/ 2000 h 2095"/>
              </a:gdLst>
              <a:ahLst/>
              <a:cxnLst>
                <a:cxn ang="0">
                  <a:pos x="connsiteX0" y="connsiteY0"/>
                </a:cxn>
                <a:cxn ang="0">
                  <a:pos x="connsiteX1" y="connsiteY1"/>
                </a:cxn>
                <a:cxn ang="0">
                  <a:pos x="connsiteX2" y="connsiteY2"/>
                </a:cxn>
                <a:cxn ang="0">
                  <a:pos x="connsiteX3" y="connsiteY3"/>
                </a:cxn>
              </a:cxnLst>
              <a:rect l="l" t="t" r="r" b="b"/>
              <a:pathLst>
                <a:path w="1142" h="2095">
                  <a:moveTo>
                    <a:pt x="0" y="2095"/>
                  </a:moveTo>
                  <a:cubicBezTo>
                    <a:pt x="381" y="1429"/>
                    <a:pt x="667" y="667"/>
                    <a:pt x="1143" y="0"/>
                  </a:cubicBezTo>
                  <a:cubicBezTo>
                    <a:pt x="1143" y="0"/>
                    <a:pt x="1143" y="0"/>
                    <a:pt x="1143" y="0"/>
                  </a:cubicBezTo>
                  <a:cubicBezTo>
                    <a:pt x="667" y="571"/>
                    <a:pt x="286" y="1238"/>
                    <a:pt x="95" y="2000"/>
                  </a:cubicBezTo>
                  <a:close/>
                </a:path>
              </a:pathLst>
            </a:custGeom>
            <a:grpFill/>
            <a:ln w="9525" cap="flat">
              <a:noFill/>
              <a:prstDash val="solid"/>
              <a:miter/>
            </a:ln>
          </p:spPr>
          <p:txBody>
            <a:bodyPr rtlCol="0" anchor="ctr"/>
            <a:lstStyle/>
            <a:p>
              <a:endParaRPr lang="en-US" dirty="0"/>
            </a:p>
          </p:txBody>
        </p:sp>
        <p:sp>
          <p:nvSpPr>
            <p:cNvPr id="1603" name="Freeform: Shape 1602">
              <a:extLst>
                <a:ext uri="{FF2B5EF4-FFF2-40B4-BE49-F238E27FC236}">
                  <a16:creationId xmlns:a16="http://schemas.microsoft.com/office/drawing/2014/main" id="{BDED7D79-A2D2-9329-EB59-312C9A8407B1}"/>
                </a:ext>
              </a:extLst>
            </p:cNvPr>
            <p:cNvSpPr/>
            <p:nvPr/>
          </p:nvSpPr>
          <p:spPr>
            <a:xfrm>
              <a:off x="5225670" y="449950"/>
              <a:ext cx="1059" cy="2328"/>
            </a:xfrm>
            <a:custGeom>
              <a:avLst/>
              <a:gdLst>
                <a:gd name="connsiteX0" fmla="*/ 95 w 476"/>
                <a:gd name="connsiteY0" fmla="*/ 95 h 1047"/>
                <a:gd name="connsiteX1" fmla="*/ 190 w 476"/>
                <a:gd name="connsiteY1" fmla="*/ 381 h 1047"/>
                <a:gd name="connsiteX2" fmla="*/ 476 w 476"/>
                <a:gd name="connsiteY2" fmla="*/ 1048 h 1047"/>
                <a:gd name="connsiteX3" fmla="*/ 286 w 476"/>
                <a:gd name="connsiteY3" fmla="*/ 0 h 1047"/>
                <a:gd name="connsiteX4" fmla="*/ 0 w 476"/>
                <a:gd name="connsiteY4" fmla="*/ 95 h 1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 h="1047">
                  <a:moveTo>
                    <a:pt x="95" y="95"/>
                  </a:moveTo>
                  <a:cubicBezTo>
                    <a:pt x="95" y="95"/>
                    <a:pt x="190" y="381"/>
                    <a:pt x="190" y="381"/>
                  </a:cubicBezTo>
                  <a:cubicBezTo>
                    <a:pt x="286" y="571"/>
                    <a:pt x="381" y="857"/>
                    <a:pt x="476" y="1048"/>
                  </a:cubicBezTo>
                  <a:cubicBezTo>
                    <a:pt x="476" y="667"/>
                    <a:pt x="286" y="381"/>
                    <a:pt x="286" y="0"/>
                  </a:cubicBezTo>
                  <a:cubicBezTo>
                    <a:pt x="286" y="0"/>
                    <a:pt x="0" y="0"/>
                    <a:pt x="0" y="95"/>
                  </a:cubicBezTo>
                  <a:close/>
                </a:path>
              </a:pathLst>
            </a:custGeom>
            <a:grpFill/>
            <a:ln w="9525" cap="flat">
              <a:noFill/>
              <a:prstDash val="solid"/>
              <a:miter/>
            </a:ln>
          </p:spPr>
          <p:txBody>
            <a:bodyPr rtlCol="0" anchor="ctr"/>
            <a:lstStyle/>
            <a:p>
              <a:endParaRPr lang="en-US" dirty="0"/>
            </a:p>
          </p:txBody>
        </p:sp>
        <p:sp>
          <p:nvSpPr>
            <p:cNvPr id="1604" name="Freeform: Shape 1603">
              <a:extLst>
                <a:ext uri="{FF2B5EF4-FFF2-40B4-BE49-F238E27FC236}">
                  <a16:creationId xmlns:a16="http://schemas.microsoft.com/office/drawing/2014/main" id="{AB9AC1A6-EF78-EC51-74CE-D4938C6319BD}"/>
                </a:ext>
              </a:extLst>
            </p:cNvPr>
            <p:cNvSpPr/>
            <p:nvPr/>
          </p:nvSpPr>
          <p:spPr>
            <a:xfrm>
              <a:off x="5173562" y="411608"/>
              <a:ext cx="5506" cy="11226"/>
            </a:xfrm>
            <a:custGeom>
              <a:avLst/>
              <a:gdLst>
                <a:gd name="connsiteX0" fmla="*/ 0 w 2476"/>
                <a:gd name="connsiteY0" fmla="*/ 286 h 5048"/>
                <a:gd name="connsiteX1" fmla="*/ 0 w 2476"/>
                <a:gd name="connsiteY1" fmla="*/ 476 h 5048"/>
                <a:gd name="connsiteX2" fmla="*/ 0 w 2476"/>
                <a:gd name="connsiteY2" fmla="*/ 762 h 5048"/>
                <a:gd name="connsiteX3" fmla="*/ 190 w 2476"/>
                <a:gd name="connsiteY3" fmla="*/ 1810 h 5048"/>
                <a:gd name="connsiteX4" fmla="*/ 667 w 2476"/>
                <a:gd name="connsiteY4" fmla="*/ 3810 h 5048"/>
                <a:gd name="connsiteX5" fmla="*/ 667 w 2476"/>
                <a:gd name="connsiteY5" fmla="*/ 3810 h 5048"/>
                <a:gd name="connsiteX6" fmla="*/ 667 w 2476"/>
                <a:gd name="connsiteY6" fmla="*/ 3810 h 5048"/>
                <a:gd name="connsiteX7" fmla="*/ 2476 w 2476"/>
                <a:gd name="connsiteY7" fmla="*/ 5048 h 5048"/>
                <a:gd name="connsiteX8" fmla="*/ 571 w 2476"/>
                <a:gd name="connsiteY8" fmla="*/ 0 h 5048"/>
                <a:gd name="connsiteX9" fmla="*/ 0 w 2476"/>
                <a:gd name="connsiteY9" fmla="*/ 286 h 5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 h="5048">
                  <a:moveTo>
                    <a:pt x="0" y="286"/>
                  </a:moveTo>
                  <a:cubicBezTo>
                    <a:pt x="0" y="286"/>
                    <a:pt x="0" y="286"/>
                    <a:pt x="0" y="476"/>
                  </a:cubicBezTo>
                  <a:cubicBezTo>
                    <a:pt x="0" y="476"/>
                    <a:pt x="0" y="667"/>
                    <a:pt x="0" y="762"/>
                  </a:cubicBezTo>
                  <a:cubicBezTo>
                    <a:pt x="0" y="1143"/>
                    <a:pt x="95" y="1429"/>
                    <a:pt x="190" y="1810"/>
                  </a:cubicBezTo>
                  <a:cubicBezTo>
                    <a:pt x="286" y="2477"/>
                    <a:pt x="381" y="3239"/>
                    <a:pt x="667" y="3810"/>
                  </a:cubicBezTo>
                  <a:cubicBezTo>
                    <a:pt x="667" y="3620"/>
                    <a:pt x="476" y="3524"/>
                    <a:pt x="667" y="3810"/>
                  </a:cubicBezTo>
                  <a:cubicBezTo>
                    <a:pt x="857" y="4096"/>
                    <a:pt x="762" y="4001"/>
                    <a:pt x="667" y="3810"/>
                  </a:cubicBezTo>
                  <a:cubicBezTo>
                    <a:pt x="1048" y="4477"/>
                    <a:pt x="1810" y="4763"/>
                    <a:pt x="2476" y="5048"/>
                  </a:cubicBezTo>
                  <a:cubicBezTo>
                    <a:pt x="1143" y="3810"/>
                    <a:pt x="286" y="1905"/>
                    <a:pt x="571" y="0"/>
                  </a:cubicBezTo>
                  <a:cubicBezTo>
                    <a:pt x="381" y="0"/>
                    <a:pt x="190" y="95"/>
                    <a:pt x="0" y="286"/>
                  </a:cubicBezTo>
                  <a:close/>
                </a:path>
              </a:pathLst>
            </a:custGeom>
            <a:grpFill/>
            <a:ln w="9525" cap="flat">
              <a:noFill/>
              <a:prstDash val="solid"/>
              <a:miter/>
            </a:ln>
          </p:spPr>
          <p:txBody>
            <a:bodyPr rtlCol="0" anchor="ctr"/>
            <a:lstStyle/>
            <a:p>
              <a:endParaRPr lang="en-US" dirty="0"/>
            </a:p>
          </p:txBody>
        </p:sp>
        <p:sp>
          <p:nvSpPr>
            <p:cNvPr id="1605" name="Freeform: Shape 1604">
              <a:extLst>
                <a:ext uri="{FF2B5EF4-FFF2-40B4-BE49-F238E27FC236}">
                  <a16:creationId xmlns:a16="http://schemas.microsoft.com/office/drawing/2014/main" id="{C512733D-7385-9996-C087-2662E7BCFDDF}"/>
                </a:ext>
              </a:extLst>
            </p:cNvPr>
            <p:cNvSpPr/>
            <p:nvPr/>
          </p:nvSpPr>
          <p:spPr>
            <a:xfrm>
              <a:off x="5150507" y="403989"/>
              <a:ext cx="467" cy="743"/>
            </a:xfrm>
            <a:custGeom>
              <a:avLst/>
              <a:gdLst>
                <a:gd name="connsiteX0" fmla="*/ 175 w 210"/>
                <a:gd name="connsiteY0" fmla="*/ 283 h 334"/>
                <a:gd name="connsiteX1" fmla="*/ 175 w 210"/>
                <a:gd name="connsiteY1" fmla="*/ 283 h 334"/>
                <a:gd name="connsiteX2" fmla="*/ 175 w 210"/>
                <a:gd name="connsiteY2" fmla="*/ 283 h 334"/>
              </a:gdLst>
              <a:ahLst/>
              <a:cxnLst>
                <a:cxn ang="0">
                  <a:pos x="connsiteX0" y="connsiteY0"/>
                </a:cxn>
                <a:cxn ang="0">
                  <a:pos x="connsiteX1" y="connsiteY1"/>
                </a:cxn>
                <a:cxn ang="0">
                  <a:pos x="connsiteX2" y="connsiteY2"/>
                </a:cxn>
              </a:cxnLst>
              <a:rect l="l" t="t" r="r" b="b"/>
              <a:pathLst>
                <a:path w="210" h="334">
                  <a:moveTo>
                    <a:pt x="175" y="283"/>
                  </a:moveTo>
                  <a:cubicBezTo>
                    <a:pt x="-301" y="-479"/>
                    <a:pt x="366" y="569"/>
                    <a:pt x="175" y="283"/>
                  </a:cubicBezTo>
                  <a:lnTo>
                    <a:pt x="175" y="283"/>
                  </a:lnTo>
                  <a:close/>
                </a:path>
              </a:pathLst>
            </a:custGeom>
            <a:grpFill/>
            <a:ln w="9525" cap="flat">
              <a:noFill/>
              <a:prstDash val="solid"/>
              <a:miter/>
            </a:ln>
          </p:spPr>
          <p:txBody>
            <a:bodyPr rtlCol="0" anchor="ctr"/>
            <a:lstStyle/>
            <a:p>
              <a:endParaRPr lang="en-US" dirty="0"/>
            </a:p>
          </p:txBody>
        </p:sp>
        <p:sp>
          <p:nvSpPr>
            <p:cNvPr id="1606" name="Freeform: Shape 1605">
              <a:extLst>
                <a:ext uri="{FF2B5EF4-FFF2-40B4-BE49-F238E27FC236}">
                  <a16:creationId xmlns:a16="http://schemas.microsoft.com/office/drawing/2014/main" id="{C67C2C8A-8EA7-219F-BB8A-D391A8E2142D}"/>
                </a:ext>
              </a:extLst>
            </p:cNvPr>
            <p:cNvSpPr/>
            <p:nvPr/>
          </p:nvSpPr>
          <p:spPr>
            <a:xfrm>
              <a:off x="5260881" y="505870"/>
              <a:ext cx="376" cy="565"/>
            </a:xfrm>
            <a:custGeom>
              <a:avLst/>
              <a:gdLst>
                <a:gd name="connsiteX0" fmla="*/ 169 w 169"/>
                <a:gd name="connsiteY0" fmla="*/ 0 h 254"/>
                <a:gd name="connsiteX1" fmla="*/ 169 w 169"/>
                <a:gd name="connsiteY1" fmla="*/ 0 h 254"/>
                <a:gd name="connsiteX2" fmla="*/ 169 w 169"/>
                <a:gd name="connsiteY2" fmla="*/ 0 h 254"/>
              </a:gdLst>
              <a:ahLst/>
              <a:cxnLst>
                <a:cxn ang="0">
                  <a:pos x="connsiteX0" y="connsiteY0"/>
                </a:cxn>
                <a:cxn ang="0">
                  <a:pos x="connsiteX1" y="connsiteY1"/>
                </a:cxn>
                <a:cxn ang="0">
                  <a:pos x="connsiteX2" y="connsiteY2"/>
                </a:cxn>
              </a:cxnLst>
              <a:rect l="l" t="t" r="r" b="b"/>
              <a:pathLst>
                <a:path w="169" h="254">
                  <a:moveTo>
                    <a:pt x="169" y="0"/>
                  </a:moveTo>
                  <a:cubicBezTo>
                    <a:pt x="-212" y="572"/>
                    <a:pt x="169" y="0"/>
                    <a:pt x="169" y="0"/>
                  </a:cubicBezTo>
                  <a:lnTo>
                    <a:pt x="169" y="0"/>
                  </a:lnTo>
                  <a:close/>
                </a:path>
              </a:pathLst>
            </a:custGeom>
            <a:grpFill/>
            <a:ln w="9525" cap="flat">
              <a:noFill/>
              <a:prstDash val="solid"/>
              <a:miter/>
            </a:ln>
          </p:spPr>
          <p:txBody>
            <a:bodyPr rtlCol="0" anchor="ctr"/>
            <a:lstStyle/>
            <a:p>
              <a:endParaRPr lang="en-US" dirty="0"/>
            </a:p>
          </p:txBody>
        </p:sp>
        <p:sp>
          <p:nvSpPr>
            <p:cNvPr id="1607" name="Freeform: Shape 1606">
              <a:extLst>
                <a:ext uri="{FF2B5EF4-FFF2-40B4-BE49-F238E27FC236}">
                  <a16:creationId xmlns:a16="http://schemas.microsoft.com/office/drawing/2014/main" id="{9B49581E-263F-8988-CE14-D7A8A27C717C}"/>
                </a:ext>
              </a:extLst>
            </p:cNvPr>
            <p:cNvSpPr/>
            <p:nvPr/>
          </p:nvSpPr>
          <p:spPr>
            <a:xfrm>
              <a:off x="5150685" y="403771"/>
              <a:ext cx="1695" cy="2753"/>
            </a:xfrm>
            <a:custGeom>
              <a:avLst/>
              <a:gdLst>
                <a:gd name="connsiteX0" fmla="*/ 381 w 762"/>
                <a:gd name="connsiteY0" fmla="*/ 0 h 1238"/>
                <a:gd name="connsiteX1" fmla="*/ 0 w 762"/>
                <a:gd name="connsiteY1" fmla="*/ 0 h 1238"/>
                <a:gd name="connsiteX2" fmla="*/ 95 w 762"/>
                <a:gd name="connsiteY2" fmla="*/ 286 h 1238"/>
                <a:gd name="connsiteX3" fmla="*/ 762 w 762"/>
                <a:gd name="connsiteY3" fmla="*/ 1238 h 1238"/>
                <a:gd name="connsiteX4" fmla="*/ 381 w 762"/>
                <a:gd name="connsiteY4" fmla="*/ 0 h 1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 h="1238">
                  <a:moveTo>
                    <a:pt x="381" y="0"/>
                  </a:moveTo>
                  <a:cubicBezTo>
                    <a:pt x="381" y="0"/>
                    <a:pt x="95" y="0"/>
                    <a:pt x="0" y="0"/>
                  </a:cubicBezTo>
                  <a:cubicBezTo>
                    <a:pt x="0" y="0"/>
                    <a:pt x="0" y="191"/>
                    <a:pt x="95" y="286"/>
                  </a:cubicBezTo>
                  <a:cubicBezTo>
                    <a:pt x="286" y="572"/>
                    <a:pt x="571" y="857"/>
                    <a:pt x="762" y="1238"/>
                  </a:cubicBezTo>
                  <a:cubicBezTo>
                    <a:pt x="571" y="857"/>
                    <a:pt x="476" y="381"/>
                    <a:pt x="381" y="0"/>
                  </a:cubicBezTo>
                  <a:close/>
                </a:path>
              </a:pathLst>
            </a:custGeom>
            <a:grpFill/>
            <a:ln w="9525" cap="flat">
              <a:noFill/>
              <a:prstDash val="solid"/>
              <a:miter/>
            </a:ln>
          </p:spPr>
          <p:txBody>
            <a:bodyPr rtlCol="0" anchor="ctr"/>
            <a:lstStyle/>
            <a:p>
              <a:endParaRPr lang="en-US" dirty="0"/>
            </a:p>
          </p:txBody>
        </p:sp>
        <p:sp>
          <p:nvSpPr>
            <p:cNvPr id="1608" name="Freeform: Shape 1607">
              <a:extLst>
                <a:ext uri="{FF2B5EF4-FFF2-40B4-BE49-F238E27FC236}">
                  <a16:creationId xmlns:a16="http://schemas.microsoft.com/office/drawing/2014/main" id="{B29BD954-D5D8-5398-55B0-587F2ED49EA5}"/>
                </a:ext>
              </a:extLst>
            </p:cNvPr>
            <p:cNvSpPr/>
            <p:nvPr/>
          </p:nvSpPr>
          <p:spPr>
            <a:xfrm>
              <a:off x="5061930" y="449314"/>
              <a:ext cx="3176" cy="4023"/>
            </a:xfrm>
            <a:custGeom>
              <a:avLst/>
              <a:gdLst>
                <a:gd name="connsiteX0" fmla="*/ 1429 w 1428"/>
                <a:gd name="connsiteY0" fmla="*/ 0 h 1809"/>
                <a:gd name="connsiteX1" fmla="*/ 0 w 1428"/>
                <a:gd name="connsiteY1" fmla="*/ 381 h 1809"/>
                <a:gd name="connsiteX2" fmla="*/ 1048 w 1428"/>
                <a:gd name="connsiteY2" fmla="*/ 1810 h 1809"/>
                <a:gd name="connsiteX3" fmla="*/ 1429 w 1428"/>
                <a:gd name="connsiteY3" fmla="*/ 95 h 1809"/>
              </a:gdLst>
              <a:ahLst/>
              <a:cxnLst>
                <a:cxn ang="0">
                  <a:pos x="connsiteX0" y="connsiteY0"/>
                </a:cxn>
                <a:cxn ang="0">
                  <a:pos x="connsiteX1" y="connsiteY1"/>
                </a:cxn>
                <a:cxn ang="0">
                  <a:pos x="connsiteX2" y="connsiteY2"/>
                </a:cxn>
                <a:cxn ang="0">
                  <a:pos x="connsiteX3" y="connsiteY3"/>
                </a:cxn>
              </a:cxnLst>
              <a:rect l="l" t="t" r="r" b="b"/>
              <a:pathLst>
                <a:path w="1428" h="1809">
                  <a:moveTo>
                    <a:pt x="1429" y="0"/>
                  </a:moveTo>
                  <a:cubicBezTo>
                    <a:pt x="1429" y="0"/>
                    <a:pt x="476" y="286"/>
                    <a:pt x="0" y="381"/>
                  </a:cubicBezTo>
                  <a:cubicBezTo>
                    <a:pt x="381" y="857"/>
                    <a:pt x="762" y="1334"/>
                    <a:pt x="1048" y="1810"/>
                  </a:cubicBezTo>
                  <a:cubicBezTo>
                    <a:pt x="1048" y="1238"/>
                    <a:pt x="1238" y="667"/>
                    <a:pt x="1429" y="95"/>
                  </a:cubicBezTo>
                  <a:close/>
                </a:path>
              </a:pathLst>
            </a:custGeom>
            <a:grpFill/>
            <a:ln w="9525" cap="flat">
              <a:noFill/>
              <a:prstDash val="solid"/>
              <a:miter/>
            </a:ln>
          </p:spPr>
          <p:txBody>
            <a:bodyPr rtlCol="0" anchor="ctr"/>
            <a:lstStyle/>
            <a:p>
              <a:endParaRPr lang="en-US" dirty="0"/>
            </a:p>
          </p:txBody>
        </p:sp>
        <p:sp>
          <p:nvSpPr>
            <p:cNvPr id="1609" name="Freeform: Shape 1608">
              <a:extLst>
                <a:ext uri="{FF2B5EF4-FFF2-40B4-BE49-F238E27FC236}">
                  <a16:creationId xmlns:a16="http://schemas.microsoft.com/office/drawing/2014/main" id="{10E95C0F-76E7-15B4-4EC7-1B1FEEAFC896}"/>
                </a:ext>
              </a:extLst>
            </p:cNvPr>
            <p:cNvSpPr/>
            <p:nvPr/>
          </p:nvSpPr>
          <p:spPr>
            <a:xfrm>
              <a:off x="5149119" y="395087"/>
              <a:ext cx="2413" cy="8684"/>
            </a:xfrm>
            <a:custGeom>
              <a:avLst/>
              <a:gdLst>
                <a:gd name="connsiteX0" fmla="*/ 228 w 1085"/>
                <a:gd name="connsiteY0" fmla="*/ 0 h 3905"/>
                <a:gd name="connsiteX1" fmla="*/ 37 w 1085"/>
                <a:gd name="connsiteY1" fmla="*/ 2191 h 3905"/>
                <a:gd name="connsiteX2" fmla="*/ 704 w 1085"/>
                <a:gd name="connsiteY2" fmla="*/ 3905 h 3905"/>
                <a:gd name="connsiteX3" fmla="*/ 1085 w 1085"/>
                <a:gd name="connsiteY3" fmla="*/ 3905 h 3905"/>
                <a:gd name="connsiteX4" fmla="*/ 228 w 1085"/>
                <a:gd name="connsiteY4" fmla="*/ 0 h 3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 h="3905">
                  <a:moveTo>
                    <a:pt x="228" y="0"/>
                  </a:moveTo>
                  <a:cubicBezTo>
                    <a:pt x="37" y="762"/>
                    <a:pt x="-58" y="1429"/>
                    <a:pt x="37" y="2191"/>
                  </a:cubicBezTo>
                  <a:cubicBezTo>
                    <a:pt x="132" y="2858"/>
                    <a:pt x="418" y="3429"/>
                    <a:pt x="704" y="3905"/>
                  </a:cubicBezTo>
                  <a:cubicBezTo>
                    <a:pt x="799" y="3905"/>
                    <a:pt x="990" y="3905"/>
                    <a:pt x="1085" y="3905"/>
                  </a:cubicBezTo>
                  <a:cubicBezTo>
                    <a:pt x="609" y="2667"/>
                    <a:pt x="323" y="1334"/>
                    <a:pt x="228" y="0"/>
                  </a:cubicBezTo>
                  <a:close/>
                </a:path>
              </a:pathLst>
            </a:custGeom>
            <a:grpFill/>
            <a:ln w="9525" cap="flat">
              <a:noFill/>
              <a:prstDash val="solid"/>
              <a:miter/>
            </a:ln>
          </p:spPr>
          <p:txBody>
            <a:bodyPr rtlCol="0" anchor="ctr"/>
            <a:lstStyle/>
            <a:p>
              <a:endParaRPr lang="en-US" dirty="0"/>
            </a:p>
          </p:txBody>
        </p:sp>
        <p:sp>
          <p:nvSpPr>
            <p:cNvPr id="1610" name="Freeform: Shape 1609">
              <a:extLst>
                <a:ext uri="{FF2B5EF4-FFF2-40B4-BE49-F238E27FC236}">
                  <a16:creationId xmlns:a16="http://schemas.microsoft.com/office/drawing/2014/main" id="{0AA7CDC1-AFB8-E8AC-CD73-D5E2E11FA79B}"/>
                </a:ext>
              </a:extLst>
            </p:cNvPr>
            <p:cNvSpPr/>
            <p:nvPr/>
          </p:nvSpPr>
          <p:spPr>
            <a:xfrm>
              <a:off x="5081206" y="417964"/>
              <a:ext cx="9954" cy="15251"/>
            </a:xfrm>
            <a:custGeom>
              <a:avLst/>
              <a:gdLst>
                <a:gd name="connsiteX0" fmla="*/ 4096 w 4476"/>
                <a:gd name="connsiteY0" fmla="*/ 1334 h 6858"/>
                <a:gd name="connsiteX1" fmla="*/ 381 w 4476"/>
                <a:gd name="connsiteY1" fmla="*/ 0 h 6858"/>
                <a:gd name="connsiteX2" fmla="*/ 0 w 4476"/>
                <a:gd name="connsiteY2" fmla="*/ 286 h 6858"/>
                <a:gd name="connsiteX3" fmla="*/ 2477 w 4476"/>
                <a:gd name="connsiteY3" fmla="*/ 5239 h 6858"/>
                <a:gd name="connsiteX4" fmla="*/ 2477 w 4476"/>
                <a:gd name="connsiteY4" fmla="*/ 6858 h 6858"/>
                <a:gd name="connsiteX5" fmla="*/ 4477 w 4476"/>
                <a:gd name="connsiteY5" fmla="*/ 5048 h 6858"/>
                <a:gd name="connsiteX6" fmla="*/ 4191 w 4476"/>
                <a:gd name="connsiteY6" fmla="*/ 1334 h 6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6" h="6858">
                  <a:moveTo>
                    <a:pt x="4096" y="1334"/>
                  </a:moveTo>
                  <a:cubicBezTo>
                    <a:pt x="2858" y="1048"/>
                    <a:pt x="1619" y="572"/>
                    <a:pt x="381" y="0"/>
                  </a:cubicBezTo>
                  <a:cubicBezTo>
                    <a:pt x="286" y="95"/>
                    <a:pt x="95" y="191"/>
                    <a:pt x="0" y="286"/>
                  </a:cubicBezTo>
                  <a:cubicBezTo>
                    <a:pt x="1143" y="1715"/>
                    <a:pt x="2191" y="3334"/>
                    <a:pt x="2477" y="5239"/>
                  </a:cubicBezTo>
                  <a:cubicBezTo>
                    <a:pt x="2477" y="5810"/>
                    <a:pt x="2477" y="6286"/>
                    <a:pt x="2477" y="6858"/>
                  </a:cubicBezTo>
                  <a:cubicBezTo>
                    <a:pt x="3143" y="6286"/>
                    <a:pt x="3810" y="5620"/>
                    <a:pt x="4477" y="5048"/>
                  </a:cubicBezTo>
                  <a:cubicBezTo>
                    <a:pt x="4001" y="3905"/>
                    <a:pt x="3905" y="2572"/>
                    <a:pt x="4191" y="1334"/>
                  </a:cubicBezTo>
                  <a:close/>
                </a:path>
              </a:pathLst>
            </a:custGeom>
            <a:grpFill/>
            <a:ln w="9525" cap="flat">
              <a:noFill/>
              <a:prstDash val="solid"/>
              <a:miter/>
            </a:ln>
          </p:spPr>
          <p:txBody>
            <a:bodyPr rtlCol="0" anchor="ctr"/>
            <a:lstStyle/>
            <a:p>
              <a:endParaRPr lang="en-US" dirty="0"/>
            </a:p>
          </p:txBody>
        </p:sp>
        <p:sp>
          <p:nvSpPr>
            <p:cNvPr id="1611" name="Freeform: Shape 1610">
              <a:extLst>
                <a:ext uri="{FF2B5EF4-FFF2-40B4-BE49-F238E27FC236}">
                  <a16:creationId xmlns:a16="http://schemas.microsoft.com/office/drawing/2014/main" id="{2D61841B-AF52-F0DD-5F1A-DDF65F71A461}"/>
                </a:ext>
              </a:extLst>
            </p:cNvPr>
            <p:cNvSpPr/>
            <p:nvPr/>
          </p:nvSpPr>
          <p:spPr>
            <a:xfrm>
              <a:off x="5260621" y="463083"/>
              <a:ext cx="4023" cy="2540"/>
            </a:xfrm>
            <a:custGeom>
              <a:avLst/>
              <a:gdLst>
                <a:gd name="connsiteX0" fmla="*/ 95 w 1809"/>
                <a:gd name="connsiteY0" fmla="*/ 381 h 1142"/>
                <a:gd name="connsiteX1" fmla="*/ 476 w 1809"/>
                <a:gd name="connsiteY1" fmla="*/ 1143 h 1142"/>
                <a:gd name="connsiteX2" fmla="*/ 1810 w 1809"/>
                <a:gd name="connsiteY2" fmla="*/ 0 h 1142"/>
                <a:gd name="connsiteX3" fmla="*/ 0 w 1809"/>
                <a:gd name="connsiteY3" fmla="*/ 286 h 1142"/>
              </a:gdLst>
              <a:ahLst/>
              <a:cxnLst>
                <a:cxn ang="0">
                  <a:pos x="connsiteX0" y="connsiteY0"/>
                </a:cxn>
                <a:cxn ang="0">
                  <a:pos x="connsiteX1" y="connsiteY1"/>
                </a:cxn>
                <a:cxn ang="0">
                  <a:pos x="connsiteX2" y="connsiteY2"/>
                </a:cxn>
                <a:cxn ang="0">
                  <a:pos x="connsiteX3" y="connsiteY3"/>
                </a:cxn>
              </a:cxnLst>
              <a:rect l="l" t="t" r="r" b="b"/>
              <a:pathLst>
                <a:path w="1809" h="1142">
                  <a:moveTo>
                    <a:pt x="95" y="381"/>
                  </a:moveTo>
                  <a:cubicBezTo>
                    <a:pt x="95" y="381"/>
                    <a:pt x="381" y="952"/>
                    <a:pt x="476" y="1143"/>
                  </a:cubicBezTo>
                  <a:cubicBezTo>
                    <a:pt x="953" y="762"/>
                    <a:pt x="1334" y="381"/>
                    <a:pt x="1810" y="0"/>
                  </a:cubicBezTo>
                  <a:cubicBezTo>
                    <a:pt x="1238" y="95"/>
                    <a:pt x="571" y="190"/>
                    <a:pt x="0" y="286"/>
                  </a:cubicBezTo>
                  <a:close/>
                </a:path>
              </a:pathLst>
            </a:custGeom>
            <a:grpFill/>
            <a:ln w="9525" cap="flat">
              <a:noFill/>
              <a:prstDash val="solid"/>
              <a:miter/>
            </a:ln>
          </p:spPr>
          <p:txBody>
            <a:bodyPr rtlCol="0" anchor="ctr"/>
            <a:lstStyle/>
            <a:p>
              <a:endParaRPr lang="en-US" dirty="0"/>
            </a:p>
          </p:txBody>
        </p:sp>
        <p:sp>
          <p:nvSpPr>
            <p:cNvPr id="1612" name="Freeform: Shape 1611">
              <a:extLst>
                <a:ext uri="{FF2B5EF4-FFF2-40B4-BE49-F238E27FC236}">
                  <a16:creationId xmlns:a16="http://schemas.microsoft.com/office/drawing/2014/main" id="{34E974B2-C382-D606-E892-364D71952FA8}"/>
                </a:ext>
              </a:extLst>
            </p:cNvPr>
            <p:cNvSpPr/>
            <p:nvPr/>
          </p:nvSpPr>
          <p:spPr>
            <a:xfrm>
              <a:off x="5258928" y="505659"/>
              <a:ext cx="2540" cy="4659"/>
            </a:xfrm>
            <a:custGeom>
              <a:avLst/>
              <a:gdLst>
                <a:gd name="connsiteX0" fmla="*/ 0 w 1142"/>
                <a:gd name="connsiteY0" fmla="*/ 2095 h 2095"/>
                <a:gd name="connsiteX1" fmla="*/ 1143 w 1142"/>
                <a:gd name="connsiteY1" fmla="*/ 0 h 2095"/>
                <a:gd name="connsiteX2" fmla="*/ 1143 w 1142"/>
                <a:gd name="connsiteY2" fmla="*/ 0 h 2095"/>
                <a:gd name="connsiteX3" fmla="*/ 95 w 1142"/>
                <a:gd name="connsiteY3" fmla="*/ 2000 h 2095"/>
              </a:gdLst>
              <a:ahLst/>
              <a:cxnLst>
                <a:cxn ang="0">
                  <a:pos x="connsiteX0" y="connsiteY0"/>
                </a:cxn>
                <a:cxn ang="0">
                  <a:pos x="connsiteX1" y="connsiteY1"/>
                </a:cxn>
                <a:cxn ang="0">
                  <a:pos x="connsiteX2" y="connsiteY2"/>
                </a:cxn>
                <a:cxn ang="0">
                  <a:pos x="connsiteX3" y="connsiteY3"/>
                </a:cxn>
              </a:cxnLst>
              <a:rect l="l" t="t" r="r" b="b"/>
              <a:pathLst>
                <a:path w="1142" h="2095">
                  <a:moveTo>
                    <a:pt x="0" y="2095"/>
                  </a:moveTo>
                  <a:cubicBezTo>
                    <a:pt x="381" y="1429"/>
                    <a:pt x="667" y="667"/>
                    <a:pt x="1143" y="0"/>
                  </a:cubicBezTo>
                  <a:cubicBezTo>
                    <a:pt x="1143" y="0"/>
                    <a:pt x="1143" y="0"/>
                    <a:pt x="1143" y="0"/>
                  </a:cubicBezTo>
                  <a:cubicBezTo>
                    <a:pt x="667" y="571"/>
                    <a:pt x="286" y="1238"/>
                    <a:pt x="95" y="2000"/>
                  </a:cubicBezTo>
                  <a:close/>
                </a:path>
              </a:pathLst>
            </a:custGeom>
            <a:grpFill/>
            <a:ln w="9525" cap="flat">
              <a:noFill/>
              <a:prstDash val="solid"/>
              <a:miter/>
            </a:ln>
          </p:spPr>
          <p:txBody>
            <a:bodyPr rtlCol="0" anchor="ctr"/>
            <a:lstStyle/>
            <a:p>
              <a:endParaRPr lang="en-US" dirty="0"/>
            </a:p>
          </p:txBody>
        </p:sp>
        <p:sp>
          <p:nvSpPr>
            <p:cNvPr id="1613" name="Freeform: Shape 1612">
              <a:extLst>
                <a:ext uri="{FF2B5EF4-FFF2-40B4-BE49-F238E27FC236}">
                  <a16:creationId xmlns:a16="http://schemas.microsoft.com/office/drawing/2014/main" id="{AFACA651-4256-6F0E-67FB-44C8FEF6396C}"/>
                </a:ext>
              </a:extLst>
            </p:cNvPr>
            <p:cNvSpPr/>
            <p:nvPr/>
          </p:nvSpPr>
          <p:spPr>
            <a:xfrm>
              <a:off x="5334549" y="312899"/>
              <a:ext cx="9954" cy="7201"/>
            </a:xfrm>
            <a:custGeom>
              <a:avLst/>
              <a:gdLst>
                <a:gd name="connsiteX0" fmla="*/ 1238 w 4476"/>
                <a:gd name="connsiteY0" fmla="*/ 0 h 3238"/>
                <a:gd name="connsiteX1" fmla="*/ 0 w 4476"/>
                <a:gd name="connsiteY1" fmla="*/ 3239 h 3238"/>
                <a:gd name="connsiteX2" fmla="*/ 4477 w 4476"/>
                <a:gd name="connsiteY2" fmla="*/ 2667 h 3238"/>
                <a:gd name="connsiteX3" fmla="*/ 1333 w 4476"/>
                <a:gd name="connsiteY3" fmla="*/ 95 h 3238"/>
              </a:gdLst>
              <a:ahLst/>
              <a:cxnLst>
                <a:cxn ang="0">
                  <a:pos x="connsiteX0" y="connsiteY0"/>
                </a:cxn>
                <a:cxn ang="0">
                  <a:pos x="connsiteX1" y="connsiteY1"/>
                </a:cxn>
                <a:cxn ang="0">
                  <a:pos x="connsiteX2" y="connsiteY2"/>
                </a:cxn>
                <a:cxn ang="0">
                  <a:pos x="connsiteX3" y="connsiteY3"/>
                </a:cxn>
              </a:cxnLst>
              <a:rect l="l" t="t" r="r" b="b"/>
              <a:pathLst>
                <a:path w="4476" h="3238">
                  <a:moveTo>
                    <a:pt x="1238" y="0"/>
                  </a:moveTo>
                  <a:cubicBezTo>
                    <a:pt x="857" y="1048"/>
                    <a:pt x="476" y="2191"/>
                    <a:pt x="0" y="3239"/>
                  </a:cubicBezTo>
                  <a:cubicBezTo>
                    <a:pt x="1429" y="2953"/>
                    <a:pt x="2953" y="2762"/>
                    <a:pt x="4477" y="2667"/>
                  </a:cubicBezTo>
                  <a:cubicBezTo>
                    <a:pt x="3238" y="2096"/>
                    <a:pt x="2096" y="1238"/>
                    <a:pt x="1333" y="95"/>
                  </a:cubicBezTo>
                  <a:close/>
                </a:path>
              </a:pathLst>
            </a:custGeom>
            <a:grpFill/>
            <a:ln w="9525" cap="flat">
              <a:noFill/>
              <a:prstDash val="solid"/>
              <a:miter/>
            </a:ln>
          </p:spPr>
          <p:txBody>
            <a:bodyPr rtlCol="0" anchor="ctr"/>
            <a:lstStyle/>
            <a:p>
              <a:endParaRPr lang="en-US" dirty="0"/>
            </a:p>
          </p:txBody>
        </p:sp>
        <p:sp>
          <p:nvSpPr>
            <p:cNvPr id="1614" name="Freeform: Shape 1613">
              <a:extLst>
                <a:ext uri="{FF2B5EF4-FFF2-40B4-BE49-F238E27FC236}">
                  <a16:creationId xmlns:a16="http://schemas.microsoft.com/office/drawing/2014/main" id="{F82DADA5-080F-B5C3-F340-378239ACDE94}"/>
                </a:ext>
              </a:extLst>
            </p:cNvPr>
            <p:cNvSpPr/>
            <p:nvPr/>
          </p:nvSpPr>
          <p:spPr>
            <a:xfrm>
              <a:off x="5305952" y="280183"/>
              <a:ext cx="5718" cy="941"/>
            </a:xfrm>
            <a:custGeom>
              <a:avLst/>
              <a:gdLst>
                <a:gd name="connsiteX0" fmla="*/ 2572 w 2571"/>
                <a:gd name="connsiteY0" fmla="*/ 42 h 423"/>
                <a:gd name="connsiteX1" fmla="*/ 953 w 2571"/>
                <a:gd name="connsiteY1" fmla="*/ 42 h 423"/>
                <a:gd name="connsiteX2" fmla="*/ 0 w 2571"/>
                <a:gd name="connsiteY2" fmla="*/ 423 h 423"/>
                <a:gd name="connsiteX3" fmla="*/ 286 w 2571"/>
                <a:gd name="connsiteY3" fmla="*/ 423 h 423"/>
                <a:gd name="connsiteX4" fmla="*/ 2572 w 2571"/>
                <a:gd name="connsiteY4" fmla="*/ 233 h 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 h="423">
                  <a:moveTo>
                    <a:pt x="2572" y="42"/>
                  </a:moveTo>
                  <a:cubicBezTo>
                    <a:pt x="2096" y="42"/>
                    <a:pt x="1524" y="-53"/>
                    <a:pt x="953" y="42"/>
                  </a:cubicBezTo>
                  <a:cubicBezTo>
                    <a:pt x="762" y="42"/>
                    <a:pt x="0" y="328"/>
                    <a:pt x="0" y="423"/>
                  </a:cubicBezTo>
                  <a:cubicBezTo>
                    <a:pt x="0" y="423"/>
                    <a:pt x="190" y="423"/>
                    <a:pt x="286" y="423"/>
                  </a:cubicBezTo>
                  <a:cubicBezTo>
                    <a:pt x="1048" y="328"/>
                    <a:pt x="1810" y="233"/>
                    <a:pt x="2572" y="233"/>
                  </a:cubicBezTo>
                  <a:close/>
                </a:path>
              </a:pathLst>
            </a:custGeom>
            <a:grpFill/>
            <a:ln w="9525" cap="flat">
              <a:noFill/>
              <a:prstDash val="solid"/>
              <a:miter/>
            </a:ln>
          </p:spPr>
          <p:txBody>
            <a:bodyPr rtlCol="0" anchor="ctr"/>
            <a:lstStyle/>
            <a:p>
              <a:endParaRPr lang="en-US" dirty="0"/>
            </a:p>
          </p:txBody>
        </p:sp>
        <p:sp>
          <p:nvSpPr>
            <p:cNvPr id="1615" name="Freeform: Shape 1614">
              <a:extLst>
                <a:ext uri="{FF2B5EF4-FFF2-40B4-BE49-F238E27FC236}">
                  <a16:creationId xmlns:a16="http://schemas.microsoft.com/office/drawing/2014/main" id="{54316A1A-A443-55FE-5BFE-66C8EB486D15}"/>
                </a:ext>
              </a:extLst>
            </p:cNvPr>
            <p:cNvSpPr/>
            <p:nvPr/>
          </p:nvSpPr>
          <p:spPr>
            <a:xfrm>
              <a:off x="4951240" y="569207"/>
              <a:ext cx="10495" cy="11313"/>
            </a:xfrm>
            <a:custGeom>
              <a:avLst/>
              <a:gdLst>
                <a:gd name="connsiteX0" fmla="*/ 4339 w 4719"/>
                <a:gd name="connsiteY0" fmla="*/ 762 h 5087"/>
                <a:gd name="connsiteX1" fmla="*/ 2624 w 4719"/>
                <a:gd name="connsiteY1" fmla="*/ 0 h 5087"/>
                <a:gd name="connsiteX2" fmla="*/ 148 w 4719"/>
                <a:gd name="connsiteY2" fmla="*/ 1619 h 5087"/>
                <a:gd name="connsiteX3" fmla="*/ 1196 w 4719"/>
                <a:gd name="connsiteY3" fmla="*/ 4382 h 5087"/>
                <a:gd name="connsiteX4" fmla="*/ 3767 w 4719"/>
                <a:gd name="connsiteY4" fmla="*/ 4763 h 5087"/>
                <a:gd name="connsiteX5" fmla="*/ 4720 w 4719"/>
                <a:gd name="connsiteY5" fmla="*/ 2191 h 5087"/>
                <a:gd name="connsiteX6" fmla="*/ 4720 w 4719"/>
                <a:gd name="connsiteY6" fmla="*/ 1810 h 5087"/>
                <a:gd name="connsiteX7" fmla="*/ 4720 w 4719"/>
                <a:gd name="connsiteY7" fmla="*/ 2000 h 5087"/>
                <a:gd name="connsiteX8" fmla="*/ 4243 w 4719"/>
                <a:gd name="connsiteY8" fmla="*/ 667 h 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19" h="5087">
                  <a:moveTo>
                    <a:pt x="4339" y="762"/>
                  </a:moveTo>
                  <a:cubicBezTo>
                    <a:pt x="3863" y="286"/>
                    <a:pt x="3291" y="0"/>
                    <a:pt x="2624" y="0"/>
                  </a:cubicBezTo>
                  <a:cubicBezTo>
                    <a:pt x="1576" y="0"/>
                    <a:pt x="624" y="667"/>
                    <a:pt x="148" y="1619"/>
                  </a:cubicBezTo>
                  <a:cubicBezTo>
                    <a:pt x="-328" y="2667"/>
                    <a:pt x="433" y="3715"/>
                    <a:pt x="1196" y="4382"/>
                  </a:cubicBezTo>
                  <a:cubicBezTo>
                    <a:pt x="1862" y="4953"/>
                    <a:pt x="3005" y="5429"/>
                    <a:pt x="3767" y="4763"/>
                  </a:cubicBezTo>
                  <a:cubicBezTo>
                    <a:pt x="4434" y="4191"/>
                    <a:pt x="4624" y="3143"/>
                    <a:pt x="4720" y="2191"/>
                  </a:cubicBezTo>
                  <a:cubicBezTo>
                    <a:pt x="4720" y="2096"/>
                    <a:pt x="4720" y="1810"/>
                    <a:pt x="4720" y="1810"/>
                  </a:cubicBezTo>
                  <a:cubicBezTo>
                    <a:pt x="4720" y="1810"/>
                    <a:pt x="4720" y="1905"/>
                    <a:pt x="4720" y="2000"/>
                  </a:cubicBezTo>
                  <a:cubicBezTo>
                    <a:pt x="4720" y="1429"/>
                    <a:pt x="4720" y="1048"/>
                    <a:pt x="4243" y="667"/>
                  </a:cubicBezTo>
                  <a:close/>
                </a:path>
              </a:pathLst>
            </a:custGeom>
            <a:grpFill/>
            <a:ln w="9525" cap="flat">
              <a:noFill/>
              <a:prstDash val="solid"/>
              <a:miter/>
            </a:ln>
          </p:spPr>
          <p:txBody>
            <a:bodyPr rtlCol="0" anchor="ctr"/>
            <a:lstStyle/>
            <a:p>
              <a:endParaRPr lang="en-US" dirty="0"/>
            </a:p>
          </p:txBody>
        </p:sp>
        <p:sp>
          <p:nvSpPr>
            <p:cNvPr id="1616" name="Freeform: Shape 1615">
              <a:extLst>
                <a:ext uri="{FF2B5EF4-FFF2-40B4-BE49-F238E27FC236}">
                  <a16:creationId xmlns:a16="http://schemas.microsoft.com/office/drawing/2014/main" id="{3AA47D9C-A1D9-B25C-ED68-32070C2525AA}"/>
                </a:ext>
              </a:extLst>
            </p:cNvPr>
            <p:cNvSpPr/>
            <p:nvPr/>
          </p:nvSpPr>
          <p:spPr>
            <a:xfrm>
              <a:off x="5300444" y="272440"/>
              <a:ext cx="1695" cy="7201"/>
            </a:xfrm>
            <a:custGeom>
              <a:avLst/>
              <a:gdLst>
                <a:gd name="connsiteX0" fmla="*/ 667 w 762"/>
                <a:gd name="connsiteY0" fmla="*/ 2381 h 3238"/>
                <a:gd name="connsiteX1" fmla="*/ 476 w 762"/>
                <a:gd name="connsiteY1" fmla="*/ 1619 h 3238"/>
                <a:gd name="connsiteX2" fmla="*/ 95 w 762"/>
                <a:gd name="connsiteY2" fmla="*/ 0 h 3238"/>
                <a:gd name="connsiteX3" fmla="*/ 0 w 762"/>
                <a:gd name="connsiteY3" fmla="*/ 3238 h 3238"/>
                <a:gd name="connsiteX4" fmla="*/ 667 w 762"/>
                <a:gd name="connsiteY4" fmla="*/ 2857 h 3238"/>
                <a:gd name="connsiteX5" fmla="*/ 762 w 762"/>
                <a:gd name="connsiteY5" fmla="*/ 2381 h 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 h="3238">
                  <a:moveTo>
                    <a:pt x="667" y="2381"/>
                  </a:moveTo>
                  <a:cubicBezTo>
                    <a:pt x="667" y="2381"/>
                    <a:pt x="476" y="1905"/>
                    <a:pt x="476" y="1619"/>
                  </a:cubicBezTo>
                  <a:cubicBezTo>
                    <a:pt x="286" y="1048"/>
                    <a:pt x="190" y="476"/>
                    <a:pt x="95" y="0"/>
                  </a:cubicBezTo>
                  <a:cubicBezTo>
                    <a:pt x="95" y="1048"/>
                    <a:pt x="95" y="2191"/>
                    <a:pt x="0" y="3238"/>
                  </a:cubicBezTo>
                  <a:cubicBezTo>
                    <a:pt x="286" y="3238"/>
                    <a:pt x="571" y="2857"/>
                    <a:pt x="667" y="2857"/>
                  </a:cubicBezTo>
                  <a:cubicBezTo>
                    <a:pt x="667" y="2667"/>
                    <a:pt x="762" y="2572"/>
                    <a:pt x="762" y="2381"/>
                  </a:cubicBezTo>
                  <a:close/>
                </a:path>
              </a:pathLst>
            </a:custGeom>
            <a:grpFill/>
            <a:ln w="9525" cap="flat">
              <a:noFill/>
              <a:prstDash val="solid"/>
              <a:miter/>
            </a:ln>
          </p:spPr>
          <p:txBody>
            <a:bodyPr rtlCol="0" anchor="ctr"/>
            <a:lstStyle/>
            <a:p>
              <a:endParaRPr lang="en-US" dirty="0"/>
            </a:p>
          </p:txBody>
        </p:sp>
        <p:sp>
          <p:nvSpPr>
            <p:cNvPr id="1617" name="Freeform: Shape 1616">
              <a:extLst>
                <a:ext uri="{FF2B5EF4-FFF2-40B4-BE49-F238E27FC236}">
                  <a16:creationId xmlns:a16="http://schemas.microsoft.com/office/drawing/2014/main" id="{E916C2D3-E358-3216-B7EB-D0BA3AA5B19E}"/>
                </a:ext>
              </a:extLst>
            </p:cNvPr>
            <p:cNvSpPr/>
            <p:nvPr/>
          </p:nvSpPr>
          <p:spPr>
            <a:xfrm>
              <a:off x="4940561" y="509262"/>
              <a:ext cx="6136" cy="19274"/>
            </a:xfrm>
            <a:custGeom>
              <a:avLst/>
              <a:gdLst>
                <a:gd name="connsiteX0" fmla="*/ 1807 w 2759"/>
                <a:gd name="connsiteY0" fmla="*/ 1333 h 8667"/>
                <a:gd name="connsiteX1" fmla="*/ 664 w 2759"/>
                <a:gd name="connsiteY1" fmla="*/ 3715 h 8667"/>
                <a:gd name="connsiteX2" fmla="*/ 283 w 2759"/>
                <a:gd name="connsiteY2" fmla="*/ 8668 h 8667"/>
                <a:gd name="connsiteX3" fmla="*/ 473 w 2759"/>
                <a:gd name="connsiteY3" fmla="*/ 7906 h 8667"/>
                <a:gd name="connsiteX4" fmla="*/ 473 w 2759"/>
                <a:gd name="connsiteY4" fmla="*/ 7620 h 8667"/>
                <a:gd name="connsiteX5" fmla="*/ 2759 w 2759"/>
                <a:gd name="connsiteY5" fmla="*/ 0 h 8667"/>
                <a:gd name="connsiteX6" fmla="*/ 1711 w 2759"/>
                <a:gd name="connsiteY6" fmla="*/ 1238 h 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9" h="8667">
                  <a:moveTo>
                    <a:pt x="1807" y="1333"/>
                  </a:moveTo>
                  <a:cubicBezTo>
                    <a:pt x="1330" y="2095"/>
                    <a:pt x="950" y="2857"/>
                    <a:pt x="664" y="3715"/>
                  </a:cubicBezTo>
                  <a:cubicBezTo>
                    <a:pt x="92" y="5239"/>
                    <a:pt x="-289" y="7144"/>
                    <a:pt x="283" y="8668"/>
                  </a:cubicBezTo>
                  <a:cubicBezTo>
                    <a:pt x="283" y="8382"/>
                    <a:pt x="378" y="8096"/>
                    <a:pt x="473" y="7906"/>
                  </a:cubicBezTo>
                  <a:cubicBezTo>
                    <a:pt x="473" y="7906"/>
                    <a:pt x="473" y="7715"/>
                    <a:pt x="473" y="7620"/>
                  </a:cubicBezTo>
                  <a:cubicBezTo>
                    <a:pt x="1045" y="5048"/>
                    <a:pt x="1902" y="2476"/>
                    <a:pt x="2759" y="0"/>
                  </a:cubicBezTo>
                  <a:cubicBezTo>
                    <a:pt x="2473" y="0"/>
                    <a:pt x="1902" y="1048"/>
                    <a:pt x="1711" y="1238"/>
                  </a:cubicBezTo>
                  <a:close/>
                </a:path>
              </a:pathLst>
            </a:custGeom>
            <a:grpFill/>
            <a:ln w="9525" cap="flat">
              <a:noFill/>
              <a:prstDash val="solid"/>
              <a:miter/>
            </a:ln>
          </p:spPr>
          <p:txBody>
            <a:bodyPr rtlCol="0" anchor="ctr"/>
            <a:lstStyle/>
            <a:p>
              <a:endParaRPr lang="en-US" dirty="0"/>
            </a:p>
          </p:txBody>
        </p:sp>
        <p:sp>
          <p:nvSpPr>
            <p:cNvPr id="1618" name="Freeform: Shape 1617">
              <a:extLst>
                <a:ext uri="{FF2B5EF4-FFF2-40B4-BE49-F238E27FC236}">
                  <a16:creationId xmlns:a16="http://schemas.microsoft.com/office/drawing/2014/main" id="{8C139B33-294D-DF0E-698E-EC66F6DC9EA5}"/>
                </a:ext>
              </a:extLst>
            </p:cNvPr>
            <p:cNvSpPr/>
            <p:nvPr/>
          </p:nvSpPr>
          <p:spPr>
            <a:xfrm>
              <a:off x="5119546" y="211625"/>
              <a:ext cx="9093" cy="24167"/>
            </a:xfrm>
            <a:custGeom>
              <a:avLst/>
              <a:gdLst>
                <a:gd name="connsiteX0" fmla="*/ 571 w 4089"/>
                <a:gd name="connsiteY0" fmla="*/ 10868 h 10867"/>
                <a:gd name="connsiteX1" fmla="*/ 3810 w 4089"/>
                <a:gd name="connsiteY1" fmla="*/ 4200 h 10867"/>
                <a:gd name="connsiteX2" fmla="*/ 3334 w 4089"/>
                <a:gd name="connsiteY2" fmla="*/ 1057 h 10867"/>
                <a:gd name="connsiteX3" fmla="*/ 2191 w 4089"/>
                <a:gd name="connsiteY3" fmla="*/ 9 h 10867"/>
                <a:gd name="connsiteX4" fmla="*/ 1048 w 4089"/>
                <a:gd name="connsiteY4" fmla="*/ 962 h 10867"/>
                <a:gd name="connsiteX5" fmla="*/ 0 w 4089"/>
                <a:gd name="connsiteY5" fmla="*/ 4391 h 10867"/>
                <a:gd name="connsiteX6" fmla="*/ 667 w 4089"/>
                <a:gd name="connsiteY6" fmla="*/ 10582 h 10867"/>
                <a:gd name="connsiteX7" fmla="*/ 667 w 4089"/>
                <a:gd name="connsiteY7" fmla="*/ 10868 h 1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9" h="10867">
                  <a:moveTo>
                    <a:pt x="571" y="10868"/>
                  </a:moveTo>
                  <a:cubicBezTo>
                    <a:pt x="1048" y="9248"/>
                    <a:pt x="3239" y="5629"/>
                    <a:pt x="3810" y="4200"/>
                  </a:cubicBezTo>
                  <a:cubicBezTo>
                    <a:pt x="4382" y="2867"/>
                    <a:pt x="4001" y="2009"/>
                    <a:pt x="3334" y="1057"/>
                  </a:cubicBezTo>
                  <a:cubicBezTo>
                    <a:pt x="3048" y="676"/>
                    <a:pt x="2667" y="104"/>
                    <a:pt x="2191" y="9"/>
                  </a:cubicBezTo>
                  <a:cubicBezTo>
                    <a:pt x="1715" y="-86"/>
                    <a:pt x="1238" y="581"/>
                    <a:pt x="1048" y="962"/>
                  </a:cubicBezTo>
                  <a:cubicBezTo>
                    <a:pt x="381" y="2009"/>
                    <a:pt x="0" y="3152"/>
                    <a:pt x="0" y="4391"/>
                  </a:cubicBezTo>
                  <a:cubicBezTo>
                    <a:pt x="0" y="4676"/>
                    <a:pt x="286" y="8963"/>
                    <a:pt x="667" y="10582"/>
                  </a:cubicBezTo>
                  <a:cubicBezTo>
                    <a:pt x="667" y="10582"/>
                    <a:pt x="667" y="10772"/>
                    <a:pt x="667" y="10868"/>
                  </a:cubicBezTo>
                  <a:close/>
                </a:path>
              </a:pathLst>
            </a:custGeom>
            <a:grpFill/>
            <a:ln w="9525" cap="flat">
              <a:noFill/>
              <a:prstDash val="solid"/>
              <a:miter/>
            </a:ln>
          </p:spPr>
          <p:txBody>
            <a:bodyPr rtlCol="0" anchor="ctr"/>
            <a:lstStyle/>
            <a:p>
              <a:endParaRPr lang="en-US" dirty="0"/>
            </a:p>
          </p:txBody>
        </p:sp>
        <p:sp>
          <p:nvSpPr>
            <p:cNvPr id="1619" name="Freeform: Shape 1618">
              <a:extLst>
                <a:ext uri="{FF2B5EF4-FFF2-40B4-BE49-F238E27FC236}">
                  <a16:creationId xmlns:a16="http://schemas.microsoft.com/office/drawing/2014/main" id="{05EA76D3-0FDC-D112-BD48-BB31542CC926}"/>
                </a:ext>
              </a:extLst>
            </p:cNvPr>
            <p:cNvSpPr/>
            <p:nvPr/>
          </p:nvSpPr>
          <p:spPr>
            <a:xfrm>
              <a:off x="5244735" y="230844"/>
              <a:ext cx="24994" cy="4948"/>
            </a:xfrm>
            <a:custGeom>
              <a:avLst/>
              <a:gdLst>
                <a:gd name="connsiteX0" fmla="*/ 11240 w 11239"/>
                <a:gd name="connsiteY0" fmla="*/ 2035 h 2225"/>
                <a:gd name="connsiteX1" fmla="*/ 5715 w 11239"/>
                <a:gd name="connsiteY1" fmla="*/ 35 h 2225"/>
                <a:gd name="connsiteX2" fmla="*/ 2096 w 11239"/>
                <a:gd name="connsiteY2" fmla="*/ 892 h 2225"/>
                <a:gd name="connsiteX3" fmla="*/ 0 w 11239"/>
                <a:gd name="connsiteY3" fmla="*/ 2226 h 2225"/>
                <a:gd name="connsiteX4" fmla="*/ 5810 w 11239"/>
                <a:gd name="connsiteY4" fmla="*/ 1464 h 2225"/>
                <a:gd name="connsiteX5" fmla="*/ 11240 w 11239"/>
                <a:gd name="connsiteY5" fmla="*/ 2035 h 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39" h="2225">
                  <a:moveTo>
                    <a:pt x="11240" y="2035"/>
                  </a:moveTo>
                  <a:cubicBezTo>
                    <a:pt x="9906" y="416"/>
                    <a:pt x="7715" y="-155"/>
                    <a:pt x="5715" y="35"/>
                  </a:cubicBezTo>
                  <a:cubicBezTo>
                    <a:pt x="4477" y="130"/>
                    <a:pt x="3334" y="511"/>
                    <a:pt x="2096" y="892"/>
                  </a:cubicBezTo>
                  <a:cubicBezTo>
                    <a:pt x="1334" y="1178"/>
                    <a:pt x="381" y="1464"/>
                    <a:pt x="0" y="2226"/>
                  </a:cubicBezTo>
                  <a:cubicBezTo>
                    <a:pt x="0" y="2226"/>
                    <a:pt x="4191" y="1559"/>
                    <a:pt x="5810" y="1464"/>
                  </a:cubicBezTo>
                  <a:cubicBezTo>
                    <a:pt x="7620" y="1369"/>
                    <a:pt x="9525" y="1464"/>
                    <a:pt x="11240" y="2035"/>
                  </a:cubicBezTo>
                  <a:close/>
                </a:path>
              </a:pathLst>
            </a:custGeom>
            <a:grpFill/>
            <a:ln w="9525" cap="flat">
              <a:noFill/>
              <a:prstDash val="solid"/>
              <a:miter/>
            </a:ln>
          </p:spPr>
          <p:txBody>
            <a:bodyPr rtlCol="0" anchor="ctr"/>
            <a:lstStyle/>
            <a:p>
              <a:endParaRPr lang="en-US" dirty="0"/>
            </a:p>
          </p:txBody>
        </p:sp>
        <p:sp>
          <p:nvSpPr>
            <p:cNvPr id="1620" name="Freeform: Shape 1619">
              <a:extLst>
                <a:ext uri="{FF2B5EF4-FFF2-40B4-BE49-F238E27FC236}">
                  <a16:creationId xmlns:a16="http://schemas.microsoft.com/office/drawing/2014/main" id="{4AB20931-1BB9-B4E7-1945-2EBA2269392D}"/>
                </a:ext>
              </a:extLst>
            </p:cNvPr>
            <p:cNvSpPr/>
            <p:nvPr/>
          </p:nvSpPr>
          <p:spPr>
            <a:xfrm>
              <a:off x="5182458" y="216838"/>
              <a:ext cx="23193" cy="14082"/>
            </a:xfrm>
            <a:custGeom>
              <a:avLst/>
              <a:gdLst>
                <a:gd name="connsiteX0" fmla="*/ 4953 w 10429"/>
                <a:gd name="connsiteY0" fmla="*/ 1666 h 6332"/>
                <a:gd name="connsiteX1" fmla="*/ 10287 w 10429"/>
                <a:gd name="connsiteY1" fmla="*/ 6333 h 6332"/>
                <a:gd name="connsiteX2" fmla="*/ 10287 w 10429"/>
                <a:gd name="connsiteY2" fmla="*/ 5952 h 6332"/>
                <a:gd name="connsiteX3" fmla="*/ 9620 w 10429"/>
                <a:gd name="connsiteY3" fmla="*/ 5190 h 6332"/>
                <a:gd name="connsiteX4" fmla="*/ 8382 w 10429"/>
                <a:gd name="connsiteY4" fmla="*/ 3475 h 6332"/>
                <a:gd name="connsiteX5" fmla="*/ 5525 w 10429"/>
                <a:gd name="connsiteY5" fmla="*/ 904 h 6332"/>
                <a:gd name="connsiteX6" fmla="*/ 0 w 10429"/>
                <a:gd name="connsiteY6" fmla="*/ 142 h 6332"/>
                <a:gd name="connsiteX7" fmla="*/ 4953 w 10429"/>
                <a:gd name="connsiteY7" fmla="*/ 1666 h 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29" h="6332">
                  <a:moveTo>
                    <a:pt x="4953" y="1666"/>
                  </a:moveTo>
                  <a:cubicBezTo>
                    <a:pt x="6953" y="2904"/>
                    <a:pt x="8668" y="4523"/>
                    <a:pt x="10287" y="6333"/>
                  </a:cubicBezTo>
                  <a:cubicBezTo>
                    <a:pt x="10478" y="6142"/>
                    <a:pt x="10478" y="6142"/>
                    <a:pt x="10287" y="5952"/>
                  </a:cubicBezTo>
                  <a:cubicBezTo>
                    <a:pt x="10096" y="5761"/>
                    <a:pt x="9811" y="5476"/>
                    <a:pt x="9620" y="5190"/>
                  </a:cubicBezTo>
                  <a:cubicBezTo>
                    <a:pt x="9144" y="4618"/>
                    <a:pt x="8763" y="4047"/>
                    <a:pt x="8382" y="3475"/>
                  </a:cubicBezTo>
                  <a:cubicBezTo>
                    <a:pt x="7620" y="2428"/>
                    <a:pt x="6668" y="1570"/>
                    <a:pt x="5525" y="904"/>
                  </a:cubicBezTo>
                  <a:cubicBezTo>
                    <a:pt x="3810" y="-49"/>
                    <a:pt x="1905" y="-144"/>
                    <a:pt x="0" y="142"/>
                  </a:cubicBezTo>
                  <a:cubicBezTo>
                    <a:pt x="1715" y="142"/>
                    <a:pt x="3429" y="808"/>
                    <a:pt x="4953" y="1666"/>
                  </a:cubicBezTo>
                  <a:close/>
                </a:path>
              </a:pathLst>
            </a:custGeom>
            <a:grpFill/>
            <a:ln w="9525" cap="flat">
              <a:noFill/>
              <a:prstDash val="solid"/>
              <a:miter/>
            </a:ln>
          </p:spPr>
          <p:txBody>
            <a:bodyPr rtlCol="0" anchor="ctr"/>
            <a:lstStyle/>
            <a:p>
              <a:endParaRPr lang="en-US" dirty="0"/>
            </a:p>
          </p:txBody>
        </p:sp>
        <p:sp>
          <p:nvSpPr>
            <p:cNvPr id="1621" name="Freeform: Shape 1620">
              <a:extLst>
                <a:ext uri="{FF2B5EF4-FFF2-40B4-BE49-F238E27FC236}">
                  <a16:creationId xmlns:a16="http://schemas.microsoft.com/office/drawing/2014/main" id="{CF4DBA46-CBEA-7E00-8D37-F9F8A237E89E}"/>
                </a:ext>
              </a:extLst>
            </p:cNvPr>
            <p:cNvSpPr/>
            <p:nvPr/>
          </p:nvSpPr>
          <p:spPr>
            <a:xfrm>
              <a:off x="5370136" y="325608"/>
              <a:ext cx="4250" cy="8684"/>
            </a:xfrm>
            <a:custGeom>
              <a:avLst/>
              <a:gdLst>
                <a:gd name="connsiteX0" fmla="*/ 476 w 1911"/>
                <a:gd name="connsiteY0" fmla="*/ 3810 h 3905"/>
                <a:gd name="connsiteX1" fmla="*/ 1905 w 1911"/>
                <a:gd name="connsiteY1" fmla="*/ 1524 h 3905"/>
                <a:gd name="connsiteX2" fmla="*/ 381 w 1911"/>
                <a:gd name="connsiteY2" fmla="*/ 0 h 3905"/>
                <a:gd name="connsiteX3" fmla="*/ 0 w 1911"/>
                <a:gd name="connsiteY3" fmla="*/ 0 h 3905"/>
                <a:gd name="connsiteX4" fmla="*/ 476 w 1911"/>
                <a:gd name="connsiteY4" fmla="*/ 3905 h 3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 h="3905">
                  <a:moveTo>
                    <a:pt x="476" y="3810"/>
                  </a:moveTo>
                  <a:cubicBezTo>
                    <a:pt x="1048" y="3143"/>
                    <a:pt x="2000" y="2477"/>
                    <a:pt x="1905" y="1524"/>
                  </a:cubicBezTo>
                  <a:cubicBezTo>
                    <a:pt x="1905" y="762"/>
                    <a:pt x="1048" y="286"/>
                    <a:pt x="381" y="0"/>
                  </a:cubicBezTo>
                  <a:cubicBezTo>
                    <a:pt x="571" y="0"/>
                    <a:pt x="0" y="0"/>
                    <a:pt x="0" y="0"/>
                  </a:cubicBezTo>
                  <a:cubicBezTo>
                    <a:pt x="667" y="1143"/>
                    <a:pt x="667" y="2572"/>
                    <a:pt x="476" y="3905"/>
                  </a:cubicBezTo>
                  <a:close/>
                </a:path>
              </a:pathLst>
            </a:custGeom>
            <a:grpFill/>
            <a:ln w="9525" cap="flat">
              <a:noFill/>
              <a:prstDash val="solid"/>
              <a:miter/>
            </a:ln>
          </p:spPr>
          <p:txBody>
            <a:bodyPr rtlCol="0" anchor="ctr"/>
            <a:lstStyle/>
            <a:p>
              <a:endParaRPr lang="en-US" dirty="0"/>
            </a:p>
          </p:txBody>
        </p:sp>
        <p:sp>
          <p:nvSpPr>
            <p:cNvPr id="1622" name="Freeform: Shape 1621">
              <a:extLst>
                <a:ext uri="{FF2B5EF4-FFF2-40B4-BE49-F238E27FC236}">
                  <a16:creationId xmlns:a16="http://schemas.microsoft.com/office/drawing/2014/main" id="{18E494DC-8A73-5799-0F14-E3B47060265F}"/>
                </a:ext>
              </a:extLst>
            </p:cNvPr>
            <p:cNvSpPr/>
            <p:nvPr/>
          </p:nvSpPr>
          <p:spPr>
            <a:xfrm>
              <a:off x="5075658" y="228289"/>
              <a:ext cx="11477" cy="7781"/>
            </a:xfrm>
            <a:custGeom>
              <a:avLst/>
              <a:gdLst>
                <a:gd name="connsiteX0" fmla="*/ 1828 w 5161"/>
                <a:gd name="connsiteY0" fmla="*/ 136 h 3499"/>
                <a:gd name="connsiteX1" fmla="*/ 18 w 5161"/>
                <a:gd name="connsiteY1" fmla="*/ 1946 h 3499"/>
                <a:gd name="connsiteX2" fmla="*/ 3924 w 5161"/>
                <a:gd name="connsiteY2" fmla="*/ 2993 h 3499"/>
                <a:gd name="connsiteX3" fmla="*/ 5162 w 5161"/>
                <a:gd name="connsiteY3" fmla="*/ 2231 h 3499"/>
                <a:gd name="connsiteX4" fmla="*/ 1828 w 5161"/>
                <a:gd name="connsiteY4" fmla="*/ 136 h 3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1" h="3499">
                  <a:moveTo>
                    <a:pt x="1828" y="136"/>
                  </a:moveTo>
                  <a:cubicBezTo>
                    <a:pt x="1161" y="326"/>
                    <a:pt x="-172" y="1088"/>
                    <a:pt x="18" y="1946"/>
                  </a:cubicBezTo>
                  <a:cubicBezTo>
                    <a:pt x="18" y="2422"/>
                    <a:pt x="1352" y="4422"/>
                    <a:pt x="3924" y="2993"/>
                  </a:cubicBezTo>
                  <a:cubicBezTo>
                    <a:pt x="4114" y="2993"/>
                    <a:pt x="4686" y="2612"/>
                    <a:pt x="5162" y="2231"/>
                  </a:cubicBezTo>
                  <a:cubicBezTo>
                    <a:pt x="5162" y="898"/>
                    <a:pt x="3352" y="-436"/>
                    <a:pt x="1828" y="136"/>
                  </a:cubicBezTo>
                  <a:close/>
                </a:path>
              </a:pathLst>
            </a:custGeom>
            <a:grpFill/>
            <a:ln w="9525" cap="flat">
              <a:noFill/>
              <a:prstDash val="solid"/>
              <a:miter/>
            </a:ln>
          </p:spPr>
          <p:txBody>
            <a:bodyPr rtlCol="0" anchor="ctr"/>
            <a:lstStyle/>
            <a:p>
              <a:endParaRPr lang="en-US" dirty="0"/>
            </a:p>
          </p:txBody>
        </p:sp>
        <p:sp>
          <p:nvSpPr>
            <p:cNvPr id="1623" name="Freeform: Shape 1622">
              <a:extLst>
                <a:ext uri="{FF2B5EF4-FFF2-40B4-BE49-F238E27FC236}">
                  <a16:creationId xmlns:a16="http://schemas.microsoft.com/office/drawing/2014/main" id="{A9B09440-88D4-27C5-3B8E-F80D8252C113}"/>
                </a:ext>
              </a:extLst>
            </p:cNvPr>
            <p:cNvSpPr/>
            <p:nvPr/>
          </p:nvSpPr>
          <p:spPr>
            <a:xfrm>
              <a:off x="5087349" y="233252"/>
              <a:ext cx="21183" cy="634"/>
            </a:xfrm>
            <a:custGeom>
              <a:avLst/>
              <a:gdLst>
                <a:gd name="connsiteX0" fmla="*/ 0 w 9525"/>
                <a:gd name="connsiteY0" fmla="*/ 286 h 285"/>
                <a:gd name="connsiteX1" fmla="*/ 0 w 9525"/>
                <a:gd name="connsiteY1" fmla="*/ 0 h 285"/>
                <a:gd name="connsiteX2" fmla="*/ 0 w 9525"/>
                <a:gd name="connsiteY2" fmla="*/ 0 h 285"/>
                <a:gd name="connsiteX3" fmla="*/ 0 w 9525"/>
                <a:gd name="connsiteY3" fmla="*/ 286 h 285"/>
              </a:gdLst>
              <a:ahLst/>
              <a:cxnLst>
                <a:cxn ang="0">
                  <a:pos x="connsiteX0" y="connsiteY0"/>
                </a:cxn>
                <a:cxn ang="0">
                  <a:pos x="connsiteX1" y="connsiteY1"/>
                </a:cxn>
                <a:cxn ang="0">
                  <a:pos x="connsiteX2" y="connsiteY2"/>
                </a:cxn>
                <a:cxn ang="0">
                  <a:pos x="connsiteX3" y="connsiteY3"/>
                </a:cxn>
              </a:cxnLst>
              <a:rect l="l" t="t" r="r" b="b"/>
              <a:pathLst>
                <a:path w="9525" h="285">
                  <a:moveTo>
                    <a:pt x="0" y="286"/>
                  </a:moveTo>
                  <a:cubicBezTo>
                    <a:pt x="0" y="286"/>
                    <a:pt x="0" y="190"/>
                    <a:pt x="0" y="0"/>
                  </a:cubicBezTo>
                  <a:cubicBezTo>
                    <a:pt x="0" y="0"/>
                    <a:pt x="0" y="0"/>
                    <a:pt x="0" y="0"/>
                  </a:cubicBezTo>
                  <a:cubicBezTo>
                    <a:pt x="0" y="0"/>
                    <a:pt x="0" y="190"/>
                    <a:pt x="0" y="286"/>
                  </a:cubicBezTo>
                  <a:close/>
                </a:path>
              </a:pathLst>
            </a:custGeom>
            <a:grpFill/>
            <a:ln w="9525" cap="flat">
              <a:noFill/>
              <a:prstDash val="solid"/>
              <a:miter/>
            </a:ln>
          </p:spPr>
          <p:txBody>
            <a:bodyPr rtlCol="0" anchor="ctr"/>
            <a:lstStyle/>
            <a:p>
              <a:endParaRPr lang="en-US" dirty="0"/>
            </a:p>
          </p:txBody>
        </p:sp>
        <p:sp>
          <p:nvSpPr>
            <p:cNvPr id="1624" name="Freeform: Shape 1623">
              <a:extLst>
                <a:ext uri="{FF2B5EF4-FFF2-40B4-BE49-F238E27FC236}">
                  <a16:creationId xmlns:a16="http://schemas.microsoft.com/office/drawing/2014/main" id="{573E99B6-5900-2E22-FA86-EEADB1BC5044}"/>
                </a:ext>
              </a:extLst>
            </p:cNvPr>
            <p:cNvSpPr/>
            <p:nvPr/>
          </p:nvSpPr>
          <p:spPr>
            <a:xfrm>
              <a:off x="4901919" y="431310"/>
              <a:ext cx="10250" cy="28595"/>
            </a:xfrm>
            <a:custGeom>
              <a:avLst/>
              <a:gdLst>
                <a:gd name="connsiteX0" fmla="*/ 2133 w 4609"/>
                <a:gd name="connsiteY0" fmla="*/ 2762 h 12858"/>
                <a:gd name="connsiteX1" fmla="*/ 37 w 4609"/>
                <a:gd name="connsiteY1" fmla="*/ 8668 h 12858"/>
                <a:gd name="connsiteX2" fmla="*/ 3752 w 4609"/>
                <a:gd name="connsiteY2" fmla="*/ 12668 h 12858"/>
                <a:gd name="connsiteX3" fmla="*/ 3752 w 4609"/>
                <a:gd name="connsiteY3" fmla="*/ 12668 h 12858"/>
                <a:gd name="connsiteX4" fmla="*/ 4609 w 4609"/>
                <a:gd name="connsiteY4" fmla="*/ 12859 h 12858"/>
                <a:gd name="connsiteX5" fmla="*/ 1656 w 4609"/>
                <a:gd name="connsiteY5" fmla="*/ 7239 h 12858"/>
                <a:gd name="connsiteX6" fmla="*/ 4609 w 4609"/>
                <a:gd name="connsiteY6" fmla="*/ 0 h 12858"/>
                <a:gd name="connsiteX7" fmla="*/ 2133 w 4609"/>
                <a:gd name="connsiteY7" fmla="*/ 2762 h 1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9" h="12858">
                  <a:moveTo>
                    <a:pt x="2133" y="2762"/>
                  </a:moveTo>
                  <a:cubicBezTo>
                    <a:pt x="1180" y="4477"/>
                    <a:pt x="-249" y="6667"/>
                    <a:pt x="37" y="8668"/>
                  </a:cubicBezTo>
                  <a:cubicBezTo>
                    <a:pt x="227" y="10763"/>
                    <a:pt x="1656" y="12287"/>
                    <a:pt x="3752" y="12668"/>
                  </a:cubicBezTo>
                  <a:cubicBezTo>
                    <a:pt x="2704" y="12478"/>
                    <a:pt x="3657" y="12668"/>
                    <a:pt x="3752" y="12668"/>
                  </a:cubicBezTo>
                  <a:cubicBezTo>
                    <a:pt x="3752" y="12668"/>
                    <a:pt x="4323" y="12764"/>
                    <a:pt x="4609" y="12859"/>
                  </a:cubicBezTo>
                  <a:cubicBezTo>
                    <a:pt x="2418" y="11716"/>
                    <a:pt x="1656" y="9811"/>
                    <a:pt x="1656" y="7239"/>
                  </a:cubicBezTo>
                  <a:cubicBezTo>
                    <a:pt x="1656" y="4572"/>
                    <a:pt x="3085" y="2096"/>
                    <a:pt x="4609" y="0"/>
                  </a:cubicBezTo>
                  <a:cubicBezTo>
                    <a:pt x="3752" y="857"/>
                    <a:pt x="2704" y="1810"/>
                    <a:pt x="2133" y="2762"/>
                  </a:cubicBezTo>
                  <a:close/>
                </a:path>
              </a:pathLst>
            </a:custGeom>
            <a:grpFill/>
            <a:ln w="9525" cap="flat">
              <a:noFill/>
              <a:prstDash val="solid"/>
              <a:miter/>
            </a:ln>
          </p:spPr>
          <p:txBody>
            <a:bodyPr rtlCol="0" anchor="ctr"/>
            <a:lstStyle/>
            <a:p>
              <a:endParaRPr lang="en-US" dirty="0"/>
            </a:p>
          </p:txBody>
        </p:sp>
        <p:sp>
          <p:nvSpPr>
            <p:cNvPr id="1625" name="Freeform: Shape 1624">
              <a:extLst>
                <a:ext uri="{FF2B5EF4-FFF2-40B4-BE49-F238E27FC236}">
                  <a16:creationId xmlns:a16="http://schemas.microsoft.com/office/drawing/2014/main" id="{7575CB08-BD28-489E-0533-44B5921AA221}"/>
                </a:ext>
              </a:extLst>
            </p:cNvPr>
            <p:cNvSpPr/>
            <p:nvPr/>
          </p:nvSpPr>
          <p:spPr>
            <a:xfrm>
              <a:off x="4904756" y="409447"/>
              <a:ext cx="8048" cy="8304"/>
            </a:xfrm>
            <a:custGeom>
              <a:avLst/>
              <a:gdLst>
                <a:gd name="connsiteX0" fmla="*/ 3048 w 3619"/>
                <a:gd name="connsiteY0" fmla="*/ 1925 h 3734"/>
                <a:gd name="connsiteX1" fmla="*/ 1429 w 3619"/>
                <a:gd name="connsiteY1" fmla="*/ 20 h 3734"/>
                <a:gd name="connsiteX2" fmla="*/ 0 w 3619"/>
                <a:gd name="connsiteY2" fmla="*/ 401 h 3734"/>
                <a:gd name="connsiteX3" fmla="*/ 190 w 3619"/>
                <a:gd name="connsiteY3" fmla="*/ 2782 h 3734"/>
                <a:gd name="connsiteX4" fmla="*/ 953 w 3619"/>
                <a:gd name="connsiteY4" fmla="*/ 3734 h 3734"/>
                <a:gd name="connsiteX5" fmla="*/ 1619 w 3619"/>
                <a:gd name="connsiteY5" fmla="*/ 3734 h 3734"/>
                <a:gd name="connsiteX6" fmla="*/ 2572 w 3619"/>
                <a:gd name="connsiteY6" fmla="*/ 3734 h 3734"/>
                <a:gd name="connsiteX7" fmla="*/ 2667 w 3619"/>
                <a:gd name="connsiteY7" fmla="*/ 3734 h 3734"/>
                <a:gd name="connsiteX8" fmla="*/ 3620 w 3619"/>
                <a:gd name="connsiteY8" fmla="*/ 3449 h 3734"/>
                <a:gd name="connsiteX9" fmla="*/ 3429 w 3619"/>
                <a:gd name="connsiteY9" fmla="*/ 2687 h 3734"/>
                <a:gd name="connsiteX10" fmla="*/ 3143 w 3619"/>
                <a:gd name="connsiteY10" fmla="*/ 1925 h 3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9" h="3734">
                  <a:moveTo>
                    <a:pt x="3048" y="1925"/>
                  </a:moveTo>
                  <a:cubicBezTo>
                    <a:pt x="2572" y="1067"/>
                    <a:pt x="2477" y="-171"/>
                    <a:pt x="1429" y="20"/>
                  </a:cubicBezTo>
                  <a:cubicBezTo>
                    <a:pt x="953" y="115"/>
                    <a:pt x="95" y="-171"/>
                    <a:pt x="0" y="401"/>
                  </a:cubicBezTo>
                  <a:cubicBezTo>
                    <a:pt x="0" y="877"/>
                    <a:pt x="0" y="2401"/>
                    <a:pt x="190" y="2782"/>
                  </a:cubicBezTo>
                  <a:cubicBezTo>
                    <a:pt x="381" y="3068"/>
                    <a:pt x="571" y="3544"/>
                    <a:pt x="953" y="3734"/>
                  </a:cubicBezTo>
                  <a:cubicBezTo>
                    <a:pt x="1143" y="3734"/>
                    <a:pt x="1333" y="3734"/>
                    <a:pt x="1619" y="3734"/>
                  </a:cubicBezTo>
                  <a:cubicBezTo>
                    <a:pt x="1905" y="3734"/>
                    <a:pt x="2286" y="3734"/>
                    <a:pt x="2572" y="3734"/>
                  </a:cubicBezTo>
                  <a:cubicBezTo>
                    <a:pt x="2286" y="3734"/>
                    <a:pt x="2667" y="3734"/>
                    <a:pt x="2667" y="3734"/>
                  </a:cubicBezTo>
                  <a:cubicBezTo>
                    <a:pt x="2953" y="3734"/>
                    <a:pt x="3524" y="3734"/>
                    <a:pt x="3620" y="3449"/>
                  </a:cubicBezTo>
                  <a:cubicBezTo>
                    <a:pt x="3620" y="3258"/>
                    <a:pt x="3524" y="2877"/>
                    <a:pt x="3429" y="2687"/>
                  </a:cubicBezTo>
                  <a:cubicBezTo>
                    <a:pt x="3429" y="2401"/>
                    <a:pt x="3238" y="2115"/>
                    <a:pt x="3143" y="1925"/>
                  </a:cubicBezTo>
                  <a:close/>
                </a:path>
              </a:pathLst>
            </a:custGeom>
            <a:grpFill/>
            <a:ln w="9525" cap="flat">
              <a:noFill/>
              <a:prstDash val="solid"/>
              <a:miter/>
            </a:ln>
          </p:spPr>
          <p:txBody>
            <a:bodyPr rtlCol="0" anchor="ctr"/>
            <a:lstStyle/>
            <a:p>
              <a:endParaRPr lang="en-US" dirty="0"/>
            </a:p>
          </p:txBody>
        </p:sp>
        <p:sp>
          <p:nvSpPr>
            <p:cNvPr id="1626" name="Freeform: Shape 1625">
              <a:extLst>
                <a:ext uri="{FF2B5EF4-FFF2-40B4-BE49-F238E27FC236}">
                  <a16:creationId xmlns:a16="http://schemas.microsoft.com/office/drawing/2014/main" id="{640A8BA3-C14D-6464-2531-6C7C98109AF8}"/>
                </a:ext>
              </a:extLst>
            </p:cNvPr>
            <p:cNvSpPr/>
            <p:nvPr/>
          </p:nvSpPr>
          <p:spPr>
            <a:xfrm>
              <a:off x="4913863" y="411186"/>
              <a:ext cx="11649" cy="6354"/>
            </a:xfrm>
            <a:custGeom>
              <a:avLst/>
              <a:gdLst>
                <a:gd name="connsiteX0" fmla="*/ 190 w 5238"/>
                <a:gd name="connsiteY0" fmla="*/ 2762 h 2857"/>
                <a:gd name="connsiteX1" fmla="*/ 286 w 5238"/>
                <a:gd name="connsiteY1" fmla="*/ 2762 h 2857"/>
                <a:gd name="connsiteX2" fmla="*/ 5239 w 5238"/>
                <a:gd name="connsiteY2" fmla="*/ 1143 h 2857"/>
                <a:gd name="connsiteX3" fmla="*/ 0 w 5238"/>
                <a:gd name="connsiteY3" fmla="*/ 0 h 2857"/>
                <a:gd name="connsiteX4" fmla="*/ 190 w 5238"/>
                <a:gd name="connsiteY4" fmla="*/ 2857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 h="2857">
                  <a:moveTo>
                    <a:pt x="190" y="2762"/>
                  </a:moveTo>
                  <a:cubicBezTo>
                    <a:pt x="190" y="2762"/>
                    <a:pt x="190" y="2762"/>
                    <a:pt x="286" y="2762"/>
                  </a:cubicBezTo>
                  <a:cubicBezTo>
                    <a:pt x="1429" y="2476"/>
                    <a:pt x="4191" y="1619"/>
                    <a:pt x="5239" y="1143"/>
                  </a:cubicBezTo>
                  <a:cubicBezTo>
                    <a:pt x="4001" y="762"/>
                    <a:pt x="1143" y="667"/>
                    <a:pt x="0" y="0"/>
                  </a:cubicBezTo>
                  <a:cubicBezTo>
                    <a:pt x="381" y="857"/>
                    <a:pt x="381" y="1905"/>
                    <a:pt x="190" y="2857"/>
                  </a:cubicBezTo>
                  <a:close/>
                </a:path>
              </a:pathLst>
            </a:custGeom>
            <a:grpFill/>
            <a:ln w="9525" cap="flat">
              <a:noFill/>
              <a:prstDash val="solid"/>
              <a:miter/>
            </a:ln>
          </p:spPr>
          <p:txBody>
            <a:bodyPr rtlCol="0" anchor="ctr"/>
            <a:lstStyle/>
            <a:p>
              <a:endParaRPr lang="en-US" dirty="0"/>
            </a:p>
          </p:txBody>
        </p:sp>
        <p:sp>
          <p:nvSpPr>
            <p:cNvPr id="1627" name="Freeform: Shape 1626">
              <a:extLst>
                <a:ext uri="{FF2B5EF4-FFF2-40B4-BE49-F238E27FC236}">
                  <a16:creationId xmlns:a16="http://schemas.microsoft.com/office/drawing/2014/main" id="{1FC91E25-7B3D-34D2-8EC2-8FBD44ED64CD}"/>
                </a:ext>
              </a:extLst>
            </p:cNvPr>
            <p:cNvSpPr/>
            <p:nvPr/>
          </p:nvSpPr>
          <p:spPr>
            <a:xfrm>
              <a:off x="4922505" y="330519"/>
              <a:ext cx="21647" cy="13466"/>
            </a:xfrm>
            <a:custGeom>
              <a:avLst/>
              <a:gdLst>
                <a:gd name="connsiteX0" fmla="*/ 5068 w 9734"/>
                <a:gd name="connsiteY0" fmla="*/ 1411 h 6055"/>
                <a:gd name="connsiteX1" fmla="*/ 1353 w 9734"/>
                <a:gd name="connsiteY1" fmla="*/ 364 h 6055"/>
                <a:gd name="connsiteX2" fmla="*/ 115 w 9734"/>
                <a:gd name="connsiteY2" fmla="*/ 3697 h 6055"/>
                <a:gd name="connsiteX3" fmla="*/ 972 w 9734"/>
                <a:gd name="connsiteY3" fmla="*/ 5602 h 6055"/>
                <a:gd name="connsiteX4" fmla="*/ 3544 w 9734"/>
                <a:gd name="connsiteY4" fmla="*/ 5983 h 6055"/>
                <a:gd name="connsiteX5" fmla="*/ 9640 w 9734"/>
                <a:gd name="connsiteY5" fmla="*/ 5126 h 6055"/>
                <a:gd name="connsiteX6" fmla="*/ 9735 w 9734"/>
                <a:gd name="connsiteY6" fmla="*/ 5126 h 6055"/>
                <a:gd name="connsiteX7" fmla="*/ 6020 w 9734"/>
                <a:gd name="connsiteY7" fmla="*/ 1221 h 6055"/>
                <a:gd name="connsiteX8" fmla="*/ 5068 w 9734"/>
                <a:gd name="connsiteY8" fmla="*/ 1507 h 6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34" h="6055">
                  <a:moveTo>
                    <a:pt x="5068" y="1411"/>
                  </a:moveTo>
                  <a:cubicBezTo>
                    <a:pt x="4496" y="78"/>
                    <a:pt x="2496" y="-398"/>
                    <a:pt x="1353" y="364"/>
                  </a:cubicBezTo>
                  <a:cubicBezTo>
                    <a:pt x="19" y="1126"/>
                    <a:pt x="-171" y="2269"/>
                    <a:pt x="115" y="3697"/>
                  </a:cubicBezTo>
                  <a:cubicBezTo>
                    <a:pt x="210" y="4364"/>
                    <a:pt x="495" y="5126"/>
                    <a:pt x="972" y="5602"/>
                  </a:cubicBezTo>
                  <a:cubicBezTo>
                    <a:pt x="1639" y="6174"/>
                    <a:pt x="2686" y="6079"/>
                    <a:pt x="3544" y="5983"/>
                  </a:cubicBezTo>
                  <a:cubicBezTo>
                    <a:pt x="5544" y="5793"/>
                    <a:pt x="7544" y="5221"/>
                    <a:pt x="9640" y="5126"/>
                  </a:cubicBezTo>
                  <a:cubicBezTo>
                    <a:pt x="9640" y="5126"/>
                    <a:pt x="9640" y="5126"/>
                    <a:pt x="9735" y="5126"/>
                  </a:cubicBezTo>
                  <a:cubicBezTo>
                    <a:pt x="8401" y="3983"/>
                    <a:pt x="7068" y="2745"/>
                    <a:pt x="6020" y="1221"/>
                  </a:cubicBezTo>
                  <a:cubicBezTo>
                    <a:pt x="6020" y="2935"/>
                    <a:pt x="5734" y="3031"/>
                    <a:pt x="5068" y="1507"/>
                  </a:cubicBezTo>
                  <a:close/>
                </a:path>
              </a:pathLst>
            </a:custGeom>
            <a:grpFill/>
            <a:ln w="9525" cap="flat">
              <a:noFill/>
              <a:prstDash val="solid"/>
              <a:miter/>
            </a:ln>
          </p:spPr>
          <p:txBody>
            <a:bodyPr rtlCol="0" anchor="ctr"/>
            <a:lstStyle/>
            <a:p>
              <a:endParaRPr lang="en-US" dirty="0"/>
            </a:p>
          </p:txBody>
        </p:sp>
        <p:sp>
          <p:nvSpPr>
            <p:cNvPr id="1628" name="Freeform: Shape 1627">
              <a:extLst>
                <a:ext uri="{FF2B5EF4-FFF2-40B4-BE49-F238E27FC236}">
                  <a16:creationId xmlns:a16="http://schemas.microsoft.com/office/drawing/2014/main" id="{287EE468-5D1B-A48B-5179-A092742908CF}"/>
                </a:ext>
              </a:extLst>
            </p:cNvPr>
            <p:cNvSpPr/>
            <p:nvPr/>
          </p:nvSpPr>
          <p:spPr>
            <a:xfrm>
              <a:off x="5270366" y="248079"/>
              <a:ext cx="11437" cy="11649"/>
            </a:xfrm>
            <a:custGeom>
              <a:avLst/>
              <a:gdLst>
                <a:gd name="connsiteX0" fmla="*/ 5143 w 5143"/>
                <a:gd name="connsiteY0" fmla="*/ 381 h 5238"/>
                <a:gd name="connsiteX1" fmla="*/ 2857 w 5143"/>
                <a:gd name="connsiteY1" fmla="*/ 0 h 5238"/>
                <a:gd name="connsiteX2" fmla="*/ 0 w 5143"/>
                <a:gd name="connsiteY2" fmla="*/ 5239 h 5238"/>
                <a:gd name="connsiteX3" fmla="*/ 2762 w 5143"/>
                <a:gd name="connsiteY3" fmla="*/ 2381 h 5238"/>
                <a:gd name="connsiteX4" fmla="*/ 5143 w 5143"/>
                <a:gd name="connsiteY4" fmla="*/ 476 h 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 h="5238">
                  <a:moveTo>
                    <a:pt x="5143" y="381"/>
                  </a:moveTo>
                  <a:cubicBezTo>
                    <a:pt x="4381" y="381"/>
                    <a:pt x="3524" y="381"/>
                    <a:pt x="2857" y="0"/>
                  </a:cubicBezTo>
                  <a:cubicBezTo>
                    <a:pt x="2857" y="2667"/>
                    <a:pt x="1238" y="2953"/>
                    <a:pt x="0" y="5239"/>
                  </a:cubicBezTo>
                  <a:cubicBezTo>
                    <a:pt x="857" y="4191"/>
                    <a:pt x="1809" y="3238"/>
                    <a:pt x="2762" y="2381"/>
                  </a:cubicBezTo>
                  <a:cubicBezTo>
                    <a:pt x="3429" y="1715"/>
                    <a:pt x="4286" y="1048"/>
                    <a:pt x="5143" y="476"/>
                  </a:cubicBezTo>
                  <a:close/>
                </a:path>
              </a:pathLst>
            </a:custGeom>
            <a:grpFill/>
            <a:ln w="9525" cap="flat">
              <a:noFill/>
              <a:prstDash val="solid"/>
              <a:miter/>
            </a:ln>
          </p:spPr>
          <p:txBody>
            <a:bodyPr rtlCol="0" anchor="ctr"/>
            <a:lstStyle/>
            <a:p>
              <a:endParaRPr lang="en-US" dirty="0"/>
            </a:p>
          </p:txBody>
        </p:sp>
        <p:sp>
          <p:nvSpPr>
            <p:cNvPr id="1629" name="Freeform: Shape 1628">
              <a:extLst>
                <a:ext uri="{FF2B5EF4-FFF2-40B4-BE49-F238E27FC236}">
                  <a16:creationId xmlns:a16="http://schemas.microsoft.com/office/drawing/2014/main" id="{94620119-F2F8-8278-E0B7-7A6DC28BF847}"/>
                </a:ext>
              </a:extLst>
            </p:cNvPr>
            <p:cNvSpPr/>
            <p:nvPr/>
          </p:nvSpPr>
          <p:spPr>
            <a:xfrm>
              <a:off x="5225884" y="449950"/>
              <a:ext cx="1059" cy="2328"/>
            </a:xfrm>
            <a:custGeom>
              <a:avLst/>
              <a:gdLst>
                <a:gd name="connsiteX0" fmla="*/ 0 w 476"/>
                <a:gd name="connsiteY0" fmla="*/ 95 h 1047"/>
                <a:gd name="connsiteX1" fmla="*/ 95 w 476"/>
                <a:gd name="connsiteY1" fmla="*/ 381 h 1047"/>
                <a:gd name="connsiteX2" fmla="*/ 476 w 476"/>
                <a:gd name="connsiteY2" fmla="*/ 1048 h 1047"/>
                <a:gd name="connsiteX3" fmla="*/ 286 w 476"/>
                <a:gd name="connsiteY3" fmla="*/ 0 h 1047"/>
                <a:gd name="connsiteX4" fmla="*/ 0 w 476"/>
                <a:gd name="connsiteY4" fmla="*/ 95 h 1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 h="1047">
                  <a:moveTo>
                    <a:pt x="0" y="95"/>
                  </a:moveTo>
                  <a:cubicBezTo>
                    <a:pt x="0" y="95"/>
                    <a:pt x="95" y="381"/>
                    <a:pt x="95" y="381"/>
                  </a:cubicBezTo>
                  <a:cubicBezTo>
                    <a:pt x="190" y="571"/>
                    <a:pt x="286" y="857"/>
                    <a:pt x="476" y="1048"/>
                  </a:cubicBezTo>
                  <a:cubicBezTo>
                    <a:pt x="476" y="667"/>
                    <a:pt x="286" y="381"/>
                    <a:pt x="286" y="0"/>
                  </a:cubicBezTo>
                  <a:cubicBezTo>
                    <a:pt x="286" y="0"/>
                    <a:pt x="0" y="0"/>
                    <a:pt x="0" y="95"/>
                  </a:cubicBezTo>
                  <a:close/>
                </a:path>
              </a:pathLst>
            </a:custGeom>
            <a:grpFill/>
            <a:ln w="9525" cap="flat">
              <a:noFill/>
              <a:prstDash val="solid"/>
              <a:miter/>
            </a:ln>
          </p:spPr>
          <p:txBody>
            <a:bodyPr rtlCol="0" anchor="ctr"/>
            <a:lstStyle/>
            <a:p>
              <a:endParaRPr lang="en-US" dirty="0"/>
            </a:p>
          </p:txBody>
        </p:sp>
        <p:sp>
          <p:nvSpPr>
            <p:cNvPr id="1630" name="Freeform: Shape 1629">
              <a:extLst>
                <a:ext uri="{FF2B5EF4-FFF2-40B4-BE49-F238E27FC236}">
                  <a16:creationId xmlns:a16="http://schemas.microsoft.com/office/drawing/2014/main" id="{943ADEB9-78AD-923D-FEB5-76F06B599006}"/>
                </a:ext>
              </a:extLst>
            </p:cNvPr>
            <p:cNvSpPr/>
            <p:nvPr/>
          </p:nvSpPr>
          <p:spPr>
            <a:xfrm>
              <a:off x="5367383" y="439781"/>
              <a:ext cx="3600" cy="4234"/>
            </a:xfrm>
            <a:custGeom>
              <a:avLst/>
              <a:gdLst>
                <a:gd name="connsiteX0" fmla="*/ 1429 w 1619"/>
                <a:gd name="connsiteY0" fmla="*/ 1905 h 1904"/>
                <a:gd name="connsiteX1" fmla="*/ 1619 w 1619"/>
                <a:gd name="connsiteY1" fmla="*/ 1334 h 1904"/>
                <a:gd name="connsiteX2" fmla="*/ 1238 w 1619"/>
                <a:gd name="connsiteY2" fmla="*/ 953 h 1904"/>
                <a:gd name="connsiteX3" fmla="*/ 0 w 1619"/>
                <a:gd name="connsiteY3" fmla="*/ 0 h 1904"/>
                <a:gd name="connsiteX4" fmla="*/ 1238 w 1619"/>
                <a:gd name="connsiteY4" fmla="*/ 1715 h 1904"/>
                <a:gd name="connsiteX5" fmla="*/ 1334 w 1619"/>
                <a:gd name="connsiteY5" fmla="*/ 1905 h 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9" h="1904">
                  <a:moveTo>
                    <a:pt x="1429" y="1905"/>
                  </a:moveTo>
                  <a:cubicBezTo>
                    <a:pt x="1429" y="1905"/>
                    <a:pt x="1619" y="1524"/>
                    <a:pt x="1619" y="1334"/>
                  </a:cubicBezTo>
                  <a:cubicBezTo>
                    <a:pt x="1619" y="1143"/>
                    <a:pt x="1334" y="1048"/>
                    <a:pt x="1238" y="953"/>
                  </a:cubicBezTo>
                  <a:cubicBezTo>
                    <a:pt x="762" y="667"/>
                    <a:pt x="381" y="286"/>
                    <a:pt x="0" y="0"/>
                  </a:cubicBezTo>
                  <a:cubicBezTo>
                    <a:pt x="476" y="572"/>
                    <a:pt x="857" y="1143"/>
                    <a:pt x="1238" y="1715"/>
                  </a:cubicBezTo>
                  <a:cubicBezTo>
                    <a:pt x="1238" y="1715"/>
                    <a:pt x="1334" y="1905"/>
                    <a:pt x="1334" y="1905"/>
                  </a:cubicBezTo>
                  <a:close/>
                </a:path>
              </a:pathLst>
            </a:custGeom>
            <a:grpFill/>
            <a:ln w="9525" cap="flat">
              <a:noFill/>
              <a:prstDash val="solid"/>
              <a:miter/>
            </a:ln>
          </p:spPr>
          <p:txBody>
            <a:bodyPr rtlCol="0" anchor="ctr"/>
            <a:lstStyle/>
            <a:p>
              <a:endParaRPr lang="en-US" dirty="0"/>
            </a:p>
          </p:txBody>
        </p:sp>
        <p:sp>
          <p:nvSpPr>
            <p:cNvPr id="1631" name="Freeform: Shape 1630">
              <a:extLst>
                <a:ext uri="{FF2B5EF4-FFF2-40B4-BE49-F238E27FC236}">
                  <a16:creationId xmlns:a16="http://schemas.microsoft.com/office/drawing/2014/main" id="{4BF9C968-96CA-9424-65C1-A2AAB700F613}"/>
                </a:ext>
              </a:extLst>
            </p:cNvPr>
            <p:cNvSpPr/>
            <p:nvPr/>
          </p:nvSpPr>
          <p:spPr>
            <a:xfrm>
              <a:off x="5149119" y="395087"/>
              <a:ext cx="3260" cy="11437"/>
            </a:xfrm>
            <a:custGeom>
              <a:avLst/>
              <a:gdLst>
                <a:gd name="connsiteX0" fmla="*/ 1085 w 1466"/>
                <a:gd name="connsiteY0" fmla="*/ 3905 h 5143"/>
                <a:gd name="connsiteX1" fmla="*/ 228 w 1466"/>
                <a:gd name="connsiteY1" fmla="*/ 0 h 5143"/>
                <a:gd name="connsiteX2" fmla="*/ 37 w 1466"/>
                <a:gd name="connsiteY2" fmla="*/ 2191 h 5143"/>
                <a:gd name="connsiteX3" fmla="*/ 704 w 1466"/>
                <a:gd name="connsiteY3" fmla="*/ 3905 h 5143"/>
                <a:gd name="connsiteX4" fmla="*/ 799 w 1466"/>
                <a:gd name="connsiteY4" fmla="*/ 4191 h 5143"/>
                <a:gd name="connsiteX5" fmla="*/ 1466 w 1466"/>
                <a:gd name="connsiteY5" fmla="*/ 5143 h 5143"/>
                <a:gd name="connsiteX6" fmla="*/ 1085 w 1466"/>
                <a:gd name="connsiteY6" fmla="*/ 3905 h 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6" h="5143">
                  <a:moveTo>
                    <a:pt x="1085" y="3905"/>
                  </a:moveTo>
                  <a:cubicBezTo>
                    <a:pt x="609" y="2667"/>
                    <a:pt x="323" y="1334"/>
                    <a:pt x="228" y="0"/>
                  </a:cubicBezTo>
                  <a:cubicBezTo>
                    <a:pt x="37" y="762"/>
                    <a:pt x="-58" y="1429"/>
                    <a:pt x="37" y="2191"/>
                  </a:cubicBezTo>
                  <a:cubicBezTo>
                    <a:pt x="132" y="2858"/>
                    <a:pt x="418" y="3429"/>
                    <a:pt x="704" y="3905"/>
                  </a:cubicBezTo>
                  <a:cubicBezTo>
                    <a:pt x="704" y="3905"/>
                    <a:pt x="704" y="4096"/>
                    <a:pt x="799" y="4191"/>
                  </a:cubicBezTo>
                  <a:cubicBezTo>
                    <a:pt x="990" y="4477"/>
                    <a:pt x="1275" y="4763"/>
                    <a:pt x="1466" y="5143"/>
                  </a:cubicBezTo>
                  <a:cubicBezTo>
                    <a:pt x="1275" y="4763"/>
                    <a:pt x="1180" y="4286"/>
                    <a:pt x="1085" y="3905"/>
                  </a:cubicBezTo>
                  <a:close/>
                </a:path>
              </a:pathLst>
            </a:custGeom>
            <a:grpFill/>
            <a:ln w="9525" cap="flat">
              <a:noFill/>
              <a:prstDash val="solid"/>
              <a:miter/>
            </a:ln>
          </p:spPr>
          <p:txBody>
            <a:bodyPr rtlCol="0" anchor="ctr"/>
            <a:lstStyle/>
            <a:p>
              <a:endParaRPr lang="en-US" dirty="0"/>
            </a:p>
          </p:txBody>
        </p:sp>
        <p:sp>
          <p:nvSpPr>
            <p:cNvPr id="1632" name="Freeform: Shape 1631">
              <a:extLst>
                <a:ext uri="{FF2B5EF4-FFF2-40B4-BE49-F238E27FC236}">
                  <a16:creationId xmlns:a16="http://schemas.microsoft.com/office/drawing/2014/main" id="{997FC461-921D-710B-5F90-22662B2226CA}"/>
                </a:ext>
              </a:extLst>
            </p:cNvPr>
            <p:cNvSpPr/>
            <p:nvPr/>
          </p:nvSpPr>
          <p:spPr>
            <a:xfrm>
              <a:off x="5173562" y="411608"/>
              <a:ext cx="5506" cy="11226"/>
            </a:xfrm>
            <a:custGeom>
              <a:avLst/>
              <a:gdLst>
                <a:gd name="connsiteX0" fmla="*/ 0 w 2476"/>
                <a:gd name="connsiteY0" fmla="*/ 286 h 5048"/>
                <a:gd name="connsiteX1" fmla="*/ 0 w 2476"/>
                <a:gd name="connsiteY1" fmla="*/ 476 h 5048"/>
                <a:gd name="connsiteX2" fmla="*/ 0 w 2476"/>
                <a:gd name="connsiteY2" fmla="*/ 762 h 5048"/>
                <a:gd name="connsiteX3" fmla="*/ 190 w 2476"/>
                <a:gd name="connsiteY3" fmla="*/ 1810 h 5048"/>
                <a:gd name="connsiteX4" fmla="*/ 667 w 2476"/>
                <a:gd name="connsiteY4" fmla="*/ 3810 h 5048"/>
                <a:gd name="connsiteX5" fmla="*/ 667 w 2476"/>
                <a:gd name="connsiteY5" fmla="*/ 3810 h 5048"/>
                <a:gd name="connsiteX6" fmla="*/ 667 w 2476"/>
                <a:gd name="connsiteY6" fmla="*/ 3810 h 5048"/>
                <a:gd name="connsiteX7" fmla="*/ 2476 w 2476"/>
                <a:gd name="connsiteY7" fmla="*/ 5048 h 5048"/>
                <a:gd name="connsiteX8" fmla="*/ 571 w 2476"/>
                <a:gd name="connsiteY8" fmla="*/ 0 h 5048"/>
                <a:gd name="connsiteX9" fmla="*/ 0 w 2476"/>
                <a:gd name="connsiteY9" fmla="*/ 286 h 5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 h="5048">
                  <a:moveTo>
                    <a:pt x="0" y="286"/>
                  </a:moveTo>
                  <a:cubicBezTo>
                    <a:pt x="0" y="286"/>
                    <a:pt x="0" y="286"/>
                    <a:pt x="0" y="476"/>
                  </a:cubicBezTo>
                  <a:cubicBezTo>
                    <a:pt x="0" y="476"/>
                    <a:pt x="0" y="667"/>
                    <a:pt x="0" y="762"/>
                  </a:cubicBezTo>
                  <a:cubicBezTo>
                    <a:pt x="0" y="1143"/>
                    <a:pt x="95" y="1429"/>
                    <a:pt x="190" y="1810"/>
                  </a:cubicBezTo>
                  <a:cubicBezTo>
                    <a:pt x="286" y="2477"/>
                    <a:pt x="381" y="3239"/>
                    <a:pt x="667" y="3810"/>
                  </a:cubicBezTo>
                  <a:cubicBezTo>
                    <a:pt x="667" y="3620"/>
                    <a:pt x="476" y="3524"/>
                    <a:pt x="667" y="3810"/>
                  </a:cubicBezTo>
                  <a:cubicBezTo>
                    <a:pt x="857" y="4096"/>
                    <a:pt x="762" y="4001"/>
                    <a:pt x="667" y="3810"/>
                  </a:cubicBezTo>
                  <a:cubicBezTo>
                    <a:pt x="1048" y="4477"/>
                    <a:pt x="1810" y="4763"/>
                    <a:pt x="2476" y="5048"/>
                  </a:cubicBezTo>
                  <a:cubicBezTo>
                    <a:pt x="1143" y="3810"/>
                    <a:pt x="286" y="1905"/>
                    <a:pt x="571" y="0"/>
                  </a:cubicBezTo>
                  <a:cubicBezTo>
                    <a:pt x="381" y="0"/>
                    <a:pt x="190" y="95"/>
                    <a:pt x="0" y="286"/>
                  </a:cubicBezTo>
                  <a:close/>
                </a:path>
              </a:pathLst>
            </a:custGeom>
            <a:grpFill/>
            <a:ln w="9525" cap="flat">
              <a:noFill/>
              <a:prstDash val="solid"/>
              <a:miter/>
            </a:ln>
          </p:spPr>
          <p:txBody>
            <a:bodyPr rtlCol="0" anchor="ctr"/>
            <a:lstStyle/>
            <a:p>
              <a:endParaRPr lang="en-US" dirty="0"/>
            </a:p>
          </p:txBody>
        </p:sp>
        <p:sp>
          <p:nvSpPr>
            <p:cNvPr id="1633" name="Freeform: Shape 1632">
              <a:extLst>
                <a:ext uri="{FF2B5EF4-FFF2-40B4-BE49-F238E27FC236}">
                  <a16:creationId xmlns:a16="http://schemas.microsoft.com/office/drawing/2014/main" id="{7E660BCC-4753-1611-6B6D-9F8285DD22E0}"/>
                </a:ext>
              </a:extLst>
            </p:cNvPr>
            <p:cNvSpPr/>
            <p:nvPr/>
          </p:nvSpPr>
          <p:spPr>
            <a:xfrm>
              <a:off x="5312731" y="614750"/>
              <a:ext cx="12707" cy="6776"/>
            </a:xfrm>
            <a:custGeom>
              <a:avLst/>
              <a:gdLst>
                <a:gd name="connsiteX0" fmla="*/ 0 w 5714"/>
                <a:gd name="connsiteY0" fmla="*/ 2095 h 3047"/>
                <a:gd name="connsiteX1" fmla="*/ 3143 w 5714"/>
                <a:gd name="connsiteY1" fmla="*/ 2381 h 3047"/>
                <a:gd name="connsiteX2" fmla="*/ 5715 w 5714"/>
                <a:gd name="connsiteY2" fmla="*/ 3048 h 3047"/>
                <a:gd name="connsiteX3" fmla="*/ 1143 w 5714"/>
                <a:gd name="connsiteY3" fmla="*/ 0 h 3047"/>
                <a:gd name="connsiteX4" fmla="*/ 0 w 5714"/>
                <a:gd name="connsiteY4" fmla="*/ 2095 h 3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 h="3047">
                  <a:moveTo>
                    <a:pt x="0" y="2095"/>
                  </a:moveTo>
                  <a:cubicBezTo>
                    <a:pt x="1048" y="2000"/>
                    <a:pt x="3238" y="2381"/>
                    <a:pt x="3143" y="2381"/>
                  </a:cubicBezTo>
                  <a:cubicBezTo>
                    <a:pt x="3143" y="2381"/>
                    <a:pt x="4858" y="2857"/>
                    <a:pt x="5715" y="3048"/>
                  </a:cubicBezTo>
                  <a:cubicBezTo>
                    <a:pt x="4096" y="2191"/>
                    <a:pt x="2572" y="1143"/>
                    <a:pt x="1143" y="0"/>
                  </a:cubicBezTo>
                  <a:cubicBezTo>
                    <a:pt x="857" y="762"/>
                    <a:pt x="476" y="1429"/>
                    <a:pt x="0" y="2095"/>
                  </a:cubicBezTo>
                  <a:close/>
                </a:path>
              </a:pathLst>
            </a:custGeom>
            <a:grpFill/>
            <a:ln w="9525" cap="flat">
              <a:noFill/>
              <a:prstDash val="solid"/>
              <a:miter/>
            </a:ln>
          </p:spPr>
          <p:txBody>
            <a:bodyPr rtlCol="0" anchor="ctr"/>
            <a:lstStyle/>
            <a:p>
              <a:endParaRPr lang="en-US" dirty="0"/>
            </a:p>
          </p:txBody>
        </p:sp>
        <p:sp>
          <p:nvSpPr>
            <p:cNvPr id="1634" name="Freeform: Shape 1633">
              <a:extLst>
                <a:ext uri="{FF2B5EF4-FFF2-40B4-BE49-F238E27FC236}">
                  <a16:creationId xmlns:a16="http://schemas.microsoft.com/office/drawing/2014/main" id="{5158FE7C-C2E2-3E90-7866-E28A16C972C6}"/>
                </a:ext>
              </a:extLst>
            </p:cNvPr>
            <p:cNvSpPr/>
            <p:nvPr/>
          </p:nvSpPr>
          <p:spPr>
            <a:xfrm>
              <a:off x="5094763" y="239230"/>
              <a:ext cx="24147" cy="7154"/>
            </a:xfrm>
            <a:custGeom>
              <a:avLst/>
              <a:gdLst>
                <a:gd name="connsiteX0" fmla="*/ 6191 w 10858"/>
                <a:gd name="connsiteY0" fmla="*/ 265 h 3217"/>
                <a:gd name="connsiteX1" fmla="*/ 381 w 10858"/>
                <a:gd name="connsiteY1" fmla="*/ 646 h 3217"/>
                <a:gd name="connsiteX2" fmla="*/ 0 w 10858"/>
                <a:gd name="connsiteY2" fmla="*/ 741 h 3217"/>
                <a:gd name="connsiteX3" fmla="*/ 10858 w 10858"/>
                <a:gd name="connsiteY3" fmla="*/ 3217 h 3217"/>
                <a:gd name="connsiteX4" fmla="*/ 6191 w 10858"/>
                <a:gd name="connsiteY4" fmla="*/ 265 h 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8" h="3217">
                  <a:moveTo>
                    <a:pt x="6191" y="265"/>
                  </a:moveTo>
                  <a:cubicBezTo>
                    <a:pt x="4286" y="-212"/>
                    <a:pt x="2191" y="-21"/>
                    <a:pt x="381" y="646"/>
                  </a:cubicBezTo>
                  <a:cubicBezTo>
                    <a:pt x="286" y="646"/>
                    <a:pt x="95" y="646"/>
                    <a:pt x="0" y="741"/>
                  </a:cubicBezTo>
                  <a:cubicBezTo>
                    <a:pt x="3715" y="741"/>
                    <a:pt x="7429" y="1884"/>
                    <a:pt x="10858" y="3217"/>
                  </a:cubicBezTo>
                  <a:cubicBezTo>
                    <a:pt x="9620" y="1789"/>
                    <a:pt x="8001" y="741"/>
                    <a:pt x="6191" y="265"/>
                  </a:cubicBezTo>
                  <a:close/>
                </a:path>
              </a:pathLst>
            </a:custGeom>
            <a:grpFill/>
            <a:ln w="9525" cap="flat">
              <a:noFill/>
              <a:prstDash val="solid"/>
              <a:miter/>
            </a:ln>
          </p:spPr>
          <p:txBody>
            <a:bodyPr rtlCol="0" anchor="ctr"/>
            <a:lstStyle/>
            <a:p>
              <a:endParaRPr lang="en-US" dirty="0"/>
            </a:p>
          </p:txBody>
        </p:sp>
        <p:sp>
          <p:nvSpPr>
            <p:cNvPr id="1635" name="Freeform: Shape 1634">
              <a:extLst>
                <a:ext uri="{FF2B5EF4-FFF2-40B4-BE49-F238E27FC236}">
                  <a16:creationId xmlns:a16="http://schemas.microsoft.com/office/drawing/2014/main" id="{B2D3572A-F100-9347-F711-11A29C62B3B8}"/>
                </a:ext>
              </a:extLst>
            </p:cNvPr>
            <p:cNvSpPr/>
            <p:nvPr/>
          </p:nvSpPr>
          <p:spPr>
            <a:xfrm>
              <a:off x="5354249" y="526419"/>
              <a:ext cx="7201" cy="7837"/>
            </a:xfrm>
            <a:custGeom>
              <a:avLst/>
              <a:gdLst>
                <a:gd name="connsiteX0" fmla="*/ 2857 w 3238"/>
                <a:gd name="connsiteY0" fmla="*/ 1429 h 3524"/>
                <a:gd name="connsiteX1" fmla="*/ 0 w 3238"/>
                <a:gd name="connsiteY1" fmla="*/ 0 h 3524"/>
                <a:gd name="connsiteX2" fmla="*/ 381 w 3238"/>
                <a:gd name="connsiteY2" fmla="*/ 3524 h 3524"/>
                <a:gd name="connsiteX3" fmla="*/ 3238 w 3238"/>
                <a:gd name="connsiteY3" fmla="*/ 1524 h 3524"/>
                <a:gd name="connsiteX4" fmla="*/ 2857 w 3238"/>
                <a:gd name="connsiteY4" fmla="*/ 1429 h 3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 h="3524">
                  <a:moveTo>
                    <a:pt x="2857" y="1429"/>
                  </a:moveTo>
                  <a:cubicBezTo>
                    <a:pt x="1905" y="1048"/>
                    <a:pt x="953" y="572"/>
                    <a:pt x="0" y="0"/>
                  </a:cubicBezTo>
                  <a:cubicBezTo>
                    <a:pt x="190" y="1143"/>
                    <a:pt x="286" y="2381"/>
                    <a:pt x="381" y="3524"/>
                  </a:cubicBezTo>
                  <a:cubicBezTo>
                    <a:pt x="1143" y="2572"/>
                    <a:pt x="2191" y="2096"/>
                    <a:pt x="3238" y="1524"/>
                  </a:cubicBezTo>
                  <a:cubicBezTo>
                    <a:pt x="3238" y="1524"/>
                    <a:pt x="2953" y="1429"/>
                    <a:pt x="2857" y="1429"/>
                  </a:cubicBezTo>
                  <a:close/>
                </a:path>
              </a:pathLst>
            </a:custGeom>
            <a:grpFill/>
            <a:ln w="9525" cap="flat">
              <a:noFill/>
              <a:prstDash val="solid"/>
              <a:miter/>
            </a:ln>
          </p:spPr>
          <p:txBody>
            <a:bodyPr rtlCol="0" anchor="ctr"/>
            <a:lstStyle/>
            <a:p>
              <a:endParaRPr lang="en-US" dirty="0"/>
            </a:p>
          </p:txBody>
        </p:sp>
        <p:sp>
          <p:nvSpPr>
            <p:cNvPr id="1636" name="Freeform: Shape 1635">
              <a:extLst>
                <a:ext uri="{FF2B5EF4-FFF2-40B4-BE49-F238E27FC236}">
                  <a16:creationId xmlns:a16="http://schemas.microsoft.com/office/drawing/2014/main" id="{A8AB8CE8-6593-34BD-ACF4-ACBCA23CDBB5}"/>
                </a:ext>
              </a:extLst>
            </p:cNvPr>
            <p:cNvSpPr/>
            <p:nvPr/>
          </p:nvSpPr>
          <p:spPr>
            <a:xfrm>
              <a:off x="5361027" y="567723"/>
              <a:ext cx="10379" cy="1692"/>
            </a:xfrm>
            <a:custGeom>
              <a:avLst/>
              <a:gdLst>
                <a:gd name="connsiteX0" fmla="*/ 95 w 4667"/>
                <a:gd name="connsiteY0" fmla="*/ 571 h 761"/>
                <a:gd name="connsiteX1" fmla="*/ 762 w 4667"/>
                <a:gd name="connsiteY1" fmla="*/ 667 h 761"/>
                <a:gd name="connsiteX2" fmla="*/ 2476 w 4667"/>
                <a:gd name="connsiteY2" fmla="*/ 762 h 761"/>
                <a:gd name="connsiteX3" fmla="*/ 3143 w 4667"/>
                <a:gd name="connsiteY3" fmla="*/ 762 h 761"/>
                <a:gd name="connsiteX4" fmla="*/ 4667 w 4667"/>
                <a:gd name="connsiteY4" fmla="*/ 667 h 761"/>
                <a:gd name="connsiteX5" fmla="*/ 0 w 4667"/>
                <a:gd name="connsiteY5" fmla="*/ 0 h 761"/>
                <a:gd name="connsiteX6" fmla="*/ 0 w 4667"/>
                <a:gd name="connsiteY6" fmla="*/ 571 h 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 h="761">
                  <a:moveTo>
                    <a:pt x="95" y="571"/>
                  </a:moveTo>
                  <a:cubicBezTo>
                    <a:pt x="95" y="571"/>
                    <a:pt x="571" y="571"/>
                    <a:pt x="762" y="667"/>
                  </a:cubicBezTo>
                  <a:cubicBezTo>
                    <a:pt x="1333" y="667"/>
                    <a:pt x="1905" y="762"/>
                    <a:pt x="2476" y="762"/>
                  </a:cubicBezTo>
                  <a:cubicBezTo>
                    <a:pt x="2667" y="762"/>
                    <a:pt x="2953" y="762"/>
                    <a:pt x="3143" y="762"/>
                  </a:cubicBezTo>
                  <a:cubicBezTo>
                    <a:pt x="3619" y="762"/>
                    <a:pt x="4191" y="762"/>
                    <a:pt x="4667" y="667"/>
                  </a:cubicBezTo>
                  <a:cubicBezTo>
                    <a:pt x="3048" y="762"/>
                    <a:pt x="1524" y="476"/>
                    <a:pt x="0" y="0"/>
                  </a:cubicBezTo>
                  <a:cubicBezTo>
                    <a:pt x="0" y="95"/>
                    <a:pt x="0" y="476"/>
                    <a:pt x="0" y="571"/>
                  </a:cubicBezTo>
                  <a:close/>
                </a:path>
              </a:pathLst>
            </a:custGeom>
            <a:grpFill/>
            <a:ln w="9525" cap="flat">
              <a:noFill/>
              <a:prstDash val="solid"/>
              <a:miter/>
            </a:ln>
          </p:spPr>
          <p:txBody>
            <a:bodyPr rtlCol="0" anchor="ctr"/>
            <a:lstStyle/>
            <a:p>
              <a:endParaRPr lang="en-US" dirty="0"/>
            </a:p>
          </p:txBody>
        </p:sp>
        <p:sp>
          <p:nvSpPr>
            <p:cNvPr id="1637" name="Freeform: Shape 1636">
              <a:extLst>
                <a:ext uri="{FF2B5EF4-FFF2-40B4-BE49-F238E27FC236}">
                  <a16:creationId xmlns:a16="http://schemas.microsoft.com/office/drawing/2014/main" id="{FC025FE3-F569-0EA7-241D-DE049F630D5E}"/>
                </a:ext>
              </a:extLst>
            </p:cNvPr>
            <p:cNvSpPr/>
            <p:nvPr/>
          </p:nvSpPr>
          <p:spPr>
            <a:xfrm>
              <a:off x="5075486" y="243827"/>
              <a:ext cx="9107" cy="8700"/>
            </a:xfrm>
            <a:custGeom>
              <a:avLst/>
              <a:gdLst>
                <a:gd name="connsiteX0" fmla="*/ 2857 w 4095"/>
                <a:gd name="connsiteY0" fmla="*/ 7 h 3912"/>
                <a:gd name="connsiteX1" fmla="*/ 2286 w 4095"/>
                <a:gd name="connsiteY1" fmla="*/ 388 h 3912"/>
                <a:gd name="connsiteX2" fmla="*/ 1333 w 4095"/>
                <a:gd name="connsiteY2" fmla="*/ 1341 h 3912"/>
                <a:gd name="connsiteX3" fmla="*/ 286 w 4095"/>
                <a:gd name="connsiteY3" fmla="*/ 3055 h 3912"/>
                <a:gd name="connsiteX4" fmla="*/ 0 w 4095"/>
                <a:gd name="connsiteY4" fmla="*/ 3913 h 3912"/>
                <a:gd name="connsiteX5" fmla="*/ 4096 w 4095"/>
                <a:gd name="connsiteY5" fmla="*/ 769 h 3912"/>
                <a:gd name="connsiteX6" fmla="*/ 2762 w 4095"/>
                <a:gd name="connsiteY6" fmla="*/ 7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 h="3912">
                  <a:moveTo>
                    <a:pt x="2857" y="7"/>
                  </a:moveTo>
                  <a:cubicBezTo>
                    <a:pt x="2857" y="7"/>
                    <a:pt x="2477" y="293"/>
                    <a:pt x="2286" y="388"/>
                  </a:cubicBezTo>
                  <a:cubicBezTo>
                    <a:pt x="1905" y="674"/>
                    <a:pt x="1619" y="960"/>
                    <a:pt x="1333" y="1341"/>
                  </a:cubicBezTo>
                  <a:cubicBezTo>
                    <a:pt x="953" y="1817"/>
                    <a:pt x="571" y="2389"/>
                    <a:pt x="286" y="3055"/>
                  </a:cubicBezTo>
                  <a:cubicBezTo>
                    <a:pt x="190" y="3341"/>
                    <a:pt x="95" y="3817"/>
                    <a:pt x="0" y="3913"/>
                  </a:cubicBezTo>
                  <a:cubicBezTo>
                    <a:pt x="762" y="2389"/>
                    <a:pt x="2667" y="1722"/>
                    <a:pt x="4096" y="769"/>
                  </a:cubicBezTo>
                  <a:cubicBezTo>
                    <a:pt x="3905" y="769"/>
                    <a:pt x="2953" y="-88"/>
                    <a:pt x="2762" y="7"/>
                  </a:cubicBezTo>
                  <a:close/>
                </a:path>
              </a:pathLst>
            </a:custGeom>
            <a:grpFill/>
            <a:ln w="9525" cap="flat">
              <a:noFill/>
              <a:prstDash val="solid"/>
              <a:miter/>
            </a:ln>
          </p:spPr>
          <p:txBody>
            <a:bodyPr rtlCol="0" anchor="ctr"/>
            <a:lstStyle/>
            <a:p>
              <a:endParaRPr lang="en-US" dirty="0"/>
            </a:p>
          </p:txBody>
        </p:sp>
        <p:sp>
          <p:nvSpPr>
            <p:cNvPr id="1638" name="Freeform: Shape 1637">
              <a:extLst>
                <a:ext uri="{FF2B5EF4-FFF2-40B4-BE49-F238E27FC236}">
                  <a16:creationId xmlns:a16="http://schemas.microsoft.com/office/drawing/2014/main" id="{85790A15-5127-C325-7572-73A98CA1F0EB}"/>
                </a:ext>
              </a:extLst>
            </p:cNvPr>
            <p:cNvSpPr/>
            <p:nvPr/>
          </p:nvSpPr>
          <p:spPr>
            <a:xfrm>
              <a:off x="4995765" y="588906"/>
              <a:ext cx="7277" cy="28172"/>
            </a:xfrm>
            <a:custGeom>
              <a:avLst/>
              <a:gdLst>
                <a:gd name="connsiteX0" fmla="*/ 1939 w 3272"/>
                <a:gd name="connsiteY0" fmla="*/ 6763 h 12668"/>
                <a:gd name="connsiteX1" fmla="*/ 2701 w 3272"/>
                <a:gd name="connsiteY1" fmla="*/ 0 h 12668"/>
                <a:gd name="connsiteX2" fmla="*/ 1177 w 3272"/>
                <a:gd name="connsiteY2" fmla="*/ 953 h 12668"/>
                <a:gd name="connsiteX3" fmla="*/ 701 w 3272"/>
                <a:gd name="connsiteY3" fmla="*/ 1619 h 12668"/>
                <a:gd name="connsiteX4" fmla="*/ 415 w 3272"/>
                <a:gd name="connsiteY4" fmla="*/ 2477 h 12668"/>
                <a:gd name="connsiteX5" fmla="*/ 34 w 3272"/>
                <a:gd name="connsiteY5" fmla="*/ 6382 h 12668"/>
                <a:gd name="connsiteX6" fmla="*/ 891 w 3272"/>
                <a:gd name="connsiteY6" fmla="*/ 10001 h 12668"/>
                <a:gd name="connsiteX7" fmla="*/ 2797 w 3272"/>
                <a:gd name="connsiteY7" fmla="*/ 12478 h 12668"/>
                <a:gd name="connsiteX8" fmla="*/ 2797 w 3272"/>
                <a:gd name="connsiteY8" fmla="*/ 12478 h 12668"/>
                <a:gd name="connsiteX9" fmla="*/ 2797 w 3272"/>
                <a:gd name="connsiteY9" fmla="*/ 12478 h 12668"/>
                <a:gd name="connsiteX10" fmla="*/ 2797 w 3272"/>
                <a:gd name="connsiteY10" fmla="*/ 12478 h 12668"/>
                <a:gd name="connsiteX11" fmla="*/ 3273 w 3272"/>
                <a:gd name="connsiteY11" fmla="*/ 12668 h 12668"/>
                <a:gd name="connsiteX12" fmla="*/ 1939 w 3272"/>
                <a:gd name="connsiteY12" fmla="*/ 6668 h 1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72" h="12668">
                  <a:moveTo>
                    <a:pt x="1939" y="6763"/>
                  </a:moveTo>
                  <a:cubicBezTo>
                    <a:pt x="1939" y="4477"/>
                    <a:pt x="2225" y="2286"/>
                    <a:pt x="2701" y="0"/>
                  </a:cubicBezTo>
                  <a:cubicBezTo>
                    <a:pt x="2130" y="286"/>
                    <a:pt x="1558" y="476"/>
                    <a:pt x="1177" y="953"/>
                  </a:cubicBezTo>
                  <a:cubicBezTo>
                    <a:pt x="987" y="1143"/>
                    <a:pt x="796" y="1238"/>
                    <a:pt x="701" y="1619"/>
                  </a:cubicBezTo>
                  <a:cubicBezTo>
                    <a:pt x="701" y="1905"/>
                    <a:pt x="511" y="2191"/>
                    <a:pt x="415" y="2477"/>
                  </a:cubicBezTo>
                  <a:cubicBezTo>
                    <a:pt x="34" y="3715"/>
                    <a:pt x="-61" y="5048"/>
                    <a:pt x="34" y="6382"/>
                  </a:cubicBezTo>
                  <a:cubicBezTo>
                    <a:pt x="34" y="7620"/>
                    <a:pt x="415" y="8858"/>
                    <a:pt x="891" y="10001"/>
                  </a:cubicBezTo>
                  <a:cubicBezTo>
                    <a:pt x="1273" y="10954"/>
                    <a:pt x="1939" y="11906"/>
                    <a:pt x="2797" y="12478"/>
                  </a:cubicBezTo>
                  <a:cubicBezTo>
                    <a:pt x="2606" y="12383"/>
                    <a:pt x="1939" y="12002"/>
                    <a:pt x="2797" y="12478"/>
                  </a:cubicBezTo>
                  <a:cubicBezTo>
                    <a:pt x="2797" y="12478"/>
                    <a:pt x="2797" y="12478"/>
                    <a:pt x="2797" y="12478"/>
                  </a:cubicBezTo>
                  <a:cubicBezTo>
                    <a:pt x="2797" y="12478"/>
                    <a:pt x="2797" y="12478"/>
                    <a:pt x="2797" y="12478"/>
                  </a:cubicBezTo>
                  <a:cubicBezTo>
                    <a:pt x="2987" y="12478"/>
                    <a:pt x="3082" y="12668"/>
                    <a:pt x="3273" y="12668"/>
                  </a:cubicBezTo>
                  <a:cubicBezTo>
                    <a:pt x="2225" y="10858"/>
                    <a:pt x="1939" y="8763"/>
                    <a:pt x="1939" y="6668"/>
                  </a:cubicBezTo>
                  <a:close/>
                </a:path>
              </a:pathLst>
            </a:custGeom>
            <a:grpFill/>
            <a:ln w="9525" cap="flat">
              <a:noFill/>
              <a:prstDash val="solid"/>
              <a:miter/>
            </a:ln>
          </p:spPr>
          <p:txBody>
            <a:bodyPr rtlCol="0" anchor="ctr"/>
            <a:lstStyle/>
            <a:p>
              <a:endParaRPr lang="en-US" dirty="0"/>
            </a:p>
          </p:txBody>
        </p:sp>
        <p:sp>
          <p:nvSpPr>
            <p:cNvPr id="1639" name="Freeform: Shape 1638">
              <a:extLst>
                <a:ext uri="{FF2B5EF4-FFF2-40B4-BE49-F238E27FC236}">
                  <a16:creationId xmlns:a16="http://schemas.microsoft.com/office/drawing/2014/main" id="{E5C8547D-C835-84EE-E9FE-FF070A01FDDA}"/>
                </a:ext>
              </a:extLst>
            </p:cNvPr>
            <p:cNvSpPr/>
            <p:nvPr/>
          </p:nvSpPr>
          <p:spPr>
            <a:xfrm>
              <a:off x="5150507" y="403989"/>
              <a:ext cx="467" cy="743"/>
            </a:xfrm>
            <a:custGeom>
              <a:avLst/>
              <a:gdLst>
                <a:gd name="connsiteX0" fmla="*/ 175 w 210"/>
                <a:gd name="connsiteY0" fmla="*/ 283 h 334"/>
                <a:gd name="connsiteX1" fmla="*/ 175 w 210"/>
                <a:gd name="connsiteY1" fmla="*/ 283 h 334"/>
                <a:gd name="connsiteX2" fmla="*/ 175 w 210"/>
                <a:gd name="connsiteY2" fmla="*/ 283 h 334"/>
              </a:gdLst>
              <a:ahLst/>
              <a:cxnLst>
                <a:cxn ang="0">
                  <a:pos x="connsiteX0" y="connsiteY0"/>
                </a:cxn>
                <a:cxn ang="0">
                  <a:pos x="connsiteX1" y="connsiteY1"/>
                </a:cxn>
                <a:cxn ang="0">
                  <a:pos x="connsiteX2" y="connsiteY2"/>
                </a:cxn>
              </a:cxnLst>
              <a:rect l="l" t="t" r="r" b="b"/>
              <a:pathLst>
                <a:path w="210" h="334">
                  <a:moveTo>
                    <a:pt x="175" y="283"/>
                  </a:moveTo>
                  <a:cubicBezTo>
                    <a:pt x="-301" y="-479"/>
                    <a:pt x="366" y="569"/>
                    <a:pt x="175" y="283"/>
                  </a:cubicBezTo>
                  <a:lnTo>
                    <a:pt x="175" y="283"/>
                  </a:lnTo>
                  <a:close/>
                </a:path>
              </a:pathLst>
            </a:custGeom>
            <a:grpFill/>
            <a:ln w="9525" cap="flat">
              <a:noFill/>
              <a:prstDash val="solid"/>
              <a:miter/>
            </a:ln>
          </p:spPr>
          <p:txBody>
            <a:bodyPr rtlCol="0" anchor="ctr"/>
            <a:lstStyle/>
            <a:p>
              <a:endParaRPr lang="en-US" dirty="0"/>
            </a:p>
          </p:txBody>
        </p:sp>
        <p:sp>
          <p:nvSpPr>
            <p:cNvPr id="1640" name="Freeform: Shape 1639">
              <a:extLst>
                <a:ext uri="{FF2B5EF4-FFF2-40B4-BE49-F238E27FC236}">
                  <a16:creationId xmlns:a16="http://schemas.microsoft.com/office/drawing/2014/main" id="{F693C3A7-3E17-2EF7-F3D1-EE46320F532E}"/>
                </a:ext>
              </a:extLst>
            </p:cNvPr>
            <p:cNvSpPr/>
            <p:nvPr/>
          </p:nvSpPr>
          <p:spPr>
            <a:xfrm>
              <a:off x="5000288" y="278159"/>
              <a:ext cx="5929" cy="8896"/>
            </a:xfrm>
            <a:custGeom>
              <a:avLst/>
              <a:gdLst>
                <a:gd name="connsiteX0" fmla="*/ 2667 w 2666"/>
                <a:gd name="connsiteY0" fmla="*/ 2762 h 4000"/>
                <a:gd name="connsiteX1" fmla="*/ 2191 w 2666"/>
                <a:gd name="connsiteY1" fmla="*/ 2000 h 4000"/>
                <a:gd name="connsiteX2" fmla="*/ 1238 w 2666"/>
                <a:gd name="connsiteY2" fmla="*/ 0 h 4000"/>
                <a:gd name="connsiteX3" fmla="*/ 0 w 2666"/>
                <a:gd name="connsiteY3" fmla="*/ 2667 h 4000"/>
                <a:gd name="connsiteX4" fmla="*/ 2667 w 2666"/>
                <a:gd name="connsiteY4" fmla="*/ 4001 h 4000"/>
                <a:gd name="connsiteX5" fmla="*/ 2667 w 2666"/>
                <a:gd name="connsiteY5" fmla="*/ 2762 h 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6" h="4000">
                  <a:moveTo>
                    <a:pt x="2667" y="2762"/>
                  </a:moveTo>
                  <a:cubicBezTo>
                    <a:pt x="2667" y="2762"/>
                    <a:pt x="2381" y="2191"/>
                    <a:pt x="2191" y="2000"/>
                  </a:cubicBezTo>
                  <a:cubicBezTo>
                    <a:pt x="1809" y="1333"/>
                    <a:pt x="1429" y="667"/>
                    <a:pt x="1238" y="0"/>
                  </a:cubicBezTo>
                  <a:cubicBezTo>
                    <a:pt x="952" y="952"/>
                    <a:pt x="476" y="1810"/>
                    <a:pt x="0" y="2667"/>
                  </a:cubicBezTo>
                  <a:cubicBezTo>
                    <a:pt x="952" y="3048"/>
                    <a:pt x="1809" y="3524"/>
                    <a:pt x="2667" y="4001"/>
                  </a:cubicBezTo>
                  <a:cubicBezTo>
                    <a:pt x="2667" y="3620"/>
                    <a:pt x="2667" y="3143"/>
                    <a:pt x="2667" y="2762"/>
                  </a:cubicBezTo>
                  <a:close/>
                </a:path>
              </a:pathLst>
            </a:custGeom>
            <a:grpFill/>
            <a:ln w="9525" cap="flat">
              <a:noFill/>
              <a:prstDash val="solid"/>
              <a:miter/>
            </a:ln>
          </p:spPr>
          <p:txBody>
            <a:bodyPr rtlCol="0" anchor="ctr"/>
            <a:lstStyle/>
            <a:p>
              <a:endParaRPr lang="en-US" dirty="0"/>
            </a:p>
          </p:txBody>
        </p:sp>
        <p:sp>
          <p:nvSpPr>
            <p:cNvPr id="1641" name="Freeform: Shape 1640">
              <a:extLst>
                <a:ext uri="{FF2B5EF4-FFF2-40B4-BE49-F238E27FC236}">
                  <a16:creationId xmlns:a16="http://schemas.microsoft.com/office/drawing/2014/main" id="{F51B78D2-3DEB-6309-1515-DED38DC8F669}"/>
                </a:ext>
              </a:extLst>
            </p:cNvPr>
            <p:cNvSpPr/>
            <p:nvPr/>
          </p:nvSpPr>
          <p:spPr>
            <a:xfrm>
              <a:off x="4968938" y="557558"/>
              <a:ext cx="2753" cy="10590"/>
            </a:xfrm>
            <a:custGeom>
              <a:avLst/>
              <a:gdLst>
                <a:gd name="connsiteX0" fmla="*/ 286 w 1238"/>
                <a:gd name="connsiteY0" fmla="*/ 1619 h 4762"/>
                <a:gd name="connsiteX1" fmla="*/ 0 w 1238"/>
                <a:gd name="connsiteY1" fmla="*/ 4572 h 4762"/>
                <a:gd name="connsiteX2" fmla="*/ 0 w 1238"/>
                <a:gd name="connsiteY2" fmla="*/ 4763 h 4762"/>
                <a:gd name="connsiteX3" fmla="*/ 190 w 1238"/>
                <a:gd name="connsiteY3" fmla="*/ 4096 h 4762"/>
                <a:gd name="connsiteX4" fmla="*/ 1238 w 1238"/>
                <a:gd name="connsiteY4" fmla="*/ 0 h 4762"/>
                <a:gd name="connsiteX5" fmla="*/ 571 w 1238"/>
                <a:gd name="connsiteY5" fmla="*/ 381 h 4762"/>
                <a:gd name="connsiteX6" fmla="*/ 286 w 1238"/>
                <a:gd name="connsiteY6" fmla="*/ 1619 h 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 h="4762">
                  <a:moveTo>
                    <a:pt x="286" y="1619"/>
                  </a:moveTo>
                  <a:cubicBezTo>
                    <a:pt x="95" y="2572"/>
                    <a:pt x="0" y="3524"/>
                    <a:pt x="0" y="4572"/>
                  </a:cubicBezTo>
                  <a:cubicBezTo>
                    <a:pt x="0" y="4572"/>
                    <a:pt x="0" y="4667"/>
                    <a:pt x="0" y="4763"/>
                  </a:cubicBezTo>
                  <a:cubicBezTo>
                    <a:pt x="0" y="4763"/>
                    <a:pt x="190" y="4286"/>
                    <a:pt x="190" y="4096"/>
                  </a:cubicBezTo>
                  <a:cubicBezTo>
                    <a:pt x="476" y="2762"/>
                    <a:pt x="857" y="1333"/>
                    <a:pt x="1238" y="0"/>
                  </a:cubicBezTo>
                  <a:cubicBezTo>
                    <a:pt x="1048" y="0"/>
                    <a:pt x="667" y="95"/>
                    <a:pt x="571" y="381"/>
                  </a:cubicBezTo>
                  <a:cubicBezTo>
                    <a:pt x="381" y="762"/>
                    <a:pt x="381" y="1238"/>
                    <a:pt x="286" y="1619"/>
                  </a:cubicBezTo>
                  <a:close/>
                </a:path>
              </a:pathLst>
            </a:custGeom>
            <a:grpFill/>
            <a:ln w="9525" cap="flat">
              <a:noFill/>
              <a:prstDash val="solid"/>
              <a:miter/>
            </a:ln>
          </p:spPr>
          <p:txBody>
            <a:bodyPr rtlCol="0" anchor="ctr"/>
            <a:lstStyle/>
            <a:p>
              <a:endParaRPr lang="en-US" dirty="0"/>
            </a:p>
          </p:txBody>
        </p:sp>
        <p:sp>
          <p:nvSpPr>
            <p:cNvPr id="1642" name="Freeform: Shape 1641">
              <a:extLst>
                <a:ext uri="{FF2B5EF4-FFF2-40B4-BE49-F238E27FC236}">
                  <a16:creationId xmlns:a16="http://schemas.microsoft.com/office/drawing/2014/main" id="{FBB4CA5D-2D89-0835-FECB-8D3F6D7981C7}"/>
                </a:ext>
              </a:extLst>
            </p:cNvPr>
            <p:cNvSpPr/>
            <p:nvPr/>
          </p:nvSpPr>
          <p:spPr>
            <a:xfrm>
              <a:off x="5117640" y="382589"/>
              <a:ext cx="11226" cy="13343"/>
            </a:xfrm>
            <a:custGeom>
              <a:avLst/>
              <a:gdLst>
                <a:gd name="connsiteX0" fmla="*/ 95 w 5048"/>
                <a:gd name="connsiteY0" fmla="*/ 0 h 6000"/>
                <a:gd name="connsiteX1" fmla="*/ 95 w 5048"/>
                <a:gd name="connsiteY1" fmla="*/ 667 h 6000"/>
                <a:gd name="connsiteX2" fmla="*/ 286 w 5048"/>
                <a:gd name="connsiteY2" fmla="*/ 1048 h 6000"/>
                <a:gd name="connsiteX3" fmla="*/ 667 w 5048"/>
                <a:gd name="connsiteY3" fmla="*/ 1810 h 6000"/>
                <a:gd name="connsiteX4" fmla="*/ 1238 w 5048"/>
                <a:gd name="connsiteY4" fmla="*/ 3620 h 6000"/>
                <a:gd name="connsiteX5" fmla="*/ 1524 w 5048"/>
                <a:gd name="connsiteY5" fmla="*/ 6001 h 6000"/>
                <a:gd name="connsiteX6" fmla="*/ 5048 w 5048"/>
                <a:gd name="connsiteY6" fmla="*/ 4953 h 6000"/>
                <a:gd name="connsiteX7" fmla="*/ 3715 w 5048"/>
                <a:gd name="connsiteY7" fmla="*/ 4096 h 6000"/>
                <a:gd name="connsiteX8" fmla="*/ 0 w 5048"/>
                <a:gd name="connsiteY8" fmla="*/ 0 h 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8" h="6000">
                  <a:moveTo>
                    <a:pt x="95" y="0"/>
                  </a:moveTo>
                  <a:cubicBezTo>
                    <a:pt x="95" y="0"/>
                    <a:pt x="95" y="476"/>
                    <a:pt x="95" y="667"/>
                  </a:cubicBezTo>
                  <a:cubicBezTo>
                    <a:pt x="95" y="762"/>
                    <a:pt x="191" y="953"/>
                    <a:pt x="286" y="1048"/>
                  </a:cubicBezTo>
                  <a:cubicBezTo>
                    <a:pt x="381" y="1334"/>
                    <a:pt x="571" y="1619"/>
                    <a:pt x="667" y="1810"/>
                  </a:cubicBezTo>
                  <a:cubicBezTo>
                    <a:pt x="953" y="2381"/>
                    <a:pt x="1143" y="3048"/>
                    <a:pt x="1238" y="3620"/>
                  </a:cubicBezTo>
                  <a:cubicBezTo>
                    <a:pt x="1429" y="4382"/>
                    <a:pt x="1524" y="5239"/>
                    <a:pt x="1524" y="6001"/>
                  </a:cubicBezTo>
                  <a:cubicBezTo>
                    <a:pt x="2667" y="5620"/>
                    <a:pt x="3905" y="5239"/>
                    <a:pt x="5048" y="4953"/>
                  </a:cubicBezTo>
                  <a:cubicBezTo>
                    <a:pt x="4572" y="4667"/>
                    <a:pt x="4096" y="4382"/>
                    <a:pt x="3715" y="4096"/>
                  </a:cubicBezTo>
                  <a:cubicBezTo>
                    <a:pt x="2286" y="2953"/>
                    <a:pt x="1048" y="1524"/>
                    <a:pt x="0" y="0"/>
                  </a:cubicBezTo>
                  <a:close/>
                </a:path>
              </a:pathLst>
            </a:custGeom>
            <a:grpFill/>
            <a:ln w="9525" cap="flat">
              <a:noFill/>
              <a:prstDash val="solid"/>
              <a:miter/>
            </a:ln>
          </p:spPr>
          <p:txBody>
            <a:bodyPr rtlCol="0" anchor="ctr"/>
            <a:lstStyle/>
            <a:p>
              <a:endParaRPr lang="en-US" dirty="0"/>
            </a:p>
          </p:txBody>
        </p:sp>
        <p:sp>
          <p:nvSpPr>
            <p:cNvPr id="1643" name="Freeform: Shape 1642">
              <a:extLst>
                <a:ext uri="{FF2B5EF4-FFF2-40B4-BE49-F238E27FC236}">
                  <a16:creationId xmlns:a16="http://schemas.microsoft.com/office/drawing/2014/main" id="{A3AB41A3-72A8-FF3D-711C-C6A05438DFC6}"/>
                </a:ext>
              </a:extLst>
            </p:cNvPr>
            <p:cNvSpPr/>
            <p:nvPr/>
          </p:nvSpPr>
          <p:spPr>
            <a:xfrm>
              <a:off x="5062141" y="449526"/>
              <a:ext cx="3176" cy="4023"/>
            </a:xfrm>
            <a:custGeom>
              <a:avLst/>
              <a:gdLst>
                <a:gd name="connsiteX0" fmla="*/ 1048 w 1428"/>
                <a:gd name="connsiteY0" fmla="*/ 1715 h 1809"/>
                <a:gd name="connsiteX1" fmla="*/ 1429 w 1428"/>
                <a:gd name="connsiteY1" fmla="*/ 0 h 1809"/>
                <a:gd name="connsiteX2" fmla="*/ 0 w 1428"/>
                <a:gd name="connsiteY2" fmla="*/ 381 h 1809"/>
                <a:gd name="connsiteX3" fmla="*/ 1048 w 1428"/>
                <a:gd name="connsiteY3" fmla="*/ 1810 h 1809"/>
              </a:gdLst>
              <a:ahLst/>
              <a:cxnLst>
                <a:cxn ang="0">
                  <a:pos x="connsiteX0" y="connsiteY0"/>
                </a:cxn>
                <a:cxn ang="0">
                  <a:pos x="connsiteX1" y="connsiteY1"/>
                </a:cxn>
                <a:cxn ang="0">
                  <a:pos x="connsiteX2" y="connsiteY2"/>
                </a:cxn>
                <a:cxn ang="0">
                  <a:pos x="connsiteX3" y="connsiteY3"/>
                </a:cxn>
              </a:cxnLst>
              <a:rect l="l" t="t" r="r" b="b"/>
              <a:pathLst>
                <a:path w="1428" h="1809">
                  <a:moveTo>
                    <a:pt x="1048" y="1715"/>
                  </a:moveTo>
                  <a:cubicBezTo>
                    <a:pt x="1048" y="1143"/>
                    <a:pt x="1238" y="572"/>
                    <a:pt x="1429" y="0"/>
                  </a:cubicBezTo>
                  <a:cubicBezTo>
                    <a:pt x="953" y="95"/>
                    <a:pt x="476" y="286"/>
                    <a:pt x="0" y="381"/>
                  </a:cubicBezTo>
                  <a:cubicBezTo>
                    <a:pt x="381" y="857"/>
                    <a:pt x="762" y="1334"/>
                    <a:pt x="1048" y="1810"/>
                  </a:cubicBezTo>
                  <a:close/>
                </a:path>
              </a:pathLst>
            </a:custGeom>
            <a:grpFill/>
            <a:ln w="9525" cap="flat">
              <a:noFill/>
              <a:prstDash val="solid"/>
              <a:miter/>
            </a:ln>
          </p:spPr>
          <p:txBody>
            <a:bodyPr rtlCol="0" anchor="ctr"/>
            <a:lstStyle/>
            <a:p>
              <a:endParaRPr lang="en-US" dirty="0"/>
            </a:p>
          </p:txBody>
        </p:sp>
        <p:sp>
          <p:nvSpPr>
            <p:cNvPr id="1644" name="Freeform: Shape 1643">
              <a:extLst>
                <a:ext uri="{FF2B5EF4-FFF2-40B4-BE49-F238E27FC236}">
                  <a16:creationId xmlns:a16="http://schemas.microsoft.com/office/drawing/2014/main" id="{DFF57793-63BC-4FD9-611E-15D76AF9B9CE}"/>
                </a:ext>
              </a:extLst>
            </p:cNvPr>
            <p:cNvSpPr/>
            <p:nvPr/>
          </p:nvSpPr>
          <p:spPr>
            <a:xfrm>
              <a:off x="5142423" y="371149"/>
              <a:ext cx="7623" cy="19488"/>
            </a:xfrm>
            <a:custGeom>
              <a:avLst/>
              <a:gdLst>
                <a:gd name="connsiteX0" fmla="*/ 3429 w 3428"/>
                <a:gd name="connsiteY0" fmla="*/ 0 h 8763"/>
                <a:gd name="connsiteX1" fmla="*/ 1810 w 3428"/>
                <a:gd name="connsiteY1" fmla="*/ 5620 h 8763"/>
                <a:gd name="connsiteX2" fmla="*/ 0 w 3428"/>
                <a:gd name="connsiteY2" fmla="*/ 8763 h 8763"/>
                <a:gd name="connsiteX3" fmla="*/ 1333 w 3428"/>
                <a:gd name="connsiteY3" fmla="*/ 8572 h 8763"/>
                <a:gd name="connsiteX4" fmla="*/ 2096 w 3428"/>
                <a:gd name="connsiteY4" fmla="*/ 6763 h 8763"/>
                <a:gd name="connsiteX5" fmla="*/ 3143 w 3428"/>
                <a:gd name="connsiteY5" fmla="*/ 2381 h 8763"/>
                <a:gd name="connsiteX6" fmla="*/ 3429 w 3428"/>
                <a:gd name="connsiteY6" fmla="*/ 0 h 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8" h="8763">
                  <a:moveTo>
                    <a:pt x="3429" y="0"/>
                  </a:moveTo>
                  <a:cubicBezTo>
                    <a:pt x="3048" y="1905"/>
                    <a:pt x="2477" y="3810"/>
                    <a:pt x="1810" y="5620"/>
                  </a:cubicBezTo>
                  <a:cubicBezTo>
                    <a:pt x="1333" y="6763"/>
                    <a:pt x="762" y="7810"/>
                    <a:pt x="0" y="8763"/>
                  </a:cubicBezTo>
                  <a:cubicBezTo>
                    <a:pt x="476" y="8763"/>
                    <a:pt x="857" y="8668"/>
                    <a:pt x="1333" y="8572"/>
                  </a:cubicBezTo>
                  <a:cubicBezTo>
                    <a:pt x="1619" y="8001"/>
                    <a:pt x="1905" y="7429"/>
                    <a:pt x="2096" y="6763"/>
                  </a:cubicBezTo>
                  <a:cubicBezTo>
                    <a:pt x="2667" y="5334"/>
                    <a:pt x="3048" y="3905"/>
                    <a:pt x="3143" y="2381"/>
                  </a:cubicBezTo>
                  <a:cubicBezTo>
                    <a:pt x="3143" y="1619"/>
                    <a:pt x="3334" y="762"/>
                    <a:pt x="3429" y="0"/>
                  </a:cubicBezTo>
                  <a:close/>
                </a:path>
              </a:pathLst>
            </a:custGeom>
            <a:grpFill/>
            <a:ln w="9525" cap="flat">
              <a:noFill/>
              <a:prstDash val="solid"/>
              <a:miter/>
            </a:ln>
          </p:spPr>
          <p:txBody>
            <a:bodyPr rtlCol="0" anchor="ctr"/>
            <a:lstStyle/>
            <a:p>
              <a:endParaRPr lang="en-US" dirty="0"/>
            </a:p>
          </p:txBody>
        </p:sp>
        <p:sp>
          <p:nvSpPr>
            <p:cNvPr id="1645" name="Freeform: Shape 1644">
              <a:extLst>
                <a:ext uri="{FF2B5EF4-FFF2-40B4-BE49-F238E27FC236}">
                  <a16:creationId xmlns:a16="http://schemas.microsoft.com/office/drawing/2014/main" id="{0C4B92C2-A43C-D432-008F-817A8A724AAC}"/>
                </a:ext>
              </a:extLst>
            </p:cNvPr>
            <p:cNvSpPr/>
            <p:nvPr/>
          </p:nvSpPr>
          <p:spPr>
            <a:xfrm>
              <a:off x="4892767" y="200390"/>
              <a:ext cx="538719" cy="444938"/>
            </a:xfrm>
            <a:custGeom>
              <a:avLst/>
              <a:gdLst>
                <a:gd name="connsiteX0" fmla="*/ 227132 w 242242"/>
                <a:gd name="connsiteY0" fmla="*/ 123171 h 200072"/>
                <a:gd name="connsiteX1" fmla="*/ 227799 w 242242"/>
                <a:gd name="connsiteY1" fmla="*/ 123076 h 200072"/>
                <a:gd name="connsiteX2" fmla="*/ 228657 w 242242"/>
                <a:gd name="connsiteY2" fmla="*/ 122980 h 200072"/>
                <a:gd name="connsiteX3" fmla="*/ 230466 w 242242"/>
                <a:gd name="connsiteY3" fmla="*/ 122504 h 200072"/>
                <a:gd name="connsiteX4" fmla="*/ 233609 w 242242"/>
                <a:gd name="connsiteY4" fmla="*/ 120504 h 200072"/>
                <a:gd name="connsiteX5" fmla="*/ 234752 w 242242"/>
                <a:gd name="connsiteY5" fmla="*/ 118789 h 200072"/>
                <a:gd name="connsiteX6" fmla="*/ 240372 w 242242"/>
                <a:gd name="connsiteY6" fmla="*/ 116980 h 200072"/>
                <a:gd name="connsiteX7" fmla="*/ 242182 w 242242"/>
                <a:gd name="connsiteY7" fmla="*/ 112789 h 200072"/>
                <a:gd name="connsiteX8" fmla="*/ 238658 w 242242"/>
                <a:gd name="connsiteY8" fmla="*/ 110884 h 200072"/>
                <a:gd name="connsiteX9" fmla="*/ 237134 w 242242"/>
                <a:gd name="connsiteY9" fmla="*/ 114408 h 200072"/>
                <a:gd name="connsiteX10" fmla="*/ 238753 w 242242"/>
                <a:gd name="connsiteY10" fmla="*/ 112408 h 200072"/>
                <a:gd name="connsiteX11" fmla="*/ 237896 w 242242"/>
                <a:gd name="connsiteY11" fmla="*/ 114884 h 200072"/>
                <a:gd name="connsiteX12" fmla="*/ 234943 w 242242"/>
                <a:gd name="connsiteY12" fmla="*/ 115456 h 200072"/>
                <a:gd name="connsiteX13" fmla="*/ 232276 w 242242"/>
                <a:gd name="connsiteY13" fmla="*/ 111836 h 200072"/>
                <a:gd name="connsiteX14" fmla="*/ 232276 w 242242"/>
                <a:gd name="connsiteY14" fmla="*/ 109550 h 200072"/>
                <a:gd name="connsiteX15" fmla="*/ 233609 w 242242"/>
                <a:gd name="connsiteY15" fmla="*/ 110503 h 200072"/>
                <a:gd name="connsiteX16" fmla="*/ 232752 w 242242"/>
                <a:gd name="connsiteY16" fmla="*/ 108788 h 200072"/>
                <a:gd name="connsiteX17" fmla="*/ 233038 w 242242"/>
                <a:gd name="connsiteY17" fmla="*/ 106788 h 200072"/>
                <a:gd name="connsiteX18" fmla="*/ 231895 w 242242"/>
                <a:gd name="connsiteY18" fmla="*/ 107550 h 200072"/>
                <a:gd name="connsiteX19" fmla="*/ 229514 w 242242"/>
                <a:gd name="connsiteY19" fmla="*/ 102883 h 200072"/>
                <a:gd name="connsiteX20" fmla="*/ 228752 w 242242"/>
                <a:gd name="connsiteY20" fmla="*/ 101359 h 200072"/>
                <a:gd name="connsiteX21" fmla="*/ 228466 w 242242"/>
                <a:gd name="connsiteY21" fmla="*/ 100692 h 200072"/>
                <a:gd name="connsiteX22" fmla="*/ 229323 w 242242"/>
                <a:gd name="connsiteY22" fmla="*/ 100216 h 200072"/>
                <a:gd name="connsiteX23" fmla="*/ 230371 w 242242"/>
                <a:gd name="connsiteY23" fmla="*/ 99358 h 200072"/>
                <a:gd name="connsiteX24" fmla="*/ 231609 w 242242"/>
                <a:gd name="connsiteY24" fmla="*/ 96977 h 200072"/>
                <a:gd name="connsiteX25" fmla="*/ 231609 w 242242"/>
                <a:gd name="connsiteY25" fmla="*/ 95358 h 200072"/>
                <a:gd name="connsiteX26" fmla="*/ 231419 w 242242"/>
                <a:gd name="connsiteY26" fmla="*/ 94501 h 200072"/>
                <a:gd name="connsiteX27" fmla="*/ 231514 w 242242"/>
                <a:gd name="connsiteY27" fmla="*/ 94120 h 200072"/>
                <a:gd name="connsiteX28" fmla="*/ 234657 w 242242"/>
                <a:gd name="connsiteY28" fmla="*/ 96120 h 200072"/>
                <a:gd name="connsiteX29" fmla="*/ 235800 w 242242"/>
                <a:gd name="connsiteY29" fmla="*/ 100311 h 200072"/>
                <a:gd name="connsiteX30" fmla="*/ 231514 w 242242"/>
                <a:gd name="connsiteY30" fmla="*/ 101073 h 200072"/>
                <a:gd name="connsiteX31" fmla="*/ 234276 w 242242"/>
                <a:gd name="connsiteY31" fmla="*/ 102692 h 200072"/>
                <a:gd name="connsiteX32" fmla="*/ 238182 w 242242"/>
                <a:gd name="connsiteY32" fmla="*/ 99930 h 200072"/>
                <a:gd name="connsiteX33" fmla="*/ 236943 w 242242"/>
                <a:gd name="connsiteY33" fmla="*/ 93167 h 200072"/>
                <a:gd name="connsiteX34" fmla="*/ 233133 w 242242"/>
                <a:gd name="connsiteY34" fmla="*/ 90881 h 200072"/>
                <a:gd name="connsiteX35" fmla="*/ 230181 w 242242"/>
                <a:gd name="connsiteY35" fmla="*/ 91167 h 200072"/>
                <a:gd name="connsiteX36" fmla="*/ 229514 w 242242"/>
                <a:gd name="connsiteY36" fmla="*/ 90595 h 200072"/>
                <a:gd name="connsiteX37" fmla="*/ 228561 w 242242"/>
                <a:gd name="connsiteY37" fmla="*/ 89262 h 200072"/>
                <a:gd name="connsiteX38" fmla="*/ 233514 w 242242"/>
                <a:gd name="connsiteY38" fmla="*/ 88119 h 200072"/>
                <a:gd name="connsiteX39" fmla="*/ 231990 w 242242"/>
                <a:gd name="connsiteY39" fmla="*/ 83071 h 200072"/>
                <a:gd name="connsiteX40" fmla="*/ 228942 w 242242"/>
                <a:gd name="connsiteY40" fmla="*/ 83642 h 200072"/>
                <a:gd name="connsiteX41" fmla="*/ 230847 w 242242"/>
                <a:gd name="connsiteY41" fmla="*/ 84690 h 200072"/>
                <a:gd name="connsiteX42" fmla="*/ 229228 w 242242"/>
                <a:gd name="connsiteY42" fmla="*/ 86976 h 200072"/>
                <a:gd name="connsiteX43" fmla="*/ 226370 w 242242"/>
                <a:gd name="connsiteY43" fmla="*/ 85547 h 200072"/>
                <a:gd name="connsiteX44" fmla="*/ 225513 w 242242"/>
                <a:gd name="connsiteY44" fmla="*/ 83737 h 200072"/>
                <a:gd name="connsiteX45" fmla="*/ 224751 w 242242"/>
                <a:gd name="connsiteY45" fmla="*/ 81642 h 200072"/>
                <a:gd name="connsiteX46" fmla="*/ 222656 w 242242"/>
                <a:gd name="connsiteY46" fmla="*/ 80785 h 200072"/>
                <a:gd name="connsiteX47" fmla="*/ 226942 w 242242"/>
                <a:gd name="connsiteY47" fmla="*/ 79356 h 200072"/>
                <a:gd name="connsiteX48" fmla="*/ 228371 w 242242"/>
                <a:gd name="connsiteY48" fmla="*/ 78594 h 200072"/>
                <a:gd name="connsiteX49" fmla="*/ 231800 w 242242"/>
                <a:gd name="connsiteY49" fmla="*/ 73069 h 200072"/>
                <a:gd name="connsiteX50" fmla="*/ 230276 w 242242"/>
                <a:gd name="connsiteY50" fmla="*/ 67735 h 200072"/>
                <a:gd name="connsiteX51" fmla="*/ 225132 w 242242"/>
                <a:gd name="connsiteY51" fmla="*/ 67926 h 200072"/>
                <a:gd name="connsiteX52" fmla="*/ 223989 w 242242"/>
                <a:gd name="connsiteY52" fmla="*/ 71355 h 200072"/>
                <a:gd name="connsiteX53" fmla="*/ 226561 w 242242"/>
                <a:gd name="connsiteY53" fmla="*/ 74117 h 200072"/>
                <a:gd name="connsiteX54" fmla="*/ 225894 w 242242"/>
                <a:gd name="connsiteY54" fmla="*/ 70498 h 200072"/>
                <a:gd name="connsiteX55" fmla="*/ 227704 w 242242"/>
                <a:gd name="connsiteY55" fmla="*/ 69831 h 200072"/>
                <a:gd name="connsiteX56" fmla="*/ 228847 w 242242"/>
                <a:gd name="connsiteY56" fmla="*/ 71164 h 200072"/>
                <a:gd name="connsiteX57" fmla="*/ 227418 w 242242"/>
                <a:gd name="connsiteY57" fmla="*/ 75641 h 200072"/>
                <a:gd name="connsiteX58" fmla="*/ 224370 w 242242"/>
                <a:gd name="connsiteY58" fmla="*/ 78022 h 200072"/>
                <a:gd name="connsiteX59" fmla="*/ 221798 w 242242"/>
                <a:gd name="connsiteY59" fmla="*/ 79642 h 200072"/>
                <a:gd name="connsiteX60" fmla="*/ 223418 w 242242"/>
                <a:gd name="connsiteY60" fmla="*/ 72593 h 200072"/>
                <a:gd name="connsiteX61" fmla="*/ 220370 w 242242"/>
                <a:gd name="connsiteY61" fmla="*/ 69926 h 200072"/>
                <a:gd name="connsiteX62" fmla="*/ 215988 w 242242"/>
                <a:gd name="connsiteY62" fmla="*/ 68402 h 200072"/>
                <a:gd name="connsiteX63" fmla="*/ 210464 w 242242"/>
                <a:gd name="connsiteY63" fmla="*/ 67354 h 200072"/>
                <a:gd name="connsiteX64" fmla="*/ 213035 w 242242"/>
                <a:gd name="connsiteY64" fmla="*/ 63449 h 200072"/>
                <a:gd name="connsiteX65" fmla="*/ 219417 w 242242"/>
                <a:gd name="connsiteY65" fmla="*/ 68021 h 200072"/>
                <a:gd name="connsiteX66" fmla="*/ 226656 w 242242"/>
                <a:gd name="connsiteY66" fmla="*/ 63640 h 200072"/>
                <a:gd name="connsiteX67" fmla="*/ 223418 w 242242"/>
                <a:gd name="connsiteY67" fmla="*/ 59544 h 200072"/>
                <a:gd name="connsiteX68" fmla="*/ 224847 w 242242"/>
                <a:gd name="connsiteY68" fmla="*/ 61544 h 200072"/>
                <a:gd name="connsiteX69" fmla="*/ 223703 w 242242"/>
                <a:gd name="connsiteY69" fmla="*/ 64687 h 200072"/>
                <a:gd name="connsiteX70" fmla="*/ 218560 w 242242"/>
                <a:gd name="connsiteY70" fmla="*/ 65545 h 200072"/>
                <a:gd name="connsiteX71" fmla="*/ 216179 w 242242"/>
                <a:gd name="connsiteY71" fmla="*/ 62973 h 200072"/>
                <a:gd name="connsiteX72" fmla="*/ 218560 w 242242"/>
                <a:gd name="connsiteY72" fmla="*/ 62020 h 200072"/>
                <a:gd name="connsiteX73" fmla="*/ 220084 w 242242"/>
                <a:gd name="connsiteY73" fmla="*/ 58210 h 200072"/>
                <a:gd name="connsiteX74" fmla="*/ 218655 w 242242"/>
                <a:gd name="connsiteY74" fmla="*/ 55067 h 200072"/>
                <a:gd name="connsiteX75" fmla="*/ 214845 w 242242"/>
                <a:gd name="connsiteY75" fmla="*/ 53924 h 200072"/>
                <a:gd name="connsiteX76" fmla="*/ 213798 w 242242"/>
                <a:gd name="connsiteY76" fmla="*/ 54210 h 200072"/>
                <a:gd name="connsiteX77" fmla="*/ 213131 w 242242"/>
                <a:gd name="connsiteY77" fmla="*/ 54210 h 200072"/>
                <a:gd name="connsiteX78" fmla="*/ 211607 w 242242"/>
                <a:gd name="connsiteY78" fmla="*/ 53638 h 200072"/>
                <a:gd name="connsiteX79" fmla="*/ 213416 w 242242"/>
                <a:gd name="connsiteY79" fmla="*/ 53162 h 200072"/>
                <a:gd name="connsiteX80" fmla="*/ 205320 w 242242"/>
                <a:gd name="connsiteY80" fmla="*/ 50114 h 200072"/>
                <a:gd name="connsiteX81" fmla="*/ 202463 w 242242"/>
                <a:gd name="connsiteY81" fmla="*/ 47923 h 200072"/>
                <a:gd name="connsiteX82" fmla="*/ 201224 w 242242"/>
                <a:gd name="connsiteY82" fmla="*/ 44399 h 200072"/>
                <a:gd name="connsiteX83" fmla="*/ 201224 w 242242"/>
                <a:gd name="connsiteY83" fmla="*/ 42494 h 200072"/>
                <a:gd name="connsiteX84" fmla="*/ 202367 w 242242"/>
                <a:gd name="connsiteY84" fmla="*/ 41351 h 200072"/>
                <a:gd name="connsiteX85" fmla="*/ 205892 w 242242"/>
                <a:gd name="connsiteY85" fmla="*/ 39827 h 200072"/>
                <a:gd name="connsiteX86" fmla="*/ 208368 w 242242"/>
                <a:gd name="connsiteY86" fmla="*/ 41732 h 200072"/>
                <a:gd name="connsiteX87" fmla="*/ 210178 w 242242"/>
                <a:gd name="connsiteY87" fmla="*/ 45352 h 200072"/>
                <a:gd name="connsiteX88" fmla="*/ 208178 w 242242"/>
                <a:gd name="connsiteY88" fmla="*/ 47733 h 200072"/>
                <a:gd name="connsiteX89" fmla="*/ 203987 w 242242"/>
                <a:gd name="connsiteY89" fmla="*/ 48590 h 200072"/>
                <a:gd name="connsiteX90" fmla="*/ 209225 w 242242"/>
                <a:gd name="connsiteY90" fmla="*/ 48495 h 200072"/>
                <a:gd name="connsiteX91" fmla="*/ 212655 w 242242"/>
                <a:gd name="connsiteY91" fmla="*/ 44399 h 200072"/>
                <a:gd name="connsiteX92" fmla="*/ 210845 w 242242"/>
                <a:gd name="connsiteY92" fmla="*/ 38875 h 200072"/>
                <a:gd name="connsiteX93" fmla="*/ 206273 w 242242"/>
                <a:gd name="connsiteY93" fmla="*/ 36874 h 200072"/>
                <a:gd name="connsiteX94" fmla="*/ 200463 w 242242"/>
                <a:gd name="connsiteY94" fmla="*/ 38779 h 200072"/>
                <a:gd name="connsiteX95" fmla="*/ 196748 w 242242"/>
                <a:gd name="connsiteY95" fmla="*/ 34874 h 200072"/>
                <a:gd name="connsiteX96" fmla="*/ 201415 w 242242"/>
                <a:gd name="connsiteY96" fmla="*/ 33064 h 200072"/>
                <a:gd name="connsiteX97" fmla="*/ 202463 w 242242"/>
                <a:gd name="connsiteY97" fmla="*/ 29445 h 200072"/>
                <a:gd name="connsiteX98" fmla="*/ 198272 w 242242"/>
                <a:gd name="connsiteY98" fmla="*/ 26397 h 200072"/>
                <a:gd name="connsiteX99" fmla="*/ 195605 w 242242"/>
                <a:gd name="connsiteY99" fmla="*/ 26397 h 200072"/>
                <a:gd name="connsiteX100" fmla="*/ 193795 w 242242"/>
                <a:gd name="connsiteY100" fmla="*/ 28302 h 200072"/>
                <a:gd name="connsiteX101" fmla="*/ 194652 w 242242"/>
                <a:gd name="connsiteY101" fmla="*/ 30016 h 200072"/>
                <a:gd name="connsiteX102" fmla="*/ 196557 w 242242"/>
                <a:gd name="connsiteY102" fmla="*/ 27349 h 200072"/>
                <a:gd name="connsiteX103" fmla="*/ 199319 w 242242"/>
                <a:gd name="connsiteY103" fmla="*/ 29826 h 200072"/>
                <a:gd name="connsiteX104" fmla="*/ 197033 w 242242"/>
                <a:gd name="connsiteY104" fmla="*/ 31540 h 200072"/>
                <a:gd name="connsiteX105" fmla="*/ 191699 w 242242"/>
                <a:gd name="connsiteY105" fmla="*/ 31255 h 200072"/>
                <a:gd name="connsiteX106" fmla="*/ 185508 w 242242"/>
                <a:gd name="connsiteY106" fmla="*/ 31540 h 200072"/>
                <a:gd name="connsiteX107" fmla="*/ 185318 w 242242"/>
                <a:gd name="connsiteY107" fmla="*/ 26587 h 200072"/>
                <a:gd name="connsiteX108" fmla="*/ 185603 w 242242"/>
                <a:gd name="connsiteY108" fmla="*/ 22682 h 200072"/>
                <a:gd name="connsiteX109" fmla="*/ 186842 w 242242"/>
                <a:gd name="connsiteY109" fmla="*/ 21444 h 200072"/>
                <a:gd name="connsiteX110" fmla="*/ 188651 w 242242"/>
                <a:gd name="connsiteY110" fmla="*/ 21825 h 200072"/>
                <a:gd name="connsiteX111" fmla="*/ 190557 w 242242"/>
                <a:gd name="connsiteY111" fmla="*/ 27445 h 200072"/>
                <a:gd name="connsiteX112" fmla="*/ 191318 w 242242"/>
                <a:gd name="connsiteY112" fmla="*/ 23539 h 200072"/>
                <a:gd name="connsiteX113" fmla="*/ 188366 w 242242"/>
                <a:gd name="connsiteY113" fmla="*/ 19729 h 200072"/>
                <a:gd name="connsiteX114" fmla="*/ 183794 w 242242"/>
                <a:gd name="connsiteY114" fmla="*/ 20682 h 200072"/>
                <a:gd name="connsiteX115" fmla="*/ 181984 w 242242"/>
                <a:gd name="connsiteY115" fmla="*/ 24397 h 200072"/>
                <a:gd name="connsiteX116" fmla="*/ 178079 w 242242"/>
                <a:gd name="connsiteY116" fmla="*/ 20396 h 200072"/>
                <a:gd name="connsiteX117" fmla="*/ 177602 w 242242"/>
                <a:gd name="connsiteY117" fmla="*/ 20396 h 200072"/>
                <a:gd name="connsiteX118" fmla="*/ 178745 w 242242"/>
                <a:gd name="connsiteY118" fmla="*/ 18110 h 200072"/>
                <a:gd name="connsiteX119" fmla="*/ 177507 w 242242"/>
                <a:gd name="connsiteY119" fmla="*/ 14872 h 200072"/>
                <a:gd name="connsiteX120" fmla="*/ 175316 w 242242"/>
                <a:gd name="connsiteY120" fmla="*/ 14681 h 200072"/>
                <a:gd name="connsiteX121" fmla="*/ 175602 w 242242"/>
                <a:gd name="connsiteY121" fmla="*/ 15634 h 200072"/>
                <a:gd name="connsiteX122" fmla="*/ 176650 w 242242"/>
                <a:gd name="connsiteY122" fmla="*/ 17729 h 200072"/>
                <a:gd name="connsiteX123" fmla="*/ 172840 w 242242"/>
                <a:gd name="connsiteY123" fmla="*/ 18015 h 200072"/>
                <a:gd name="connsiteX124" fmla="*/ 171507 w 242242"/>
                <a:gd name="connsiteY124" fmla="*/ 13062 h 200072"/>
                <a:gd name="connsiteX125" fmla="*/ 170078 w 242242"/>
                <a:gd name="connsiteY125" fmla="*/ 11157 h 200072"/>
                <a:gd name="connsiteX126" fmla="*/ 165791 w 242242"/>
                <a:gd name="connsiteY126" fmla="*/ 9252 h 200072"/>
                <a:gd name="connsiteX127" fmla="*/ 159981 w 242242"/>
                <a:gd name="connsiteY127" fmla="*/ 10490 h 200072"/>
                <a:gd name="connsiteX128" fmla="*/ 157505 w 242242"/>
                <a:gd name="connsiteY128" fmla="*/ 12205 h 200072"/>
                <a:gd name="connsiteX129" fmla="*/ 156648 w 242242"/>
                <a:gd name="connsiteY129" fmla="*/ 14395 h 200072"/>
                <a:gd name="connsiteX130" fmla="*/ 156076 w 242242"/>
                <a:gd name="connsiteY130" fmla="*/ 13824 h 200072"/>
                <a:gd name="connsiteX131" fmla="*/ 155123 w 242242"/>
                <a:gd name="connsiteY131" fmla="*/ 12490 h 200072"/>
                <a:gd name="connsiteX132" fmla="*/ 155314 w 242242"/>
                <a:gd name="connsiteY132" fmla="*/ 10109 h 200072"/>
                <a:gd name="connsiteX133" fmla="*/ 160648 w 242242"/>
                <a:gd name="connsiteY133" fmla="*/ 10109 h 200072"/>
                <a:gd name="connsiteX134" fmla="*/ 153504 w 242242"/>
                <a:gd name="connsiteY134" fmla="*/ 9061 h 200072"/>
                <a:gd name="connsiteX135" fmla="*/ 151504 w 242242"/>
                <a:gd name="connsiteY135" fmla="*/ 6871 h 200072"/>
                <a:gd name="connsiteX136" fmla="*/ 148551 w 242242"/>
                <a:gd name="connsiteY136" fmla="*/ 5632 h 200072"/>
                <a:gd name="connsiteX137" fmla="*/ 144074 w 242242"/>
                <a:gd name="connsiteY137" fmla="*/ 394 h 200072"/>
                <a:gd name="connsiteX138" fmla="*/ 139407 w 242242"/>
                <a:gd name="connsiteY138" fmla="*/ 394 h 200072"/>
                <a:gd name="connsiteX139" fmla="*/ 137502 w 242242"/>
                <a:gd name="connsiteY139" fmla="*/ 4394 h 200072"/>
                <a:gd name="connsiteX140" fmla="*/ 141026 w 242242"/>
                <a:gd name="connsiteY140" fmla="*/ 6490 h 200072"/>
                <a:gd name="connsiteX141" fmla="*/ 139217 w 242242"/>
                <a:gd name="connsiteY141" fmla="*/ 3442 h 200072"/>
                <a:gd name="connsiteX142" fmla="*/ 139598 w 242242"/>
                <a:gd name="connsiteY142" fmla="*/ 2299 h 200072"/>
                <a:gd name="connsiteX143" fmla="*/ 142741 w 242242"/>
                <a:gd name="connsiteY143" fmla="*/ 2584 h 200072"/>
                <a:gd name="connsiteX144" fmla="*/ 144360 w 242242"/>
                <a:gd name="connsiteY144" fmla="*/ 5442 h 200072"/>
                <a:gd name="connsiteX145" fmla="*/ 144170 w 242242"/>
                <a:gd name="connsiteY145" fmla="*/ 6966 h 200072"/>
                <a:gd name="connsiteX146" fmla="*/ 143313 w 242242"/>
                <a:gd name="connsiteY146" fmla="*/ 8204 h 200072"/>
                <a:gd name="connsiteX147" fmla="*/ 139979 w 242242"/>
                <a:gd name="connsiteY147" fmla="*/ 11633 h 200072"/>
                <a:gd name="connsiteX148" fmla="*/ 138645 w 242242"/>
                <a:gd name="connsiteY148" fmla="*/ 8014 h 200072"/>
                <a:gd name="connsiteX149" fmla="*/ 136550 w 242242"/>
                <a:gd name="connsiteY149" fmla="*/ 5156 h 200072"/>
                <a:gd name="connsiteX150" fmla="*/ 130454 w 242242"/>
                <a:gd name="connsiteY150" fmla="*/ 2489 h 200072"/>
                <a:gd name="connsiteX151" fmla="*/ 124167 w 242242"/>
                <a:gd name="connsiteY151" fmla="*/ 4394 h 200072"/>
                <a:gd name="connsiteX152" fmla="*/ 121691 w 242242"/>
                <a:gd name="connsiteY152" fmla="*/ 6966 h 200072"/>
                <a:gd name="connsiteX153" fmla="*/ 119690 w 242242"/>
                <a:gd name="connsiteY153" fmla="*/ 9442 h 200072"/>
                <a:gd name="connsiteX154" fmla="*/ 116738 w 242242"/>
                <a:gd name="connsiteY154" fmla="*/ 9252 h 200072"/>
                <a:gd name="connsiteX155" fmla="*/ 115785 w 242242"/>
                <a:gd name="connsiteY155" fmla="*/ 7918 h 200072"/>
                <a:gd name="connsiteX156" fmla="*/ 116166 w 242242"/>
                <a:gd name="connsiteY156" fmla="*/ 5061 h 200072"/>
                <a:gd name="connsiteX157" fmla="*/ 119119 w 242242"/>
                <a:gd name="connsiteY157" fmla="*/ 3537 h 200072"/>
                <a:gd name="connsiteX158" fmla="*/ 114928 w 242242"/>
                <a:gd name="connsiteY158" fmla="*/ 5061 h 200072"/>
                <a:gd name="connsiteX159" fmla="*/ 113880 w 242242"/>
                <a:gd name="connsiteY159" fmla="*/ 7537 h 200072"/>
                <a:gd name="connsiteX160" fmla="*/ 114357 w 242242"/>
                <a:gd name="connsiteY160" fmla="*/ 9633 h 200072"/>
                <a:gd name="connsiteX161" fmla="*/ 107498 w 242242"/>
                <a:gd name="connsiteY161" fmla="*/ 9442 h 200072"/>
                <a:gd name="connsiteX162" fmla="*/ 106356 w 242242"/>
                <a:gd name="connsiteY162" fmla="*/ 4204 h 200072"/>
                <a:gd name="connsiteX163" fmla="*/ 102831 w 242242"/>
                <a:gd name="connsiteY163" fmla="*/ 2108 h 200072"/>
                <a:gd name="connsiteX164" fmla="*/ 98164 w 242242"/>
                <a:gd name="connsiteY164" fmla="*/ 8490 h 200072"/>
                <a:gd name="connsiteX165" fmla="*/ 99021 w 242242"/>
                <a:gd name="connsiteY165" fmla="*/ 14586 h 200072"/>
                <a:gd name="connsiteX166" fmla="*/ 88258 w 242242"/>
                <a:gd name="connsiteY166" fmla="*/ 14014 h 200072"/>
                <a:gd name="connsiteX167" fmla="*/ 87115 w 242242"/>
                <a:gd name="connsiteY167" fmla="*/ 14681 h 200072"/>
                <a:gd name="connsiteX168" fmla="*/ 87115 w 242242"/>
                <a:gd name="connsiteY168" fmla="*/ 14967 h 200072"/>
                <a:gd name="connsiteX169" fmla="*/ 87115 w 242242"/>
                <a:gd name="connsiteY169" fmla="*/ 14681 h 200072"/>
                <a:gd name="connsiteX170" fmla="*/ 85877 w 242242"/>
                <a:gd name="connsiteY170" fmla="*/ 15443 h 200072"/>
                <a:gd name="connsiteX171" fmla="*/ 81972 w 242242"/>
                <a:gd name="connsiteY171" fmla="*/ 14395 h 200072"/>
                <a:gd name="connsiteX172" fmla="*/ 83781 w 242242"/>
                <a:gd name="connsiteY172" fmla="*/ 12586 h 200072"/>
                <a:gd name="connsiteX173" fmla="*/ 87115 w 242242"/>
                <a:gd name="connsiteY173" fmla="*/ 14681 h 200072"/>
                <a:gd name="connsiteX174" fmla="*/ 87115 w 242242"/>
                <a:gd name="connsiteY174" fmla="*/ 14681 h 200072"/>
                <a:gd name="connsiteX175" fmla="*/ 86829 w 242242"/>
                <a:gd name="connsiteY175" fmla="*/ 13348 h 200072"/>
                <a:gd name="connsiteX176" fmla="*/ 84257 w 242242"/>
                <a:gd name="connsiteY176" fmla="*/ 11443 h 200072"/>
                <a:gd name="connsiteX177" fmla="*/ 81114 w 242242"/>
                <a:gd name="connsiteY177" fmla="*/ 12014 h 200072"/>
                <a:gd name="connsiteX178" fmla="*/ 79876 w 242242"/>
                <a:gd name="connsiteY178" fmla="*/ 13633 h 200072"/>
                <a:gd name="connsiteX179" fmla="*/ 79971 w 242242"/>
                <a:gd name="connsiteY179" fmla="*/ 15919 h 200072"/>
                <a:gd name="connsiteX180" fmla="*/ 80924 w 242242"/>
                <a:gd name="connsiteY180" fmla="*/ 18015 h 200072"/>
                <a:gd name="connsiteX181" fmla="*/ 78066 w 242242"/>
                <a:gd name="connsiteY181" fmla="*/ 21349 h 200072"/>
                <a:gd name="connsiteX182" fmla="*/ 77114 w 242242"/>
                <a:gd name="connsiteY182" fmla="*/ 24301 h 200072"/>
                <a:gd name="connsiteX183" fmla="*/ 74828 w 242242"/>
                <a:gd name="connsiteY183" fmla="*/ 25444 h 200072"/>
                <a:gd name="connsiteX184" fmla="*/ 71303 w 242242"/>
                <a:gd name="connsiteY184" fmla="*/ 25349 h 200072"/>
                <a:gd name="connsiteX185" fmla="*/ 69017 w 242242"/>
                <a:gd name="connsiteY185" fmla="*/ 24111 h 200072"/>
                <a:gd name="connsiteX186" fmla="*/ 69017 w 242242"/>
                <a:gd name="connsiteY186" fmla="*/ 22587 h 200072"/>
                <a:gd name="connsiteX187" fmla="*/ 70827 w 242242"/>
                <a:gd name="connsiteY187" fmla="*/ 20491 h 200072"/>
                <a:gd name="connsiteX188" fmla="*/ 74351 w 242242"/>
                <a:gd name="connsiteY188" fmla="*/ 24492 h 200072"/>
                <a:gd name="connsiteX189" fmla="*/ 72065 w 242242"/>
                <a:gd name="connsiteY189" fmla="*/ 19348 h 200072"/>
                <a:gd name="connsiteX190" fmla="*/ 67113 w 242242"/>
                <a:gd name="connsiteY190" fmla="*/ 21920 h 200072"/>
                <a:gd name="connsiteX191" fmla="*/ 67303 w 242242"/>
                <a:gd name="connsiteY191" fmla="*/ 27730 h 200072"/>
                <a:gd name="connsiteX192" fmla="*/ 70446 w 242242"/>
                <a:gd name="connsiteY192" fmla="*/ 28492 h 200072"/>
                <a:gd name="connsiteX193" fmla="*/ 72732 w 242242"/>
                <a:gd name="connsiteY193" fmla="*/ 28683 h 200072"/>
                <a:gd name="connsiteX194" fmla="*/ 79019 w 242242"/>
                <a:gd name="connsiteY194" fmla="*/ 26873 h 200072"/>
                <a:gd name="connsiteX195" fmla="*/ 78828 w 242242"/>
                <a:gd name="connsiteY195" fmla="*/ 31159 h 200072"/>
                <a:gd name="connsiteX196" fmla="*/ 71113 w 242242"/>
                <a:gd name="connsiteY196" fmla="*/ 28683 h 200072"/>
                <a:gd name="connsiteX197" fmla="*/ 67303 w 242242"/>
                <a:gd name="connsiteY197" fmla="*/ 27826 h 200072"/>
                <a:gd name="connsiteX198" fmla="*/ 61683 w 242242"/>
                <a:gd name="connsiteY198" fmla="*/ 27254 h 200072"/>
                <a:gd name="connsiteX199" fmla="*/ 57207 w 242242"/>
                <a:gd name="connsiteY199" fmla="*/ 28016 h 200072"/>
                <a:gd name="connsiteX200" fmla="*/ 59397 w 242242"/>
                <a:gd name="connsiteY200" fmla="*/ 24492 h 200072"/>
                <a:gd name="connsiteX201" fmla="*/ 54920 w 242242"/>
                <a:gd name="connsiteY201" fmla="*/ 22396 h 200072"/>
                <a:gd name="connsiteX202" fmla="*/ 53111 w 242242"/>
                <a:gd name="connsiteY202" fmla="*/ 23920 h 200072"/>
                <a:gd name="connsiteX203" fmla="*/ 53397 w 242242"/>
                <a:gd name="connsiteY203" fmla="*/ 24682 h 200072"/>
                <a:gd name="connsiteX204" fmla="*/ 53587 w 242242"/>
                <a:gd name="connsiteY204" fmla="*/ 24682 h 200072"/>
                <a:gd name="connsiteX205" fmla="*/ 54158 w 242242"/>
                <a:gd name="connsiteY205" fmla="*/ 24111 h 200072"/>
                <a:gd name="connsiteX206" fmla="*/ 55968 w 242242"/>
                <a:gd name="connsiteY206" fmla="*/ 24397 h 200072"/>
                <a:gd name="connsiteX207" fmla="*/ 56825 w 242242"/>
                <a:gd name="connsiteY207" fmla="*/ 25444 h 200072"/>
                <a:gd name="connsiteX208" fmla="*/ 55587 w 242242"/>
                <a:gd name="connsiteY208" fmla="*/ 24873 h 200072"/>
                <a:gd name="connsiteX209" fmla="*/ 52539 w 242242"/>
                <a:gd name="connsiteY209" fmla="*/ 26778 h 200072"/>
                <a:gd name="connsiteX210" fmla="*/ 49682 w 242242"/>
                <a:gd name="connsiteY210" fmla="*/ 28969 h 200072"/>
                <a:gd name="connsiteX211" fmla="*/ 45491 w 242242"/>
                <a:gd name="connsiteY211" fmla="*/ 23444 h 200072"/>
                <a:gd name="connsiteX212" fmla="*/ 39395 w 242242"/>
                <a:gd name="connsiteY212" fmla="*/ 26016 h 200072"/>
                <a:gd name="connsiteX213" fmla="*/ 39966 w 242242"/>
                <a:gd name="connsiteY213" fmla="*/ 30397 h 200072"/>
                <a:gd name="connsiteX214" fmla="*/ 43776 w 242242"/>
                <a:gd name="connsiteY214" fmla="*/ 32493 h 200072"/>
                <a:gd name="connsiteX215" fmla="*/ 41681 w 242242"/>
                <a:gd name="connsiteY215" fmla="*/ 27064 h 200072"/>
                <a:gd name="connsiteX216" fmla="*/ 44633 w 242242"/>
                <a:gd name="connsiteY216" fmla="*/ 26587 h 200072"/>
                <a:gd name="connsiteX217" fmla="*/ 46919 w 242242"/>
                <a:gd name="connsiteY217" fmla="*/ 30493 h 200072"/>
                <a:gd name="connsiteX218" fmla="*/ 46348 w 242242"/>
                <a:gd name="connsiteY218" fmla="*/ 36112 h 200072"/>
                <a:gd name="connsiteX219" fmla="*/ 40442 w 242242"/>
                <a:gd name="connsiteY219" fmla="*/ 32779 h 200072"/>
                <a:gd name="connsiteX220" fmla="*/ 34537 w 242242"/>
                <a:gd name="connsiteY220" fmla="*/ 35160 h 200072"/>
                <a:gd name="connsiteX221" fmla="*/ 33584 w 242242"/>
                <a:gd name="connsiteY221" fmla="*/ 36779 h 200072"/>
                <a:gd name="connsiteX222" fmla="*/ 32632 w 242242"/>
                <a:gd name="connsiteY222" fmla="*/ 38303 h 200072"/>
                <a:gd name="connsiteX223" fmla="*/ 29965 w 242242"/>
                <a:gd name="connsiteY223" fmla="*/ 40208 h 200072"/>
                <a:gd name="connsiteX224" fmla="*/ 26536 w 242242"/>
                <a:gd name="connsiteY224" fmla="*/ 38684 h 200072"/>
                <a:gd name="connsiteX225" fmla="*/ 27774 w 242242"/>
                <a:gd name="connsiteY225" fmla="*/ 36303 h 200072"/>
                <a:gd name="connsiteX226" fmla="*/ 31108 w 242242"/>
                <a:gd name="connsiteY226" fmla="*/ 37732 h 200072"/>
                <a:gd name="connsiteX227" fmla="*/ 27489 w 242242"/>
                <a:gd name="connsiteY227" fmla="*/ 35065 h 200072"/>
                <a:gd name="connsiteX228" fmla="*/ 24250 w 242242"/>
                <a:gd name="connsiteY228" fmla="*/ 38684 h 200072"/>
                <a:gd name="connsiteX229" fmla="*/ 26917 w 242242"/>
                <a:gd name="connsiteY229" fmla="*/ 42970 h 200072"/>
                <a:gd name="connsiteX230" fmla="*/ 35204 w 242242"/>
                <a:gd name="connsiteY230" fmla="*/ 40208 h 200072"/>
                <a:gd name="connsiteX231" fmla="*/ 34537 w 242242"/>
                <a:gd name="connsiteY231" fmla="*/ 46399 h 200072"/>
                <a:gd name="connsiteX232" fmla="*/ 35299 w 242242"/>
                <a:gd name="connsiteY232" fmla="*/ 52972 h 200072"/>
                <a:gd name="connsiteX233" fmla="*/ 29584 w 242242"/>
                <a:gd name="connsiteY233" fmla="*/ 53734 h 200072"/>
                <a:gd name="connsiteX234" fmla="*/ 32441 w 242242"/>
                <a:gd name="connsiteY234" fmla="*/ 50209 h 200072"/>
                <a:gd name="connsiteX235" fmla="*/ 31108 w 242242"/>
                <a:gd name="connsiteY235" fmla="*/ 46876 h 200072"/>
                <a:gd name="connsiteX236" fmla="*/ 27869 w 242242"/>
                <a:gd name="connsiteY236" fmla="*/ 47257 h 200072"/>
                <a:gd name="connsiteX237" fmla="*/ 28155 w 242242"/>
                <a:gd name="connsiteY237" fmla="*/ 47923 h 200072"/>
                <a:gd name="connsiteX238" fmla="*/ 28536 w 242242"/>
                <a:gd name="connsiteY238" fmla="*/ 49257 h 200072"/>
                <a:gd name="connsiteX239" fmla="*/ 27489 w 242242"/>
                <a:gd name="connsiteY239" fmla="*/ 49733 h 200072"/>
                <a:gd name="connsiteX240" fmla="*/ 25774 w 242242"/>
                <a:gd name="connsiteY240" fmla="*/ 49257 h 200072"/>
                <a:gd name="connsiteX241" fmla="*/ 21583 w 242242"/>
                <a:gd name="connsiteY241" fmla="*/ 49733 h 200072"/>
                <a:gd name="connsiteX242" fmla="*/ 18725 w 242242"/>
                <a:gd name="connsiteY242" fmla="*/ 52591 h 200072"/>
                <a:gd name="connsiteX243" fmla="*/ 18440 w 242242"/>
                <a:gd name="connsiteY243" fmla="*/ 54972 h 200072"/>
                <a:gd name="connsiteX244" fmla="*/ 18535 w 242242"/>
                <a:gd name="connsiteY244" fmla="*/ 55924 h 200072"/>
                <a:gd name="connsiteX245" fmla="*/ 18535 w 242242"/>
                <a:gd name="connsiteY245" fmla="*/ 57925 h 200072"/>
                <a:gd name="connsiteX246" fmla="*/ 13106 w 242242"/>
                <a:gd name="connsiteY246" fmla="*/ 56972 h 200072"/>
                <a:gd name="connsiteX247" fmla="*/ 10248 w 242242"/>
                <a:gd name="connsiteY247" fmla="*/ 61354 h 200072"/>
                <a:gd name="connsiteX248" fmla="*/ 11963 w 242242"/>
                <a:gd name="connsiteY248" fmla="*/ 67354 h 200072"/>
                <a:gd name="connsiteX249" fmla="*/ 17582 w 242242"/>
                <a:gd name="connsiteY249" fmla="*/ 67354 h 200072"/>
                <a:gd name="connsiteX250" fmla="*/ 21583 w 242242"/>
                <a:gd name="connsiteY250" fmla="*/ 66211 h 200072"/>
                <a:gd name="connsiteX251" fmla="*/ 23678 w 242242"/>
                <a:gd name="connsiteY251" fmla="*/ 65545 h 200072"/>
                <a:gd name="connsiteX252" fmla="*/ 24726 w 242242"/>
                <a:gd name="connsiteY252" fmla="*/ 65259 h 200072"/>
                <a:gd name="connsiteX253" fmla="*/ 25583 w 242242"/>
                <a:gd name="connsiteY253" fmla="*/ 65259 h 200072"/>
                <a:gd name="connsiteX254" fmla="*/ 17773 w 242242"/>
                <a:gd name="connsiteY254" fmla="*/ 68021 h 200072"/>
                <a:gd name="connsiteX255" fmla="*/ 13106 w 242242"/>
                <a:gd name="connsiteY255" fmla="*/ 74117 h 200072"/>
                <a:gd name="connsiteX256" fmla="*/ 15106 w 242242"/>
                <a:gd name="connsiteY256" fmla="*/ 78022 h 200072"/>
                <a:gd name="connsiteX257" fmla="*/ 11391 w 242242"/>
                <a:gd name="connsiteY257" fmla="*/ 82213 h 200072"/>
                <a:gd name="connsiteX258" fmla="*/ 11867 w 242242"/>
                <a:gd name="connsiteY258" fmla="*/ 79070 h 200072"/>
                <a:gd name="connsiteX259" fmla="*/ 8629 w 242242"/>
                <a:gd name="connsiteY259" fmla="*/ 77832 h 200072"/>
                <a:gd name="connsiteX260" fmla="*/ 5962 w 242242"/>
                <a:gd name="connsiteY260" fmla="*/ 79451 h 200072"/>
                <a:gd name="connsiteX261" fmla="*/ 5867 w 242242"/>
                <a:gd name="connsiteY261" fmla="*/ 82594 h 200072"/>
                <a:gd name="connsiteX262" fmla="*/ 9677 w 242242"/>
                <a:gd name="connsiteY262" fmla="*/ 81166 h 200072"/>
                <a:gd name="connsiteX263" fmla="*/ 5009 w 242242"/>
                <a:gd name="connsiteY263" fmla="*/ 84595 h 200072"/>
                <a:gd name="connsiteX264" fmla="*/ 3771 w 242242"/>
                <a:gd name="connsiteY264" fmla="*/ 89357 h 200072"/>
                <a:gd name="connsiteX265" fmla="*/ 5486 w 242242"/>
                <a:gd name="connsiteY265" fmla="*/ 92786 h 200072"/>
                <a:gd name="connsiteX266" fmla="*/ 2247 w 242242"/>
                <a:gd name="connsiteY266" fmla="*/ 96215 h 200072"/>
                <a:gd name="connsiteX267" fmla="*/ 3390 w 242242"/>
                <a:gd name="connsiteY267" fmla="*/ 99549 h 200072"/>
                <a:gd name="connsiteX268" fmla="*/ 5676 w 242242"/>
                <a:gd name="connsiteY268" fmla="*/ 101073 h 200072"/>
                <a:gd name="connsiteX269" fmla="*/ 9963 w 242242"/>
                <a:gd name="connsiteY269" fmla="*/ 99263 h 200072"/>
                <a:gd name="connsiteX270" fmla="*/ 6152 w 242242"/>
                <a:gd name="connsiteY270" fmla="*/ 101644 h 200072"/>
                <a:gd name="connsiteX271" fmla="*/ 2723 w 242242"/>
                <a:gd name="connsiteY271" fmla="*/ 105073 h 200072"/>
                <a:gd name="connsiteX272" fmla="*/ 1104 w 242242"/>
                <a:gd name="connsiteY272" fmla="*/ 113741 h 200072"/>
                <a:gd name="connsiteX273" fmla="*/ 3771 w 242242"/>
                <a:gd name="connsiteY273" fmla="*/ 117361 h 200072"/>
                <a:gd name="connsiteX274" fmla="*/ 6057 w 242242"/>
                <a:gd name="connsiteY274" fmla="*/ 118408 h 200072"/>
                <a:gd name="connsiteX275" fmla="*/ 8343 w 242242"/>
                <a:gd name="connsiteY275" fmla="*/ 118789 h 200072"/>
                <a:gd name="connsiteX276" fmla="*/ 9486 w 242242"/>
                <a:gd name="connsiteY276" fmla="*/ 120218 h 200072"/>
                <a:gd name="connsiteX277" fmla="*/ 8439 w 242242"/>
                <a:gd name="connsiteY277" fmla="*/ 124219 h 200072"/>
                <a:gd name="connsiteX278" fmla="*/ 6533 w 242242"/>
                <a:gd name="connsiteY278" fmla="*/ 125647 h 200072"/>
                <a:gd name="connsiteX279" fmla="*/ 4152 w 242242"/>
                <a:gd name="connsiteY279" fmla="*/ 126505 h 200072"/>
                <a:gd name="connsiteX280" fmla="*/ 1771 w 242242"/>
                <a:gd name="connsiteY280" fmla="*/ 125838 h 200072"/>
                <a:gd name="connsiteX281" fmla="*/ 1199 w 242242"/>
                <a:gd name="connsiteY281" fmla="*/ 123838 h 200072"/>
                <a:gd name="connsiteX282" fmla="*/ 3390 w 242242"/>
                <a:gd name="connsiteY282" fmla="*/ 122504 h 200072"/>
                <a:gd name="connsiteX283" fmla="*/ 6248 w 242242"/>
                <a:gd name="connsiteY283" fmla="*/ 123647 h 200072"/>
                <a:gd name="connsiteX284" fmla="*/ 2723 w 242242"/>
                <a:gd name="connsiteY284" fmla="*/ 121837 h 200072"/>
                <a:gd name="connsiteX285" fmla="*/ 56 w 242242"/>
                <a:gd name="connsiteY285" fmla="*/ 124123 h 200072"/>
                <a:gd name="connsiteX286" fmla="*/ 1009 w 242242"/>
                <a:gd name="connsiteY286" fmla="*/ 127648 h 200072"/>
                <a:gd name="connsiteX287" fmla="*/ 4914 w 242242"/>
                <a:gd name="connsiteY287" fmla="*/ 128695 h 200072"/>
                <a:gd name="connsiteX288" fmla="*/ 9200 w 242242"/>
                <a:gd name="connsiteY288" fmla="*/ 126790 h 200072"/>
                <a:gd name="connsiteX289" fmla="*/ 8629 w 242242"/>
                <a:gd name="connsiteY289" fmla="*/ 137077 h 200072"/>
                <a:gd name="connsiteX290" fmla="*/ 6629 w 242242"/>
                <a:gd name="connsiteY290" fmla="*/ 144507 h 200072"/>
                <a:gd name="connsiteX291" fmla="*/ 12915 w 242242"/>
                <a:gd name="connsiteY291" fmla="*/ 147460 h 200072"/>
                <a:gd name="connsiteX292" fmla="*/ 14344 w 242242"/>
                <a:gd name="connsiteY292" fmla="*/ 146031 h 200072"/>
                <a:gd name="connsiteX293" fmla="*/ 14344 w 242242"/>
                <a:gd name="connsiteY293" fmla="*/ 145078 h 200072"/>
                <a:gd name="connsiteX294" fmla="*/ 14058 w 242242"/>
                <a:gd name="connsiteY294" fmla="*/ 144888 h 200072"/>
                <a:gd name="connsiteX295" fmla="*/ 13010 w 242242"/>
                <a:gd name="connsiteY295" fmla="*/ 145459 h 200072"/>
                <a:gd name="connsiteX296" fmla="*/ 12058 w 242242"/>
                <a:gd name="connsiteY296" fmla="*/ 145555 h 200072"/>
                <a:gd name="connsiteX297" fmla="*/ 10629 w 242242"/>
                <a:gd name="connsiteY297" fmla="*/ 144793 h 200072"/>
                <a:gd name="connsiteX298" fmla="*/ 10248 w 242242"/>
                <a:gd name="connsiteY298" fmla="*/ 139459 h 200072"/>
                <a:gd name="connsiteX299" fmla="*/ 13010 w 242242"/>
                <a:gd name="connsiteY299" fmla="*/ 137839 h 200072"/>
                <a:gd name="connsiteX300" fmla="*/ 14915 w 242242"/>
                <a:gd name="connsiteY300" fmla="*/ 137268 h 200072"/>
                <a:gd name="connsiteX301" fmla="*/ 16916 w 242242"/>
                <a:gd name="connsiteY301" fmla="*/ 137268 h 200072"/>
                <a:gd name="connsiteX302" fmla="*/ 19202 w 242242"/>
                <a:gd name="connsiteY302" fmla="*/ 137077 h 200072"/>
                <a:gd name="connsiteX303" fmla="*/ 20440 w 242242"/>
                <a:gd name="connsiteY303" fmla="*/ 136982 h 200072"/>
                <a:gd name="connsiteX304" fmla="*/ 21678 w 242242"/>
                <a:gd name="connsiteY304" fmla="*/ 137077 h 200072"/>
                <a:gd name="connsiteX305" fmla="*/ 17773 w 242242"/>
                <a:gd name="connsiteY305" fmla="*/ 143554 h 200072"/>
                <a:gd name="connsiteX306" fmla="*/ 18154 w 242242"/>
                <a:gd name="connsiteY306" fmla="*/ 147650 h 200072"/>
                <a:gd name="connsiteX307" fmla="*/ 19202 w 242242"/>
                <a:gd name="connsiteY307" fmla="*/ 149555 h 200072"/>
                <a:gd name="connsiteX308" fmla="*/ 19868 w 242242"/>
                <a:gd name="connsiteY308" fmla="*/ 150412 h 200072"/>
                <a:gd name="connsiteX309" fmla="*/ 20059 w 242242"/>
                <a:gd name="connsiteY309" fmla="*/ 151174 h 200072"/>
                <a:gd name="connsiteX310" fmla="*/ 20631 w 242242"/>
                <a:gd name="connsiteY310" fmla="*/ 158032 h 200072"/>
                <a:gd name="connsiteX311" fmla="*/ 21583 w 242242"/>
                <a:gd name="connsiteY311" fmla="*/ 159937 h 200072"/>
                <a:gd name="connsiteX312" fmla="*/ 21964 w 242242"/>
                <a:gd name="connsiteY312" fmla="*/ 160414 h 200072"/>
                <a:gd name="connsiteX313" fmla="*/ 21392 w 242242"/>
                <a:gd name="connsiteY313" fmla="*/ 160795 h 200072"/>
                <a:gd name="connsiteX314" fmla="*/ 17868 w 242242"/>
                <a:gd name="connsiteY314" fmla="*/ 160128 h 200072"/>
                <a:gd name="connsiteX315" fmla="*/ 16154 w 242242"/>
                <a:gd name="connsiteY315" fmla="*/ 157461 h 200072"/>
                <a:gd name="connsiteX316" fmla="*/ 19583 w 242242"/>
                <a:gd name="connsiteY316" fmla="*/ 155937 h 200072"/>
                <a:gd name="connsiteX317" fmla="*/ 17964 w 242242"/>
                <a:gd name="connsiteY317" fmla="*/ 155175 h 200072"/>
                <a:gd name="connsiteX318" fmla="*/ 14820 w 242242"/>
                <a:gd name="connsiteY318" fmla="*/ 158413 h 200072"/>
                <a:gd name="connsiteX319" fmla="*/ 18440 w 242242"/>
                <a:gd name="connsiteY319" fmla="*/ 162890 h 200072"/>
                <a:gd name="connsiteX320" fmla="*/ 21583 w 242242"/>
                <a:gd name="connsiteY320" fmla="*/ 163462 h 200072"/>
                <a:gd name="connsiteX321" fmla="*/ 23202 w 242242"/>
                <a:gd name="connsiteY321" fmla="*/ 162890 h 200072"/>
                <a:gd name="connsiteX322" fmla="*/ 23869 w 242242"/>
                <a:gd name="connsiteY322" fmla="*/ 162414 h 200072"/>
                <a:gd name="connsiteX323" fmla="*/ 24440 w 242242"/>
                <a:gd name="connsiteY323" fmla="*/ 162128 h 200072"/>
                <a:gd name="connsiteX324" fmla="*/ 26536 w 242242"/>
                <a:gd name="connsiteY324" fmla="*/ 162604 h 200072"/>
                <a:gd name="connsiteX325" fmla="*/ 28631 w 242242"/>
                <a:gd name="connsiteY325" fmla="*/ 162604 h 200072"/>
                <a:gd name="connsiteX326" fmla="*/ 32918 w 242242"/>
                <a:gd name="connsiteY326" fmla="*/ 161842 h 200072"/>
                <a:gd name="connsiteX327" fmla="*/ 31108 w 242242"/>
                <a:gd name="connsiteY327" fmla="*/ 165462 h 200072"/>
                <a:gd name="connsiteX328" fmla="*/ 27393 w 242242"/>
                <a:gd name="connsiteY328" fmla="*/ 163747 h 200072"/>
                <a:gd name="connsiteX329" fmla="*/ 23964 w 242242"/>
                <a:gd name="connsiteY329" fmla="*/ 166605 h 200072"/>
                <a:gd name="connsiteX330" fmla="*/ 28727 w 242242"/>
                <a:gd name="connsiteY330" fmla="*/ 173177 h 200072"/>
                <a:gd name="connsiteX331" fmla="*/ 33203 w 242242"/>
                <a:gd name="connsiteY331" fmla="*/ 169748 h 200072"/>
                <a:gd name="connsiteX332" fmla="*/ 35680 w 242242"/>
                <a:gd name="connsiteY332" fmla="*/ 175844 h 200072"/>
                <a:gd name="connsiteX333" fmla="*/ 32727 w 242242"/>
                <a:gd name="connsiteY333" fmla="*/ 180226 h 200072"/>
                <a:gd name="connsiteX334" fmla="*/ 33680 w 242242"/>
                <a:gd name="connsiteY334" fmla="*/ 185369 h 200072"/>
                <a:gd name="connsiteX335" fmla="*/ 38823 w 242242"/>
                <a:gd name="connsiteY335" fmla="*/ 185369 h 200072"/>
                <a:gd name="connsiteX336" fmla="*/ 39776 w 242242"/>
                <a:gd name="connsiteY336" fmla="*/ 182131 h 200072"/>
                <a:gd name="connsiteX337" fmla="*/ 37394 w 242242"/>
                <a:gd name="connsiteY337" fmla="*/ 183750 h 200072"/>
                <a:gd name="connsiteX338" fmla="*/ 36061 w 242242"/>
                <a:gd name="connsiteY338" fmla="*/ 183559 h 200072"/>
                <a:gd name="connsiteX339" fmla="*/ 35966 w 242242"/>
                <a:gd name="connsiteY339" fmla="*/ 182226 h 200072"/>
                <a:gd name="connsiteX340" fmla="*/ 37966 w 242242"/>
                <a:gd name="connsiteY340" fmla="*/ 178321 h 200072"/>
                <a:gd name="connsiteX341" fmla="*/ 41585 w 242242"/>
                <a:gd name="connsiteY341" fmla="*/ 177940 h 200072"/>
                <a:gd name="connsiteX342" fmla="*/ 45300 w 242242"/>
                <a:gd name="connsiteY342" fmla="*/ 176892 h 200072"/>
                <a:gd name="connsiteX343" fmla="*/ 46157 w 242242"/>
                <a:gd name="connsiteY343" fmla="*/ 188798 h 200072"/>
                <a:gd name="connsiteX344" fmla="*/ 51682 w 242242"/>
                <a:gd name="connsiteY344" fmla="*/ 190894 h 200072"/>
                <a:gd name="connsiteX345" fmla="*/ 54063 w 242242"/>
                <a:gd name="connsiteY345" fmla="*/ 192227 h 200072"/>
                <a:gd name="connsiteX346" fmla="*/ 54063 w 242242"/>
                <a:gd name="connsiteY346" fmla="*/ 196609 h 200072"/>
                <a:gd name="connsiteX347" fmla="*/ 51491 w 242242"/>
                <a:gd name="connsiteY347" fmla="*/ 197942 h 200072"/>
                <a:gd name="connsiteX348" fmla="*/ 48634 w 242242"/>
                <a:gd name="connsiteY348" fmla="*/ 196609 h 200072"/>
                <a:gd name="connsiteX349" fmla="*/ 53015 w 242242"/>
                <a:gd name="connsiteY349" fmla="*/ 198895 h 200072"/>
                <a:gd name="connsiteX350" fmla="*/ 56635 w 242242"/>
                <a:gd name="connsiteY350" fmla="*/ 193751 h 200072"/>
                <a:gd name="connsiteX351" fmla="*/ 56254 w 242242"/>
                <a:gd name="connsiteY351" fmla="*/ 190703 h 200072"/>
                <a:gd name="connsiteX352" fmla="*/ 60255 w 242242"/>
                <a:gd name="connsiteY352" fmla="*/ 190513 h 200072"/>
                <a:gd name="connsiteX353" fmla="*/ 62255 w 242242"/>
                <a:gd name="connsiteY353" fmla="*/ 198418 h 200072"/>
                <a:gd name="connsiteX354" fmla="*/ 63779 w 242242"/>
                <a:gd name="connsiteY354" fmla="*/ 199276 h 200072"/>
                <a:gd name="connsiteX355" fmla="*/ 62636 w 242242"/>
                <a:gd name="connsiteY355" fmla="*/ 195847 h 200072"/>
                <a:gd name="connsiteX356" fmla="*/ 59588 w 242242"/>
                <a:gd name="connsiteY356" fmla="*/ 181083 h 200072"/>
                <a:gd name="connsiteX357" fmla="*/ 58064 w 242242"/>
                <a:gd name="connsiteY357" fmla="*/ 170891 h 200072"/>
                <a:gd name="connsiteX358" fmla="*/ 61398 w 242242"/>
                <a:gd name="connsiteY358" fmla="*/ 160699 h 200072"/>
                <a:gd name="connsiteX359" fmla="*/ 62350 w 242242"/>
                <a:gd name="connsiteY359" fmla="*/ 161938 h 200072"/>
                <a:gd name="connsiteX360" fmla="*/ 66255 w 242242"/>
                <a:gd name="connsiteY360" fmla="*/ 165176 h 200072"/>
                <a:gd name="connsiteX361" fmla="*/ 67017 w 242242"/>
                <a:gd name="connsiteY361" fmla="*/ 165652 h 200072"/>
                <a:gd name="connsiteX362" fmla="*/ 67017 w 242242"/>
                <a:gd name="connsiteY362" fmla="*/ 165652 h 200072"/>
                <a:gd name="connsiteX363" fmla="*/ 68446 w 242242"/>
                <a:gd name="connsiteY363" fmla="*/ 166224 h 200072"/>
                <a:gd name="connsiteX364" fmla="*/ 69208 w 242242"/>
                <a:gd name="connsiteY364" fmla="*/ 166414 h 200072"/>
                <a:gd name="connsiteX365" fmla="*/ 69589 w 242242"/>
                <a:gd name="connsiteY365" fmla="*/ 166414 h 200072"/>
                <a:gd name="connsiteX366" fmla="*/ 69780 w 242242"/>
                <a:gd name="connsiteY366" fmla="*/ 166795 h 200072"/>
                <a:gd name="connsiteX367" fmla="*/ 72351 w 242242"/>
                <a:gd name="connsiteY367" fmla="*/ 169939 h 200072"/>
                <a:gd name="connsiteX368" fmla="*/ 77114 w 242242"/>
                <a:gd name="connsiteY368" fmla="*/ 170034 h 200072"/>
                <a:gd name="connsiteX369" fmla="*/ 78542 w 242242"/>
                <a:gd name="connsiteY369" fmla="*/ 168605 h 200072"/>
                <a:gd name="connsiteX370" fmla="*/ 78733 w 242242"/>
                <a:gd name="connsiteY370" fmla="*/ 167653 h 200072"/>
                <a:gd name="connsiteX371" fmla="*/ 78542 w 242242"/>
                <a:gd name="connsiteY371" fmla="*/ 167081 h 200072"/>
                <a:gd name="connsiteX372" fmla="*/ 76447 w 242242"/>
                <a:gd name="connsiteY372" fmla="*/ 168510 h 200072"/>
                <a:gd name="connsiteX373" fmla="*/ 73399 w 242242"/>
                <a:gd name="connsiteY373" fmla="*/ 167462 h 200072"/>
                <a:gd name="connsiteX374" fmla="*/ 72732 w 242242"/>
                <a:gd name="connsiteY374" fmla="*/ 166700 h 200072"/>
                <a:gd name="connsiteX375" fmla="*/ 72827 w 242242"/>
                <a:gd name="connsiteY375" fmla="*/ 166414 h 200072"/>
                <a:gd name="connsiteX376" fmla="*/ 73208 w 242242"/>
                <a:gd name="connsiteY376" fmla="*/ 166414 h 200072"/>
                <a:gd name="connsiteX377" fmla="*/ 73970 w 242242"/>
                <a:gd name="connsiteY377" fmla="*/ 166224 h 200072"/>
                <a:gd name="connsiteX378" fmla="*/ 76066 w 242242"/>
                <a:gd name="connsiteY378" fmla="*/ 165271 h 200072"/>
                <a:gd name="connsiteX379" fmla="*/ 77495 w 242242"/>
                <a:gd name="connsiteY379" fmla="*/ 158128 h 200072"/>
                <a:gd name="connsiteX380" fmla="*/ 77114 w 242242"/>
                <a:gd name="connsiteY380" fmla="*/ 156985 h 200072"/>
                <a:gd name="connsiteX381" fmla="*/ 76733 w 242242"/>
                <a:gd name="connsiteY381" fmla="*/ 155746 h 200072"/>
                <a:gd name="connsiteX382" fmla="*/ 75494 w 242242"/>
                <a:gd name="connsiteY382" fmla="*/ 152508 h 200072"/>
                <a:gd name="connsiteX383" fmla="*/ 77495 w 242242"/>
                <a:gd name="connsiteY383" fmla="*/ 152889 h 200072"/>
                <a:gd name="connsiteX384" fmla="*/ 75971 w 242242"/>
                <a:gd name="connsiteY384" fmla="*/ 150508 h 200072"/>
                <a:gd name="connsiteX385" fmla="*/ 77304 w 242242"/>
                <a:gd name="connsiteY385" fmla="*/ 148031 h 200072"/>
                <a:gd name="connsiteX386" fmla="*/ 79114 w 242242"/>
                <a:gd name="connsiteY386" fmla="*/ 145650 h 200072"/>
                <a:gd name="connsiteX387" fmla="*/ 79876 w 242242"/>
                <a:gd name="connsiteY387" fmla="*/ 142316 h 200072"/>
                <a:gd name="connsiteX388" fmla="*/ 79876 w 242242"/>
                <a:gd name="connsiteY388" fmla="*/ 140697 h 200072"/>
                <a:gd name="connsiteX389" fmla="*/ 79495 w 242242"/>
                <a:gd name="connsiteY389" fmla="*/ 138982 h 200072"/>
                <a:gd name="connsiteX390" fmla="*/ 77209 w 242242"/>
                <a:gd name="connsiteY390" fmla="*/ 135363 h 200072"/>
                <a:gd name="connsiteX391" fmla="*/ 74828 w 242242"/>
                <a:gd name="connsiteY391" fmla="*/ 133172 h 200072"/>
                <a:gd name="connsiteX392" fmla="*/ 73399 w 242242"/>
                <a:gd name="connsiteY392" fmla="*/ 132124 h 200072"/>
                <a:gd name="connsiteX393" fmla="*/ 72542 w 242242"/>
                <a:gd name="connsiteY393" fmla="*/ 131553 h 200072"/>
                <a:gd name="connsiteX394" fmla="*/ 72161 w 242242"/>
                <a:gd name="connsiteY394" fmla="*/ 131267 h 200072"/>
                <a:gd name="connsiteX395" fmla="*/ 71970 w 242242"/>
                <a:gd name="connsiteY395" fmla="*/ 130981 h 200072"/>
                <a:gd name="connsiteX396" fmla="*/ 71970 w 242242"/>
                <a:gd name="connsiteY396" fmla="*/ 130886 h 200072"/>
                <a:gd name="connsiteX397" fmla="*/ 72065 w 242242"/>
                <a:gd name="connsiteY397" fmla="*/ 130886 h 200072"/>
                <a:gd name="connsiteX398" fmla="*/ 80733 w 242242"/>
                <a:gd name="connsiteY398" fmla="*/ 125362 h 200072"/>
                <a:gd name="connsiteX399" fmla="*/ 81019 w 242242"/>
                <a:gd name="connsiteY399" fmla="*/ 120980 h 200072"/>
                <a:gd name="connsiteX400" fmla="*/ 85210 w 242242"/>
                <a:gd name="connsiteY400" fmla="*/ 120313 h 200072"/>
                <a:gd name="connsiteX401" fmla="*/ 85972 w 242242"/>
                <a:gd name="connsiteY401" fmla="*/ 118408 h 200072"/>
                <a:gd name="connsiteX402" fmla="*/ 85782 w 242242"/>
                <a:gd name="connsiteY402" fmla="*/ 117551 h 200072"/>
                <a:gd name="connsiteX403" fmla="*/ 85210 w 242242"/>
                <a:gd name="connsiteY403" fmla="*/ 117075 h 200072"/>
                <a:gd name="connsiteX404" fmla="*/ 83591 w 242242"/>
                <a:gd name="connsiteY404" fmla="*/ 119170 h 200072"/>
                <a:gd name="connsiteX405" fmla="*/ 80924 w 242242"/>
                <a:gd name="connsiteY405" fmla="*/ 117361 h 200072"/>
                <a:gd name="connsiteX406" fmla="*/ 80352 w 242242"/>
                <a:gd name="connsiteY406" fmla="*/ 113932 h 200072"/>
                <a:gd name="connsiteX407" fmla="*/ 81686 w 242242"/>
                <a:gd name="connsiteY407" fmla="*/ 111074 h 200072"/>
                <a:gd name="connsiteX408" fmla="*/ 84639 w 242242"/>
                <a:gd name="connsiteY408" fmla="*/ 108979 h 200072"/>
                <a:gd name="connsiteX409" fmla="*/ 86448 w 242242"/>
                <a:gd name="connsiteY409" fmla="*/ 106407 h 200072"/>
                <a:gd name="connsiteX410" fmla="*/ 87306 w 242242"/>
                <a:gd name="connsiteY410" fmla="*/ 104216 h 200072"/>
                <a:gd name="connsiteX411" fmla="*/ 87306 w 242242"/>
                <a:gd name="connsiteY411" fmla="*/ 102597 h 200072"/>
                <a:gd name="connsiteX412" fmla="*/ 84829 w 242242"/>
                <a:gd name="connsiteY412" fmla="*/ 97644 h 200072"/>
                <a:gd name="connsiteX413" fmla="*/ 84067 w 242242"/>
                <a:gd name="connsiteY413" fmla="*/ 96691 h 200072"/>
                <a:gd name="connsiteX414" fmla="*/ 85210 w 242242"/>
                <a:gd name="connsiteY414" fmla="*/ 97263 h 200072"/>
                <a:gd name="connsiteX415" fmla="*/ 88925 w 242242"/>
                <a:gd name="connsiteY415" fmla="*/ 98596 h 200072"/>
                <a:gd name="connsiteX416" fmla="*/ 89210 w 242242"/>
                <a:gd name="connsiteY416" fmla="*/ 102311 h 200072"/>
                <a:gd name="connsiteX417" fmla="*/ 91782 w 242242"/>
                <a:gd name="connsiteY417" fmla="*/ 105169 h 200072"/>
                <a:gd name="connsiteX418" fmla="*/ 94735 w 242242"/>
                <a:gd name="connsiteY418" fmla="*/ 105454 h 200072"/>
                <a:gd name="connsiteX419" fmla="*/ 96640 w 242242"/>
                <a:gd name="connsiteY419" fmla="*/ 102883 h 200072"/>
                <a:gd name="connsiteX420" fmla="*/ 95497 w 242242"/>
                <a:gd name="connsiteY420" fmla="*/ 99454 h 200072"/>
                <a:gd name="connsiteX421" fmla="*/ 95402 w 242242"/>
                <a:gd name="connsiteY421" fmla="*/ 102978 h 200072"/>
                <a:gd name="connsiteX422" fmla="*/ 92735 w 242242"/>
                <a:gd name="connsiteY422" fmla="*/ 102978 h 200072"/>
                <a:gd name="connsiteX423" fmla="*/ 91782 w 242242"/>
                <a:gd name="connsiteY423" fmla="*/ 100501 h 200072"/>
                <a:gd name="connsiteX424" fmla="*/ 112928 w 242242"/>
                <a:gd name="connsiteY424" fmla="*/ 91548 h 200072"/>
                <a:gd name="connsiteX425" fmla="*/ 115023 w 242242"/>
                <a:gd name="connsiteY425" fmla="*/ 94977 h 200072"/>
                <a:gd name="connsiteX426" fmla="*/ 118071 w 242242"/>
                <a:gd name="connsiteY426" fmla="*/ 97644 h 200072"/>
                <a:gd name="connsiteX427" fmla="*/ 119024 w 242242"/>
                <a:gd name="connsiteY427" fmla="*/ 99073 h 200072"/>
                <a:gd name="connsiteX428" fmla="*/ 118452 w 242242"/>
                <a:gd name="connsiteY428" fmla="*/ 100978 h 200072"/>
                <a:gd name="connsiteX429" fmla="*/ 114642 w 242242"/>
                <a:gd name="connsiteY429" fmla="*/ 102597 h 200072"/>
                <a:gd name="connsiteX430" fmla="*/ 110451 w 242242"/>
                <a:gd name="connsiteY430" fmla="*/ 100882 h 200072"/>
                <a:gd name="connsiteX431" fmla="*/ 108165 w 242242"/>
                <a:gd name="connsiteY431" fmla="*/ 97644 h 200072"/>
                <a:gd name="connsiteX432" fmla="*/ 114071 w 242242"/>
                <a:gd name="connsiteY432" fmla="*/ 104597 h 200072"/>
                <a:gd name="connsiteX433" fmla="*/ 121691 w 242242"/>
                <a:gd name="connsiteY433" fmla="*/ 100882 h 200072"/>
                <a:gd name="connsiteX434" fmla="*/ 120548 w 242242"/>
                <a:gd name="connsiteY434" fmla="*/ 95834 h 200072"/>
                <a:gd name="connsiteX435" fmla="*/ 124834 w 242242"/>
                <a:gd name="connsiteY435" fmla="*/ 95548 h 200072"/>
                <a:gd name="connsiteX436" fmla="*/ 124834 w 242242"/>
                <a:gd name="connsiteY436" fmla="*/ 100025 h 200072"/>
                <a:gd name="connsiteX437" fmla="*/ 127882 w 242242"/>
                <a:gd name="connsiteY437" fmla="*/ 102883 h 200072"/>
                <a:gd name="connsiteX438" fmla="*/ 132168 w 242242"/>
                <a:gd name="connsiteY438" fmla="*/ 104692 h 200072"/>
                <a:gd name="connsiteX439" fmla="*/ 135121 w 242242"/>
                <a:gd name="connsiteY439" fmla="*/ 107264 h 200072"/>
                <a:gd name="connsiteX440" fmla="*/ 134264 w 242242"/>
                <a:gd name="connsiteY440" fmla="*/ 111360 h 200072"/>
                <a:gd name="connsiteX441" fmla="*/ 136645 w 242242"/>
                <a:gd name="connsiteY441" fmla="*/ 105931 h 200072"/>
                <a:gd name="connsiteX442" fmla="*/ 132549 w 242242"/>
                <a:gd name="connsiteY442" fmla="*/ 101454 h 200072"/>
                <a:gd name="connsiteX443" fmla="*/ 139122 w 242242"/>
                <a:gd name="connsiteY443" fmla="*/ 101454 h 200072"/>
                <a:gd name="connsiteX444" fmla="*/ 138359 w 242242"/>
                <a:gd name="connsiteY444" fmla="*/ 103264 h 200072"/>
                <a:gd name="connsiteX445" fmla="*/ 137121 w 242242"/>
                <a:gd name="connsiteY445" fmla="*/ 107264 h 200072"/>
                <a:gd name="connsiteX446" fmla="*/ 137026 w 242242"/>
                <a:gd name="connsiteY446" fmla="*/ 111550 h 200072"/>
                <a:gd name="connsiteX447" fmla="*/ 139693 w 242242"/>
                <a:gd name="connsiteY447" fmla="*/ 114217 h 200072"/>
                <a:gd name="connsiteX448" fmla="*/ 146646 w 242242"/>
                <a:gd name="connsiteY448" fmla="*/ 113265 h 200072"/>
                <a:gd name="connsiteX449" fmla="*/ 147980 w 242242"/>
                <a:gd name="connsiteY449" fmla="*/ 112789 h 200072"/>
                <a:gd name="connsiteX450" fmla="*/ 149408 w 242242"/>
                <a:gd name="connsiteY450" fmla="*/ 116122 h 200072"/>
                <a:gd name="connsiteX451" fmla="*/ 152266 w 242242"/>
                <a:gd name="connsiteY451" fmla="*/ 118408 h 200072"/>
                <a:gd name="connsiteX452" fmla="*/ 154076 w 242242"/>
                <a:gd name="connsiteY452" fmla="*/ 120694 h 200072"/>
                <a:gd name="connsiteX453" fmla="*/ 152457 w 242242"/>
                <a:gd name="connsiteY453" fmla="*/ 123838 h 200072"/>
                <a:gd name="connsiteX454" fmla="*/ 149885 w 242242"/>
                <a:gd name="connsiteY454" fmla="*/ 126028 h 200072"/>
                <a:gd name="connsiteX455" fmla="*/ 155505 w 242242"/>
                <a:gd name="connsiteY455" fmla="*/ 123742 h 200072"/>
                <a:gd name="connsiteX456" fmla="*/ 156457 w 242242"/>
                <a:gd name="connsiteY456" fmla="*/ 118218 h 200072"/>
                <a:gd name="connsiteX457" fmla="*/ 165506 w 242242"/>
                <a:gd name="connsiteY457" fmla="*/ 118218 h 200072"/>
                <a:gd name="connsiteX458" fmla="*/ 167315 w 242242"/>
                <a:gd name="connsiteY458" fmla="*/ 117932 h 200072"/>
                <a:gd name="connsiteX459" fmla="*/ 165982 w 242242"/>
                <a:gd name="connsiteY459" fmla="*/ 119075 h 200072"/>
                <a:gd name="connsiteX460" fmla="*/ 163029 w 242242"/>
                <a:gd name="connsiteY460" fmla="*/ 122028 h 200072"/>
                <a:gd name="connsiteX461" fmla="*/ 161505 w 242242"/>
                <a:gd name="connsiteY461" fmla="*/ 129934 h 200072"/>
                <a:gd name="connsiteX462" fmla="*/ 168363 w 242242"/>
                <a:gd name="connsiteY462" fmla="*/ 133648 h 200072"/>
                <a:gd name="connsiteX463" fmla="*/ 168173 w 242242"/>
                <a:gd name="connsiteY463" fmla="*/ 133934 h 200072"/>
                <a:gd name="connsiteX464" fmla="*/ 167601 w 242242"/>
                <a:gd name="connsiteY464" fmla="*/ 134220 h 200072"/>
                <a:gd name="connsiteX465" fmla="*/ 166077 w 242242"/>
                <a:gd name="connsiteY465" fmla="*/ 134982 h 200072"/>
                <a:gd name="connsiteX466" fmla="*/ 163886 w 242242"/>
                <a:gd name="connsiteY466" fmla="*/ 136601 h 200072"/>
                <a:gd name="connsiteX467" fmla="*/ 161982 w 242242"/>
                <a:gd name="connsiteY467" fmla="*/ 141840 h 200072"/>
                <a:gd name="connsiteX468" fmla="*/ 162458 w 242242"/>
                <a:gd name="connsiteY468" fmla="*/ 144697 h 200072"/>
                <a:gd name="connsiteX469" fmla="*/ 162934 w 242242"/>
                <a:gd name="connsiteY469" fmla="*/ 146126 h 200072"/>
                <a:gd name="connsiteX470" fmla="*/ 163315 w 242242"/>
                <a:gd name="connsiteY470" fmla="*/ 146888 h 200072"/>
                <a:gd name="connsiteX471" fmla="*/ 163410 w 242242"/>
                <a:gd name="connsiteY471" fmla="*/ 147364 h 200072"/>
                <a:gd name="connsiteX472" fmla="*/ 165125 w 242242"/>
                <a:gd name="connsiteY472" fmla="*/ 150889 h 200072"/>
                <a:gd name="connsiteX473" fmla="*/ 169792 w 242242"/>
                <a:gd name="connsiteY473" fmla="*/ 154318 h 200072"/>
                <a:gd name="connsiteX474" fmla="*/ 169411 w 242242"/>
                <a:gd name="connsiteY474" fmla="*/ 155270 h 200072"/>
                <a:gd name="connsiteX475" fmla="*/ 168935 w 242242"/>
                <a:gd name="connsiteY475" fmla="*/ 156223 h 200072"/>
                <a:gd name="connsiteX476" fmla="*/ 167982 w 242242"/>
                <a:gd name="connsiteY476" fmla="*/ 156699 h 200072"/>
                <a:gd name="connsiteX477" fmla="*/ 164458 w 242242"/>
                <a:gd name="connsiteY477" fmla="*/ 156508 h 200072"/>
                <a:gd name="connsiteX478" fmla="*/ 168554 w 242242"/>
                <a:gd name="connsiteY478" fmla="*/ 157747 h 200072"/>
                <a:gd name="connsiteX479" fmla="*/ 168649 w 242242"/>
                <a:gd name="connsiteY479" fmla="*/ 164414 h 200072"/>
                <a:gd name="connsiteX480" fmla="*/ 168840 w 242242"/>
                <a:gd name="connsiteY480" fmla="*/ 164795 h 200072"/>
                <a:gd name="connsiteX481" fmla="*/ 168649 w 242242"/>
                <a:gd name="connsiteY481" fmla="*/ 165271 h 200072"/>
                <a:gd name="connsiteX482" fmla="*/ 168173 w 242242"/>
                <a:gd name="connsiteY482" fmla="*/ 166129 h 200072"/>
                <a:gd name="connsiteX483" fmla="*/ 167030 w 242242"/>
                <a:gd name="connsiteY483" fmla="*/ 167272 h 200072"/>
                <a:gd name="connsiteX484" fmla="*/ 165410 w 242242"/>
                <a:gd name="connsiteY484" fmla="*/ 166414 h 200072"/>
                <a:gd name="connsiteX485" fmla="*/ 164458 w 242242"/>
                <a:gd name="connsiteY485" fmla="*/ 164986 h 200072"/>
                <a:gd name="connsiteX486" fmla="*/ 165887 w 242242"/>
                <a:gd name="connsiteY486" fmla="*/ 162033 h 200072"/>
                <a:gd name="connsiteX487" fmla="*/ 163601 w 242242"/>
                <a:gd name="connsiteY487" fmla="*/ 163557 h 200072"/>
                <a:gd name="connsiteX488" fmla="*/ 163315 w 242242"/>
                <a:gd name="connsiteY488" fmla="*/ 166510 h 200072"/>
                <a:gd name="connsiteX489" fmla="*/ 167601 w 242242"/>
                <a:gd name="connsiteY489" fmla="*/ 170224 h 200072"/>
                <a:gd name="connsiteX490" fmla="*/ 170078 w 242242"/>
                <a:gd name="connsiteY490" fmla="*/ 168986 h 200072"/>
                <a:gd name="connsiteX491" fmla="*/ 171030 w 242242"/>
                <a:gd name="connsiteY491" fmla="*/ 167748 h 200072"/>
                <a:gd name="connsiteX492" fmla="*/ 171411 w 242242"/>
                <a:gd name="connsiteY492" fmla="*/ 167081 h 200072"/>
                <a:gd name="connsiteX493" fmla="*/ 171602 w 242242"/>
                <a:gd name="connsiteY493" fmla="*/ 166891 h 200072"/>
                <a:gd name="connsiteX494" fmla="*/ 171983 w 242242"/>
                <a:gd name="connsiteY494" fmla="*/ 166986 h 200072"/>
                <a:gd name="connsiteX495" fmla="*/ 175888 w 242242"/>
                <a:gd name="connsiteY495" fmla="*/ 167272 h 200072"/>
                <a:gd name="connsiteX496" fmla="*/ 177126 w 242242"/>
                <a:gd name="connsiteY496" fmla="*/ 167081 h 200072"/>
                <a:gd name="connsiteX497" fmla="*/ 182556 w 242242"/>
                <a:gd name="connsiteY497" fmla="*/ 165652 h 200072"/>
                <a:gd name="connsiteX498" fmla="*/ 183222 w 242242"/>
                <a:gd name="connsiteY498" fmla="*/ 165367 h 200072"/>
                <a:gd name="connsiteX499" fmla="*/ 177698 w 242242"/>
                <a:gd name="connsiteY499" fmla="*/ 171463 h 200072"/>
                <a:gd name="connsiteX500" fmla="*/ 183413 w 242242"/>
                <a:gd name="connsiteY500" fmla="*/ 174892 h 200072"/>
                <a:gd name="connsiteX501" fmla="*/ 183032 w 242242"/>
                <a:gd name="connsiteY501" fmla="*/ 180035 h 200072"/>
                <a:gd name="connsiteX502" fmla="*/ 182651 w 242242"/>
                <a:gd name="connsiteY502" fmla="*/ 181654 h 200072"/>
                <a:gd name="connsiteX503" fmla="*/ 179698 w 242242"/>
                <a:gd name="connsiteY503" fmla="*/ 195751 h 200072"/>
                <a:gd name="connsiteX504" fmla="*/ 182460 w 242242"/>
                <a:gd name="connsiteY504" fmla="*/ 194418 h 200072"/>
                <a:gd name="connsiteX505" fmla="*/ 186080 w 242242"/>
                <a:gd name="connsiteY505" fmla="*/ 199942 h 200072"/>
                <a:gd name="connsiteX506" fmla="*/ 191033 w 242242"/>
                <a:gd name="connsiteY506" fmla="*/ 197847 h 200072"/>
                <a:gd name="connsiteX507" fmla="*/ 191699 w 242242"/>
                <a:gd name="connsiteY507" fmla="*/ 194894 h 200072"/>
                <a:gd name="connsiteX508" fmla="*/ 188747 w 242242"/>
                <a:gd name="connsiteY508" fmla="*/ 197656 h 200072"/>
                <a:gd name="connsiteX509" fmla="*/ 186556 w 242242"/>
                <a:gd name="connsiteY509" fmla="*/ 192989 h 200072"/>
                <a:gd name="connsiteX510" fmla="*/ 188175 w 242242"/>
                <a:gd name="connsiteY510" fmla="*/ 190608 h 200072"/>
                <a:gd name="connsiteX511" fmla="*/ 191414 w 242242"/>
                <a:gd name="connsiteY511" fmla="*/ 190132 h 200072"/>
                <a:gd name="connsiteX512" fmla="*/ 197415 w 242242"/>
                <a:gd name="connsiteY512" fmla="*/ 190132 h 200072"/>
                <a:gd name="connsiteX513" fmla="*/ 198843 w 242242"/>
                <a:gd name="connsiteY513" fmla="*/ 189084 h 200072"/>
                <a:gd name="connsiteX514" fmla="*/ 199129 w 242242"/>
                <a:gd name="connsiteY514" fmla="*/ 188417 h 200072"/>
                <a:gd name="connsiteX515" fmla="*/ 199319 w 242242"/>
                <a:gd name="connsiteY515" fmla="*/ 187655 h 200072"/>
                <a:gd name="connsiteX516" fmla="*/ 199891 w 242242"/>
                <a:gd name="connsiteY516" fmla="*/ 183940 h 200072"/>
                <a:gd name="connsiteX517" fmla="*/ 203225 w 242242"/>
                <a:gd name="connsiteY517" fmla="*/ 187179 h 200072"/>
                <a:gd name="connsiteX518" fmla="*/ 207701 w 242242"/>
                <a:gd name="connsiteY518" fmla="*/ 187560 h 200072"/>
                <a:gd name="connsiteX519" fmla="*/ 206273 w 242242"/>
                <a:gd name="connsiteY519" fmla="*/ 185369 h 200072"/>
                <a:gd name="connsiteX520" fmla="*/ 204558 w 242242"/>
                <a:gd name="connsiteY520" fmla="*/ 185750 h 200072"/>
                <a:gd name="connsiteX521" fmla="*/ 201891 w 242242"/>
                <a:gd name="connsiteY521" fmla="*/ 179368 h 200072"/>
                <a:gd name="connsiteX522" fmla="*/ 207035 w 242242"/>
                <a:gd name="connsiteY522" fmla="*/ 177559 h 200072"/>
                <a:gd name="connsiteX523" fmla="*/ 209988 w 242242"/>
                <a:gd name="connsiteY523" fmla="*/ 172606 h 200072"/>
                <a:gd name="connsiteX524" fmla="*/ 212655 w 242242"/>
                <a:gd name="connsiteY524" fmla="*/ 175082 h 200072"/>
                <a:gd name="connsiteX525" fmla="*/ 214464 w 242242"/>
                <a:gd name="connsiteY525" fmla="*/ 178702 h 200072"/>
                <a:gd name="connsiteX526" fmla="*/ 213512 w 242242"/>
                <a:gd name="connsiteY526" fmla="*/ 181464 h 200072"/>
                <a:gd name="connsiteX527" fmla="*/ 210273 w 242242"/>
                <a:gd name="connsiteY527" fmla="*/ 181750 h 200072"/>
                <a:gd name="connsiteX528" fmla="*/ 213702 w 242242"/>
                <a:gd name="connsiteY528" fmla="*/ 182512 h 200072"/>
                <a:gd name="connsiteX529" fmla="*/ 217036 w 242242"/>
                <a:gd name="connsiteY529" fmla="*/ 180321 h 200072"/>
                <a:gd name="connsiteX530" fmla="*/ 215798 w 242242"/>
                <a:gd name="connsiteY530" fmla="*/ 174320 h 200072"/>
                <a:gd name="connsiteX531" fmla="*/ 212464 w 242242"/>
                <a:gd name="connsiteY531" fmla="*/ 170796 h 200072"/>
                <a:gd name="connsiteX532" fmla="*/ 210940 w 242242"/>
                <a:gd name="connsiteY532" fmla="*/ 166033 h 200072"/>
                <a:gd name="connsiteX533" fmla="*/ 216845 w 242242"/>
                <a:gd name="connsiteY533" fmla="*/ 166891 h 200072"/>
                <a:gd name="connsiteX534" fmla="*/ 221036 w 242242"/>
                <a:gd name="connsiteY534" fmla="*/ 164509 h 200072"/>
                <a:gd name="connsiteX535" fmla="*/ 224180 w 242242"/>
                <a:gd name="connsiteY535" fmla="*/ 160509 h 200072"/>
                <a:gd name="connsiteX536" fmla="*/ 226085 w 242242"/>
                <a:gd name="connsiteY536" fmla="*/ 159271 h 200072"/>
                <a:gd name="connsiteX537" fmla="*/ 227799 w 242242"/>
                <a:gd name="connsiteY537" fmla="*/ 160890 h 200072"/>
                <a:gd name="connsiteX538" fmla="*/ 225990 w 242242"/>
                <a:gd name="connsiteY538" fmla="*/ 166891 h 200072"/>
                <a:gd name="connsiteX539" fmla="*/ 229323 w 242242"/>
                <a:gd name="connsiteY539" fmla="*/ 161747 h 200072"/>
                <a:gd name="connsiteX540" fmla="*/ 226847 w 242242"/>
                <a:gd name="connsiteY540" fmla="*/ 157175 h 200072"/>
                <a:gd name="connsiteX541" fmla="*/ 223799 w 242242"/>
                <a:gd name="connsiteY541" fmla="*/ 157270 h 200072"/>
                <a:gd name="connsiteX542" fmla="*/ 223799 w 242242"/>
                <a:gd name="connsiteY542" fmla="*/ 153079 h 200072"/>
                <a:gd name="connsiteX543" fmla="*/ 228657 w 242242"/>
                <a:gd name="connsiteY543" fmla="*/ 155746 h 200072"/>
                <a:gd name="connsiteX544" fmla="*/ 230847 w 242242"/>
                <a:gd name="connsiteY544" fmla="*/ 153937 h 200072"/>
                <a:gd name="connsiteX545" fmla="*/ 231990 w 242242"/>
                <a:gd name="connsiteY545" fmla="*/ 151746 h 200072"/>
                <a:gd name="connsiteX546" fmla="*/ 227894 w 242242"/>
                <a:gd name="connsiteY546" fmla="*/ 153556 h 200072"/>
                <a:gd name="connsiteX547" fmla="*/ 226656 w 242242"/>
                <a:gd name="connsiteY547" fmla="*/ 152794 h 200072"/>
                <a:gd name="connsiteX548" fmla="*/ 227418 w 242242"/>
                <a:gd name="connsiteY548" fmla="*/ 150031 h 200072"/>
                <a:gd name="connsiteX549" fmla="*/ 231038 w 242242"/>
                <a:gd name="connsiteY549" fmla="*/ 147364 h 200072"/>
                <a:gd name="connsiteX550" fmla="*/ 232276 w 242242"/>
                <a:gd name="connsiteY550" fmla="*/ 142507 h 200072"/>
                <a:gd name="connsiteX551" fmla="*/ 231800 w 242242"/>
                <a:gd name="connsiteY551" fmla="*/ 139459 h 200072"/>
                <a:gd name="connsiteX552" fmla="*/ 231514 w 242242"/>
                <a:gd name="connsiteY552" fmla="*/ 138030 h 200072"/>
                <a:gd name="connsiteX553" fmla="*/ 231895 w 242242"/>
                <a:gd name="connsiteY553" fmla="*/ 136601 h 200072"/>
                <a:gd name="connsiteX554" fmla="*/ 231323 w 242242"/>
                <a:gd name="connsiteY554" fmla="*/ 137268 h 200072"/>
                <a:gd name="connsiteX555" fmla="*/ 230942 w 242242"/>
                <a:gd name="connsiteY555" fmla="*/ 136030 h 200072"/>
                <a:gd name="connsiteX556" fmla="*/ 237324 w 242242"/>
                <a:gd name="connsiteY556" fmla="*/ 135077 h 200072"/>
                <a:gd name="connsiteX557" fmla="*/ 238182 w 242242"/>
                <a:gd name="connsiteY557" fmla="*/ 131172 h 200072"/>
                <a:gd name="connsiteX558" fmla="*/ 235705 w 242242"/>
                <a:gd name="connsiteY558" fmla="*/ 128600 h 200072"/>
                <a:gd name="connsiteX559" fmla="*/ 233324 w 242242"/>
                <a:gd name="connsiteY559" fmla="*/ 132029 h 200072"/>
                <a:gd name="connsiteX560" fmla="*/ 235133 w 242242"/>
                <a:gd name="connsiteY560" fmla="*/ 130600 h 200072"/>
                <a:gd name="connsiteX561" fmla="*/ 235800 w 242242"/>
                <a:gd name="connsiteY561" fmla="*/ 132505 h 200072"/>
                <a:gd name="connsiteX562" fmla="*/ 230181 w 242242"/>
                <a:gd name="connsiteY562" fmla="*/ 132315 h 200072"/>
                <a:gd name="connsiteX563" fmla="*/ 229514 w 242242"/>
                <a:gd name="connsiteY563" fmla="*/ 131839 h 200072"/>
                <a:gd name="connsiteX564" fmla="*/ 229133 w 242242"/>
                <a:gd name="connsiteY564" fmla="*/ 131077 h 200072"/>
                <a:gd name="connsiteX565" fmla="*/ 228466 w 242242"/>
                <a:gd name="connsiteY565" fmla="*/ 129267 h 200072"/>
                <a:gd name="connsiteX566" fmla="*/ 226942 w 242242"/>
                <a:gd name="connsiteY566" fmla="*/ 125743 h 200072"/>
                <a:gd name="connsiteX567" fmla="*/ 226847 w 242242"/>
                <a:gd name="connsiteY567" fmla="*/ 125171 h 200072"/>
                <a:gd name="connsiteX568" fmla="*/ 227132 w 242242"/>
                <a:gd name="connsiteY568" fmla="*/ 124314 h 200072"/>
                <a:gd name="connsiteX569" fmla="*/ 227704 w 242242"/>
                <a:gd name="connsiteY569" fmla="*/ 123266 h 200072"/>
                <a:gd name="connsiteX570" fmla="*/ 215036 w 242242"/>
                <a:gd name="connsiteY570" fmla="*/ 56305 h 200072"/>
                <a:gd name="connsiteX571" fmla="*/ 216560 w 242242"/>
                <a:gd name="connsiteY571" fmla="*/ 57829 h 200072"/>
                <a:gd name="connsiteX572" fmla="*/ 215131 w 242242"/>
                <a:gd name="connsiteY572" fmla="*/ 60115 h 200072"/>
                <a:gd name="connsiteX573" fmla="*/ 214655 w 242242"/>
                <a:gd name="connsiteY573" fmla="*/ 56210 h 200072"/>
                <a:gd name="connsiteX574" fmla="*/ 215036 w 242242"/>
                <a:gd name="connsiteY574" fmla="*/ 56210 h 200072"/>
                <a:gd name="connsiteX575" fmla="*/ 23012 w 242242"/>
                <a:gd name="connsiteY575" fmla="*/ 63544 h 200072"/>
                <a:gd name="connsiteX576" fmla="*/ 16916 w 242242"/>
                <a:gd name="connsiteY576" fmla="*/ 64402 h 200072"/>
                <a:gd name="connsiteX577" fmla="*/ 14344 w 242242"/>
                <a:gd name="connsiteY577" fmla="*/ 64021 h 200072"/>
                <a:gd name="connsiteX578" fmla="*/ 13487 w 242242"/>
                <a:gd name="connsiteY578" fmla="*/ 62116 h 200072"/>
                <a:gd name="connsiteX579" fmla="*/ 14725 w 242242"/>
                <a:gd name="connsiteY579" fmla="*/ 58782 h 200072"/>
                <a:gd name="connsiteX580" fmla="*/ 18440 w 242242"/>
                <a:gd name="connsiteY580" fmla="*/ 59830 h 200072"/>
                <a:gd name="connsiteX581" fmla="*/ 19392 w 242242"/>
                <a:gd name="connsiteY581" fmla="*/ 59544 h 200072"/>
                <a:gd name="connsiteX582" fmla="*/ 23107 w 242242"/>
                <a:gd name="connsiteY582" fmla="*/ 63449 h 200072"/>
                <a:gd name="connsiteX583" fmla="*/ 23012 w 242242"/>
                <a:gd name="connsiteY583" fmla="*/ 63449 h 200072"/>
                <a:gd name="connsiteX584" fmla="*/ 8724 w 242242"/>
                <a:gd name="connsiteY584" fmla="*/ 116694 h 200072"/>
                <a:gd name="connsiteX585" fmla="*/ 7867 w 242242"/>
                <a:gd name="connsiteY585" fmla="*/ 116503 h 200072"/>
                <a:gd name="connsiteX586" fmla="*/ 7867 w 242242"/>
                <a:gd name="connsiteY586" fmla="*/ 116503 h 200072"/>
                <a:gd name="connsiteX587" fmla="*/ 4152 w 242242"/>
                <a:gd name="connsiteY587" fmla="*/ 112503 h 200072"/>
                <a:gd name="connsiteX588" fmla="*/ 6248 w 242242"/>
                <a:gd name="connsiteY588" fmla="*/ 106597 h 200072"/>
                <a:gd name="connsiteX589" fmla="*/ 8724 w 242242"/>
                <a:gd name="connsiteY589" fmla="*/ 103835 h 200072"/>
                <a:gd name="connsiteX590" fmla="*/ 5772 w 242242"/>
                <a:gd name="connsiteY590" fmla="*/ 111074 h 200072"/>
                <a:gd name="connsiteX591" fmla="*/ 8724 w 242242"/>
                <a:gd name="connsiteY591" fmla="*/ 116694 h 200072"/>
                <a:gd name="connsiteX592" fmla="*/ 7962 w 242242"/>
                <a:gd name="connsiteY592" fmla="*/ 97739 h 200072"/>
                <a:gd name="connsiteX593" fmla="*/ 7867 w 242242"/>
                <a:gd name="connsiteY593" fmla="*/ 97739 h 200072"/>
                <a:gd name="connsiteX594" fmla="*/ 6915 w 242242"/>
                <a:gd name="connsiteY594" fmla="*/ 97739 h 200072"/>
                <a:gd name="connsiteX595" fmla="*/ 6248 w 242242"/>
                <a:gd name="connsiteY595" fmla="*/ 97739 h 200072"/>
                <a:gd name="connsiteX596" fmla="*/ 5486 w 242242"/>
                <a:gd name="connsiteY596" fmla="*/ 96787 h 200072"/>
                <a:gd name="connsiteX597" fmla="*/ 5295 w 242242"/>
                <a:gd name="connsiteY597" fmla="*/ 94405 h 200072"/>
                <a:gd name="connsiteX598" fmla="*/ 6724 w 242242"/>
                <a:gd name="connsiteY598" fmla="*/ 94024 h 200072"/>
                <a:gd name="connsiteX599" fmla="*/ 8343 w 242242"/>
                <a:gd name="connsiteY599" fmla="*/ 95929 h 200072"/>
                <a:gd name="connsiteX600" fmla="*/ 8629 w 242242"/>
                <a:gd name="connsiteY600" fmla="*/ 96691 h 200072"/>
                <a:gd name="connsiteX601" fmla="*/ 8819 w 242242"/>
                <a:gd name="connsiteY601" fmla="*/ 97453 h 200072"/>
                <a:gd name="connsiteX602" fmla="*/ 7867 w 242242"/>
                <a:gd name="connsiteY602" fmla="*/ 97739 h 200072"/>
                <a:gd name="connsiteX603" fmla="*/ 9867 w 242242"/>
                <a:gd name="connsiteY603" fmla="*/ 97453 h 200072"/>
                <a:gd name="connsiteX604" fmla="*/ 9772 w 242242"/>
                <a:gd name="connsiteY604" fmla="*/ 97453 h 200072"/>
                <a:gd name="connsiteX605" fmla="*/ 9581 w 242242"/>
                <a:gd name="connsiteY605" fmla="*/ 94596 h 200072"/>
                <a:gd name="connsiteX606" fmla="*/ 14820 w 242242"/>
                <a:gd name="connsiteY606" fmla="*/ 95739 h 200072"/>
                <a:gd name="connsiteX607" fmla="*/ 9867 w 242242"/>
                <a:gd name="connsiteY607" fmla="*/ 97358 h 200072"/>
                <a:gd name="connsiteX608" fmla="*/ 22059 w 242242"/>
                <a:gd name="connsiteY608" fmla="*/ 146507 h 200072"/>
                <a:gd name="connsiteX609" fmla="*/ 22059 w 242242"/>
                <a:gd name="connsiteY609" fmla="*/ 146793 h 200072"/>
                <a:gd name="connsiteX610" fmla="*/ 21869 w 242242"/>
                <a:gd name="connsiteY610" fmla="*/ 147555 h 200072"/>
                <a:gd name="connsiteX611" fmla="*/ 22250 w 242242"/>
                <a:gd name="connsiteY611" fmla="*/ 142602 h 200072"/>
                <a:gd name="connsiteX612" fmla="*/ 23393 w 242242"/>
                <a:gd name="connsiteY612" fmla="*/ 140221 h 200072"/>
                <a:gd name="connsiteX613" fmla="*/ 24440 w 242242"/>
                <a:gd name="connsiteY613" fmla="*/ 138982 h 200072"/>
                <a:gd name="connsiteX614" fmla="*/ 22155 w 242242"/>
                <a:gd name="connsiteY614" fmla="*/ 146602 h 200072"/>
                <a:gd name="connsiteX615" fmla="*/ 31013 w 242242"/>
                <a:gd name="connsiteY615" fmla="*/ 168129 h 200072"/>
                <a:gd name="connsiteX616" fmla="*/ 30060 w 242242"/>
                <a:gd name="connsiteY616" fmla="*/ 170701 h 200072"/>
                <a:gd name="connsiteX617" fmla="*/ 27489 w 242242"/>
                <a:gd name="connsiteY617" fmla="*/ 170320 h 200072"/>
                <a:gd name="connsiteX618" fmla="*/ 26441 w 242242"/>
                <a:gd name="connsiteY618" fmla="*/ 167557 h 200072"/>
                <a:gd name="connsiteX619" fmla="*/ 28917 w 242242"/>
                <a:gd name="connsiteY619" fmla="*/ 165938 h 200072"/>
                <a:gd name="connsiteX620" fmla="*/ 30632 w 242242"/>
                <a:gd name="connsiteY620" fmla="*/ 166700 h 200072"/>
                <a:gd name="connsiteX621" fmla="*/ 31108 w 242242"/>
                <a:gd name="connsiteY621" fmla="*/ 168034 h 200072"/>
                <a:gd name="connsiteX622" fmla="*/ 31108 w 242242"/>
                <a:gd name="connsiteY622" fmla="*/ 167843 h 200072"/>
                <a:gd name="connsiteX623" fmla="*/ 31108 w 242242"/>
                <a:gd name="connsiteY623" fmla="*/ 168224 h 200072"/>
                <a:gd name="connsiteX624" fmla="*/ 164648 w 242242"/>
                <a:gd name="connsiteY624" fmla="*/ 139363 h 200072"/>
                <a:gd name="connsiteX625" fmla="*/ 165696 w 242242"/>
                <a:gd name="connsiteY625" fmla="*/ 137363 h 200072"/>
                <a:gd name="connsiteX626" fmla="*/ 165696 w 242242"/>
                <a:gd name="connsiteY626" fmla="*/ 137363 h 200072"/>
                <a:gd name="connsiteX627" fmla="*/ 164553 w 242242"/>
                <a:gd name="connsiteY627" fmla="*/ 139459 h 200072"/>
                <a:gd name="connsiteX628" fmla="*/ 199891 w 242242"/>
                <a:gd name="connsiteY628" fmla="*/ 50590 h 200072"/>
                <a:gd name="connsiteX629" fmla="*/ 203034 w 242242"/>
                <a:gd name="connsiteY629" fmla="*/ 53162 h 200072"/>
                <a:gd name="connsiteX630" fmla="*/ 198557 w 242242"/>
                <a:gd name="connsiteY630" fmla="*/ 53734 h 200072"/>
                <a:gd name="connsiteX631" fmla="*/ 199796 w 242242"/>
                <a:gd name="connsiteY631" fmla="*/ 50495 h 200072"/>
                <a:gd name="connsiteX632" fmla="*/ 186747 w 242242"/>
                <a:gd name="connsiteY632" fmla="*/ 35922 h 200072"/>
                <a:gd name="connsiteX633" fmla="*/ 188366 w 242242"/>
                <a:gd name="connsiteY633" fmla="*/ 35922 h 200072"/>
                <a:gd name="connsiteX634" fmla="*/ 186080 w 242242"/>
                <a:gd name="connsiteY634" fmla="*/ 36112 h 200072"/>
                <a:gd name="connsiteX635" fmla="*/ 185794 w 242242"/>
                <a:gd name="connsiteY635" fmla="*/ 36112 h 200072"/>
                <a:gd name="connsiteX636" fmla="*/ 186747 w 242242"/>
                <a:gd name="connsiteY636" fmla="*/ 35731 h 200072"/>
                <a:gd name="connsiteX637" fmla="*/ 183317 w 242242"/>
                <a:gd name="connsiteY637" fmla="*/ 32398 h 200072"/>
                <a:gd name="connsiteX638" fmla="*/ 183698 w 242242"/>
                <a:gd name="connsiteY638" fmla="*/ 34017 h 200072"/>
                <a:gd name="connsiteX639" fmla="*/ 183889 w 242242"/>
                <a:gd name="connsiteY639" fmla="*/ 34779 h 200072"/>
                <a:gd name="connsiteX640" fmla="*/ 183794 w 242242"/>
                <a:gd name="connsiteY640" fmla="*/ 35255 h 200072"/>
                <a:gd name="connsiteX641" fmla="*/ 183127 w 242242"/>
                <a:gd name="connsiteY641" fmla="*/ 35636 h 200072"/>
                <a:gd name="connsiteX642" fmla="*/ 183222 w 242242"/>
                <a:gd name="connsiteY642" fmla="*/ 32398 h 200072"/>
                <a:gd name="connsiteX643" fmla="*/ 172649 w 242242"/>
                <a:gd name="connsiteY643" fmla="*/ 21444 h 200072"/>
                <a:gd name="connsiteX644" fmla="*/ 174935 w 242242"/>
                <a:gd name="connsiteY644" fmla="*/ 21825 h 200072"/>
                <a:gd name="connsiteX645" fmla="*/ 172554 w 242242"/>
                <a:gd name="connsiteY645" fmla="*/ 23730 h 200072"/>
                <a:gd name="connsiteX646" fmla="*/ 169792 w 242242"/>
                <a:gd name="connsiteY646" fmla="*/ 26587 h 200072"/>
                <a:gd name="connsiteX647" fmla="*/ 172649 w 242242"/>
                <a:gd name="connsiteY647" fmla="*/ 21349 h 200072"/>
                <a:gd name="connsiteX648" fmla="*/ 160362 w 242242"/>
                <a:gd name="connsiteY648" fmla="*/ 14586 h 200072"/>
                <a:gd name="connsiteX649" fmla="*/ 163982 w 242242"/>
                <a:gd name="connsiteY649" fmla="*/ 13729 h 200072"/>
                <a:gd name="connsiteX650" fmla="*/ 169506 w 242242"/>
                <a:gd name="connsiteY650" fmla="*/ 15729 h 200072"/>
                <a:gd name="connsiteX651" fmla="*/ 164077 w 242242"/>
                <a:gd name="connsiteY651" fmla="*/ 15157 h 200072"/>
                <a:gd name="connsiteX652" fmla="*/ 158267 w 242242"/>
                <a:gd name="connsiteY652" fmla="*/ 15919 h 200072"/>
                <a:gd name="connsiteX653" fmla="*/ 160362 w 242242"/>
                <a:gd name="connsiteY653" fmla="*/ 14586 h 200072"/>
                <a:gd name="connsiteX654" fmla="*/ 135788 w 242242"/>
                <a:gd name="connsiteY654" fmla="*/ 8204 h 200072"/>
                <a:gd name="connsiteX655" fmla="*/ 138645 w 242242"/>
                <a:gd name="connsiteY655" fmla="*/ 10776 h 200072"/>
                <a:gd name="connsiteX656" fmla="*/ 139883 w 242242"/>
                <a:gd name="connsiteY656" fmla="*/ 12490 h 200072"/>
                <a:gd name="connsiteX657" fmla="*/ 140550 w 242242"/>
                <a:gd name="connsiteY657" fmla="*/ 13252 h 200072"/>
                <a:gd name="connsiteX658" fmla="*/ 140550 w 242242"/>
                <a:gd name="connsiteY658" fmla="*/ 13633 h 200072"/>
                <a:gd name="connsiteX659" fmla="*/ 135216 w 242242"/>
                <a:gd name="connsiteY659" fmla="*/ 8966 h 200072"/>
                <a:gd name="connsiteX660" fmla="*/ 130263 w 242242"/>
                <a:gd name="connsiteY660" fmla="*/ 7442 h 200072"/>
                <a:gd name="connsiteX661" fmla="*/ 135788 w 242242"/>
                <a:gd name="connsiteY661" fmla="*/ 8204 h 200072"/>
                <a:gd name="connsiteX662" fmla="*/ 102831 w 242242"/>
                <a:gd name="connsiteY662" fmla="*/ 6013 h 200072"/>
                <a:gd name="connsiteX663" fmla="*/ 103974 w 242242"/>
                <a:gd name="connsiteY663" fmla="*/ 5061 h 200072"/>
                <a:gd name="connsiteX664" fmla="*/ 105117 w 242242"/>
                <a:gd name="connsiteY664" fmla="*/ 6109 h 200072"/>
                <a:gd name="connsiteX665" fmla="*/ 105593 w 242242"/>
                <a:gd name="connsiteY665" fmla="*/ 9252 h 200072"/>
                <a:gd name="connsiteX666" fmla="*/ 102355 w 242242"/>
                <a:gd name="connsiteY666" fmla="*/ 15919 h 200072"/>
                <a:gd name="connsiteX667" fmla="*/ 102355 w 242242"/>
                <a:gd name="connsiteY667" fmla="*/ 15634 h 200072"/>
                <a:gd name="connsiteX668" fmla="*/ 101688 w 242242"/>
                <a:gd name="connsiteY668" fmla="*/ 9442 h 200072"/>
                <a:gd name="connsiteX669" fmla="*/ 102736 w 242242"/>
                <a:gd name="connsiteY669" fmla="*/ 6013 h 200072"/>
                <a:gd name="connsiteX670" fmla="*/ 91115 w 242242"/>
                <a:gd name="connsiteY670" fmla="*/ 18110 h 200072"/>
                <a:gd name="connsiteX671" fmla="*/ 96926 w 242242"/>
                <a:gd name="connsiteY671" fmla="*/ 17729 h 200072"/>
                <a:gd name="connsiteX672" fmla="*/ 101593 w 242242"/>
                <a:gd name="connsiteY672" fmla="*/ 20682 h 200072"/>
                <a:gd name="connsiteX673" fmla="*/ 90734 w 242242"/>
                <a:gd name="connsiteY673" fmla="*/ 18205 h 200072"/>
                <a:gd name="connsiteX674" fmla="*/ 91115 w 242242"/>
                <a:gd name="connsiteY674" fmla="*/ 18110 h 200072"/>
                <a:gd name="connsiteX675" fmla="*/ 82448 w 242242"/>
                <a:gd name="connsiteY675" fmla="*/ 22587 h 200072"/>
                <a:gd name="connsiteX676" fmla="*/ 83495 w 242242"/>
                <a:gd name="connsiteY676" fmla="*/ 20872 h 200072"/>
                <a:gd name="connsiteX677" fmla="*/ 84448 w 242242"/>
                <a:gd name="connsiteY677" fmla="*/ 19920 h 200072"/>
                <a:gd name="connsiteX678" fmla="*/ 85019 w 242242"/>
                <a:gd name="connsiteY678" fmla="*/ 19539 h 200072"/>
                <a:gd name="connsiteX679" fmla="*/ 86353 w 242242"/>
                <a:gd name="connsiteY679" fmla="*/ 20301 h 200072"/>
                <a:gd name="connsiteX680" fmla="*/ 82257 w 242242"/>
                <a:gd name="connsiteY680" fmla="*/ 23444 h 200072"/>
                <a:gd name="connsiteX681" fmla="*/ 82543 w 242242"/>
                <a:gd name="connsiteY681" fmla="*/ 22587 h 200072"/>
                <a:gd name="connsiteX682" fmla="*/ 49586 w 242242"/>
                <a:gd name="connsiteY682" fmla="*/ 34874 h 200072"/>
                <a:gd name="connsiteX683" fmla="*/ 50539 w 242242"/>
                <a:gd name="connsiteY683" fmla="*/ 36874 h 200072"/>
                <a:gd name="connsiteX684" fmla="*/ 51015 w 242242"/>
                <a:gd name="connsiteY684" fmla="*/ 37636 h 200072"/>
                <a:gd name="connsiteX685" fmla="*/ 51015 w 242242"/>
                <a:gd name="connsiteY685" fmla="*/ 38875 h 200072"/>
                <a:gd name="connsiteX686" fmla="*/ 48348 w 242242"/>
                <a:gd name="connsiteY686" fmla="*/ 37541 h 200072"/>
                <a:gd name="connsiteX687" fmla="*/ 49586 w 242242"/>
                <a:gd name="connsiteY687" fmla="*/ 34874 h 200072"/>
                <a:gd name="connsiteX688" fmla="*/ 34347 w 242242"/>
                <a:gd name="connsiteY688" fmla="*/ 164700 h 200072"/>
                <a:gd name="connsiteX689" fmla="*/ 34156 w 242242"/>
                <a:gd name="connsiteY689" fmla="*/ 165367 h 200072"/>
                <a:gd name="connsiteX690" fmla="*/ 34156 w 242242"/>
                <a:gd name="connsiteY690" fmla="*/ 165176 h 200072"/>
                <a:gd name="connsiteX691" fmla="*/ 34442 w 242242"/>
                <a:gd name="connsiteY691" fmla="*/ 162223 h 200072"/>
                <a:gd name="connsiteX692" fmla="*/ 34727 w 242242"/>
                <a:gd name="connsiteY692" fmla="*/ 160985 h 200072"/>
                <a:gd name="connsiteX693" fmla="*/ 35394 w 242242"/>
                <a:gd name="connsiteY693" fmla="*/ 160604 h 200072"/>
                <a:gd name="connsiteX694" fmla="*/ 34347 w 242242"/>
                <a:gd name="connsiteY694" fmla="*/ 164700 h 200072"/>
                <a:gd name="connsiteX695" fmla="*/ 49206 w 242242"/>
                <a:gd name="connsiteY695" fmla="*/ 187179 h 200072"/>
                <a:gd name="connsiteX696" fmla="*/ 49206 w 242242"/>
                <a:gd name="connsiteY696" fmla="*/ 187179 h 200072"/>
                <a:gd name="connsiteX697" fmla="*/ 49206 w 242242"/>
                <a:gd name="connsiteY697" fmla="*/ 187179 h 200072"/>
                <a:gd name="connsiteX698" fmla="*/ 47300 w 242242"/>
                <a:gd name="connsiteY698" fmla="*/ 184702 h 200072"/>
                <a:gd name="connsiteX699" fmla="*/ 46443 w 242242"/>
                <a:gd name="connsiteY699" fmla="*/ 181083 h 200072"/>
                <a:gd name="connsiteX700" fmla="*/ 46824 w 242242"/>
                <a:gd name="connsiteY700" fmla="*/ 177178 h 200072"/>
                <a:gd name="connsiteX701" fmla="*/ 47110 w 242242"/>
                <a:gd name="connsiteY701" fmla="*/ 176320 h 200072"/>
                <a:gd name="connsiteX702" fmla="*/ 47586 w 242242"/>
                <a:gd name="connsiteY702" fmla="*/ 175654 h 200072"/>
                <a:gd name="connsiteX703" fmla="*/ 49110 w 242242"/>
                <a:gd name="connsiteY703" fmla="*/ 174701 h 200072"/>
                <a:gd name="connsiteX704" fmla="*/ 48348 w 242242"/>
                <a:gd name="connsiteY704" fmla="*/ 181464 h 200072"/>
                <a:gd name="connsiteX705" fmla="*/ 49682 w 242242"/>
                <a:gd name="connsiteY705" fmla="*/ 187465 h 200072"/>
                <a:gd name="connsiteX706" fmla="*/ 49206 w 242242"/>
                <a:gd name="connsiteY706" fmla="*/ 187274 h 200072"/>
                <a:gd name="connsiteX707" fmla="*/ 49206 w 242242"/>
                <a:gd name="connsiteY707" fmla="*/ 187274 h 200072"/>
                <a:gd name="connsiteX708" fmla="*/ 77209 w 242242"/>
                <a:gd name="connsiteY708" fmla="*/ 113741 h 200072"/>
                <a:gd name="connsiteX709" fmla="*/ 76161 w 242242"/>
                <a:gd name="connsiteY709" fmla="*/ 112312 h 200072"/>
                <a:gd name="connsiteX710" fmla="*/ 77590 w 242242"/>
                <a:gd name="connsiteY710" fmla="*/ 111931 h 200072"/>
                <a:gd name="connsiteX711" fmla="*/ 77209 w 242242"/>
                <a:gd name="connsiteY711" fmla="*/ 113646 h 200072"/>
                <a:gd name="connsiteX712" fmla="*/ 102641 w 242242"/>
                <a:gd name="connsiteY712" fmla="*/ 87928 h 200072"/>
                <a:gd name="connsiteX713" fmla="*/ 102355 w 242242"/>
                <a:gd name="connsiteY713" fmla="*/ 85547 h 200072"/>
                <a:gd name="connsiteX714" fmla="*/ 101783 w 242242"/>
                <a:gd name="connsiteY714" fmla="*/ 83737 h 200072"/>
                <a:gd name="connsiteX715" fmla="*/ 101402 w 242242"/>
                <a:gd name="connsiteY715" fmla="*/ 82975 h 200072"/>
                <a:gd name="connsiteX716" fmla="*/ 101212 w 242242"/>
                <a:gd name="connsiteY716" fmla="*/ 82594 h 200072"/>
                <a:gd name="connsiteX717" fmla="*/ 101212 w 242242"/>
                <a:gd name="connsiteY717" fmla="*/ 81928 h 200072"/>
                <a:gd name="connsiteX718" fmla="*/ 104927 w 242242"/>
                <a:gd name="connsiteY718" fmla="*/ 86023 h 200072"/>
                <a:gd name="connsiteX719" fmla="*/ 106260 w 242242"/>
                <a:gd name="connsiteY719" fmla="*/ 86881 h 200072"/>
                <a:gd name="connsiteX720" fmla="*/ 102736 w 242242"/>
                <a:gd name="connsiteY720" fmla="*/ 87928 h 200072"/>
                <a:gd name="connsiteX721" fmla="*/ 114357 w 242242"/>
                <a:gd name="connsiteY721" fmla="*/ 83547 h 200072"/>
                <a:gd name="connsiteX722" fmla="*/ 113594 w 242242"/>
                <a:gd name="connsiteY722" fmla="*/ 85357 h 200072"/>
                <a:gd name="connsiteX723" fmla="*/ 112261 w 242242"/>
                <a:gd name="connsiteY723" fmla="*/ 85547 h 200072"/>
                <a:gd name="connsiteX724" fmla="*/ 114071 w 242242"/>
                <a:gd name="connsiteY724" fmla="*/ 82404 h 200072"/>
                <a:gd name="connsiteX725" fmla="*/ 115690 w 242242"/>
                <a:gd name="connsiteY725" fmla="*/ 76784 h 200072"/>
                <a:gd name="connsiteX726" fmla="*/ 115404 w 242242"/>
                <a:gd name="connsiteY726" fmla="*/ 79165 h 200072"/>
                <a:gd name="connsiteX727" fmla="*/ 114357 w 242242"/>
                <a:gd name="connsiteY727" fmla="*/ 83547 h 200072"/>
                <a:gd name="connsiteX728" fmla="*/ 116071 w 242242"/>
                <a:gd name="connsiteY728" fmla="*/ 91834 h 200072"/>
                <a:gd name="connsiteX729" fmla="*/ 115976 w 242242"/>
                <a:gd name="connsiteY729" fmla="*/ 91548 h 200072"/>
                <a:gd name="connsiteX730" fmla="*/ 115309 w 242242"/>
                <a:gd name="connsiteY730" fmla="*/ 89833 h 200072"/>
                <a:gd name="connsiteX731" fmla="*/ 115499 w 242242"/>
                <a:gd name="connsiteY731" fmla="*/ 87643 h 200072"/>
                <a:gd name="connsiteX732" fmla="*/ 116357 w 242242"/>
                <a:gd name="connsiteY732" fmla="*/ 91548 h 200072"/>
                <a:gd name="connsiteX733" fmla="*/ 116738 w 242242"/>
                <a:gd name="connsiteY733" fmla="*/ 92786 h 200072"/>
                <a:gd name="connsiteX734" fmla="*/ 116071 w 242242"/>
                <a:gd name="connsiteY734" fmla="*/ 91834 h 200072"/>
                <a:gd name="connsiteX735" fmla="*/ 116071 w 242242"/>
                <a:gd name="connsiteY735" fmla="*/ 91834 h 200072"/>
                <a:gd name="connsiteX736" fmla="*/ 126930 w 242242"/>
                <a:gd name="connsiteY736" fmla="*/ 98882 h 200072"/>
                <a:gd name="connsiteX737" fmla="*/ 126930 w 242242"/>
                <a:gd name="connsiteY737" fmla="*/ 98882 h 200072"/>
                <a:gd name="connsiteX738" fmla="*/ 126930 w 242242"/>
                <a:gd name="connsiteY738" fmla="*/ 98882 h 200072"/>
                <a:gd name="connsiteX739" fmla="*/ 126453 w 242242"/>
                <a:gd name="connsiteY739" fmla="*/ 96882 h 200072"/>
                <a:gd name="connsiteX740" fmla="*/ 126263 w 242242"/>
                <a:gd name="connsiteY740" fmla="*/ 95834 h 200072"/>
                <a:gd name="connsiteX741" fmla="*/ 126263 w 242242"/>
                <a:gd name="connsiteY741" fmla="*/ 95548 h 200072"/>
                <a:gd name="connsiteX742" fmla="*/ 126263 w 242242"/>
                <a:gd name="connsiteY742" fmla="*/ 95358 h 200072"/>
                <a:gd name="connsiteX743" fmla="*/ 126834 w 242242"/>
                <a:gd name="connsiteY743" fmla="*/ 95072 h 200072"/>
                <a:gd name="connsiteX744" fmla="*/ 128739 w 242242"/>
                <a:gd name="connsiteY744" fmla="*/ 100120 h 200072"/>
                <a:gd name="connsiteX745" fmla="*/ 126930 w 242242"/>
                <a:gd name="connsiteY745" fmla="*/ 98882 h 200072"/>
                <a:gd name="connsiteX746" fmla="*/ 149980 w 242242"/>
                <a:gd name="connsiteY746" fmla="*/ 112598 h 200072"/>
                <a:gd name="connsiteX747" fmla="*/ 149885 w 242242"/>
                <a:gd name="connsiteY747" fmla="*/ 112312 h 200072"/>
                <a:gd name="connsiteX748" fmla="*/ 150170 w 242242"/>
                <a:gd name="connsiteY748" fmla="*/ 112217 h 200072"/>
                <a:gd name="connsiteX749" fmla="*/ 150361 w 242242"/>
                <a:gd name="connsiteY749" fmla="*/ 113265 h 200072"/>
                <a:gd name="connsiteX750" fmla="*/ 149980 w 242242"/>
                <a:gd name="connsiteY750" fmla="*/ 112598 h 200072"/>
                <a:gd name="connsiteX751" fmla="*/ 191985 w 242242"/>
                <a:gd name="connsiteY751" fmla="*/ 188703 h 200072"/>
                <a:gd name="connsiteX752" fmla="*/ 188842 w 242242"/>
                <a:gd name="connsiteY752" fmla="*/ 188417 h 200072"/>
                <a:gd name="connsiteX753" fmla="*/ 189985 w 242242"/>
                <a:gd name="connsiteY753" fmla="*/ 186322 h 200072"/>
                <a:gd name="connsiteX754" fmla="*/ 194557 w 242242"/>
                <a:gd name="connsiteY754" fmla="*/ 189370 h 200072"/>
                <a:gd name="connsiteX755" fmla="*/ 191985 w 242242"/>
                <a:gd name="connsiteY755" fmla="*/ 188703 h 200072"/>
                <a:gd name="connsiteX756" fmla="*/ 214655 w 242242"/>
                <a:gd name="connsiteY756" fmla="*/ 108693 h 200072"/>
                <a:gd name="connsiteX757" fmla="*/ 215036 w 242242"/>
                <a:gd name="connsiteY757" fmla="*/ 109074 h 200072"/>
                <a:gd name="connsiteX758" fmla="*/ 214845 w 242242"/>
                <a:gd name="connsiteY758" fmla="*/ 109645 h 200072"/>
                <a:gd name="connsiteX759" fmla="*/ 214750 w 242242"/>
                <a:gd name="connsiteY759" fmla="*/ 109455 h 200072"/>
                <a:gd name="connsiteX760" fmla="*/ 213512 w 242242"/>
                <a:gd name="connsiteY760" fmla="*/ 107740 h 200072"/>
                <a:gd name="connsiteX761" fmla="*/ 214750 w 242242"/>
                <a:gd name="connsiteY761" fmla="*/ 108693 h 200072"/>
                <a:gd name="connsiteX762" fmla="*/ 207797 w 242242"/>
                <a:gd name="connsiteY762" fmla="*/ 150222 h 200072"/>
                <a:gd name="connsiteX763" fmla="*/ 207416 w 242242"/>
                <a:gd name="connsiteY763" fmla="*/ 146698 h 200072"/>
                <a:gd name="connsiteX764" fmla="*/ 210273 w 242242"/>
                <a:gd name="connsiteY764" fmla="*/ 148126 h 200072"/>
                <a:gd name="connsiteX765" fmla="*/ 210654 w 242242"/>
                <a:gd name="connsiteY765" fmla="*/ 148222 h 200072"/>
                <a:gd name="connsiteX766" fmla="*/ 207797 w 242242"/>
                <a:gd name="connsiteY766" fmla="*/ 150222 h 200072"/>
                <a:gd name="connsiteX767" fmla="*/ 213798 w 242242"/>
                <a:gd name="connsiteY767" fmla="*/ 165938 h 200072"/>
                <a:gd name="connsiteX768" fmla="*/ 213131 w 242242"/>
                <a:gd name="connsiteY768" fmla="*/ 165938 h 200072"/>
                <a:gd name="connsiteX769" fmla="*/ 211416 w 242242"/>
                <a:gd name="connsiteY769" fmla="*/ 165843 h 200072"/>
                <a:gd name="connsiteX770" fmla="*/ 210749 w 242242"/>
                <a:gd name="connsiteY770" fmla="*/ 165748 h 200072"/>
                <a:gd name="connsiteX771" fmla="*/ 210749 w 242242"/>
                <a:gd name="connsiteY771" fmla="*/ 165176 h 200072"/>
                <a:gd name="connsiteX772" fmla="*/ 215417 w 242242"/>
                <a:gd name="connsiteY772" fmla="*/ 165843 h 200072"/>
                <a:gd name="connsiteX773" fmla="*/ 213893 w 242242"/>
                <a:gd name="connsiteY773" fmla="*/ 165938 h 20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Lst>
              <a:rect l="l" t="t" r="r" b="b"/>
              <a:pathLst>
                <a:path w="242242" h="200072">
                  <a:moveTo>
                    <a:pt x="227132" y="123171"/>
                  </a:moveTo>
                  <a:cubicBezTo>
                    <a:pt x="227132" y="123171"/>
                    <a:pt x="227609" y="123076"/>
                    <a:pt x="227799" y="123076"/>
                  </a:cubicBezTo>
                  <a:cubicBezTo>
                    <a:pt x="228085" y="123076"/>
                    <a:pt x="228371" y="123076"/>
                    <a:pt x="228657" y="122980"/>
                  </a:cubicBezTo>
                  <a:cubicBezTo>
                    <a:pt x="229228" y="122885"/>
                    <a:pt x="229895" y="122695"/>
                    <a:pt x="230466" y="122504"/>
                  </a:cubicBezTo>
                  <a:cubicBezTo>
                    <a:pt x="231609" y="122123"/>
                    <a:pt x="232848" y="121552"/>
                    <a:pt x="233609" y="120504"/>
                  </a:cubicBezTo>
                  <a:cubicBezTo>
                    <a:pt x="234372" y="119647"/>
                    <a:pt x="234752" y="119932"/>
                    <a:pt x="234752" y="118789"/>
                  </a:cubicBezTo>
                  <a:cubicBezTo>
                    <a:pt x="236753" y="119361"/>
                    <a:pt x="238943" y="118504"/>
                    <a:pt x="240372" y="116980"/>
                  </a:cubicBezTo>
                  <a:cubicBezTo>
                    <a:pt x="241039" y="116218"/>
                    <a:pt x="242563" y="113551"/>
                    <a:pt x="242182" y="112789"/>
                  </a:cubicBezTo>
                  <a:cubicBezTo>
                    <a:pt x="241515" y="110979"/>
                    <a:pt x="239896" y="110503"/>
                    <a:pt x="238658" y="110884"/>
                  </a:cubicBezTo>
                  <a:cubicBezTo>
                    <a:pt x="237134" y="111360"/>
                    <a:pt x="236848" y="113170"/>
                    <a:pt x="237134" y="114408"/>
                  </a:cubicBezTo>
                  <a:cubicBezTo>
                    <a:pt x="237515" y="113646"/>
                    <a:pt x="237896" y="111931"/>
                    <a:pt x="238753" y="112408"/>
                  </a:cubicBezTo>
                  <a:cubicBezTo>
                    <a:pt x="239991" y="112979"/>
                    <a:pt x="238563" y="114408"/>
                    <a:pt x="237896" y="114884"/>
                  </a:cubicBezTo>
                  <a:cubicBezTo>
                    <a:pt x="237039" y="115551"/>
                    <a:pt x="235991" y="115837"/>
                    <a:pt x="234943" y="115456"/>
                  </a:cubicBezTo>
                  <a:cubicBezTo>
                    <a:pt x="233324" y="114979"/>
                    <a:pt x="232466" y="112408"/>
                    <a:pt x="232276" y="111836"/>
                  </a:cubicBezTo>
                  <a:cubicBezTo>
                    <a:pt x="232085" y="111169"/>
                    <a:pt x="232181" y="110217"/>
                    <a:pt x="232276" y="109550"/>
                  </a:cubicBezTo>
                  <a:cubicBezTo>
                    <a:pt x="232657" y="109741"/>
                    <a:pt x="233228" y="110312"/>
                    <a:pt x="233609" y="110503"/>
                  </a:cubicBezTo>
                  <a:cubicBezTo>
                    <a:pt x="233324" y="110217"/>
                    <a:pt x="232752" y="109169"/>
                    <a:pt x="232752" y="108788"/>
                  </a:cubicBezTo>
                  <a:cubicBezTo>
                    <a:pt x="232752" y="108121"/>
                    <a:pt x="232752" y="107455"/>
                    <a:pt x="233038" y="106788"/>
                  </a:cubicBezTo>
                  <a:cubicBezTo>
                    <a:pt x="232562" y="107264"/>
                    <a:pt x="232276" y="107264"/>
                    <a:pt x="231895" y="107550"/>
                  </a:cubicBezTo>
                  <a:cubicBezTo>
                    <a:pt x="231228" y="106597"/>
                    <a:pt x="230085" y="103930"/>
                    <a:pt x="229514" y="102883"/>
                  </a:cubicBezTo>
                  <a:cubicBezTo>
                    <a:pt x="229228" y="102406"/>
                    <a:pt x="229038" y="101835"/>
                    <a:pt x="228752" y="101359"/>
                  </a:cubicBezTo>
                  <a:cubicBezTo>
                    <a:pt x="228752" y="101168"/>
                    <a:pt x="228371" y="100882"/>
                    <a:pt x="228466" y="100692"/>
                  </a:cubicBezTo>
                  <a:cubicBezTo>
                    <a:pt x="228561" y="100501"/>
                    <a:pt x="229133" y="100406"/>
                    <a:pt x="229323" y="100216"/>
                  </a:cubicBezTo>
                  <a:cubicBezTo>
                    <a:pt x="229704" y="99930"/>
                    <a:pt x="230085" y="99644"/>
                    <a:pt x="230371" y="99358"/>
                  </a:cubicBezTo>
                  <a:cubicBezTo>
                    <a:pt x="231038" y="98692"/>
                    <a:pt x="231419" y="97834"/>
                    <a:pt x="231609" y="96977"/>
                  </a:cubicBezTo>
                  <a:cubicBezTo>
                    <a:pt x="231609" y="96406"/>
                    <a:pt x="231609" y="95929"/>
                    <a:pt x="231609" y="95358"/>
                  </a:cubicBezTo>
                  <a:cubicBezTo>
                    <a:pt x="231609" y="95072"/>
                    <a:pt x="231514" y="94786"/>
                    <a:pt x="231419" y="94501"/>
                  </a:cubicBezTo>
                  <a:cubicBezTo>
                    <a:pt x="231419" y="94310"/>
                    <a:pt x="231419" y="94215"/>
                    <a:pt x="231514" y="94120"/>
                  </a:cubicBezTo>
                  <a:cubicBezTo>
                    <a:pt x="232466" y="93643"/>
                    <a:pt x="233800" y="95644"/>
                    <a:pt x="234657" y="96120"/>
                  </a:cubicBezTo>
                  <a:cubicBezTo>
                    <a:pt x="236086" y="96977"/>
                    <a:pt x="236467" y="98882"/>
                    <a:pt x="235800" y="100311"/>
                  </a:cubicBezTo>
                  <a:cubicBezTo>
                    <a:pt x="234943" y="102406"/>
                    <a:pt x="232657" y="103073"/>
                    <a:pt x="231514" y="101073"/>
                  </a:cubicBezTo>
                  <a:cubicBezTo>
                    <a:pt x="231990" y="102502"/>
                    <a:pt x="232943" y="102883"/>
                    <a:pt x="234276" y="102692"/>
                  </a:cubicBezTo>
                  <a:cubicBezTo>
                    <a:pt x="235800" y="102502"/>
                    <a:pt x="237705" y="101263"/>
                    <a:pt x="238182" y="99930"/>
                  </a:cubicBezTo>
                  <a:cubicBezTo>
                    <a:pt x="238848" y="98311"/>
                    <a:pt x="237896" y="94596"/>
                    <a:pt x="236943" y="93167"/>
                  </a:cubicBezTo>
                  <a:cubicBezTo>
                    <a:pt x="236086" y="91834"/>
                    <a:pt x="234657" y="91072"/>
                    <a:pt x="233133" y="90881"/>
                  </a:cubicBezTo>
                  <a:cubicBezTo>
                    <a:pt x="232085" y="90786"/>
                    <a:pt x="231133" y="90881"/>
                    <a:pt x="230181" y="91167"/>
                  </a:cubicBezTo>
                  <a:cubicBezTo>
                    <a:pt x="229799" y="91262"/>
                    <a:pt x="229704" y="90881"/>
                    <a:pt x="229514" y="90595"/>
                  </a:cubicBezTo>
                  <a:cubicBezTo>
                    <a:pt x="229228" y="90119"/>
                    <a:pt x="228942" y="89643"/>
                    <a:pt x="228561" y="89262"/>
                  </a:cubicBezTo>
                  <a:cubicBezTo>
                    <a:pt x="230466" y="89071"/>
                    <a:pt x="232943" y="90119"/>
                    <a:pt x="233514" y="88119"/>
                  </a:cubicBezTo>
                  <a:cubicBezTo>
                    <a:pt x="233990" y="86404"/>
                    <a:pt x="233514" y="83928"/>
                    <a:pt x="231990" y="83071"/>
                  </a:cubicBezTo>
                  <a:cubicBezTo>
                    <a:pt x="231133" y="82594"/>
                    <a:pt x="229799" y="83261"/>
                    <a:pt x="228942" y="83642"/>
                  </a:cubicBezTo>
                  <a:cubicBezTo>
                    <a:pt x="230085" y="83833"/>
                    <a:pt x="230657" y="83547"/>
                    <a:pt x="230847" y="84690"/>
                  </a:cubicBezTo>
                  <a:cubicBezTo>
                    <a:pt x="231133" y="85833"/>
                    <a:pt x="230276" y="86690"/>
                    <a:pt x="229228" y="86976"/>
                  </a:cubicBezTo>
                  <a:cubicBezTo>
                    <a:pt x="228275" y="87262"/>
                    <a:pt x="227132" y="86309"/>
                    <a:pt x="226370" y="85547"/>
                  </a:cubicBezTo>
                  <a:cubicBezTo>
                    <a:pt x="225894" y="85071"/>
                    <a:pt x="225704" y="84404"/>
                    <a:pt x="225513" y="83737"/>
                  </a:cubicBezTo>
                  <a:cubicBezTo>
                    <a:pt x="225323" y="83071"/>
                    <a:pt x="225132" y="82309"/>
                    <a:pt x="224751" y="81642"/>
                  </a:cubicBezTo>
                  <a:cubicBezTo>
                    <a:pt x="224084" y="80499"/>
                    <a:pt x="223894" y="81070"/>
                    <a:pt x="222656" y="80785"/>
                  </a:cubicBezTo>
                  <a:cubicBezTo>
                    <a:pt x="224275" y="80499"/>
                    <a:pt x="225132" y="79832"/>
                    <a:pt x="226942" y="79356"/>
                  </a:cubicBezTo>
                  <a:cubicBezTo>
                    <a:pt x="227514" y="79261"/>
                    <a:pt x="227990" y="78975"/>
                    <a:pt x="228371" y="78594"/>
                  </a:cubicBezTo>
                  <a:cubicBezTo>
                    <a:pt x="230085" y="77165"/>
                    <a:pt x="231323" y="75260"/>
                    <a:pt x="231800" y="73069"/>
                  </a:cubicBezTo>
                  <a:cubicBezTo>
                    <a:pt x="232181" y="71164"/>
                    <a:pt x="231895" y="68974"/>
                    <a:pt x="230276" y="67735"/>
                  </a:cubicBezTo>
                  <a:cubicBezTo>
                    <a:pt x="228752" y="66592"/>
                    <a:pt x="226466" y="66592"/>
                    <a:pt x="225132" y="67926"/>
                  </a:cubicBezTo>
                  <a:cubicBezTo>
                    <a:pt x="224275" y="68783"/>
                    <a:pt x="223799" y="70117"/>
                    <a:pt x="223989" y="71355"/>
                  </a:cubicBezTo>
                  <a:cubicBezTo>
                    <a:pt x="224180" y="72498"/>
                    <a:pt x="225418" y="73831"/>
                    <a:pt x="226561" y="74117"/>
                  </a:cubicBezTo>
                  <a:cubicBezTo>
                    <a:pt x="225799" y="73165"/>
                    <a:pt x="225132" y="71450"/>
                    <a:pt x="225894" y="70498"/>
                  </a:cubicBezTo>
                  <a:cubicBezTo>
                    <a:pt x="226275" y="69926"/>
                    <a:pt x="227037" y="69640"/>
                    <a:pt x="227704" y="69831"/>
                  </a:cubicBezTo>
                  <a:cubicBezTo>
                    <a:pt x="228371" y="70021"/>
                    <a:pt x="228752" y="70498"/>
                    <a:pt x="228847" y="71164"/>
                  </a:cubicBezTo>
                  <a:cubicBezTo>
                    <a:pt x="229038" y="72688"/>
                    <a:pt x="228180" y="74403"/>
                    <a:pt x="227418" y="75641"/>
                  </a:cubicBezTo>
                  <a:cubicBezTo>
                    <a:pt x="226561" y="76879"/>
                    <a:pt x="225608" y="77260"/>
                    <a:pt x="224370" y="78022"/>
                  </a:cubicBezTo>
                  <a:cubicBezTo>
                    <a:pt x="223608" y="78499"/>
                    <a:pt x="222560" y="79165"/>
                    <a:pt x="221798" y="79642"/>
                  </a:cubicBezTo>
                  <a:cubicBezTo>
                    <a:pt x="222751" y="78975"/>
                    <a:pt x="225323" y="76689"/>
                    <a:pt x="223418" y="72593"/>
                  </a:cubicBezTo>
                  <a:cubicBezTo>
                    <a:pt x="222846" y="71355"/>
                    <a:pt x="221513" y="70498"/>
                    <a:pt x="220370" y="69926"/>
                  </a:cubicBezTo>
                  <a:cubicBezTo>
                    <a:pt x="218941" y="69259"/>
                    <a:pt x="217512" y="68783"/>
                    <a:pt x="215988" y="68402"/>
                  </a:cubicBezTo>
                  <a:cubicBezTo>
                    <a:pt x="214178" y="67926"/>
                    <a:pt x="212273" y="67545"/>
                    <a:pt x="210464" y="67354"/>
                  </a:cubicBezTo>
                  <a:cubicBezTo>
                    <a:pt x="211416" y="66116"/>
                    <a:pt x="212273" y="64783"/>
                    <a:pt x="213035" y="63449"/>
                  </a:cubicBezTo>
                  <a:cubicBezTo>
                    <a:pt x="213512" y="66497"/>
                    <a:pt x="216655" y="68021"/>
                    <a:pt x="219417" y="68021"/>
                  </a:cubicBezTo>
                  <a:cubicBezTo>
                    <a:pt x="224561" y="68116"/>
                    <a:pt x="226751" y="65640"/>
                    <a:pt x="226656" y="63640"/>
                  </a:cubicBezTo>
                  <a:cubicBezTo>
                    <a:pt x="226656" y="61639"/>
                    <a:pt x="225513" y="59734"/>
                    <a:pt x="223418" y="59544"/>
                  </a:cubicBezTo>
                  <a:cubicBezTo>
                    <a:pt x="224465" y="60020"/>
                    <a:pt x="224656" y="60401"/>
                    <a:pt x="224847" y="61544"/>
                  </a:cubicBezTo>
                  <a:cubicBezTo>
                    <a:pt x="225132" y="62782"/>
                    <a:pt x="224561" y="63830"/>
                    <a:pt x="223703" y="64687"/>
                  </a:cubicBezTo>
                  <a:cubicBezTo>
                    <a:pt x="222656" y="65830"/>
                    <a:pt x="220465" y="66211"/>
                    <a:pt x="218560" y="65545"/>
                  </a:cubicBezTo>
                  <a:cubicBezTo>
                    <a:pt x="217703" y="65259"/>
                    <a:pt x="216369" y="63925"/>
                    <a:pt x="216179" y="62973"/>
                  </a:cubicBezTo>
                  <a:cubicBezTo>
                    <a:pt x="215988" y="61830"/>
                    <a:pt x="217893" y="62782"/>
                    <a:pt x="218560" y="62020"/>
                  </a:cubicBezTo>
                  <a:cubicBezTo>
                    <a:pt x="219322" y="61068"/>
                    <a:pt x="219989" y="59449"/>
                    <a:pt x="220084" y="58210"/>
                  </a:cubicBezTo>
                  <a:cubicBezTo>
                    <a:pt x="220084" y="56972"/>
                    <a:pt x="219608" y="55924"/>
                    <a:pt x="218655" y="55067"/>
                  </a:cubicBezTo>
                  <a:cubicBezTo>
                    <a:pt x="217607" y="54115"/>
                    <a:pt x="216179" y="53734"/>
                    <a:pt x="214845" y="53924"/>
                  </a:cubicBezTo>
                  <a:cubicBezTo>
                    <a:pt x="214464" y="53924"/>
                    <a:pt x="214178" y="54019"/>
                    <a:pt x="213798" y="54210"/>
                  </a:cubicBezTo>
                  <a:cubicBezTo>
                    <a:pt x="213607" y="54210"/>
                    <a:pt x="213321" y="54210"/>
                    <a:pt x="213131" y="54210"/>
                  </a:cubicBezTo>
                  <a:cubicBezTo>
                    <a:pt x="212464" y="53829"/>
                    <a:pt x="212273" y="53734"/>
                    <a:pt x="211607" y="53638"/>
                  </a:cubicBezTo>
                  <a:cubicBezTo>
                    <a:pt x="212464" y="53353"/>
                    <a:pt x="212655" y="53638"/>
                    <a:pt x="213416" y="53162"/>
                  </a:cubicBezTo>
                  <a:cubicBezTo>
                    <a:pt x="210845" y="53353"/>
                    <a:pt x="207701" y="51162"/>
                    <a:pt x="205320" y="50114"/>
                  </a:cubicBezTo>
                  <a:cubicBezTo>
                    <a:pt x="204273" y="49638"/>
                    <a:pt x="203225" y="48876"/>
                    <a:pt x="202463" y="47923"/>
                  </a:cubicBezTo>
                  <a:cubicBezTo>
                    <a:pt x="201701" y="46876"/>
                    <a:pt x="201415" y="45637"/>
                    <a:pt x="201224" y="44399"/>
                  </a:cubicBezTo>
                  <a:cubicBezTo>
                    <a:pt x="201129" y="43732"/>
                    <a:pt x="200939" y="43066"/>
                    <a:pt x="201224" y="42494"/>
                  </a:cubicBezTo>
                  <a:cubicBezTo>
                    <a:pt x="201415" y="42018"/>
                    <a:pt x="201986" y="41637"/>
                    <a:pt x="202367" y="41351"/>
                  </a:cubicBezTo>
                  <a:cubicBezTo>
                    <a:pt x="203415" y="40684"/>
                    <a:pt x="204653" y="40018"/>
                    <a:pt x="205892" y="39827"/>
                  </a:cubicBezTo>
                  <a:cubicBezTo>
                    <a:pt x="207035" y="39637"/>
                    <a:pt x="207416" y="41065"/>
                    <a:pt x="208368" y="41732"/>
                  </a:cubicBezTo>
                  <a:cubicBezTo>
                    <a:pt x="209225" y="42399"/>
                    <a:pt x="210368" y="44304"/>
                    <a:pt x="210178" y="45352"/>
                  </a:cubicBezTo>
                  <a:cubicBezTo>
                    <a:pt x="209892" y="46590"/>
                    <a:pt x="209321" y="47352"/>
                    <a:pt x="208178" y="47733"/>
                  </a:cubicBezTo>
                  <a:cubicBezTo>
                    <a:pt x="206749" y="48209"/>
                    <a:pt x="205415" y="48304"/>
                    <a:pt x="203987" y="48590"/>
                  </a:cubicBezTo>
                  <a:cubicBezTo>
                    <a:pt x="205892" y="48971"/>
                    <a:pt x="207320" y="49162"/>
                    <a:pt x="209225" y="48495"/>
                  </a:cubicBezTo>
                  <a:cubicBezTo>
                    <a:pt x="210654" y="47923"/>
                    <a:pt x="212559" y="45923"/>
                    <a:pt x="212655" y="44399"/>
                  </a:cubicBezTo>
                  <a:cubicBezTo>
                    <a:pt x="212750" y="42589"/>
                    <a:pt x="211892" y="40113"/>
                    <a:pt x="210845" y="38875"/>
                  </a:cubicBezTo>
                  <a:cubicBezTo>
                    <a:pt x="209702" y="37541"/>
                    <a:pt x="207987" y="36970"/>
                    <a:pt x="206273" y="36874"/>
                  </a:cubicBezTo>
                  <a:cubicBezTo>
                    <a:pt x="204177" y="36874"/>
                    <a:pt x="202177" y="37636"/>
                    <a:pt x="200463" y="38779"/>
                  </a:cubicBezTo>
                  <a:cubicBezTo>
                    <a:pt x="199796" y="37065"/>
                    <a:pt x="198367" y="35731"/>
                    <a:pt x="196748" y="34874"/>
                  </a:cubicBezTo>
                  <a:cubicBezTo>
                    <a:pt x="198462" y="34874"/>
                    <a:pt x="200177" y="34398"/>
                    <a:pt x="201415" y="33064"/>
                  </a:cubicBezTo>
                  <a:cubicBezTo>
                    <a:pt x="202653" y="31731"/>
                    <a:pt x="203225" y="31064"/>
                    <a:pt x="202463" y="29445"/>
                  </a:cubicBezTo>
                  <a:cubicBezTo>
                    <a:pt x="201701" y="27826"/>
                    <a:pt x="199986" y="26778"/>
                    <a:pt x="198272" y="26397"/>
                  </a:cubicBezTo>
                  <a:cubicBezTo>
                    <a:pt x="197415" y="26206"/>
                    <a:pt x="196557" y="26111"/>
                    <a:pt x="195605" y="26397"/>
                  </a:cubicBezTo>
                  <a:cubicBezTo>
                    <a:pt x="194843" y="26587"/>
                    <a:pt x="193890" y="27540"/>
                    <a:pt x="193795" y="28302"/>
                  </a:cubicBezTo>
                  <a:cubicBezTo>
                    <a:pt x="193605" y="30207"/>
                    <a:pt x="195033" y="30207"/>
                    <a:pt x="194652" y="30016"/>
                  </a:cubicBezTo>
                  <a:cubicBezTo>
                    <a:pt x="194462" y="30016"/>
                    <a:pt x="196272" y="27254"/>
                    <a:pt x="196557" y="27349"/>
                  </a:cubicBezTo>
                  <a:cubicBezTo>
                    <a:pt x="197795" y="27635"/>
                    <a:pt x="199319" y="28397"/>
                    <a:pt x="199319" y="29826"/>
                  </a:cubicBezTo>
                  <a:cubicBezTo>
                    <a:pt x="199319" y="31064"/>
                    <a:pt x="197986" y="31445"/>
                    <a:pt x="197033" y="31540"/>
                  </a:cubicBezTo>
                  <a:cubicBezTo>
                    <a:pt x="195319" y="31731"/>
                    <a:pt x="193414" y="31445"/>
                    <a:pt x="191699" y="31255"/>
                  </a:cubicBezTo>
                  <a:cubicBezTo>
                    <a:pt x="189699" y="31064"/>
                    <a:pt x="187413" y="30683"/>
                    <a:pt x="185508" y="31540"/>
                  </a:cubicBezTo>
                  <a:cubicBezTo>
                    <a:pt x="185508" y="29921"/>
                    <a:pt x="185413" y="28302"/>
                    <a:pt x="185318" y="26587"/>
                  </a:cubicBezTo>
                  <a:cubicBezTo>
                    <a:pt x="185318" y="25254"/>
                    <a:pt x="185032" y="23825"/>
                    <a:pt x="185603" y="22682"/>
                  </a:cubicBezTo>
                  <a:cubicBezTo>
                    <a:pt x="185889" y="22111"/>
                    <a:pt x="186270" y="21634"/>
                    <a:pt x="186842" y="21444"/>
                  </a:cubicBezTo>
                  <a:cubicBezTo>
                    <a:pt x="187508" y="21253"/>
                    <a:pt x="188175" y="21444"/>
                    <a:pt x="188651" y="21825"/>
                  </a:cubicBezTo>
                  <a:cubicBezTo>
                    <a:pt x="189604" y="22492"/>
                    <a:pt x="191033" y="25159"/>
                    <a:pt x="190557" y="27445"/>
                  </a:cubicBezTo>
                  <a:cubicBezTo>
                    <a:pt x="191699" y="26587"/>
                    <a:pt x="191699" y="24873"/>
                    <a:pt x="191318" y="23539"/>
                  </a:cubicBezTo>
                  <a:cubicBezTo>
                    <a:pt x="190938" y="22111"/>
                    <a:pt x="189699" y="20206"/>
                    <a:pt x="188366" y="19729"/>
                  </a:cubicBezTo>
                  <a:cubicBezTo>
                    <a:pt x="186937" y="19253"/>
                    <a:pt x="184937" y="19729"/>
                    <a:pt x="183794" y="20682"/>
                  </a:cubicBezTo>
                  <a:cubicBezTo>
                    <a:pt x="182556" y="21730"/>
                    <a:pt x="182174" y="22777"/>
                    <a:pt x="181984" y="24397"/>
                  </a:cubicBezTo>
                  <a:cubicBezTo>
                    <a:pt x="181508" y="22492"/>
                    <a:pt x="180365" y="20301"/>
                    <a:pt x="178079" y="20396"/>
                  </a:cubicBezTo>
                  <a:cubicBezTo>
                    <a:pt x="177888" y="20396"/>
                    <a:pt x="177698" y="20396"/>
                    <a:pt x="177602" y="20396"/>
                  </a:cubicBezTo>
                  <a:cubicBezTo>
                    <a:pt x="178269" y="19825"/>
                    <a:pt x="178650" y="19063"/>
                    <a:pt x="178745" y="18110"/>
                  </a:cubicBezTo>
                  <a:cubicBezTo>
                    <a:pt x="178841" y="16967"/>
                    <a:pt x="178460" y="15538"/>
                    <a:pt x="177507" y="14872"/>
                  </a:cubicBezTo>
                  <a:cubicBezTo>
                    <a:pt x="177031" y="14491"/>
                    <a:pt x="175983" y="14491"/>
                    <a:pt x="175316" y="14681"/>
                  </a:cubicBezTo>
                  <a:cubicBezTo>
                    <a:pt x="174935" y="14776"/>
                    <a:pt x="175793" y="15253"/>
                    <a:pt x="175602" y="15634"/>
                  </a:cubicBezTo>
                  <a:cubicBezTo>
                    <a:pt x="175507" y="15824"/>
                    <a:pt x="176840" y="17158"/>
                    <a:pt x="176650" y="17729"/>
                  </a:cubicBezTo>
                  <a:cubicBezTo>
                    <a:pt x="176174" y="19253"/>
                    <a:pt x="173507" y="19348"/>
                    <a:pt x="172840" y="18015"/>
                  </a:cubicBezTo>
                  <a:cubicBezTo>
                    <a:pt x="172459" y="17253"/>
                    <a:pt x="171983" y="13824"/>
                    <a:pt x="171507" y="13062"/>
                  </a:cubicBezTo>
                  <a:cubicBezTo>
                    <a:pt x="171125" y="12395"/>
                    <a:pt x="170649" y="11728"/>
                    <a:pt x="170078" y="11157"/>
                  </a:cubicBezTo>
                  <a:cubicBezTo>
                    <a:pt x="168935" y="10109"/>
                    <a:pt x="167411" y="9442"/>
                    <a:pt x="165791" y="9252"/>
                  </a:cubicBezTo>
                  <a:cubicBezTo>
                    <a:pt x="163791" y="8966"/>
                    <a:pt x="161791" y="9538"/>
                    <a:pt x="159981" y="10490"/>
                  </a:cubicBezTo>
                  <a:cubicBezTo>
                    <a:pt x="159124" y="10966"/>
                    <a:pt x="158267" y="11538"/>
                    <a:pt x="157505" y="12205"/>
                  </a:cubicBezTo>
                  <a:cubicBezTo>
                    <a:pt x="157028" y="12681"/>
                    <a:pt x="156076" y="13729"/>
                    <a:pt x="156648" y="14395"/>
                  </a:cubicBezTo>
                  <a:cubicBezTo>
                    <a:pt x="156457" y="14395"/>
                    <a:pt x="156171" y="13919"/>
                    <a:pt x="156076" y="13824"/>
                  </a:cubicBezTo>
                  <a:cubicBezTo>
                    <a:pt x="155695" y="13443"/>
                    <a:pt x="155409" y="12967"/>
                    <a:pt x="155123" y="12490"/>
                  </a:cubicBezTo>
                  <a:cubicBezTo>
                    <a:pt x="154647" y="11728"/>
                    <a:pt x="154647" y="10776"/>
                    <a:pt x="155314" y="10109"/>
                  </a:cubicBezTo>
                  <a:cubicBezTo>
                    <a:pt x="156552" y="8680"/>
                    <a:pt x="159029" y="10776"/>
                    <a:pt x="160648" y="10109"/>
                  </a:cubicBezTo>
                  <a:cubicBezTo>
                    <a:pt x="158267" y="9061"/>
                    <a:pt x="155409" y="6966"/>
                    <a:pt x="153504" y="9061"/>
                  </a:cubicBezTo>
                  <a:cubicBezTo>
                    <a:pt x="153028" y="8204"/>
                    <a:pt x="152361" y="7442"/>
                    <a:pt x="151504" y="6871"/>
                  </a:cubicBezTo>
                  <a:cubicBezTo>
                    <a:pt x="150551" y="6204"/>
                    <a:pt x="149790" y="5823"/>
                    <a:pt x="148551" y="5632"/>
                  </a:cubicBezTo>
                  <a:cubicBezTo>
                    <a:pt x="148742" y="3061"/>
                    <a:pt x="146456" y="1441"/>
                    <a:pt x="144074" y="394"/>
                  </a:cubicBezTo>
                  <a:cubicBezTo>
                    <a:pt x="142741" y="-178"/>
                    <a:pt x="140741" y="-83"/>
                    <a:pt x="139407" y="394"/>
                  </a:cubicBezTo>
                  <a:cubicBezTo>
                    <a:pt x="138264" y="870"/>
                    <a:pt x="137216" y="2965"/>
                    <a:pt x="137502" y="4394"/>
                  </a:cubicBezTo>
                  <a:cubicBezTo>
                    <a:pt x="137693" y="5823"/>
                    <a:pt x="139788" y="6966"/>
                    <a:pt x="141026" y="6490"/>
                  </a:cubicBezTo>
                  <a:cubicBezTo>
                    <a:pt x="139979" y="6490"/>
                    <a:pt x="138645" y="5251"/>
                    <a:pt x="139217" y="3442"/>
                  </a:cubicBezTo>
                  <a:cubicBezTo>
                    <a:pt x="139407" y="2870"/>
                    <a:pt x="139122" y="2489"/>
                    <a:pt x="139598" y="2299"/>
                  </a:cubicBezTo>
                  <a:cubicBezTo>
                    <a:pt x="140550" y="1822"/>
                    <a:pt x="141884" y="2013"/>
                    <a:pt x="142741" y="2584"/>
                  </a:cubicBezTo>
                  <a:cubicBezTo>
                    <a:pt x="143693" y="3156"/>
                    <a:pt x="144360" y="4299"/>
                    <a:pt x="144360" y="5442"/>
                  </a:cubicBezTo>
                  <a:cubicBezTo>
                    <a:pt x="144360" y="5918"/>
                    <a:pt x="144360" y="6490"/>
                    <a:pt x="144170" y="6966"/>
                  </a:cubicBezTo>
                  <a:cubicBezTo>
                    <a:pt x="143979" y="7537"/>
                    <a:pt x="143693" y="7823"/>
                    <a:pt x="143313" y="8204"/>
                  </a:cubicBezTo>
                  <a:cubicBezTo>
                    <a:pt x="142074" y="9252"/>
                    <a:pt x="141026" y="10395"/>
                    <a:pt x="139979" y="11633"/>
                  </a:cubicBezTo>
                  <a:cubicBezTo>
                    <a:pt x="139502" y="10490"/>
                    <a:pt x="139217" y="9157"/>
                    <a:pt x="138645" y="8014"/>
                  </a:cubicBezTo>
                  <a:cubicBezTo>
                    <a:pt x="138169" y="6966"/>
                    <a:pt x="137407" y="6013"/>
                    <a:pt x="136550" y="5156"/>
                  </a:cubicBezTo>
                  <a:cubicBezTo>
                    <a:pt x="134931" y="3632"/>
                    <a:pt x="132740" y="2680"/>
                    <a:pt x="130454" y="2489"/>
                  </a:cubicBezTo>
                  <a:cubicBezTo>
                    <a:pt x="128168" y="2394"/>
                    <a:pt x="125977" y="3061"/>
                    <a:pt x="124167" y="4394"/>
                  </a:cubicBezTo>
                  <a:cubicBezTo>
                    <a:pt x="123215" y="5156"/>
                    <a:pt x="122453" y="6013"/>
                    <a:pt x="121691" y="6966"/>
                  </a:cubicBezTo>
                  <a:cubicBezTo>
                    <a:pt x="121119" y="7823"/>
                    <a:pt x="120548" y="8776"/>
                    <a:pt x="119690" y="9442"/>
                  </a:cubicBezTo>
                  <a:cubicBezTo>
                    <a:pt x="118738" y="10109"/>
                    <a:pt x="117595" y="10014"/>
                    <a:pt x="116738" y="9252"/>
                  </a:cubicBezTo>
                  <a:cubicBezTo>
                    <a:pt x="116357" y="8871"/>
                    <a:pt x="115976" y="8395"/>
                    <a:pt x="115785" y="7918"/>
                  </a:cubicBezTo>
                  <a:cubicBezTo>
                    <a:pt x="115785" y="7823"/>
                    <a:pt x="115785" y="5347"/>
                    <a:pt x="116166" y="5061"/>
                  </a:cubicBezTo>
                  <a:cubicBezTo>
                    <a:pt x="116928" y="4299"/>
                    <a:pt x="118071" y="3823"/>
                    <a:pt x="119119" y="3537"/>
                  </a:cubicBezTo>
                  <a:cubicBezTo>
                    <a:pt x="117595" y="3251"/>
                    <a:pt x="115881" y="3918"/>
                    <a:pt x="114928" y="5061"/>
                  </a:cubicBezTo>
                  <a:cubicBezTo>
                    <a:pt x="114357" y="5632"/>
                    <a:pt x="113975" y="6680"/>
                    <a:pt x="113880" y="7537"/>
                  </a:cubicBezTo>
                  <a:cubicBezTo>
                    <a:pt x="113880" y="8204"/>
                    <a:pt x="113975" y="8966"/>
                    <a:pt x="114357" y="9633"/>
                  </a:cubicBezTo>
                  <a:cubicBezTo>
                    <a:pt x="111975" y="8585"/>
                    <a:pt x="109880" y="8299"/>
                    <a:pt x="107498" y="9442"/>
                  </a:cubicBezTo>
                  <a:cubicBezTo>
                    <a:pt x="108260" y="7823"/>
                    <a:pt x="107213" y="5728"/>
                    <a:pt x="106356" y="4204"/>
                  </a:cubicBezTo>
                  <a:cubicBezTo>
                    <a:pt x="105593" y="2965"/>
                    <a:pt x="104355" y="1727"/>
                    <a:pt x="102831" y="2108"/>
                  </a:cubicBezTo>
                  <a:cubicBezTo>
                    <a:pt x="100069" y="2775"/>
                    <a:pt x="98450" y="5823"/>
                    <a:pt x="98164" y="8490"/>
                  </a:cubicBezTo>
                  <a:cubicBezTo>
                    <a:pt x="97973" y="10585"/>
                    <a:pt x="98355" y="12681"/>
                    <a:pt x="99021" y="14586"/>
                  </a:cubicBezTo>
                  <a:cubicBezTo>
                    <a:pt x="95878" y="12395"/>
                    <a:pt x="91687" y="12300"/>
                    <a:pt x="88258" y="14014"/>
                  </a:cubicBezTo>
                  <a:cubicBezTo>
                    <a:pt x="88067" y="14014"/>
                    <a:pt x="87591" y="14395"/>
                    <a:pt x="87115" y="14681"/>
                  </a:cubicBezTo>
                  <a:cubicBezTo>
                    <a:pt x="87115" y="14872"/>
                    <a:pt x="87115" y="14967"/>
                    <a:pt x="87115" y="14967"/>
                  </a:cubicBezTo>
                  <a:cubicBezTo>
                    <a:pt x="87115" y="14967"/>
                    <a:pt x="87115" y="14776"/>
                    <a:pt x="87115" y="14681"/>
                  </a:cubicBezTo>
                  <a:cubicBezTo>
                    <a:pt x="86543" y="14967"/>
                    <a:pt x="85972" y="15348"/>
                    <a:pt x="85877" y="15443"/>
                  </a:cubicBezTo>
                  <a:cubicBezTo>
                    <a:pt x="83305" y="16872"/>
                    <a:pt x="82067" y="14872"/>
                    <a:pt x="81972" y="14395"/>
                  </a:cubicBezTo>
                  <a:cubicBezTo>
                    <a:pt x="81781" y="13538"/>
                    <a:pt x="83115" y="12776"/>
                    <a:pt x="83781" y="12586"/>
                  </a:cubicBezTo>
                  <a:cubicBezTo>
                    <a:pt x="85400" y="12109"/>
                    <a:pt x="87020" y="13348"/>
                    <a:pt x="87115" y="14681"/>
                  </a:cubicBezTo>
                  <a:cubicBezTo>
                    <a:pt x="87115" y="14681"/>
                    <a:pt x="87115" y="14681"/>
                    <a:pt x="87115" y="14681"/>
                  </a:cubicBezTo>
                  <a:cubicBezTo>
                    <a:pt x="87115" y="14300"/>
                    <a:pt x="86924" y="13633"/>
                    <a:pt x="86829" y="13348"/>
                  </a:cubicBezTo>
                  <a:cubicBezTo>
                    <a:pt x="86448" y="12205"/>
                    <a:pt x="85400" y="11538"/>
                    <a:pt x="84257" y="11443"/>
                  </a:cubicBezTo>
                  <a:cubicBezTo>
                    <a:pt x="83210" y="11347"/>
                    <a:pt x="81972" y="11443"/>
                    <a:pt x="81114" y="12014"/>
                  </a:cubicBezTo>
                  <a:cubicBezTo>
                    <a:pt x="80638" y="12300"/>
                    <a:pt x="80066" y="13062"/>
                    <a:pt x="79876" y="13633"/>
                  </a:cubicBezTo>
                  <a:cubicBezTo>
                    <a:pt x="79590" y="14300"/>
                    <a:pt x="79876" y="15253"/>
                    <a:pt x="79971" y="15919"/>
                  </a:cubicBezTo>
                  <a:cubicBezTo>
                    <a:pt x="80448" y="17253"/>
                    <a:pt x="80733" y="17539"/>
                    <a:pt x="80924" y="18015"/>
                  </a:cubicBezTo>
                  <a:cubicBezTo>
                    <a:pt x="79305" y="18967"/>
                    <a:pt x="78828" y="19539"/>
                    <a:pt x="78066" y="21349"/>
                  </a:cubicBezTo>
                  <a:cubicBezTo>
                    <a:pt x="77685" y="22301"/>
                    <a:pt x="77685" y="23444"/>
                    <a:pt x="77114" y="24301"/>
                  </a:cubicBezTo>
                  <a:cubicBezTo>
                    <a:pt x="76638" y="25063"/>
                    <a:pt x="75685" y="25349"/>
                    <a:pt x="74828" y="25444"/>
                  </a:cubicBezTo>
                  <a:cubicBezTo>
                    <a:pt x="73685" y="25540"/>
                    <a:pt x="72447" y="25444"/>
                    <a:pt x="71303" y="25349"/>
                  </a:cubicBezTo>
                  <a:cubicBezTo>
                    <a:pt x="70446" y="25159"/>
                    <a:pt x="69398" y="24873"/>
                    <a:pt x="69017" y="24111"/>
                  </a:cubicBezTo>
                  <a:cubicBezTo>
                    <a:pt x="68541" y="23254"/>
                    <a:pt x="68636" y="23539"/>
                    <a:pt x="69017" y="22587"/>
                  </a:cubicBezTo>
                  <a:cubicBezTo>
                    <a:pt x="69303" y="21634"/>
                    <a:pt x="69875" y="20872"/>
                    <a:pt x="70827" y="20491"/>
                  </a:cubicBezTo>
                  <a:cubicBezTo>
                    <a:pt x="72732" y="19825"/>
                    <a:pt x="75209" y="22301"/>
                    <a:pt x="74351" y="24492"/>
                  </a:cubicBezTo>
                  <a:cubicBezTo>
                    <a:pt x="76161" y="21920"/>
                    <a:pt x="73780" y="19920"/>
                    <a:pt x="72065" y="19348"/>
                  </a:cubicBezTo>
                  <a:cubicBezTo>
                    <a:pt x="69970" y="18682"/>
                    <a:pt x="68065" y="20110"/>
                    <a:pt x="67113" y="21920"/>
                  </a:cubicBezTo>
                  <a:cubicBezTo>
                    <a:pt x="66065" y="23825"/>
                    <a:pt x="65779" y="26016"/>
                    <a:pt x="67303" y="27730"/>
                  </a:cubicBezTo>
                  <a:cubicBezTo>
                    <a:pt x="68351" y="27921"/>
                    <a:pt x="69398" y="28302"/>
                    <a:pt x="70446" y="28492"/>
                  </a:cubicBezTo>
                  <a:cubicBezTo>
                    <a:pt x="70637" y="28492"/>
                    <a:pt x="72256" y="28588"/>
                    <a:pt x="72732" y="28683"/>
                  </a:cubicBezTo>
                  <a:cubicBezTo>
                    <a:pt x="74923" y="28873"/>
                    <a:pt x="77399" y="28683"/>
                    <a:pt x="79019" y="26873"/>
                  </a:cubicBezTo>
                  <a:cubicBezTo>
                    <a:pt x="78828" y="28302"/>
                    <a:pt x="78733" y="29731"/>
                    <a:pt x="78828" y="31159"/>
                  </a:cubicBezTo>
                  <a:cubicBezTo>
                    <a:pt x="76257" y="30207"/>
                    <a:pt x="73780" y="29350"/>
                    <a:pt x="71113" y="28683"/>
                  </a:cubicBezTo>
                  <a:cubicBezTo>
                    <a:pt x="69684" y="28683"/>
                    <a:pt x="68256" y="28969"/>
                    <a:pt x="67303" y="27826"/>
                  </a:cubicBezTo>
                  <a:cubicBezTo>
                    <a:pt x="65493" y="27540"/>
                    <a:pt x="63588" y="27254"/>
                    <a:pt x="61683" y="27254"/>
                  </a:cubicBezTo>
                  <a:cubicBezTo>
                    <a:pt x="60064" y="27254"/>
                    <a:pt x="58826" y="27540"/>
                    <a:pt x="57207" y="28016"/>
                  </a:cubicBezTo>
                  <a:cubicBezTo>
                    <a:pt x="59683" y="27254"/>
                    <a:pt x="60350" y="26492"/>
                    <a:pt x="59397" y="24492"/>
                  </a:cubicBezTo>
                  <a:cubicBezTo>
                    <a:pt x="58635" y="22968"/>
                    <a:pt x="56540" y="21920"/>
                    <a:pt x="54920" y="22396"/>
                  </a:cubicBezTo>
                  <a:cubicBezTo>
                    <a:pt x="54158" y="22587"/>
                    <a:pt x="53587" y="22968"/>
                    <a:pt x="53111" y="23920"/>
                  </a:cubicBezTo>
                  <a:cubicBezTo>
                    <a:pt x="53015" y="24111"/>
                    <a:pt x="53301" y="24587"/>
                    <a:pt x="53397" y="24682"/>
                  </a:cubicBezTo>
                  <a:cubicBezTo>
                    <a:pt x="53492" y="24873"/>
                    <a:pt x="53492" y="24778"/>
                    <a:pt x="53587" y="24682"/>
                  </a:cubicBezTo>
                  <a:cubicBezTo>
                    <a:pt x="53682" y="24397"/>
                    <a:pt x="53873" y="24206"/>
                    <a:pt x="54158" y="24111"/>
                  </a:cubicBezTo>
                  <a:cubicBezTo>
                    <a:pt x="54730" y="23920"/>
                    <a:pt x="55492" y="24111"/>
                    <a:pt x="55968" y="24397"/>
                  </a:cubicBezTo>
                  <a:cubicBezTo>
                    <a:pt x="56349" y="24587"/>
                    <a:pt x="56730" y="24968"/>
                    <a:pt x="56825" y="25444"/>
                  </a:cubicBezTo>
                  <a:cubicBezTo>
                    <a:pt x="56921" y="25921"/>
                    <a:pt x="55968" y="24492"/>
                    <a:pt x="55587" y="24873"/>
                  </a:cubicBezTo>
                  <a:cubicBezTo>
                    <a:pt x="54730" y="25730"/>
                    <a:pt x="53587" y="26206"/>
                    <a:pt x="52539" y="26778"/>
                  </a:cubicBezTo>
                  <a:cubicBezTo>
                    <a:pt x="51491" y="27349"/>
                    <a:pt x="50444" y="28016"/>
                    <a:pt x="49682" y="28969"/>
                  </a:cubicBezTo>
                  <a:cubicBezTo>
                    <a:pt x="49491" y="26492"/>
                    <a:pt x="47777" y="24301"/>
                    <a:pt x="45491" y="23444"/>
                  </a:cubicBezTo>
                  <a:cubicBezTo>
                    <a:pt x="43300" y="22682"/>
                    <a:pt x="40538" y="23444"/>
                    <a:pt x="39395" y="26016"/>
                  </a:cubicBezTo>
                  <a:cubicBezTo>
                    <a:pt x="38823" y="27254"/>
                    <a:pt x="39014" y="29350"/>
                    <a:pt x="39966" y="30397"/>
                  </a:cubicBezTo>
                  <a:cubicBezTo>
                    <a:pt x="40633" y="31255"/>
                    <a:pt x="43300" y="32302"/>
                    <a:pt x="43776" y="32493"/>
                  </a:cubicBezTo>
                  <a:cubicBezTo>
                    <a:pt x="43967" y="32493"/>
                    <a:pt x="40919" y="29731"/>
                    <a:pt x="41681" y="27064"/>
                  </a:cubicBezTo>
                  <a:cubicBezTo>
                    <a:pt x="42062" y="25730"/>
                    <a:pt x="43967" y="26302"/>
                    <a:pt x="44633" y="26587"/>
                  </a:cubicBezTo>
                  <a:cubicBezTo>
                    <a:pt x="46157" y="27349"/>
                    <a:pt x="46824" y="28778"/>
                    <a:pt x="46919" y="30493"/>
                  </a:cubicBezTo>
                  <a:cubicBezTo>
                    <a:pt x="46919" y="32302"/>
                    <a:pt x="46729" y="34303"/>
                    <a:pt x="46348" y="36112"/>
                  </a:cubicBezTo>
                  <a:cubicBezTo>
                    <a:pt x="44824" y="34398"/>
                    <a:pt x="42824" y="33064"/>
                    <a:pt x="40442" y="32779"/>
                  </a:cubicBezTo>
                  <a:cubicBezTo>
                    <a:pt x="38252" y="32493"/>
                    <a:pt x="35870" y="33350"/>
                    <a:pt x="34537" y="35160"/>
                  </a:cubicBezTo>
                  <a:cubicBezTo>
                    <a:pt x="34156" y="35636"/>
                    <a:pt x="33870" y="36208"/>
                    <a:pt x="33584" y="36779"/>
                  </a:cubicBezTo>
                  <a:cubicBezTo>
                    <a:pt x="33299" y="37351"/>
                    <a:pt x="33108" y="37922"/>
                    <a:pt x="32632" y="38303"/>
                  </a:cubicBezTo>
                  <a:cubicBezTo>
                    <a:pt x="31965" y="38970"/>
                    <a:pt x="30822" y="40018"/>
                    <a:pt x="29965" y="40208"/>
                  </a:cubicBezTo>
                  <a:cubicBezTo>
                    <a:pt x="28536" y="40589"/>
                    <a:pt x="26917" y="40399"/>
                    <a:pt x="26536" y="38684"/>
                  </a:cubicBezTo>
                  <a:cubicBezTo>
                    <a:pt x="26250" y="37541"/>
                    <a:pt x="26726" y="36779"/>
                    <a:pt x="27774" y="36303"/>
                  </a:cubicBezTo>
                  <a:cubicBezTo>
                    <a:pt x="28917" y="35827"/>
                    <a:pt x="30441" y="36589"/>
                    <a:pt x="31108" y="37732"/>
                  </a:cubicBezTo>
                  <a:cubicBezTo>
                    <a:pt x="30727" y="36303"/>
                    <a:pt x="28917" y="34779"/>
                    <a:pt x="27489" y="35065"/>
                  </a:cubicBezTo>
                  <a:cubicBezTo>
                    <a:pt x="25298" y="35350"/>
                    <a:pt x="24250" y="37065"/>
                    <a:pt x="24250" y="38684"/>
                  </a:cubicBezTo>
                  <a:cubicBezTo>
                    <a:pt x="24250" y="40303"/>
                    <a:pt x="25583" y="42113"/>
                    <a:pt x="26917" y="42970"/>
                  </a:cubicBezTo>
                  <a:cubicBezTo>
                    <a:pt x="28060" y="43828"/>
                    <a:pt x="34061" y="41542"/>
                    <a:pt x="35204" y="40208"/>
                  </a:cubicBezTo>
                  <a:cubicBezTo>
                    <a:pt x="34632" y="42208"/>
                    <a:pt x="34442" y="44304"/>
                    <a:pt x="34537" y="46399"/>
                  </a:cubicBezTo>
                  <a:cubicBezTo>
                    <a:pt x="34537" y="48590"/>
                    <a:pt x="34823" y="50781"/>
                    <a:pt x="35299" y="52972"/>
                  </a:cubicBezTo>
                  <a:cubicBezTo>
                    <a:pt x="33108" y="53448"/>
                    <a:pt x="31775" y="53638"/>
                    <a:pt x="29584" y="53734"/>
                  </a:cubicBezTo>
                  <a:cubicBezTo>
                    <a:pt x="31584" y="53353"/>
                    <a:pt x="32441" y="52114"/>
                    <a:pt x="32441" y="50209"/>
                  </a:cubicBezTo>
                  <a:cubicBezTo>
                    <a:pt x="32441" y="49162"/>
                    <a:pt x="32060" y="47638"/>
                    <a:pt x="31108" y="46876"/>
                  </a:cubicBezTo>
                  <a:cubicBezTo>
                    <a:pt x="30251" y="46209"/>
                    <a:pt x="28727" y="46209"/>
                    <a:pt x="27869" y="47257"/>
                  </a:cubicBezTo>
                  <a:cubicBezTo>
                    <a:pt x="27679" y="47542"/>
                    <a:pt x="27869" y="47923"/>
                    <a:pt x="28155" y="47923"/>
                  </a:cubicBezTo>
                  <a:cubicBezTo>
                    <a:pt x="28631" y="47923"/>
                    <a:pt x="28917" y="48400"/>
                    <a:pt x="28536" y="49257"/>
                  </a:cubicBezTo>
                  <a:cubicBezTo>
                    <a:pt x="28346" y="49733"/>
                    <a:pt x="28060" y="49924"/>
                    <a:pt x="27489" y="49733"/>
                  </a:cubicBezTo>
                  <a:cubicBezTo>
                    <a:pt x="26917" y="49638"/>
                    <a:pt x="26345" y="49352"/>
                    <a:pt x="25774" y="49257"/>
                  </a:cubicBezTo>
                  <a:cubicBezTo>
                    <a:pt x="24345" y="49066"/>
                    <a:pt x="22916" y="49162"/>
                    <a:pt x="21583" y="49733"/>
                  </a:cubicBezTo>
                  <a:cubicBezTo>
                    <a:pt x="20345" y="50305"/>
                    <a:pt x="19202" y="51257"/>
                    <a:pt x="18725" y="52591"/>
                  </a:cubicBezTo>
                  <a:cubicBezTo>
                    <a:pt x="18440" y="53353"/>
                    <a:pt x="18344" y="54210"/>
                    <a:pt x="18440" y="54972"/>
                  </a:cubicBezTo>
                  <a:cubicBezTo>
                    <a:pt x="18440" y="55258"/>
                    <a:pt x="18630" y="55639"/>
                    <a:pt x="18535" y="55924"/>
                  </a:cubicBezTo>
                  <a:cubicBezTo>
                    <a:pt x="18535" y="56305"/>
                    <a:pt x="18535" y="57544"/>
                    <a:pt x="18535" y="57925"/>
                  </a:cubicBezTo>
                  <a:cubicBezTo>
                    <a:pt x="17201" y="56496"/>
                    <a:pt x="14820" y="56020"/>
                    <a:pt x="13106" y="56972"/>
                  </a:cubicBezTo>
                  <a:cubicBezTo>
                    <a:pt x="11391" y="57925"/>
                    <a:pt x="10439" y="59449"/>
                    <a:pt x="10248" y="61354"/>
                  </a:cubicBezTo>
                  <a:cubicBezTo>
                    <a:pt x="10058" y="63163"/>
                    <a:pt x="10724" y="66021"/>
                    <a:pt x="11963" y="67354"/>
                  </a:cubicBezTo>
                  <a:cubicBezTo>
                    <a:pt x="13391" y="68878"/>
                    <a:pt x="15677" y="67735"/>
                    <a:pt x="17582" y="67354"/>
                  </a:cubicBezTo>
                  <a:cubicBezTo>
                    <a:pt x="18916" y="67069"/>
                    <a:pt x="20249" y="66592"/>
                    <a:pt x="21583" y="66211"/>
                  </a:cubicBezTo>
                  <a:cubicBezTo>
                    <a:pt x="22250" y="66021"/>
                    <a:pt x="23012" y="65735"/>
                    <a:pt x="23678" y="65545"/>
                  </a:cubicBezTo>
                  <a:cubicBezTo>
                    <a:pt x="24059" y="65545"/>
                    <a:pt x="24345" y="65354"/>
                    <a:pt x="24726" y="65259"/>
                  </a:cubicBezTo>
                  <a:cubicBezTo>
                    <a:pt x="25012" y="65259"/>
                    <a:pt x="25298" y="65068"/>
                    <a:pt x="25583" y="65259"/>
                  </a:cubicBezTo>
                  <a:cubicBezTo>
                    <a:pt x="22916" y="65926"/>
                    <a:pt x="20249" y="66688"/>
                    <a:pt x="17773" y="68021"/>
                  </a:cubicBezTo>
                  <a:cubicBezTo>
                    <a:pt x="15773" y="69164"/>
                    <a:pt x="13201" y="71164"/>
                    <a:pt x="13106" y="74117"/>
                  </a:cubicBezTo>
                  <a:cubicBezTo>
                    <a:pt x="13106" y="75546"/>
                    <a:pt x="13963" y="77165"/>
                    <a:pt x="15106" y="78022"/>
                  </a:cubicBezTo>
                  <a:cubicBezTo>
                    <a:pt x="13201" y="79261"/>
                    <a:pt x="13106" y="80594"/>
                    <a:pt x="11391" y="82213"/>
                  </a:cubicBezTo>
                  <a:cubicBezTo>
                    <a:pt x="12058" y="81547"/>
                    <a:pt x="12534" y="80118"/>
                    <a:pt x="11867" y="79070"/>
                  </a:cubicBezTo>
                  <a:cubicBezTo>
                    <a:pt x="11296" y="78118"/>
                    <a:pt x="9581" y="77737"/>
                    <a:pt x="8629" y="77832"/>
                  </a:cubicBezTo>
                  <a:cubicBezTo>
                    <a:pt x="7581" y="77927"/>
                    <a:pt x="6533" y="78499"/>
                    <a:pt x="5962" y="79451"/>
                  </a:cubicBezTo>
                  <a:cubicBezTo>
                    <a:pt x="5200" y="80785"/>
                    <a:pt x="5486" y="82023"/>
                    <a:pt x="5867" y="82594"/>
                  </a:cubicBezTo>
                  <a:cubicBezTo>
                    <a:pt x="6533" y="81070"/>
                    <a:pt x="8343" y="79832"/>
                    <a:pt x="9677" y="81166"/>
                  </a:cubicBezTo>
                  <a:cubicBezTo>
                    <a:pt x="8439" y="82213"/>
                    <a:pt x="6343" y="82880"/>
                    <a:pt x="5009" y="84595"/>
                  </a:cubicBezTo>
                  <a:cubicBezTo>
                    <a:pt x="3581" y="86309"/>
                    <a:pt x="3581" y="87928"/>
                    <a:pt x="3771" y="89357"/>
                  </a:cubicBezTo>
                  <a:cubicBezTo>
                    <a:pt x="3962" y="90786"/>
                    <a:pt x="4438" y="91834"/>
                    <a:pt x="5486" y="92786"/>
                  </a:cubicBezTo>
                  <a:cubicBezTo>
                    <a:pt x="3676" y="92786"/>
                    <a:pt x="2438" y="94405"/>
                    <a:pt x="2247" y="96215"/>
                  </a:cubicBezTo>
                  <a:cubicBezTo>
                    <a:pt x="2152" y="97358"/>
                    <a:pt x="2723" y="98596"/>
                    <a:pt x="3390" y="99549"/>
                  </a:cubicBezTo>
                  <a:cubicBezTo>
                    <a:pt x="3962" y="100501"/>
                    <a:pt x="4628" y="100787"/>
                    <a:pt x="5676" y="101073"/>
                  </a:cubicBezTo>
                  <a:cubicBezTo>
                    <a:pt x="7010" y="101454"/>
                    <a:pt x="8629" y="99739"/>
                    <a:pt x="9963" y="99263"/>
                  </a:cubicBezTo>
                  <a:cubicBezTo>
                    <a:pt x="9677" y="99549"/>
                    <a:pt x="6819" y="101263"/>
                    <a:pt x="6152" y="101644"/>
                  </a:cubicBezTo>
                  <a:cubicBezTo>
                    <a:pt x="4819" y="102502"/>
                    <a:pt x="3676" y="103645"/>
                    <a:pt x="2723" y="105073"/>
                  </a:cubicBezTo>
                  <a:cubicBezTo>
                    <a:pt x="1104" y="107550"/>
                    <a:pt x="152" y="110788"/>
                    <a:pt x="1104" y="113741"/>
                  </a:cubicBezTo>
                  <a:cubicBezTo>
                    <a:pt x="1581" y="115170"/>
                    <a:pt x="2533" y="116503"/>
                    <a:pt x="3771" y="117361"/>
                  </a:cubicBezTo>
                  <a:cubicBezTo>
                    <a:pt x="4438" y="117837"/>
                    <a:pt x="5200" y="118218"/>
                    <a:pt x="6057" y="118408"/>
                  </a:cubicBezTo>
                  <a:cubicBezTo>
                    <a:pt x="6819" y="118599"/>
                    <a:pt x="7581" y="118599"/>
                    <a:pt x="8343" y="118789"/>
                  </a:cubicBezTo>
                  <a:cubicBezTo>
                    <a:pt x="9010" y="118980"/>
                    <a:pt x="9486" y="119456"/>
                    <a:pt x="9486" y="120218"/>
                  </a:cubicBezTo>
                  <a:cubicBezTo>
                    <a:pt x="9486" y="120885"/>
                    <a:pt x="8819" y="123742"/>
                    <a:pt x="8439" y="124219"/>
                  </a:cubicBezTo>
                  <a:cubicBezTo>
                    <a:pt x="7962" y="124790"/>
                    <a:pt x="7200" y="125266"/>
                    <a:pt x="6533" y="125647"/>
                  </a:cubicBezTo>
                  <a:cubicBezTo>
                    <a:pt x="5772" y="126028"/>
                    <a:pt x="5009" y="126409"/>
                    <a:pt x="4152" y="126505"/>
                  </a:cubicBezTo>
                  <a:cubicBezTo>
                    <a:pt x="3295" y="126600"/>
                    <a:pt x="2438" y="126505"/>
                    <a:pt x="1771" y="125838"/>
                  </a:cubicBezTo>
                  <a:cubicBezTo>
                    <a:pt x="1199" y="125362"/>
                    <a:pt x="914" y="124600"/>
                    <a:pt x="1199" y="123838"/>
                  </a:cubicBezTo>
                  <a:cubicBezTo>
                    <a:pt x="1485" y="123076"/>
                    <a:pt x="2723" y="122599"/>
                    <a:pt x="3390" y="122504"/>
                  </a:cubicBezTo>
                  <a:cubicBezTo>
                    <a:pt x="4248" y="122504"/>
                    <a:pt x="5581" y="123171"/>
                    <a:pt x="6248" y="123647"/>
                  </a:cubicBezTo>
                  <a:cubicBezTo>
                    <a:pt x="5486" y="122790"/>
                    <a:pt x="3962" y="121742"/>
                    <a:pt x="2723" y="121837"/>
                  </a:cubicBezTo>
                  <a:cubicBezTo>
                    <a:pt x="1581" y="121837"/>
                    <a:pt x="247" y="122980"/>
                    <a:pt x="56" y="124123"/>
                  </a:cubicBezTo>
                  <a:cubicBezTo>
                    <a:pt x="-134" y="125266"/>
                    <a:pt x="152" y="126886"/>
                    <a:pt x="1009" y="127648"/>
                  </a:cubicBezTo>
                  <a:cubicBezTo>
                    <a:pt x="1961" y="128505"/>
                    <a:pt x="3581" y="128791"/>
                    <a:pt x="4914" y="128695"/>
                  </a:cubicBezTo>
                  <a:cubicBezTo>
                    <a:pt x="6438" y="128600"/>
                    <a:pt x="7867" y="127648"/>
                    <a:pt x="9200" y="126790"/>
                  </a:cubicBezTo>
                  <a:cubicBezTo>
                    <a:pt x="7772" y="130029"/>
                    <a:pt x="5200" y="134410"/>
                    <a:pt x="8629" y="137077"/>
                  </a:cubicBezTo>
                  <a:cubicBezTo>
                    <a:pt x="5962" y="138601"/>
                    <a:pt x="6057" y="143173"/>
                    <a:pt x="6629" y="144507"/>
                  </a:cubicBezTo>
                  <a:cubicBezTo>
                    <a:pt x="7581" y="146507"/>
                    <a:pt x="9963" y="148984"/>
                    <a:pt x="12915" y="147460"/>
                  </a:cubicBezTo>
                  <a:cubicBezTo>
                    <a:pt x="13487" y="147174"/>
                    <a:pt x="14153" y="146698"/>
                    <a:pt x="14344" y="146031"/>
                  </a:cubicBezTo>
                  <a:cubicBezTo>
                    <a:pt x="14439" y="145745"/>
                    <a:pt x="14534" y="145364"/>
                    <a:pt x="14344" y="145078"/>
                  </a:cubicBezTo>
                  <a:cubicBezTo>
                    <a:pt x="14344" y="145078"/>
                    <a:pt x="14153" y="144888"/>
                    <a:pt x="14058" y="144888"/>
                  </a:cubicBezTo>
                  <a:cubicBezTo>
                    <a:pt x="14058" y="144888"/>
                    <a:pt x="13106" y="145459"/>
                    <a:pt x="13010" y="145459"/>
                  </a:cubicBezTo>
                  <a:cubicBezTo>
                    <a:pt x="12725" y="145555"/>
                    <a:pt x="12439" y="145555"/>
                    <a:pt x="12058" y="145555"/>
                  </a:cubicBezTo>
                  <a:cubicBezTo>
                    <a:pt x="11486" y="145555"/>
                    <a:pt x="10915" y="145269"/>
                    <a:pt x="10629" y="144793"/>
                  </a:cubicBezTo>
                  <a:cubicBezTo>
                    <a:pt x="10058" y="144031"/>
                    <a:pt x="9677" y="140316"/>
                    <a:pt x="10248" y="139459"/>
                  </a:cubicBezTo>
                  <a:cubicBezTo>
                    <a:pt x="10915" y="138601"/>
                    <a:pt x="11963" y="138125"/>
                    <a:pt x="13010" y="137839"/>
                  </a:cubicBezTo>
                  <a:cubicBezTo>
                    <a:pt x="13677" y="137649"/>
                    <a:pt x="14249" y="137363"/>
                    <a:pt x="14915" y="137268"/>
                  </a:cubicBezTo>
                  <a:cubicBezTo>
                    <a:pt x="15582" y="137173"/>
                    <a:pt x="16249" y="137268"/>
                    <a:pt x="16916" y="137268"/>
                  </a:cubicBezTo>
                  <a:cubicBezTo>
                    <a:pt x="17678" y="137268"/>
                    <a:pt x="18440" y="137268"/>
                    <a:pt x="19202" y="137077"/>
                  </a:cubicBezTo>
                  <a:cubicBezTo>
                    <a:pt x="19583" y="137077"/>
                    <a:pt x="20059" y="136982"/>
                    <a:pt x="20440" y="136982"/>
                  </a:cubicBezTo>
                  <a:cubicBezTo>
                    <a:pt x="20821" y="136982"/>
                    <a:pt x="21297" y="136982"/>
                    <a:pt x="21678" y="137077"/>
                  </a:cubicBezTo>
                  <a:cubicBezTo>
                    <a:pt x="19678" y="138697"/>
                    <a:pt x="18249" y="140983"/>
                    <a:pt x="17773" y="143554"/>
                  </a:cubicBezTo>
                  <a:cubicBezTo>
                    <a:pt x="17487" y="144983"/>
                    <a:pt x="17678" y="146317"/>
                    <a:pt x="18154" y="147650"/>
                  </a:cubicBezTo>
                  <a:cubicBezTo>
                    <a:pt x="18440" y="148317"/>
                    <a:pt x="18821" y="148888"/>
                    <a:pt x="19202" y="149555"/>
                  </a:cubicBezTo>
                  <a:cubicBezTo>
                    <a:pt x="19392" y="149841"/>
                    <a:pt x="19583" y="150127"/>
                    <a:pt x="19868" y="150412"/>
                  </a:cubicBezTo>
                  <a:cubicBezTo>
                    <a:pt x="20059" y="150698"/>
                    <a:pt x="20059" y="150889"/>
                    <a:pt x="20059" y="151174"/>
                  </a:cubicBezTo>
                  <a:cubicBezTo>
                    <a:pt x="20059" y="152603"/>
                    <a:pt x="20154" y="156699"/>
                    <a:pt x="20631" y="158032"/>
                  </a:cubicBezTo>
                  <a:cubicBezTo>
                    <a:pt x="20821" y="158699"/>
                    <a:pt x="21202" y="159366"/>
                    <a:pt x="21583" y="159937"/>
                  </a:cubicBezTo>
                  <a:cubicBezTo>
                    <a:pt x="21583" y="160033"/>
                    <a:pt x="21964" y="160318"/>
                    <a:pt x="21964" y="160414"/>
                  </a:cubicBezTo>
                  <a:cubicBezTo>
                    <a:pt x="21964" y="160604"/>
                    <a:pt x="21488" y="160795"/>
                    <a:pt x="21392" y="160795"/>
                  </a:cubicBezTo>
                  <a:cubicBezTo>
                    <a:pt x="20249" y="161271"/>
                    <a:pt x="18916" y="160795"/>
                    <a:pt x="17868" y="160128"/>
                  </a:cubicBezTo>
                  <a:cubicBezTo>
                    <a:pt x="17011" y="159556"/>
                    <a:pt x="15963" y="158699"/>
                    <a:pt x="16154" y="157461"/>
                  </a:cubicBezTo>
                  <a:cubicBezTo>
                    <a:pt x="16440" y="156223"/>
                    <a:pt x="18059" y="155175"/>
                    <a:pt x="19583" y="155937"/>
                  </a:cubicBezTo>
                  <a:cubicBezTo>
                    <a:pt x="20631" y="156413"/>
                    <a:pt x="19678" y="155461"/>
                    <a:pt x="17964" y="155175"/>
                  </a:cubicBezTo>
                  <a:cubicBezTo>
                    <a:pt x="16154" y="154889"/>
                    <a:pt x="14725" y="156604"/>
                    <a:pt x="14820" y="158413"/>
                  </a:cubicBezTo>
                  <a:cubicBezTo>
                    <a:pt x="14820" y="160414"/>
                    <a:pt x="16725" y="162128"/>
                    <a:pt x="18440" y="162890"/>
                  </a:cubicBezTo>
                  <a:cubicBezTo>
                    <a:pt x="19392" y="163366"/>
                    <a:pt x="20535" y="163557"/>
                    <a:pt x="21583" y="163462"/>
                  </a:cubicBezTo>
                  <a:cubicBezTo>
                    <a:pt x="22155" y="163462"/>
                    <a:pt x="22726" y="163176"/>
                    <a:pt x="23202" y="162890"/>
                  </a:cubicBezTo>
                  <a:cubicBezTo>
                    <a:pt x="23488" y="162795"/>
                    <a:pt x="23678" y="162604"/>
                    <a:pt x="23869" y="162414"/>
                  </a:cubicBezTo>
                  <a:cubicBezTo>
                    <a:pt x="24059" y="162223"/>
                    <a:pt x="24155" y="162033"/>
                    <a:pt x="24440" y="162128"/>
                  </a:cubicBezTo>
                  <a:cubicBezTo>
                    <a:pt x="25107" y="162319"/>
                    <a:pt x="25774" y="162509"/>
                    <a:pt x="26536" y="162604"/>
                  </a:cubicBezTo>
                  <a:cubicBezTo>
                    <a:pt x="27203" y="162604"/>
                    <a:pt x="27965" y="162700"/>
                    <a:pt x="28631" y="162604"/>
                  </a:cubicBezTo>
                  <a:cubicBezTo>
                    <a:pt x="30060" y="162604"/>
                    <a:pt x="31489" y="162223"/>
                    <a:pt x="32918" y="161842"/>
                  </a:cubicBezTo>
                  <a:cubicBezTo>
                    <a:pt x="31965" y="163366"/>
                    <a:pt x="31394" y="163652"/>
                    <a:pt x="31108" y="165462"/>
                  </a:cubicBezTo>
                  <a:cubicBezTo>
                    <a:pt x="30441" y="164033"/>
                    <a:pt x="28822" y="163462"/>
                    <a:pt x="27393" y="163747"/>
                  </a:cubicBezTo>
                  <a:cubicBezTo>
                    <a:pt x="25869" y="164033"/>
                    <a:pt x="24440" y="165081"/>
                    <a:pt x="23964" y="166605"/>
                  </a:cubicBezTo>
                  <a:cubicBezTo>
                    <a:pt x="23012" y="169558"/>
                    <a:pt x="25869" y="172701"/>
                    <a:pt x="28727" y="173177"/>
                  </a:cubicBezTo>
                  <a:cubicBezTo>
                    <a:pt x="30536" y="173463"/>
                    <a:pt x="32251" y="171367"/>
                    <a:pt x="33203" y="169748"/>
                  </a:cubicBezTo>
                  <a:cubicBezTo>
                    <a:pt x="33203" y="171939"/>
                    <a:pt x="33870" y="174415"/>
                    <a:pt x="35680" y="175844"/>
                  </a:cubicBezTo>
                  <a:cubicBezTo>
                    <a:pt x="34537" y="176511"/>
                    <a:pt x="33203" y="178892"/>
                    <a:pt x="32727" y="180226"/>
                  </a:cubicBezTo>
                  <a:cubicBezTo>
                    <a:pt x="32346" y="181559"/>
                    <a:pt x="32441" y="184131"/>
                    <a:pt x="33680" y="185369"/>
                  </a:cubicBezTo>
                  <a:cubicBezTo>
                    <a:pt x="35108" y="186893"/>
                    <a:pt x="37490" y="186988"/>
                    <a:pt x="38823" y="185369"/>
                  </a:cubicBezTo>
                  <a:cubicBezTo>
                    <a:pt x="39299" y="184798"/>
                    <a:pt x="39776" y="182988"/>
                    <a:pt x="39776" y="182131"/>
                  </a:cubicBezTo>
                  <a:cubicBezTo>
                    <a:pt x="39776" y="182131"/>
                    <a:pt x="38157" y="183559"/>
                    <a:pt x="37394" y="183750"/>
                  </a:cubicBezTo>
                  <a:cubicBezTo>
                    <a:pt x="36918" y="183750"/>
                    <a:pt x="36347" y="183940"/>
                    <a:pt x="36061" y="183559"/>
                  </a:cubicBezTo>
                  <a:cubicBezTo>
                    <a:pt x="35775" y="183178"/>
                    <a:pt x="35775" y="182607"/>
                    <a:pt x="35966" y="182226"/>
                  </a:cubicBezTo>
                  <a:cubicBezTo>
                    <a:pt x="36251" y="181369"/>
                    <a:pt x="37109" y="178606"/>
                    <a:pt x="37966" y="178321"/>
                  </a:cubicBezTo>
                  <a:cubicBezTo>
                    <a:pt x="39109" y="177940"/>
                    <a:pt x="40347" y="178035"/>
                    <a:pt x="41585" y="177940"/>
                  </a:cubicBezTo>
                  <a:cubicBezTo>
                    <a:pt x="42919" y="177940"/>
                    <a:pt x="44157" y="177559"/>
                    <a:pt x="45300" y="176892"/>
                  </a:cubicBezTo>
                  <a:cubicBezTo>
                    <a:pt x="43205" y="180416"/>
                    <a:pt x="43109" y="185750"/>
                    <a:pt x="46157" y="188798"/>
                  </a:cubicBezTo>
                  <a:cubicBezTo>
                    <a:pt x="47586" y="190322"/>
                    <a:pt x="49682" y="190513"/>
                    <a:pt x="51682" y="190894"/>
                  </a:cubicBezTo>
                  <a:cubicBezTo>
                    <a:pt x="52539" y="191084"/>
                    <a:pt x="53492" y="191370"/>
                    <a:pt x="54063" y="192227"/>
                  </a:cubicBezTo>
                  <a:cubicBezTo>
                    <a:pt x="54540" y="193084"/>
                    <a:pt x="54540" y="195751"/>
                    <a:pt x="54063" y="196609"/>
                  </a:cubicBezTo>
                  <a:cubicBezTo>
                    <a:pt x="53492" y="197466"/>
                    <a:pt x="52444" y="197942"/>
                    <a:pt x="51491" y="197942"/>
                  </a:cubicBezTo>
                  <a:cubicBezTo>
                    <a:pt x="50348" y="197942"/>
                    <a:pt x="49396" y="197466"/>
                    <a:pt x="48634" y="196609"/>
                  </a:cubicBezTo>
                  <a:cubicBezTo>
                    <a:pt x="49396" y="198228"/>
                    <a:pt x="51301" y="199180"/>
                    <a:pt x="53015" y="198895"/>
                  </a:cubicBezTo>
                  <a:cubicBezTo>
                    <a:pt x="54920" y="198609"/>
                    <a:pt x="56349" y="195656"/>
                    <a:pt x="56635" y="193751"/>
                  </a:cubicBezTo>
                  <a:cubicBezTo>
                    <a:pt x="56825" y="192703"/>
                    <a:pt x="56635" y="191656"/>
                    <a:pt x="56254" y="190703"/>
                  </a:cubicBezTo>
                  <a:cubicBezTo>
                    <a:pt x="57588" y="190703"/>
                    <a:pt x="58921" y="190703"/>
                    <a:pt x="60255" y="190513"/>
                  </a:cubicBezTo>
                  <a:cubicBezTo>
                    <a:pt x="58921" y="195085"/>
                    <a:pt x="60826" y="197275"/>
                    <a:pt x="62255" y="198418"/>
                  </a:cubicBezTo>
                  <a:cubicBezTo>
                    <a:pt x="62636" y="198799"/>
                    <a:pt x="63207" y="199085"/>
                    <a:pt x="63779" y="199276"/>
                  </a:cubicBezTo>
                  <a:cubicBezTo>
                    <a:pt x="63207" y="198323"/>
                    <a:pt x="62826" y="197180"/>
                    <a:pt x="62636" y="195847"/>
                  </a:cubicBezTo>
                  <a:cubicBezTo>
                    <a:pt x="61398" y="188227"/>
                    <a:pt x="60350" y="184131"/>
                    <a:pt x="59588" y="181083"/>
                  </a:cubicBezTo>
                  <a:cubicBezTo>
                    <a:pt x="58635" y="177559"/>
                    <a:pt x="58064" y="175177"/>
                    <a:pt x="58064" y="170891"/>
                  </a:cubicBezTo>
                  <a:cubicBezTo>
                    <a:pt x="58064" y="166129"/>
                    <a:pt x="59207" y="162700"/>
                    <a:pt x="61398" y="160699"/>
                  </a:cubicBezTo>
                  <a:cubicBezTo>
                    <a:pt x="61683" y="161080"/>
                    <a:pt x="61969" y="161557"/>
                    <a:pt x="62350" y="161938"/>
                  </a:cubicBezTo>
                  <a:cubicBezTo>
                    <a:pt x="63493" y="163271"/>
                    <a:pt x="64826" y="164319"/>
                    <a:pt x="66255" y="165176"/>
                  </a:cubicBezTo>
                  <a:cubicBezTo>
                    <a:pt x="66541" y="165367"/>
                    <a:pt x="66732" y="165557"/>
                    <a:pt x="67017" y="165652"/>
                  </a:cubicBezTo>
                  <a:cubicBezTo>
                    <a:pt x="67017" y="165652"/>
                    <a:pt x="67017" y="165652"/>
                    <a:pt x="67017" y="165652"/>
                  </a:cubicBezTo>
                  <a:cubicBezTo>
                    <a:pt x="67493" y="165843"/>
                    <a:pt x="67970" y="166129"/>
                    <a:pt x="68446" y="166224"/>
                  </a:cubicBezTo>
                  <a:cubicBezTo>
                    <a:pt x="68732" y="166224"/>
                    <a:pt x="68922" y="166414"/>
                    <a:pt x="69208" y="166414"/>
                  </a:cubicBezTo>
                  <a:cubicBezTo>
                    <a:pt x="69303" y="166414"/>
                    <a:pt x="69398" y="166414"/>
                    <a:pt x="69589" y="166414"/>
                  </a:cubicBezTo>
                  <a:cubicBezTo>
                    <a:pt x="69875" y="166414"/>
                    <a:pt x="69780" y="166605"/>
                    <a:pt x="69780" y="166795"/>
                  </a:cubicBezTo>
                  <a:cubicBezTo>
                    <a:pt x="69970" y="168319"/>
                    <a:pt x="71018" y="169367"/>
                    <a:pt x="72351" y="169939"/>
                  </a:cubicBezTo>
                  <a:cubicBezTo>
                    <a:pt x="73780" y="170510"/>
                    <a:pt x="75590" y="170701"/>
                    <a:pt x="77114" y="170034"/>
                  </a:cubicBezTo>
                  <a:cubicBezTo>
                    <a:pt x="77685" y="169748"/>
                    <a:pt x="78257" y="169272"/>
                    <a:pt x="78542" y="168605"/>
                  </a:cubicBezTo>
                  <a:cubicBezTo>
                    <a:pt x="78638" y="168319"/>
                    <a:pt x="78733" y="167938"/>
                    <a:pt x="78733" y="167653"/>
                  </a:cubicBezTo>
                  <a:cubicBezTo>
                    <a:pt x="78733" y="167653"/>
                    <a:pt x="78542" y="167081"/>
                    <a:pt x="78542" y="167081"/>
                  </a:cubicBezTo>
                  <a:cubicBezTo>
                    <a:pt x="78447" y="168034"/>
                    <a:pt x="77304" y="168510"/>
                    <a:pt x="76447" y="168510"/>
                  </a:cubicBezTo>
                  <a:cubicBezTo>
                    <a:pt x="75399" y="168510"/>
                    <a:pt x="74256" y="168034"/>
                    <a:pt x="73399" y="167462"/>
                  </a:cubicBezTo>
                  <a:cubicBezTo>
                    <a:pt x="73113" y="167272"/>
                    <a:pt x="72827" y="167081"/>
                    <a:pt x="72732" y="166700"/>
                  </a:cubicBezTo>
                  <a:cubicBezTo>
                    <a:pt x="72732" y="166510"/>
                    <a:pt x="72732" y="166510"/>
                    <a:pt x="72827" y="166414"/>
                  </a:cubicBezTo>
                  <a:cubicBezTo>
                    <a:pt x="72923" y="166414"/>
                    <a:pt x="73113" y="166414"/>
                    <a:pt x="73208" y="166414"/>
                  </a:cubicBezTo>
                  <a:cubicBezTo>
                    <a:pt x="73494" y="166414"/>
                    <a:pt x="73780" y="166319"/>
                    <a:pt x="73970" y="166224"/>
                  </a:cubicBezTo>
                  <a:cubicBezTo>
                    <a:pt x="74732" y="166033"/>
                    <a:pt x="75399" y="165748"/>
                    <a:pt x="76066" y="165271"/>
                  </a:cubicBezTo>
                  <a:cubicBezTo>
                    <a:pt x="78352" y="163652"/>
                    <a:pt x="78161" y="160604"/>
                    <a:pt x="77495" y="158128"/>
                  </a:cubicBezTo>
                  <a:cubicBezTo>
                    <a:pt x="77399" y="157747"/>
                    <a:pt x="77304" y="157366"/>
                    <a:pt x="77114" y="156985"/>
                  </a:cubicBezTo>
                  <a:cubicBezTo>
                    <a:pt x="77018" y="156604"/>
                    <a:pt x="76828" y="156223"/>
                    <a:pt x="76733" y="155746"/>
                  </a:cubicBezTo>
                  <a:cubicBezTo>
                    <a:pt x="76638" y="154603"/>
                    <a:pt x="76066" y="153460"/>
                    <a:pt x="75494" y="152508"/>
                  </a:cubicBezTo>
                  <a:cubicBezTo>
                    <a:pt x="76066" y="152984"/>
                    <a:pt x="76828" y="153175"/>
                    <a:pt x="77495" y="152889"/>
                  </a:cubicBezTo>
                  <a:cubicBezTo>
                    <a:pt x="76638" y="152508"/>
                    <a:pt x="75971" y="151460"/>
                    <a:pt x="75971" y="150508"/>
                  </a:cubicBezTo>
                  <a:cubicBezTo>
                    <a:pt x="75971" y="149460"/>
                    <a:pt x="76638" y="148698"/>
                    <a:pt x="77304" y="148031"/>
                  </a:cubicBezTo>
                  <a:cubicBezTo>
                    <a:pt x="77971" y="147269"/>
                    <a:pt x="78638" y="146602"/>
                    <a:pt x="79114" y="145650"/>
                  </a:cubicBezTo>
                  <a:cubicBezTo>
                    <a:pt x="79685" y="144602"/>
                    <a:pt x="79876" y="143554"/>
                    <a:pt x="79876" y="142316"/>
                  </a:cubicBezTo>
                  <a:cubicBezTo>
                    <a:pt x="79876" y="141745"/>
                    <a:pt x="79876" y="141268"/>
                    <a:pt x="79876" y="140697"/>
                  </a:cubicBezTo>
                  <a:cubicBezTo>
                    <a:pt x="79876" y="140125"/>
                    <a:pt x="79685" y="139554"/>
                    <a:pt x="79495" y="138982"/>
                  </a:cubicBezTo>
                  <a:cubicBezTo>
                    <a:pt x="79019" y="137649"/>
                    <a:pt x="78161" y="136411"/>
                    <a:pt x="77209" y="135363"/>
                  </a:cubicBezTo>
                  <a:cubicBezTo>
                    <a:pt x="76542" y="134601"/>
                    <a:pt x="75685" y="133839"/>
                    <a:pt x="74828" y="133172"/>
                  </a:cubicBezTo>
                  <a:cubicBezTo>
                    <a:pt x="74351" y="132791"/>
                    <a:pt x="73875" y="132410"/>
                    <a:pt x="73399" y="132124"/>
                  </a:cubicBezTo>
                  <a:cubicBezTo>
                    <a:pt x="73113" y="131934"/>
                    <a:pt x="72827" y="131743"/>
                    <a:pt x="72542" y="131553"/>
                  </a:cubicBezTo>
                  <a:cubicBezTo>
                    <a:pt x="72447" y="131553"/>
                    <a:pt x="72256" y="131362"/>
                    <a:pt x="72161" y="131267"/>
                  </a:cubicBezTo>
                  <a:cubicBezTo>
                    <a:pt x="72161" y="131267"/>
                    <a:pt x="72065" y="131077"/>
                    <a:pt x="71970" y="130981"/>
                  </a:cubicBezTo>
                  <a:cubicBezTo>
                    <a:pt x="71970" y="130981"/>
                    <a:pt x="71970" y="130981"/>
                    <a:pt x="71970" y="130886"/>
                  </a:cubicBezTo>
                  <a:cubicBezTo>
                    <a:pt x="71970" y="130886"/>
                    <a:pt x="71970" y="130886"/>
                    <a:pt x="72065" y="130886"/>
                  </a:cubicBezTo>
                  <a:cubicBezTo>
                    <a:pt x="75399" y="130315"/>
                    <a:pt x="79400" y="128791"/>
                    <a:pt x="80733" y="125362"/>
                  </a:cubicBezTo>
                  <a:cubicBezTo>
                    <a:pt x="81305" y="124028"/>
                    <a:pt x="81305" y="122504"/>
                    <a:pt x="81019" y="120980"/>
                  </a:cubicBezTo>
                  <a:cubicBezTo>
                    <a:pt x="82352" y="121456"/>
                    <a:pt x="84162" y="121456"/>
                    <a:pt x="85210" y="120313"/>
                  </a:cubicBezTo>
                  <a:cubicBezTo>
                    <a:pt x="85686" y="119837"/>
                    <a:pt x="85972" y="119170"/>
                    <a:pt x="85972" y="118408"/>
                  </a:cubicBezTo>
                  <a:cubicBezTo>
                    <a:pt x="85972" y="118123"/>
                    <a:pt x="85972" y="117742"/>
                    <a:pt x="85782" y="117551"/>
                  </a:cubicBezTo>
                  <a:cubicBezTo>
                    <a:pt x="85782" y="117551"/>
                    <a:pt x="85305" y="116980"/>
                    <a:pt x="85210" y="117075"/>
                  </a:cubicBezTo>
                  <a:cubicBezTo>
                    <a:pt x="85591" y="118218"/>
                    <a:pt x="84639" y="119170"/>
                    <a:pt x="83591" y="119170"/>
                  </a:cubicBezTo>
                  <a:cubicBezTo>
                    <a:pt x="82448" y="119170"/>
                    <a:pt x="81400" y="118408"/>
                    <a:pt x="80924" y="117361"/>
                  </a:cubicBezTo>
                  <a:cubicBezTo>
                    <a:pt x="80448" y="116313"/>
                    <a:pt x="80257" y="115075"/>
                    <a:pt x="80352" y="113932"/>
                  </a:cubicBezTo>
                  <a:cubicBezTo>
                    <a:pt x="80352" y="112789"/>
                    <a:pt x="80733" y="111741"/>
                    <a:pt x="81686" y="111074"/>
                  </a:cubicBezTo>
                  <a:cubicBezTo>
                    <a:pt x="82638" y="110312"/>
                    <a:pt x="83781" y="109836"/>
                    <a:pt x="84639" y="108979"/>
                  </a:cubicBezTo>
                  <a:cubicBezTo>
                    <a:pt x="85400" y="108217"/>
                    <a:pt x="85782" y="107264"/>
                    <a:pt x="86448" y="106407"/>
                  </a:cubicBezTo>
                  <a:cubicBezTo>
                    <a:pt x="86924" y="105740"/>
                    <a:pt x="87115" y="104978"/>
                    <a:pt x="87306" y="104216"/>
                  </a:cubicBezTo>
                  <a:cubicBezTo>
                    <a:pt x="87306" y="103740"/>
                    <a:pt x="87496" y="103168"/>
                    <a:pt x="87306" y="102597"/>
                  </a:cubicBezTo>
                  <a:cubicBezTo>
                    <a:pt x="87020" y="100692"/>
                    <a:pt x="85972" y="99073"/>
                    <a:pt x="84829" y="97644"/>
                  </a:cubicBezTo>
                  <a:cubicBezTo>
                    <a:pt x="84543" y="97358"/>
                    <a:pt x="84353" y="96977"/>
                    <a:pt x="84067" y="96691"/>
                  </a:cubicBezTo>
                  <a:cubicBezTo>
                    <a:pt x="84448" y="96882"/>
                    <a:pt x="84829" y="97072"/>
                    <a:pt x="85210" y="97263"/>
                  </a:cubicBezTo>
                  <a:cubicBezTo>
                    <a:pt x="86448" y="97834"/>
                    <a:pt x="87686" y="98311"/>
                    <a:pt x="88925" y="98596"/>
                  </a:cubicBezTo>
                  <a:cubicBezTo>
                    <a:pt x="88639" y="99835"/>
                    <a:pt x="88734" y="101168"/>
                    <a:pt x="89210" y="102311"/>
                  </a:cubicBezTo>
                  <a:cubicBezTo>
                    <a:pt x="89687" y="103549"/>
                    <a:pt x="90544" y="104597"/>
                    <a:pt x="91782" y="105169"/>
                  </a:cubicBezTo>
                  <a:cubicBezTo>
                    <a:pt x="92640" y="105550"/>
                    <a:pt x="93782" y="105740"/>
                    <a:pt x="94735" y="105454"/>
                  </a:cubicBezTo>
                  <a:cubicBezTo>
                    <a:pt x="95878" y="105073"/>
                    <a:pt x="96545" y="104026"/>
                    <a:pt x="96640" y="102883"/>
                  </a:cubicBezTo>
                  <a:cubicBezTo>
                    <a:pt x="96640" y="101644"/>
                    <a:pt x="96164" y="100406"/>
                    <a:pt x="95497" y="99454"/>
                  </a:cubicBezTo>
                  <a:cubicBezTo>
                    <a:pt x="95783" y="100597"/>
                    <a:pt x="96068" y="101930"/>
                    <a:pt x="95402" y="102978"/>
                  </a:cubicBezTo>
                  <a:cubicBezTo>
                    <a:pt x="94735" y="104026"/>
                    <a:pt x="93497" y="103549"/>
                    <a:pt x="92735" y="102978"/>
                  </a:cubicBezTo>
                  <a:cubicBezTo>
                    <a:pt x="92068" y="102311"/>
                    <a:pt x="91782" y="101454"/>
                    <a:pt x="91782" y="100501"/>
                  </a:cubicBezTo>
                  <a:cubicBezTo>
                    <a:pt x="98069" y="95834"/>
                    <a:pt x="105308" y="92881"/>
                    <a:pt x="112928" y="91548"/>
                  </a:cubicBezTo>
                  <a:cubicBezTo>
                    <a:pt x="113404" y="92786"/>
                    <a:pt x="114071" y="94024"/>
                    <a:pt x="115023" y="94977"/>
                  </a:cubicBezTo>
                  <a:cubicBezTo>
                    <a:pt x="115976" y="96025"/>
                    <a:pt x="117023" y="96691"/>
                    <a:pt x="118071" y="97644"/>
                  </a:cubicBezTo>
                  <a:cubicBezTo>
                    <a:pt x="118452" y="98025"/>
                    <a:pt x="118928" y="98501"/>
                    <a:pt x="119024" y="99073"/>
                  </a:cubicBezTo>
                  <a:cubicBezTo>
                    <a:pt x="119214" y="99739"/>
                    <a:pt x="118833" y="100406"/>
                    <a:pt x="118452" y="100978"/>
                  </a:cubicBezTo>
                  <a:cubicBezTo>
                    <a:pt x="117500" y="102121"/>
                    <a:pt x="116071" y="102597"/>
                    <a:pt x="114642" y="102597"/>
                  </a:cubicBezTo>
                  <a:cubicBezTo>
                    <a:pt x="113118" y="102597"/>
                    <a:pt x="111594" y="101835"/>
                    <a:pt x="110451" y="100882"/>
                  </a:cubicBezTo>
                  <a:cubicBezTo>
                    <a:pt x="109403" y="100025"/>
                    <a:pt x="108737" y="98882"/>
                    <a:pt x="108165" y="97644"/>
                  </a:cubicBezTo>
                  <a:cubicBezTo>
                    <a:pt x="108451" y="100978"/>
                    <a:pt x="111023" y="103835"/>
                    <a:pt x="114071" y="104597"/>
                  </a:cubicBezTo>
                  <a:cubicBezTo>
                    <a:pt x="117023" y="105359"/>
                    <a:pt x="120643" y="104026"/>
                    <a:pt x="121691" y="100882"/>
                  </a:cubicBezTo>
                  <a:cubicBezTo>
                    <a:pt x="122262" y="99073"/>
                    <a:pt x="121691" y="97263"/>
                    <a:pt x="120548" y="95834"/>
                  </a:cubicBezTo>
                  <a:cubicBezTo>
                    <a:pt x="121976" y="96215"/>
                    <a:pt x="123500" y="96025"/>
                    <a:pt x="124834" y="95548"/>
                  </a:cubicBezTo>
                  <a:cubicBezTo>
                    <a:pt x="124453" y="96977"/>
                    <a:pt x="124167" y="98596"/>
                    <a:pt x="124834" y="100025"/>
                  </a:cubicBezTo>
                  <a:cubicBezTo>
                    <a:pt x="125406" y="101454"/>
                    <a:pt x="126644" y="102216"/>
                    <a:pt x="127882" y="102883"/>
                  </a:cubicBezTo>
                  <a:cubicBezTo>
                    <a:pt x="129311" y="103549"/>
                    <a:pt x="130740" y="104121"/>
                    <a:pt x="132168" y="104692"/>
                  </a:cubicBezTo>
                  <a:cubicBezTo>
                    <a:pt x="133407" y="105169"/>
                    <a:pt x="134645" y="105931"/>
                    <a:pt x="135121" y="107264"/>
                  </a:cubicBezTo>
                  <a:cubicBezTo>
                    <a:pt x="135692" y="108788"/>
                    <a:pt x="135311" y="110312"/>
                    <a:pt x="134264" y="111360"/>
                  </a:cubicBezTo>
                  <a:cubicBezTo>
                    <a:pt x="136359" y="110693"/>
                    <a:pt x="137216" y="108026"/>
                    <a:pt x="136645" y="105931"/>
                  </a:cubicBezTo>
                  <a:cubicBezTo>
                    <a:pt x="136073" y="103835"/>
                    <a:pt x="134359" y="102406"/>
                    <a:pt x="132549" y="101454"/>
                  </a:cubicBezTo>
                  <a:cubicBezTo>
                    <a:pt x="134740" y="101835"/>
                    <a:pt x="137026" y="101740"/>
                    <a:pt x="139122" y="101454"/>
                  </a:cubicBezTo>
                  <a:cubicBezTo>
                    <a:pt x="138836" y="102025"/>
                    <a:pt x="138550" y="102597"/>
                    <a:pt x="138359" y="103264"/>
                  </a:cubicBezTo>
                  <a:cubicBezTo>
                    <a:pt x="137883" y="104597"/>
                    <a:pt x="137407" y="105931"/>
                    <a:pt x="137121" y="107264"/>
                  </a:cubicBezTo>
                  <a:cubicBezTo>
                    <a:pt x="136835" y="108693"/>
                    <a:pt x="136645" y="110217"/>
                    <a:pt x="137026" y="111550"/>
                  </a:cubicBezTo>
                  <a:cubicBezTo>
                    <a:pt x="137407" y="112884"/>
                    <a:pt x="138359" y="113836"/>
                    <a:pt x="139693" y="114217"/>
                  </a:cubicBezTo>
                  <a:cubicBezTo>
                    <a:pt x="141979" y="114789"/>
                    <a:pt x="144551" y="114027"/>
                    <a:pt x="146646" y="113265"/>
                  </a:cubicBezTo>
                  <a:cubicBezTo>
                    <a:pt x="147123" y="113074"/>
                    <a:pt x="147503" y="112979"/>
                    <a:pt x="147980" y="112789"/>
                  </a:cubicBezTo>
                  <a:cubicBezTo>
                    <a:pt x="148075" y="114027"/>
                    <a:pt x="148647" y="115170"/>
                    <a:pt x="149408" y="116122"/>
                  </a:cubicBezTo>
                  <a:cubicBezTo>
                    <a:pt x="150170" y="117075"/>
                    <a:pt x="151314" y="117742"/>
                    <a:pt x="152266" y="118408"/>
                  </a:cubicBezTo>
                  <a:cubicBezTo>
                    <a:pt x="153123" y="118980"/>
                    <a:pt x="154076" y="119551"/>
                    <a:pt x="154076" y="120694"/>
                  </a:cubicBezTo>
                  <a:cubicBezTo>
                    <a:pt x="154076" y="121933"/>
                    <a:pt x="153314" y="123076"/>
                    <a:pt x="152457" y="123838"/>
                  </a:cubicBezTo>
                  <a:cubicBezTo>
                    <a:pt x="151599" y="124600"/>
                    <a:pt x="150647" y="125266"/>
                    <a:pt x="149885" y="126028"/>
                  </a:cubicBezTo>
                  <a:cubicBezTo>
                    <a:pt x="151885" y="125838"/>
                    <a:pt x="153981" y="125362"/>
                    <a:pt x="155505" y="123742"/>
                  </a:cubicBezTo>
                  <a:cubicBezTo>
                    <a:pt x="156838" y="122218"/>
                    <a:pt x="157314" y="120123"/>
                    <a:pt x="156457" y="118218"/>
                  </a:cubicBezTo>
                  <a:cubicBezTo>
                    <a:pt x="159410" y="118885"/>
                    <a:pt x="162458" y="118694"/>
                    <a:pt x="165506" y="118218"/>
                  </a:cubicBezTo>
                  <a:cubicBezTo>
                    <a:pt x="166077" y="118123"/>
                    <a:pt x="166744" y="118027"/>
                    <a:pt x="167315" y="117932"/>
                  </a:cubicBezTo>
                  <a:cubicBezTo>
                    <a:pt x="166839" y="118313"/>
                    <a:pt x="166363" y="118694"/>
                    <a:pt x="165982" y="119075"/>
                  </a:cubicBezTo>
                  <a:cubicBezTo>
                    <a:pt x="164934" y="119932"/>
                    <a:pt x="163886" y="120885"/>
                    <a:pt x="163029" y="122028"/>
                  </a:cubicBezTo>
                  <a:cubicBezTo>
                    <a:pt x="161315" y="124123"/>
                    <a:pt x="159600" y="127267"/>
                    <a:pt x="161505" y="129934"/>
                  </a:cubicBezTo>
                  <a:cubicBezTo>
                    <a:pt x="163029" y="132124"/>
                    <a:pt x="165982" y="132982"/>
                    <a:pt x="168363" y="133648"/>
                  </a:cubicBezTo>
                  <a:cubicBezTo>
                    <a:pt x="168363" y="133648"/>
                    <a:pt x="168173" y="133839"/>
                    <a:pt x="168173" y="133934"/>
                  </a:cubicBezTo>
                  <a:cubicBezTo>
                    <a:pt x="167982" y="134125"/>
                    <a:pt x="167792" y="134125"/>
                    <a:pt x="167601" y="134220"/>
                  </a:cubicBezTo>
                  <a:cubicBezTo>
                    <a:pt x="167125" y="134410"/>
                    <a:pt x="166553" y="134696"/>
                    <a:pt x="166077" y="134982"/>
                  </a:cubicBezTo>
                  <a:cubicBezTo>
                    <a:pt x="165315" y="135458"/>
                    <a:pt x="164553" y="135934"/>
                    <a:pt x="163886" y="136601"/>
                  </a:cubicBezTo>
                  <a:cubicBezTo>
                    <a:pt x="162458" y="138030"/>
                    <a:pt x="161886" y="139840"/>
                    <a:pt x="161982" y="141840"/>
                  </a:cubicBezTo>
                  <a:cubicBezTo>
                    <a:pt x="161982" y="142792"/>
                    <a:pt x="162267" y="143745"/>
                    <a:pt x="162458" y="144697"/>
                  </a:cubicBezTo>
                  <a:cubicBezTo>
                    <a:pt x="162553" y="145174"/>
                    <a:pt x="162743" y="145650"/>
                    <a:pt x="162934" y="146126"/>
                  </a:cubicBezTo>
                  <a:cubicBezTo>
                    <a:pt x="163029" y="146412"/>
                    <a:pt x="163220" y="146602"/>
                    <a:pt x="163315" y="146888"/>
                  </a:cubicBezTo>
                  <a:cubicBezTo>
                    <a:pt x="163315" y="147079"/>
                    <a:pt x="163315" y="147174"/>
                    <a:pt x="163410" y="147364"/>
                  </a:cubicBezTo>
                  <a:cubicBezTo>
                    <a:pt x="163696" y="148698"/>
                    <a:pt x="164363" y="149841"/>
                    <a:pt x="165125" y="150889"/>
                  </a:cubicBezTo>
                  <a:cubicBezTo>
                    <a:pt x="166363" y="152413"/>
                    <a:pt x="168077" y="153460"/>
                    <a:pt x="169792" y="154318"/>
                  </a:cubicBezTo>
                  <a:cubicBezTo>
                    <a:pt x="169601" y="154603"/>
                    <a:pt x="169506" y="154889"/>
                    <a:pt x="169411" y="155270"/>
                  </a:cubicBezTo>
                  <a:cubicBezTo>
                    <a:pt x="169220" y="155651"/>
                    <a:pt x="169220" y="156032"/>
                    <a:pt x="168935" y="156223"/>
                  </a:cubicBezTo>
                  <a:cubicBezTo>
                    <a:pt x="168649" y="156413"/>
                    <a:pt x="168363" y="156604"/>
                    <a:pt x="167982" y="156699"/>
                  </a:cubicBezTo>
                  <a:cubicBezTo>
                    <a:pt x="166839" y="157175"/>
                    <a:pt x="165601" y="157080"/>
                    <a:pt x="164458" y="156508"/>
                  </a:cubicBezTo>
                  <a:cubicBezTo>
                    <a:pt x="165506" y="157651"/>
                    <a:pt x="167125" y="157937"/>
                    <a:pt x="168554" y="157747"/>
                  </a:cubicBezTo>
                  <a:cubicBezTo>
                    <a:pt x="167982" y="159842"/>
                    <a:pt x="167601" y="162414"/>
                    <a:pt x="168649" y="164414"/>
                  </a:cubicBezTo>
                  <a:cubicBezTo>
                    <a:pt x="168649" y="164509"/>
                    <a:pt x="168840" y="164605"/>
                    <a:pt x="168840" y="164795"/>
                  </a:cubicBezTo>
                  <a:cubicBezTo>
                    <a:pt x="168840" y="164890"/>
                    <a:pt x="168744" y="165081"/>
                    <a:pt x="168649" y="165271"/>
                  </a:cubicBezTo>
                  <a:cubicBezTo>
                    <a:pt x="168554" y="165557"/>
                    <a:pt x="168363" y="165843"/>
                    <a:pt x="168173" y="166129"/>
                  </a:cubicBezTo>
                  <a:cubicBezTo>
                    <a:pt x="167887" y="166510"/>
                    <a:pt x="167506" y="167176"/>
                    <a:pt x="167030" y="167272"/>
                  </a:cubicBezTo>
                  <a:cubicBezTo>
                    <a:pt x="166363" y="167462"/>
                    <a:pt x="165791" y="166795"/>
                    <a:pt x="165410" y="166414"/>
                  </a:cubicBezTo>
                  <a:cubicBezTo>
                    <a:pt x="165030" y="166033"/>
                    <a:pt x="164648" y="165557"/>
                    <a:pt x="164458" y="164986"/>
                  </a:cubicBezTo>
                  <a:cubicBezTo>
                    <a:pt x="164077" y="163747"/>
                    <a:pt x="164744" y="162509"/>
                    <a:pt x="165887" y="162033"/>
                  </a:cubicBezTo>
                  <a:cubicBezTo>
                    <a:pt x="164934" y="162033"/>
                    <a:pt x="164077" y="162700"/>
                    <a:pt x="163601" y="163557"/>
                  </a:cubicBezTo>
                  <a:cubicBezTo>
                    <a:pt x="163124" y="164414"/>
                    <a:pt x="163029" y="165557"/>
                    <a:pt x="163315" y="166510"/>
                  </a:cubicBezTo>
                  <a:cubicBezTo>
                    <a:pt x="163791" y="168510"/>
                    <a:pt x="165315" y="170510"/>
                    <a:pt x="167601" y="170224"/>
                  </a:cubicBezTo>
                  <a:cubicBezTo>
                    <a:pt x="168554" y="170129"/>
                    <a:pt x="169411" y="169653"/>
                    <a:pt x="170078" y="168986"/>
                  </a:cubicBezTo>
                  <a:cubicBezTo>
                    <a:pt x="170459" y="168605"/>
                    <a:pt x="170840" y="168224"/>
                    <a:pt x="171030" y="167748"/>
                  </a:cubicBezTo>
                  <a:cubicBezTo>
                    <a:pt x="171125" y="167557"/>
                    <a:pt x="171316" y="167272"/>
                    <a:pt x="171411" y="167081"/>
                  </a:cubicBezTo>
                  <a:cubicBezTo>
                    <a:pt x="171411" y="166891"/>
                    <a:pt x="171411" y="166891"/>
                    <a:pt x="171602" y="166891"/>
                  </a:cubicBezTo>
                  <a:cubicBezTo>
                    <a:pt x="171697" y="166891"/>
                    <a:pt x="171888" y="166891"/>
                    <a:pt x="171983" y="166986"/>
                  </a:cubicBezTo>
                  <a:cubicBezTo>
                    <a:pt x="173221" y="167367"/>
                    <a:pt x="174555" y="167462"/>
                    <a:pt x="175888" y="167272"/>
                  </a:cubicBezTo>
                  <a:cubicBezTo>
                    <a:pt x="176269" y="167272"/>
                    <a:pt x="176745" y="167081"/>
                    <a:pt x="177126" y="167081"/>
                  </a:cubicBezTo>
                  <a:cubicBezTo>
                    <a:pt x="178936" y="166795"/>
                    <a:pt x="180841" y="166319"/>
                    <a:pt x="182556" y="165652"/>
                  </a:cubicBezTo>
                  <a:cubicBezTo>
                    <a:pt x="182746" y="165652"/>
                    <a:pt x="183032" y="165462"/>
                    <a:pt x="183222" y="165367"/>
                  </a:cubicBezTo>
                  <a:cubicBezTo>
                    <a:pt x="184175" y="164986"/>
                    <a:pt x="176745" y="171939"/>
                    <a:pt x="177698" y="171463"/>
                  </a:cubicBezTo>
                  <a:lnTo>
                    <a:pt x="183413" y="174892"/>
                  </a:lnTo>
                  <a:lnTo>
                    <a:pt x="183032" y="180035"/>
                  </a:lnTo>
                  <a:cubicBezTo>
                    <a:pt x="182936" y="180607"/>
                    <a:pt x="182746" y="181083"/>
                    <a:pt x="182651" y="181654"/>
                  </a:cubicBezTo>
                  <a:cubicBezTo>
                    <a:pt x="181889" y="184512"/>
                    <a:pt x="180841" y="188512"/>
                    <a:pt x="179698" y="195751"/>
                  </a:cubicBezTo>
                  <a:cubicBezTo>
                    <a:pt x="180650" y="195370"/>
                    <a:pt x="181603" y="194989"/>
                    <a:pt x="182460" y="194418"/>
                  </a:cubicBezTo>
                  <a:cubicBezTo>
                    <a:pt x="182746" y="196323"/>
                    <a:pt x="184175" y="199466"/>
                    <a:pt x="186080" y="199942"/>
                  </a:cubicBezTo>
                  <a:cubicBezTo>
                    <a:pt x="187985" y="200419"/>
                    <a:pt x="190080" y="199561"/>
                    <a:pt x="191033" y="197847"/>
                  </a:cubicBezTo>
                  <a:cubicBezTo>
                    <a:pt x="191604" y="196704"/>
                    <a:pt x="192271" y="196037"/>
                    <a:pt x="191699" y="194894"/>
                  </a:cubicBezTo>
                  <a:cubicBezTo>
                    <a:pt x="191223" y="196799"/>
                    <a:pt x="190461" y="197466"/>
                    <a:pt x="188747" y="197656"/>
                  </a:cubicBezTo>
                  <a:cubicBezTo>
                    <a:pt x="186842" y="197847"/>
                    <a:pt x="185508" y="194799"/>
                    <a:pt x="186556" y="192989"/>
                  </a:cubicBezTo>
                  <a:cubicBezTo>
                    <a:pt x="187032" y="192132"/>
                    <a:pt x="187318" y="191084"/>
                    <a:pt x="188175" y="190608"/>
                  </a:cubicBezTo>
                  <a:cubicBezTo>
                    <a:pt x="189223" y="190036"/>
                    <a:pt x="190271" y="190036"/>
                    <a:pt x="191414" y="190132"/>
                  </a:cubicBezTo>
                  <a:cubicBezTo>
                    <a:pt x="193414" y="190322"/>
                    <a:pt x="195509" y="190894"/>
                    <a:pt x="197415" y="190132"/>
                  </a:cubicBezTo>
                  <a:cubicBezTo>
                    <a:pt x="197986" y="189941"/>
                    <a:pt x="198462" y="189560"/>
                    <a:pt x="198843" y="189084"/>
                  </a:cubicBezTo>
                  <a:cubicBezTo>
                    <a:pt x="198939" y="188893"/>
                    <a:pt x="199034" y="188703"/>
                    <a:pt x="199129" y="188417"/>
                  </a:cubicBezTo>
                  <a:cubicBezTo>
                    <a:pt x="199129" y="188131"/>
                    <a:pt x="199129" y="187941"/>
                    <a:pt x="199319" y="187655"/>
                  </a:cubicBezTo>
                  <a:cubicBezTo>
                    <a:pt x="199891" y="186512"/>
                    <a:pt x="199891" y="185274"/>
                    <a:pt x="199891" y="183940"/>
                  </a:cubicBezTo>
                  <a:cubicBezTo>
                    <a:pt x="200558" y="185274"/>
                    <a:pt x="201796" y="186607"/>
                    <a:pt x="203225" y="187179"/>
                  </a:cubicBezTo>
                  <a:cubicBezTo>
                    <a:pt x="204653" y="187750"/>
                    <a:pt x="206844" y="188893"/>
                    <a:pt x="207701" y="187560"/>
                  </a:cubicBezTo>
                  <a:cubicBezTo>
                    <a:pt x="208082" y="186988"/>
                    <a:pt x="206177" y="185083"/>
                    <a:pt x="206273" y="185369"/>
                  </a:cubicBezTo>
                  <a:cubicBezTo>
                    <a:pt x="206654" y="187084"/>
                    <a:pt x="205130" y="186131"/>
                    <a:pt x="204558" y="185750"/>
                  </a:cubicBezTo>
                  <a:cubicBezTo>
                    <a:pt x="203130" y="184702"/>
                    <a:pt x="202082" y="181178"/>
                    <a:pt x="201891" y="179368"/>
                  </a:cubicBezTo>
                  <a:cubicBezTo>
                    <a:pt x="203796" y="179368"/>
                    <a:pt x="205606" y="178797"/>
                    <a:pt x="207035" y="177559"/>
                  </a:cubicBezTo>
                  <a:cubicBezTo>
                    <a:pt x="208464" y="176225"/>
                    <a:pt x="209416" y="174415"/>
                    <a:pt x="209988" y="172606"/>
                  </a:cubicBezTo>
                  <a:cubicBezTo>
                    <a:pt x="210749" y="173558"/>
                    <a:pt x="211702" y="174320"/>
                    <a:pt x="212655" y="175082"/>
                  </a:cubicBezTo>
                  <a:cubicBezTo>
                    <a:pt x="213416" y="175749"/>
                    <a:pt x="214369" y="177654"/>
                    <a:pt x="214464" y="178702"/>
                  </a:cubicBezTo>
                  <a:cubicBezTo>
                    <a:pt x="214655" y="179654"/>
                    <a:pt x="214464" y="181083"/>
                    <a:pt x="213512" y="181464"/>
                  </a:cubicBezTo>
                  <a:cubicBezTo>
                    <a:pt x="212464" y="182035"/>
                    <a:pt x="211226" y="182416"/>
                    <a:pt x="210273" y="181750"/>
                  </a:cubicBezTo>
                  <a:cubicBezTo>
                    <a:pt x="211035" y="182893"/>
                    <a:pt x="212369" y="182702"/>
                    <a:pt x="213702" y="182512"/>
                  </a:cubicBezTo>
                  <a:cubicBezTo>
                    <a:pt x="215036" y="182321"/>
                    <a:pt x="216560" y="181559"/>
                    <a:pt x="217036" y="180321"/>
                  </a:cubicBezTo>
                  <a:cubicBezTo>
                    <a:pt x="217607" y="178892"/>
                    <a:pt x="216560" y="175654"/>
                    <a:pt x="215798" y="174320"/>
                  </a:cubicBezTo>
                  <a:cubicBezTo>
                    <a:pt x="214940" y="172891"/>
                    <a:pt x="213607" y="171939"/>
                    <a:pt x="212464" y="170796"/>
                  </a:cubicBezTo>
                  <a:cubicBezTo>
                    <a:pt x="211226" y="169558"/>
                    <a:pt x="210940" y="167748"/>
                    <a:pt x="210940" y="166033"/>
                  </a:cubicBezTo>
                  <a:cubicBezTo>
                    <a:pt x="212750" y="166795"/>
                    <a:pt x="214845" y="167176"/>
                    <a:pt x="216845" y="166891"/>
                  </a:cubicBezTo>
                  <a:cubicBezTo>
                    <a:pt x="218560" y="166700"/>
                    <a:pt x="219989" y="165748"/>
                    <a:pt x="221036" y="164509"/>
                  </a:cubicBezTo>
                  <a:cubicBezTo>
                    <a:pt x="222275" y="162985"/>
                    <a:pt x="223132" y="162223"/>
                    <a:pt x="224180" y="160509"/>
                  </a:cubicBezTo>
                  <a:cubicBezTo>
                    <a:pt x="224561" y="159842"/>
                    <a:pt x="225227" y="159080"/>
                    <a:pt x="226085" y="159271"/>
                  </a:cubicBezTo>
                  <a:cubicBezTo>
                    <a:pt x="226942" y="159461"/>
                    <a:pt x="227514" y="160128"/>
                    <a:pt x="227799" y="160890"/>
                  </a:cubicBezTo>
                  <a:cubicBezTo>
                    <a:pt x="228466" y="162700"/>
                    <a:pt x="227609" y="165843"/>
                    <a:pt x="225990" y="166891"/>
                  </a:cubicBezTo>
                  <a:cubicBezTo>
                    <a:pt x="227894" y="166510"/>
                    <a:pt x="229133" y="163557"/>
                    <a:pt x="229323" y="161747"/>
                  </a:cubicBezTo>
                  <a:cubicBezTo>
                    <a:pt x="229609" y="159842"/>
                    <a:pt x="228561" y="157937"/>
                    <a:pt x="226847" y="157175"/>
                  </a:cubicBezTo>
                  <a:cubicBezTo>
                    <a:pt x="225894" y="156794"/>
                    <a:pt x="224751" y="156794"/>
                    <a:pt x="223799" y="157270"/>
                  </a:cubicBezTo>
                  <a:cubicBezTo>
                    <a:pt x="223989" y="156223"/>
                    <a:pt x="223799" y="154127"/>
                    <a:pt x="223799" y="153079"/>
                  </a:cubicBezTo>
                  <a:cubicBezTo>
                    <a:pt x="224847" y="154508"/>
                    <a:pt x="227037" y="156413"/>
                    <a:pt x="228657" y="155746"/>
                  </a:cubicBezTo>
                  <a:cubicBezTo>
                    <a:pt x="229514" y="155365"/>
                    <a:pt x="230276" y="154794"/>
                    <a:pt x="230847" y="153937"/>
                  </a:cubicBezTo>
                  <a:cubicBezTo>
                    <a:pt x="231419" y="153079"/>
                    <a:pt x="232181" y="152794"/>
                    <a:pt x="231990" y="151746"/>
                  </a:cubicBezTo>
                  <a:cubicBezTo>
                    <a:pt x="230942" y="153175"/>
                    <a:pt x="228752" y="153651"/>
                    <a:pt x="227894" y="153556"/>
                  </a:cubicBezTo>
                  <a:cubicBezTo>
                    <a:pt x="227418" y="153556"/>
                    <a:pt x="226751" y="153270"/>
                    <a:pt x="226656" y="152794"/>
                  </a:cubicBezTo>
                  <a:cubicBezTo>
                    <a:pt x="226466" y="152127"/>
                    <a:pt x="226942" y="150317"/>
                    <a:pt x="227418" y="150031"/>
                  </a:cubicBezTo>
                  <a:cubicBezTo>
                    <a:pt x="228752" y="149365"/>
                    <a:pt x="230085" y="148603"/>
                    <a:pt x="231038" y="147364"/>
                  </a:cubicBezTo>
                  <a:cubicBezTo>
                    <a:pt x="232085" y="146031"/>
                    <a:pt x="232371" y="144126"/>
                    <a:pt x="232276" y="142507"/>
                  </a:cubicBezTo>
                  <a:cubicBezTo>
                    <a:pt x="232276" y="141459"/>
                    <a:pt x="232085" y="140506"/>
                    <a:pt x="231800" y="139459"/>
                  </a:cubicBezTo>
                  <a:cubicBezTo>
                    <a:pt x="231705" y="138982"/>
                    <a:pt x="231514" y="138506"/>
                    <a:pt x="231514" y="138030"/>
                  </a:cubicBezTo>
                  <a:cubicBezTo>
                    <a:pt x="231514" y="137554"/>
                    <a:pt x="231705" y="136982"/>
                    <a:pt x="231895" y="136601"/>
                  </a:cubicBezTo>
                  <a:cubicBezTo>
                    <a:pt x="231705" y="136792"/>
                    <a:pt x="231514" y="137077"/>
                    <a:pt x="231323" y="137268"/>
                  </a:cubicBezTo>
                  <a:cubicBezTo>
                    <a:pt x="231228" y="136887"/>
                    <a:pt x="231133" y="136411"/>
                    <a:pt x="230942" y="136030"/>
                  </a:cubicBezTo>
                  <a:cubicBezTo>
                    <a:pt x="233228" y="136411"/>
                    <a:pt x="235991" y="136982"/>
                    <a:pt x="237324" y="135077"/>
                  </a:cubicBezTo>
                  <a:cubicBezTo>
                    <a:pt x="238086" y="133934"/>
                    <a:pt x="238372" y="132505"/>
                    <a:pt x="238182" y="131172"/>
                  </a:cubicBezTo>
                  <a:cubicBezTo>
                    <a:pt x="237991" y="129838"/>
                    <a:pt x="237229" y="128410"/>
                    <a:pt x="235705" y="128600"/>
                  </a:cubicBezTo>
                  <a:cubicBezTo>
                    <a:pt x="234372" y="128695"/>
                    <a:pt x="233228" y="130600"/>
                    <a:pt x="233324" y="132029"/>
                  </a:cubicBezTo>
                  <a:cubicBezTo>
                    <a:pt x="233705" y="131267"/>
                    <a:pt x="234276" y="130315"/>
                    <a:pt x="235133" y="130600"/>
                  </a:cubicBezTo>
                  <a:cubicBezTo>
                    <a:pt x="235991" y="130791"/>
                    <a:pt x="235991" y="131934"/>
                    <a:pt x="235800" y="132505"/>
                  </a:cubicBezTo>
                  <a:cubicBezTo>
                    <a:pt x="234943" y="134696"/>
                    <a:pt x="231990" y="133553"/>
                    <a:pt x="230181" y="132315"/>
                  </a:cubicBezTo>
                  <a:cubicBezTo>
                    <a:pt x="229990" y="132124"/>
                    <a:pt x="229704" y="132029"/>
                    <a:pt x="229514" y="131839"/>
                  </a:cubicBezTo>
                  <a:cubicBezTo>
                    <a:pt x="229323" y="131648"/>
                    <a:pt x="229228" y="131362"/>
                    <a:pt x="229133" y="131077"/>
                  </a:cubicBezTo>
                  <a:cubicBezTo>
                    <a:pt x="228942" y="130505"/>
                    <a:pt x="228657" y="129934"/>
                    <a:pt x="228466" y="129267"/>
                  </a:cubicBezTo>
                  <a:cubicBezTo>
                    <a:pt x="227990" y="128029"/>
                    <a:pt x="227418" y="126886"/>
                    <a:pt x="226942" y="125743"/>
                  </a:cubicBezTo>
                  <a:cubicBezTo>
                    <a:pt x="226847" y="125552"/>
                    <a:pt x="226751" y="125362"/>
                    <a:pt x="226847" y="125171"/>
                  </a:cubicBezTo>
                  <a:cubicBezTo>
                    <a:pt x="226847" y="124885"/>
                    <a:pt x="227037" y="124600"/>
                    <a:pt x="227132" y="124314"/>
                  </a:cubicBezTo>
                  <a:cubicBezTo>
                    <a:pt x="227228" y="124028"/>
                    <a:pt x="227323" y="123457"/>
                    <a:pt x="227704" y="123266"/>
                  </a:cubicBezTo>
                  <a:close/>
                  <a:moveTo>
                    <a:pt x="215036" y="56305"/>
                  </a:moveTo>
                  <a:cubicBezTo>
                    <a:pt x="215702" y="56591"/>
                    <a:pt x="216560" y="57067"/>
                    <a:pt x="216560" y="57829"/>
                  </a:cubicBezTo>
                  <a:cubicBezTo>
                    <a:pt x="216560" y="58782"/>
                    <a:pt x="215702" y="59544"/>
                    <a:pt x="215131" y="60115"/>
                  </a:cubicBezTo>
                  <a:cubicBezTo>
                    <a:pt x="215417" y="58782"/>
                    <a:pt x="215322" y="57353"/>
                    <a:pt x="214655" y="56210"/>
                  </a:cubicBezTo>
                  <a:cubicBezTo>
                    <a:pt x="214655" y="56210"/>
                    <a:pt x="215131" y="56305"/>
                    <a:pt x="215036" y="56210"/>
                  </a:cubicBezTo>
                  <a:close/>
                  <a:moveTo>
                    <a:pt x="23012" y="63544"/>
                  </a:moveTo>
                  <a:cubicBezTo>
                    <a:pt x="21011" y="63640"/>
                    <a:pt x="19011" y="64211"/>
                    <a:pt x="16916" y="64402"/>
                  </a:cubicBezTo>
                  <a:cubicBezTo>
                    <a:pt x="16154" y="64402"/>
                    <a:pt x="15011" y="64592"/>
                    <a:pt x="14344" y="64021"/>
                  </a:cubicBezTo>
                  <a:cubicBezTo>
                    <a:pt x="13773" y="63544"/>
                    <a:pt x="13582" y="62782"/>
                    <a:pt x="13487" y="62116"/>
                  </a:cubicBezTo>
                  <a:cubicBezTo>
                    <a:pt x="13201" y="60687"/>
                    <a:pt x="13391" y="59544"/>
                    <a:pt x="14725" y="58782"/>
                  </a:cubicBezTo>
                  <a:cubicBezTo>
                    <a:pt x="15963" y="58115"/>
                    <a:pt x="17868" y="58591"/>
                    <a:pt x="18440" y="59830"/>
                  </a:cubicBezTo>
                  <a:cubicBezTo>
                    <a:pt x="19106" y="61354"/>
                    <a:pt x="19392" y="61258"/>
                    <a:pt x="19392" y="59544"/>
                  </a:cubicBezTo>
                  <a:cubicBezTo>
                    <a:pt x="20345" y="61068"/>
                    <a:pt x="21678" y="62306"/>
                    <a:pt x="23107" y="63449"/>
                  </a:cubicBezTo>
                  <a:cubicBezTo>
                    <a:pt x="23107" y="63449"/>
                    <a:pt x="23107" y="63449"/>
                    <a:pt x="23012" y="63449"/>
                  </a:cubicBezTo>
                  <a:close/>
                  <a:moveTo>
                    <a:pt x="8724" y="116694"/>
                  </a:moveTo>
                  <a:cubicBezTo>
                    <a:pt x="8724" y="116694"/>
                    <a:pt x="7867" y="116503"/>
                    <a:pt x="7867" y="116503"/>
                  </a:cubicBezTo>
                  <a:cubicBezTo>
                    <a:pt x="7772" y="116503"/>
                    <a:pt x="6819" y="116313"/>
                    <a:pt x="7867" y="116503"/>
                  </a:cubicBezTo>
                  <a:cubicBezTo>
                    <a:pt x="5867" y="116122"/>
                    <a:pt x="4438" y="114598"/>
                    <a:pt x="4152" y="112503"/>
                  </a:cubicBezTo>
                  <a:cubicBezTo>
                    <a:pt x="3962" y="110503"/>
                    <a:pt x="5295" y="108312"/>
                    <a:pt x="6248" y="106597"/>
                  </a:cubicBezTo>
                  <a:cubicBezTo>
                    <a:pt x="6819" y="105550"/>
                    <a:pt x="7867" y="104597"/>
                    <a:pt x="8724" y="103835"/>
                  </a:cubicBezTo>
                  <a:cubicBezTo>
                    <a:pt x="7200" y="105931"/>
                    <a:pt x="5772" y="108407"/>
                    <a:pt x="5772" y="111074"/>
                  </a:cubicBezTo>
                  <a:cubicBezTo>
                    <a:pt x="5772" y="113741"/>
                    <a:pt x="6533" y="115646"/>
                    <a:pt x="8724" y="116694"/>
                  </a:cubicBezTo>
                  <a:close/>
                  <a:moveTo>
                    <a:pt x="7962" y="97739"/>
                  </a:moveTo>
                  <a:cubicBezTo>
                    <a:pt x="7962" y="97739"/>
                    <a:pt x="7581" y="97739"/>
                    <a:pt x="7867" y="97739"/>
                  </a:cubicBezTo>
                  <a:cubicBezTo>
                    <a:pt x="7581" y="97739"/>
                    <a:pt x="7200" y="97739"/>
                    <a:pt x="6915" y="97739"/>
                  </a:cubicBezTo>
                  <a:cubicBezTo>
                    <a:pt x="6724" y="97739"/>
                    <a:pt x="6438" y="97739"/>
                    <a:pt x="6248" y="97739"/>
                  </a:cubicBezTo>
                  <a:cubicBezTo>
                    <a:pt x="5867" y="97549"/>
                    <a:pt x="5676" y="97072"/>
                    <a:pt x="5486" y="96787"/>
                  </a:cubicBezTo>
                  <a:cubicBezTo>
                    <a:pt x="5200" y="96406"/>
                    <a:pt x="5295" y="94882"/>
                    <a:pt x="5295" y="94405"/>
                  </a:cubicBezTo>
                  <a:cubicBezTo>
                    <a:pt x="5295" y="93929"/>
                    <a:pt x="6248" y="94120"/>
                    <a:pt x="6724" y="94024"/>
                  </a:cubicBezTo>
                  <a:cubicBezTo>
                    <a:pt x="7772" y="93739"/>
                    <a:pt x="7867" y="95072"/>
                    <a:pt x="8343" y="95929"/>
                  </a:cubicBezTo>
                  <a:cubicBezTo>
                    <a:pt x="8439" y="96215"/>
                    <a:pt x="8629" y="96501"/>
                    <a:pt x="8629" y="96691"/>
                  </a:cubicBezTo>
                  <a:cubicBezTo>
                    <a:pt x="8629" y="96882"/>
                    <a:pt x="8819" y="97263"/>
                    <a:pt x="8819" y="97453"/>
                  </a:cubicBezTo>
                  <a:cubicBezTo>
                    <a:pt x="8819" y="97739"/>
                    <a:pt x="8248" y="97739"/>
                    <a:pt x="7867" y="97739"/>
                  </a:cubicBezTo>
                  <a:close/>
                  <a:moveTo>
                    <a:pt x="9867" y="97453"/>
                  </a:moveTo>
                  <a:cubicBezTo>
                    <a:pt x="9867" y="97453"/>
                    <a:pt x="9867" y="97453"/>
                    <a:pt x="9772" y="97453"/>
                  </a:cubicBezTo>
                  <a:cubicBezTo>
                    <a:pt x="10058" y="96501"/>
                    <a:pt x="9963" y="95548"/>
                    <a:pt x="9581" y="94596"/>
                  </a:cubicBezTo>
                  <a:cubicBezTo>
                    <a:pt x="10724" y="95263"/>
                    <a:pt x="13582" y="95358"/>
                    <a:pt x="14820" y="95739"/>
                  </a:cubicBezTo>
                  <a:cubicBezTo>
                    <a:pt x="13773" y="96215"/>
                    <a:pt x="11010" y="97072"/>
                    <a:pt x="9867" y="97358"/>
                  </a:cubicBezTo>
                  <a:close/>
                  <a:moveTo>
                    <a:pt x="22059" y="146507"/>
                  </a:moveTo>
                  <a:cubicBezTo>
                    <a:pt x="22059" y="146507"/>
                    <a:pt x="22059" y="146698"/>
                    <a:pt x="22059" y="146793"/>
                  </a:cubicBezTo>
                  <a:cubicBezTo>
                    <a:pt x="22059" y="147079"/>
                    <a:pt x="21964" y="147364"/>
                    <a:pt x="21869" y="147555"/>
                  </a:cubicBezTo>
                  <a:cubicBezTo>
                    <a:pt x="21202" y="145936"/>
                    <a:pt x="21678" y="144126"/>
                    <a:pt x="22250" y="142602"/>
                  </a:cubicBezTo>
                  <a:cubicBezTo>
                    <a:pt x="22535" y="141745"/>
                    <a:pt x="22916" y="140983"/>
                    <a:pt x="23393" y="140221"/>
                  </a:cubicBezTo>
                  <a:cubicBezTo>
                    <a:pt x="23488" y="140030"/>
                    <a:pt x="24059" y="138887"/>
                    <a:pt x="24440" y="138982"/>
                  </a:cubicBezTo>
                  <a:cubicBezTo>
                    <a:pt x="23583" y="141459"/>
                    <a:pt x="22726" y="144031"/>
                    <a:pt x="22155" y="146602"/>
                  </a:cubicBezTo>
                  <a:close/>
                  <a:moveTo>
                    <a:pt x="31013" y="168129"/>
                  </a:moveTo>
                  <a:cubicBezTo>
                    <a:pt x="30917" y="168986"/>
                    <a:pt x="30727" y="170034"/>
                    <a:pt x="30060" y="170701"/>
                  </a:cubicBezTo>
                  <a:cubicBezTo>
                    <a:pt x="29298" y="171367"/>
                    <a:pt x="28155" y="170796"/>
                    <a:pt x="27489" y="170320"/>
                  </a:cubicBezTo>
                  <a:cubicBezTo>
                    <a:pt x="26631" y="169653"/>
                    <a:pt x="25869" y="168700"/>
                    <a:pt x="26441" y="167557"/>
                  </a:cubicBezTo>
                  <a:cubicBezTo>
                    <a:pt x="26822" y="166605"/>
                    <a:pt x="27869" y="165938"/>
                    <a:pt x="28917" y="165938"/>
                  </a:cubicBezTo>
                  <a:cubicBezTo>
                    <a:pt x="29584" y="165938"/>
                    <a:pt x="30251" y="166129"/>
                    <a:pt x="30632" y="166700"/>
                  </a:cubicBezTo>
                  <a:cubicBezTo>
                    <a:pt x="31013" y="167081"/>
                    <a:pt x="31108" y="167462"/>
                    <a:pt x="31108" y="168034"/>
                  </a:cubicBezTo>
                  <a:cubicBezTo>
                    <a:pt x="31108" y="168034"/>
                    <a:pt x="31108" y="167938"/>
                    <a:pt x="31108" y="167843"/>
                  </a:cubicBezTo>
                  <a:cubicBezTo>
                    <a:pt x="31108" y="167843"/>
                    <a:pt x="31108" y="168129"/>
                    <a:pt x="31108" y="168224"/>
                  </a:cubicBezTo>
                  <a:close/>
                  <a:moveTo>
                    <a:pt x="164648" y="139363"/>
                  </a:moveTo>
                  <a:cubicBezTo>
                    <a:pt x="164839" y="138601"/>
                    <a:pt x="165220" y="137935"/>
                    <a:pt x="165696" y="137363"/>
                  </a:cubicBezTo>
                  <a:cubicBezTo>
                    <a:pt x="165696" y="137363"/>
                    <a:pt x="165696" y="137363"/>
                    <a:pt x="165696" y="137363"/>
                  </a:cubicBezTo>
                  <a:cubicBezTo>
                    <a:pt x="165315" y="138030"/>
                    <a:pt x="164934" y="138697"/>
                    <a:pt x="164553" y="139459"/>
                  </a:cubicBezTo>
                  <a:close/>
                  <a:moveTo>
                    <a:pt x="199891" y="50590"/>
                  </a:moveTo>
                  <a:cubicBezTo>
                    <a:pt x="200653" y="51733"/>
                    <a:pt x="201796" y="52591"/>
                    <a:pt x="203034" y="53162"/>
                  </a:cubicBezTo>
                  <a:cubicBezTo>
                    <a:pt x="201510" y="53257"/>
                    <a:pt x="200082" y="53448"/>
                    <a:pt x="198557" y="53734"/>
                  </a:cubicBezTo>
                  <a:cubicBezTo>
                    <a:pt x="199034" y="52686"/>
                    <a:pt x="199415" y="51638"/>
                    <a:pt x="199796" y="50495"/>
                  </a:cubicBezTo>
                  <a:close/>
                  <a:moveTo>
                    <a:pt x="186747" y="35922"/>
                  </a:moveTo>
                  <a:cubicBezTo>
                    <a:pt x="187318" y="35922"/>
                    <a:pt x="187794" y="35922"/>
                    <a:pt x="188366" y="35922"/>
                  </a:cubicBezTo>
                  <a:cubicBezTo>
                    <a:pt x="187604" y="35922"/>
                    <a:pt x="186842" y="36017"/>
                    <a:pt x="186080" y="36112"/>
                  </a:cubicBezTo>
                  <a:cubicBezTo>
                    <a:pt x="186080" y="36112"/>
                    <a:pt x="185889" y="36112"/>
                    <a:pt x="185794" y="36112"/>
                  </a:cubicBezTo>
                  <a:cubicBezTo>
                    <a:pt x="185794" y="36112"/>
                    <a:pt x="186556" y="35827"/>
                    <a:pt x="186747" y="35731"/>
                  </a:cubicBezTo>
                  <a:close/>
                  <a:moveTo>
                    <a:pt x="183317" y="32398"/>
                  </a:moveTo>
                  <a:cubicBezTo>
                    <a:pt x="183413" y="32969"/>
                    <a:pt x="183603" y="33541"/>
                    <a:pt x="183698" y="34017"/>
                  </a:cubicBezTo>
                  <a:cubicBezTo>
                    <a:pt x="183698" y="34207"/>
                    <a:pt x="183889" y="34493"/>
                    <a:pt x="183889" y="34779"/>
                  </a:cubicBezTo>
                  <a:cubicBezTo>
                    <a:pt x="183889" y="34969"/>
                    <a:pt x="183889" y="35160"/>
                    <a:pt x="183794" y="35255"/>
                  </a:cubicBezTo>
                  <a:cubicBezTo>
                    <a:pt x="183794" y="35255"/>
                    <a:pt x="183508" y="35541"/>
                    <a:pt x="183127" y="35636"/>
                  </a:cubicBezTo>
                  <a:cubicBezTo>
                    <a:pt x="183127" y="34588"/>
                    <a:pt x="183222" y="33445"/>
                    <a:pt x="183222" y="32398"/>
                  </a:cubicBezTo>
                  <a:close/>
                  <a:moveTo>
                    <a:pt x="172649" y="21444"/>
                  </a:moveTo>
                  <a:cubicBezTo>
                    <a:pt x="173316" y="21730"/>
                    <a:pt x="174173" y="21920"/>
                    <a:pt x="174935" y="21825"/>
                  </a:cubicBezTo>
                  <a:cubicBezTo>
                    <a:pt x="174078" y="22396"/>
                    <a:pt x="173221" y="23063"/>
                    <a:pt x="172554" y="23730"/>
                  </a:cubicBezTo>
                  <a:cubicBezTo>
                    <a:pt x="171602" y="24587"/>
                    <a:pt x="170649" y="25635"/>
                    <a:pt x="169792" y="26587"/>
                  </a:cubicBezTo>
                  <a:cubicBezTo>
                    <a:pt x="171030" y="24301"/>
                    <a:pt x="172649" y="24016"/>
                    <a:pt x="172649" y="21349"/>
                  </a:cubicBezTo>
                  <a:close/>
                  <a:moveTo>
                    <a:pt x="160362" y="14586"/>
                  </a:moveTo>
                  <a:cubicBezTo>
                    <a:pt x="161505" y="14205"/>
                    <a:pt x="162743" y="13824"/>
                    <a:pt x="163982" y="13729"/>
                  </a:cubicBezTo>
                  <a:cubicBezTo>
                    <a:pt x="165982" y="13538"/>
                    <a:pt x="168173" y="14110"/>
                    <a:pt x="169506" y="15729"/>
                  </a:cubicBezTo>
                  <a:cubicBezTo>
                    <a:pt x="167792" y="15157"/>
                    <a:pt x="165887" y="15062"/>
                    <a:pt x="164077" y="15157"/>
                  </a:cubicBezTo>
                  <a:cubicBezTo>
                    <a:pt x="162458" y="15157"/>
                    <a:pt x="158267" y="15919"/>
                    <a:pt x="158267" y="15919"/>
                  </a:cubicBezTo>
                  <a:cubicBezTo>
                    <a:pt x="158648" y="15157"/>
                    <a:pt x="159695" y="14872"/>
                    <a:pt x="160362" y="14586"/>
                  </a:cubicBezTo>
                  <a:close/>
                  <a:moveTo>
                    <a:pt x="135788" y="8204"/>
                  </a:moveTo>
                  <a:cubicBezTo>
                    <a:pt x="136931" y="8871"/>
                    <a:pt x="137883" y="9728"/>
                    <a:pt x="138645" y="10776"/>
                  </a:cubicBezTo>
                  <a:cubicBezTo>
                    <a:pt x="139122" y="11347"/>
                    <a:pt x="139502" y="11919"/>
                    <a:pt x="139883" y="12490"/>
                  </a:cubicBezTo>
                  <a:cubicBezTo>
                    <a:pt x="140074" y="12776"/>
                    <a:pt x="140265" y="12967"/>
                    <a:pt x="140550" y="13252"/>
                  </a:cubicBezTo>
                  <a:cubicBezTo>
                    <a:pt x="140741" y="13443"/>
                    <a:pt x="140741" y="13443"/>
                    <a:pt x="140550" y="13633"/>
                  </a:cubicBezTo>
                  <a:cubicBezTo>
                    <a:pt x="138931" y="11919"/>
                    <a:pt x="137216" y="10204"/>
                    <a:pt x="135216" y="8966"/>
                  </a:cubicBezTo>
                  <a:cubicBezTo>
                    <a:pt x="133692" y="8014"/>
                    <a:pt x="131978" y="7347"/>
                    <a:pt x="130263" y="7442"/>
                  </a:cubicBezTo>
                  <a:cubicBezTo>
                    <a:pt x="132168" y="7061"/>
                    <a:pt x="134073" y="7252"/>
                    <a:pt x="135788" y="8204"/>
                  </a:cubicBezTo>
                  <a:close/>
                  <a:moveTo>
                    <a:pt x="102831" y="6013"/>
                  </a:moveTo>
                  <a:cubicBezTo>
                    <a:pt x="102831" y="6013"/>
                    <a:pt x="103498" y="4966"/>
                    <a:pt x="103974" y="5061"/>
                  </a:cubicBezTo>
                  <a:cubicBezTo>
                    <a:pt x="104450" y="5156"/>
                    <a:pt x="104927" y="5728"/>
                    <a:pt x="105117" y="6109"/>
                  </a:cubicBezTo>
                  <a:cubicBezTo>
                    <a:pt x="105784" y="7061"/>
                    <a:pt x="106165" y="7918"/>
                    <a:pt x="105593" y="9252"/>
                  </a:cubicBezTo>
                  <a:cubicBezTo>
                    <a:pt x="105022" y="10585"/>
                    <a:pt x="102831" y="14300"/>
                    <a:pt x="102355" y="15919"/>
                  </a:cubicBezTo>
                  <a:cubicBezTo>
                    <a:pt x="102355" y="15824"/>
                    <a:pt x="102355" y="15729"/>
                    <a:pt x="102355" y="15634"/>
                  </a:cubicBezTo>
                  <a:cubicBezTo>
                    <a:pt x="101974" y="14014"/>
                    <a:pt x="101688" y="9728"/>
                    <a:pt x="101688" y="9442"/>
                  </a:cubicBezTo>
                  <a:cubicBezTo>
                    <a:pt x="101688" y="8204"/>
                    <a:pt x="102069" y="7061"/>
                    <a:pt x="102736" y="6013"/>
                  </a:cubicBezTo>
                  <a:close/>
                  <a:moveTo>
                    <a:pt x="91115" y="18110"/>
                  </a:moveTo>
                  <a:cubicBezTo>
                    <a:pt x="93020" y="17443"/>
                    <a:pt x="95021" y="17253"/>
                    <a:pt x="96926" y="17729"/>
                  </a:cubicBezTo>
                  <a:cubicBezTo>
                    <a:pt x="98735" y="18205"/>
                    <a:pt x="100355" y="19253"/>
                    <a:pt x="101593" y="20682"/>
                  </a:cubicBezTo>
                  <a:cubicBezTo>
                    <a:pt x="98164" y="19348"/>
                    <a:pt x="94449" y="18205"/>
                    <a:pt x="90734" y="18205"/>
                  </a:cubicBezTo>
                  <a:cubicBezTo>
                    <a:pt x="90830" y="18205"/>
                    <a:pt x="91020" y="18110"/>
                    <a:pt x="91115" y="18110"/>
                  </a:cubicBezTo>
                  <a:close/>
                  <a:moveTo>
                    <a:pt x="82448" y="22587"/>
                  </a:moveTo>
                  <a:cubicBezTo>
                    <a:pt x="82638" y="21920"/>
                    <a:pt x="83019" y="21349"/>
                    <a:pt x="83495" y="20872"/>
                  </a:cubicBezTo>
                  <a:cubicBezTo>
                    <a:pt x="83781" y="20491"/>
                    <a:pt x="84162" y="20206"/>
                    <a:pt x="84448" y="19920"/>
                  </a:cubicBezTo>
                  <a:cubicBezTo>
                    <a:pt x="84639" y="19825"/>
                    <a:pt x="84829" y="19634"/>
                    <a:pt x="85019" y="19539"/>
                  </a:cubicBezTo>
                  <a:cubicBezTo>
                    <a:pt x="85210" y="19539"/>
                    <a:pt x="86163" y="20206"/>
                    <a:pt x="86353" y="20301"/>
                  </a:cubicBezTo>
                  <a:cubicBezTo>
                    <a:pt x="84924" y="21253"/>
                    <a:pt x="83019" y="21920"/>
                    <a:pt x="82257" y="23444"/>
                  </a:cubicBezTo>
                  <a:cubicBezTo>
                    <a:pt x="82257" y="23444"/>
                    <a:pt x="82352" y="22873"/>
                    <a:pt x="82543" y="22587"/>
                  </a:cubicBezTo>
                  <a:close/>
                  <a:moveTo>
                    <a:pt x="49586" y="34874"/>
                  </a:moveTo>
                  <a:cubicBezTo>
                    <a:pt x="49777" y="35541"/>
                    <a:pt x="50158" y="36208"/>
                    <a:pt x="50539" y="36874"/>
                  </a:cubicBezTo>
                  <a:cubicBezTo>
                    <a:pt x="50730" y="37160"/>
                    <a:pt x="50920" y="37351"/>
                    <a:pt x="51015" y="37636"/>
                  </a:cubicBezTo>
                  <a:cubicBezTo>
                    <a:pt x="51015" y="38017"/>
                    <a:pt x="51015" y="38494"/>
                    <a:pt x="51015" y="38875"/>
                  </a:cubicBezTo>
                  <a:cubicBezTo>
                    <a:pt x="50158" y="38398"/>
                    <a:pt x="49206" y="37922"/>
                    <a:pt x="48348" y="37541"/>
                  </a:cubicBezTo>
                  <a:cubicBezTo>
                    <a:pt x="48824" y="36684"/>
                    <a:pt x="49301" y="35827"/>
                    <a:pt x="49586" y="34874"/>
                  </a:cubicBezTo>
                  <a:close/>
                  <a:moveTo>
                    <a:pt x="34347" y="164700"/>
                  </a:moveTo>
                  <a:cubicBezTo>
                    <a:pt x="34347" y="164700"/>
                    <a:pt x="34251" y="165271"/>
                    <a:pt x="34156" y="165367"/>
                  </a:cubicBezTo>
                  <a:cubicBezTo>
                    <a:pt x="34156" y="165367"/>
                    <a:pt x="34156" y="165176"/>
                    <a:pt x="34156" y="165176"/>
                  </a:cubicBezTo>
                  <a:cubicBezTo>
                    <a:pt x="34156" y="164224"/>
                    <a:pt x="34251" y="163176"/>
                    <a:pt x="34442" y="162223"/>
                  </a:cubicBezTo>
                  <a:cubicBezTo>
                    <a:pt x="34442" y="161842"/>
                    <a:pt x="34537" y="161366"/>
                    <a:pt x="34727" y="160985"/>
                  </a:cubicBezTo>
                  <a:cubicBezTo>
                    <a:pt x="34727" y="160795"/>
                    <a:pt x="35204" y="160699"/>
                    <a:pt x="35394" y="160604"/>
                  </a:cubicBezTo>
                  <a:cubicBezTo>
                    <a:pt x="35013" y="161938"/>
                    <a:pt x="34632" y="163271"/>
                    <a:pt x="34347" y="164700"/>
                  </a:cubicBezTo>
                  <a:close/>
                  <a:moveTo>
                    <a:pt x="49206" y="187179"/>
                  </a:moveTo>
                  <a:cubicBezTo>
                    <a:pt x="49206" y="187179"/>
                    <a:pt x="49206" y="187179"/>
                    <a:pt x="49206" y="187179"/>
                  </a:cubicBezTo>
                  <a:cubicBezTo>
                    <a:pt x="48253" y="186703"/>
                    <a:pt x="49015" y="187084"/>
                    <a:pt x="49206" y="187179"/>
                  </a:cubicBezTo>
                  <a:cubicBezTo>
                    <a:pt x="48253" y="186703"/>
                    <a:pt x="47682" y="185655"/>
                    <a:pt x="47300" y="184702"/>
                  </a:cubicBezTo>
                  <a:cubicBezTo>
                    <a:pt x="46824" y="183559"/>
                    <a:pt x="46539" y="182321"/>
                    <a:pt x="46443" y="181083"/>
                  </a:cubicBezTo>
                  <a:cubicBezTo>
                    <a:pt x="46443" y="179749"/>
                    <a:pt x="46443" y="178416"/>
                    <a:pt x="46824" y="177178"/>
                  </a:cubicBezTo>
                  <a:cubicBezTo>
                    <a:pt x="46824" y="176892"/>
                    <a:pt x="47015" y="176606"/>
                    <a:pt x="47110" y="176320"/>
                  </a:cubicBezTo>
                  <a:cubicBezTo>
                    <a:pt x="47110" y="176035"/>
                    <a:pt x="47396" y="175939"/>
                    <a:pt x="47586" y="175654"/>
                  </a:cubicBezTo>
                  <a:cubicBezTo>
                    <a:pt x="48063" y="175177"/>
                    <a:pt x="48634" y="174987"/>
                    <a:pt x="49110" y="174701"/>
                  </a:cubicBezTo>
                  <a:cubicBezTo>
                    <a:pt x="48634" y="176892"/>
                    <a:pt x="48348" y="179178"/>
                    <a:pt x="48348" y="181464"/>
                  </a:cubicBezTo>
                  <a:cubicBezTo>
                    <a:pt x="48348" y="183464"/>
                    <a:pt x="48634" y="185655"/>
                    <a:pt x="49682" y="187465"/>
                  </a:cubicBezTo>
                  <a:cubicBezTo>
                    <a:pt x="49491" y="187465"/>
                    <a:pt x="49396" y="187369"/>
                    <a:pt x="49206" y="187274"/>
                  </a:cubicBezTo>
                  <a:cubicBezTo>
                    <a:pt x="49206" y="187274"/>
                    <a:pt x="49206" y="187274"/>
                    <a:pt x="49206" y="187274"/>
                  </a:cubicBezTo>
                  <a:close/>
                  <a:moveTo>
                    <a:pt x="77209" y="113741"/>
                  </a:moveTo>
                  <a:cubicBezTo>
                    <a:pt x="77209" y="113741"/>
                    <a:pt x="76542" y="112789"/>
                    <a:pt x="76161" y="112312"/>
                  </a:cubicBezTo>
                  <a:cubicBezTo>
                    <a:pt x="76638" y="112312"/>
                    <a:pt x="77114" y="112122"/>
                    <a:pt x="77590" y="111931"/>
                  </a:cubicBezTo>
                  <a:cubicBezTo>
                    <a:pt x="77399" y="112503"/>
                    <a:pt x="77304" y="113074"/>
                    <a:pt x="77209" y="113646"/>
                  </a:cubicBezTo>
                  <a:close/>
                  <a:moveTo>
                    <a:pt x="102641" y="87928"/>
                  </a:moveTo>
                  <a:cubicBezTo>
                    <a:pt x="102641" y="87166"/>
                    <a:pt x="102641" y="86309"/>
                    <a:pt x="102355" y="85547"/>
                  </a:cubicBezTo>
                  <a:cubicBezTo>
                    <a:pt x="102165" y="84880"/>
                    <a:pt x="101974" y="84309"/>
                    <a:pt x="101783" y="83737"/>
                  </a:cubicBezTo>
                  <a:cubicBezTo>
                    <a:pt x="101688" y="83452"/>
                    <a:pt x="101593" y="83166"/>
                    <a:pt x="101402" y="82975"/>
                  </a:cubicBezTo>
                  <a:cubicBezTo>
                    <a:pt x="101402" y="82880"/>
                    <a:pt x="101212" y="82690"/>
                    <a:pt x="101212" y="82594"/>
                  </a:cubicBezTo>
                  <a:cubicBezTo>
                    <a:pt x="101212" y="82404"/>
                    <a:pt x="101212" y="82213"/>
                    <a:pt x="101212" y="81928"/>
                  </a:cubicBezTo>
                  <a:cubicBezTo>
                    <a:pt x="102165" y="83452"/>
                    <a:pt x="103498" y="84880"/>
                    <a:pt x="104927" y="86023"/>
                  </a:cubicBezTo>
                  <a:cubicBezTo>
                    <a:pt x="105308" y="86309"/>
                    <a:pt x="105784" y="86595"/>
                    <a:pt x="106260" y="86881"/>
                  </a:cubicBezTo>
                  <a:cubicBezTo>
                    <a:pt x="105022" y="87166"/>
                    <a:pt x="103879" y="87547"/>
                    <a:pt x="102736" y="87928"/>
                  </a:cubicBezTo>
                  <a:close/>
                  <a:moveTo>
                    <a:pt x="114357" y="83547"/>
                  </a:moveTo>
                  <a:cubicBezTo>
                    <a:pt x="114166" y="84118"/>
                    <a:pt x="113880" y="84785"/>
                    <a:pt x="113594" y="85357"/>
                  </a:cubicBezTo>
                  <a:cubicBezTo>
                    <a:pt x="113118" y="85357"/>
                    <a:pt x="112737" y="85452"/>
                    <a:pt x="112261" y="85547"/>
                  </a:cubicBezTo>
                  <a:cubicBezTo>
                    <a:pt x="113023" y="84595"/>
                    <a:pt x="113594" y="83452"/>
                    <a:pt x="114071" y="82404"/>
                  </a:cubicBezTo>
                  <a:cubicBezTo>
                    <a:pt x="114833" y="80594"/>
                    <a:pt x="115309" y="78689"/>
                    <a:pt x="115690" y="76784"/>
                  </a:cubicBezTo>
                  <a:cubicBezTo>
                    <a:pt x="115595" y="77546"/>
                    <a:pt x="115499" y="78403"/>
                    <a:pt x="115404" y="79165"/>
                  </a:cubicBezTo>
                  <a:cubicBezTo>
                    <a:pt x="115309" y="80689"/>
                    <a:pt x="114833" y="82118"/>
                    <a:pt x="114357" y="83547"/>
                  </a:cubicBezTo>
                  <a:close/>
                  <a:moveTo>
                    <a:pt x="116071" y="91834"/>
                  </a:moveTo>
                  <a:cubicBezTo>
                    <a:pt x="116071" y="91834"/>
                    <a:pt x="116071" y="91643"/>
                    <a:pt x="115976" y="91548"/>
                  </a:cubicBezTo>
                  <a:cubicBezTo>
                    <a:pt x="115690" y="90976"/>
                    <a:pt x="115404" y="90405"/>
                    <a:pt x="115309" y="89833"/>
                  </a:cubicBezTo>
                  <a:cubicBezTo>
                    <a:pt x="115214" y="89071"/>
                    <a:pt x="115309" y="88309"/>
                    <a:pt x="115499" y="87643"/>
                  </a:cubicBezTo>
                  <a:cubicBezTo>
                    <a:pt x="115690" y="88976"/>
                    <a:pt x="115976" y="90310"/>
                    <a:pt x="116357" y="91548"/>
                  </a:cubicBezTo>
                  <a:cubicBezTo>
                    <a:pt x="116452" y="91929"/>
                    <a:pt x="116547" y="92405"/>
                    <a:pt x="116738" y="92786"/>
                  </a:cubicBezTo>
                  <a:cubicBezTo>
                    <a:pt x="116452" y="92500"/>
                    <a:pt x="116261" y="92215"/>
                    <a:pt x="116071" y="91834"/>
                  </a:cubicBezTo>
                  <a:cubicBezTo>
                    <a:pt x="116261" y="92119"/>
                    <a:pt x="115595" y="91072"/>
                    <a:pt x="116071" y="91834"/>
                  </a:cubicBezTo>
                  <a:close/>
                  <a:moveTo>
                    <a:pt x="126930" y="98882"/>
                  </a:moveTo>
                  <a:cubicBezTo>
                    <a:pt x="126930" y="98882"/>
                    <a:pt x="127120" y="99168"/>
                    <a:pt x="126930" y="98882"/>
                  </a:cubicBezTo>
                  <a:cubicBezTo>
                    <a:pt x="126739" y="98596"/>
                    <a:pt x="126930" y="98692"/>
                    <a:pt x="126930" y="98882"/>
                  </a:cubicBezTo>
                  <a:cubicBezTo>
                    <a:pt x="126644" y="98311"/>
                    <a:pt x="126548" y="97549"/>
                    <a:pt x="126453" y="96882"/>
                  </a:cubicBezTo>
                  <a:cubicBezTo>
                    <a:pt x="126453" y="96501"/>
                    <a:pt x="126358" y="96215"/>
                    <a:pt x="126263" y="95834"/>
                  </a:cubicBezTo>
                  <a:cubicBezTo>
                    <a:pt x="126263" y="95834"/>
                    <a:pt x="126263" y="95644"/>
                    <a:pt x="126263" y="95548"/>
                  </a:cubicBezTo>
                  <a:cubicBezTo>
                    <a:pt x="126263" y="95358"/>
                    <a:pt x="126263" y="95548"/>
                    <a:pt x="126263" y="95358"/>
                  </a:cubicBezTo>
                  <a:cubicBezTo>
                    <a:pt x="126358" y="95263"/>
                    <a:pt x="126644" y="95167"/>
                    <a:pt x="126834" y="95072"/>
                  </a:cubicBezTo>
                  <a:cubicBezTo>
                    <a:pt x="126644" y="96882"/>
                    <a:pt x="127406" y="98882"/>
                    <a:pt x="128739" y="100120"/>
                  </a:cubicBezTo>
                  <a:cubicBezTo>
                    <a:pt x="128073" y="99835"/>
                    <a:pt x="127310" y="99644"/>
                    <a:pt x="126930" y="98882"/>
                  </a:cubicBezTo>
                  <a:close/>
                  <a:moveTo>
                    <a:pt x="149980" y="112598"/>
                  </a:moveTo>
                  <a:cubicBezTo>
                    <a:pt x="149980" y="112598"/>
                    <a:pt x="149885" y="112312"/>
                    <a:pt x="149885" y="112312"/>
                  </a:cubicBezTo>
                  <a:cubicBezTo>
                    <a:pt x="149885" y="112312"/>
                    <a:pt x="150170" y="112217"/>
                    <a:pt x="150170" y="112217"/>
                  </a:cubicBezTo>
                  <a:cubicBezTo>
                    <a:pt x="150170" y="112598"/>
                    <a:pt x="150170" y="112884"/>
                    <a:pt x="150361" y="113265"/>
                  </a:cubicBezTo>
                  <a:cubicBezTo>
                    <a:pt x="150266" y="113074"/>
                    <a:pt x="150170" y="112884"/>
                    <a:pt x="149980" y="112598"/>
                  </a:cubicBezTo>
                  <a:close/>
                  <a:moveTo>
                    <a:pt x="191985" y="188703"/>
                  </a:moveTo>
                  <a:cubicBezTo>
                    <a:pt x="191985" y="188703"/>
                    <a:pt x="189985" y="188322"/>
                    <a:pt x="188842" y="188417"/>
                  </a:cubicBezTo>
                  <a:cubicBezTo>
                    <a:pt x="189223" y="187750"/>
                    <a:pt x="189604" y="186988"/>
                    <a:pt x="189985" y="186322"/>
                  </a:cubicBezTo>
                  <a:cubicBezTo>
                    <a:pt x="191414" y="187465"/>
                    <a:pt x="192842" y="188608"/>
                    <a:pt x="194557" y="189370"/>
                  </a:cubicBezTo>
                  <a:cubicBezTo>
                    <a:pt x="193700" y="189179"/>
                    <a:pt x="191985" y="188703"/>
                    <a:pt x="191985" y="188703"/>
                  </a:cubicBezTo>
                  <a:close/>
                  <a:moveTo>
                    <a:pt x="214655" y="108693"/>
                  </a:moveTo>
                  <a:cubicBezTo>
                    <a:pt x="214655" y="108693"/>
                    <a:pt x="215036" y="108883"/>
                    <a:pt x="215036" y="109074"/>
                  </a:cubicBezTo>
                  <a:cubicBezTo>
                    <a:pt x="215036" y="109169"/>
                    <a:pt x="214845" y="109455"/>
                    <a:pt x="214845" y="109645"/>
                  </a:cubicBezTo>
                  <a:cubicBezTo>
                    <a:pt x="214845" y="109645"/>
                    <a:pt x="214845" y="109550"/>
                    <a:pt x="214750" y="109455"/>
                  </a:cubicBezTo>
                  <a:cubicBezTo>
                    <a:pt x="214369" y="108883"/>
                    <a:pt x="213893" y="108312"/>
                    <a:pt x="213512" y="107740"/>
                  </a:cubicBezTo>
                  <a:cubicBezTo>
                    <a:pt x="213893" y="108121"/>
                    <a:pt x="214274" y="108407"/>
                    <a:pt x="214750" y="108693"/>
                  </a:cubicBezTo>
                  <a:close/>
                  <a:moveTo>
                    <a:pt x="207797" y="150222"/>
                  </a:moveTo>
                  <a:cubicBezTo>
                    <a:pt x="207797" y="149079"/>
                    <a:pt x="207606" y="147841"/>
                    <a:pt x="207416" y="146698"/>
                  </a:cubicBezTo>
                  <a:cubicBezTo>
                    <a:pt x="208368" y="147269"/>
                    <a:pt x="209321" y="147745"/>
                    <a:pt x="210273" y="148126"/>
                  </a:cubicBezTo>
                  <a:cubicBezTo>
                    <a:pt x="210368" y="148126"/>
                    <a:pt x="210559" y="148222"/>
                    <a:pt x="210654" y="148222"/>
                  </a:cubicBezTo>
                  <a:cubicBezTo>
                    <a:pt x="209607" y="148698"/>
                    <a:pt x="208464" y="149269"/>
                    <a:pt x="207797" y="150222"/>
                  </a:cubicBezTo>
                  <a:close/>
                  <a:moveTo>
                    <a:pt x="213798" y="165938"/>
                  </a:moveTo>
                  <a:cubicBezTo>
                    <a:pt x="213798" y="165938"/>
                    <a:pt x="213321" y="165938"/>
                    <a:pt x="213131" y="165938"/>
                  </a:cubicBezTo>
                  <a:cubicBezTo>
                    <a:pt x="212559" y="165938"/>
                    <a:pt x="211988" y="165938"/>
                    <a:pt x="211416" y="165843"/>
                  </a:cubicBezTo>
                  <a:cubicBezTo>
                    <a:pt x="211226" y="165843"/>
                    <a:pt x="210845" y="165843"/>
                    <a:pt x="210749" y="165748"/>
                  </a:cubicBezTo>
                  <a:cubicBezTo>
                    <a:pt x="210654" y="165652"/>
                    <a:pt x="210749" y="165367"/>
                    <a:pt x="210749" y="165176"/>
                  </a:cubicBezTo>
                  <a:cubicBezTo>
                    <a:pt x="212273" y="165652"/>
                    <a:pt x="213893" y="165938"/>
                    <a:pt x="215417" y="165843"/>
                  </a:cubicBezTo>
                  <a:cubicBezTo>
                    <a:pt x="214940" y="165843"/>
                    <a:pt x="214369" y="165938"/>
                    <a:pt x="213893" y="165938"/>
                  </a:cubicBezTo>
                  <a:close/>
                </a:path>
              </a:pathLst>
            </a:custGeom>
            <a:grpFill/>
            <a:ln w="9525" cap="flat">
              <a:noFill/>
              <a:prstDash val="solid"/>
              <a:miter/>
            </a:ln>
          </p:spPr>
          <p:txBody>
            <a:bodyPr rtlCol="0" anchor="ctr"/>
            <a:lstStyle/>
            <a:p>
              <a:endParaRPr lang="en-US" dirty="0"/>
            </a:p>
          </p:txBody>
        </p:sp>
        <p:sp>
          <p:nvSpPr>
            <p:cNvPr id="1646" name="Freeform: Shape 1645">
              <a:extLst>
                <a:ext uri="{FF2B5EF4-FFF2-40B4-BE49-F238E27FC236}">
                  <a16:creationId xmlns:a16="http://schemas.microsoft.com/office/drawing/2014/main" id="{4169A82F-A0E7-23C4-5C36-9DB06A9988EC}"/>
                </a:ext>
              </a:extLst>
            </p:cNvPr>
            <p:cNvSpPr/>
            <p:nvPr/>
          </p:nvSpPr>
          <p:spPr>
            <a:xfrm>
              <a:off x="4570495" y="522394"/>
              <a:ext cx="290624" cy="248893"/>
            </a:xfrm>
            <a:custGeom>
              <a:avLst/>
              <a:gdLst>
                <a:gd name="connsiteX0" fmla="*/ 122968 w 130683"/>
                <a:gd name="connsiteY0" fmla="*/ 10763 h 111918"/>
                <a:gd name="connsiteX1" fmla="*/ 122682 w 130683"/>
                <a:gd name="connsiteY1" fmla="*/ 14002 h 111918"/>
                <a:gd name="connsiteX2" fmla="*/ 122682 w 130683"/>
                <a:gd name="connsiteY2" fmla="*/ 14097 h 111918"/>
                <a:gd name="connsiteX3" fmla="*/ 123825 w 130683"/>
                <a:gd name="connsiteY3" fmla="*/ 14192 h 111918"/>
                <a:gd name="connsiteX4" fmla="*/ 126682 w 130683"/>
                <a:gd name="connsiteY4" fmla="*/ 13811 h 111918"/>
                <a:gd name="connsiteX5" fmla="*/ 128778 w 130683"/>
                <a:gd name="connsiteY5" fmla="*/ 21050 h 111918"/>
                <a:gd name="connsiteX6" fmla="*/ 127254 w 130683"/>
                <a:gd name="connsiteY6" fmla="*/ 30766 h 111918"/>
                <a:gd name="connsiteX7" fmla="*/ 123730 w 130683"/>
                <a:gd name="connsiteY7" fmla="*/ 47625 h 111918"/>
                <a:gd name="connsiteX8" fmla="*/ 117348 w 130683"/>
                <a:gd name="connsiteY8" fmla="*/ 52578 h 111918"/>
                <a:gd name="connsiteX9" fmla="*/ 116300 w 130683"/>
                <a:gd name="connsiteY9" fmla="*/ 53435 h 111918"/>
                <a:gd name="connsiteX10" fmla="*/ 104489 w 130683"/>
                <a:gd name="connsiteY10" fmla="*/ 78772 h 111918"/>
                <a:gd name="connsiteX11" fmla="*/ 102394 w 130683"/>
                <a:gd name="connsiteY11" fmla="*/ 80963 h 111918"/>
                <a:gd name="connsiteX12" fmla="*/ 80963 w 130683"/>
                <a:gd name="connsiteY12" fmla="*/ 94202 h 111918"/>
                <a:gd name="connsiteX13" fmla="*/ 66675 w 130683"/>
                <a:gd name="connsiteY13" fmla="*/ 97250 h 111918"/>
                <a:gd name="connsiteX14" fmla="*/ 54007 w 130683"/>
                <a:gd name="connsiteY14" fmla="*/ 94869 h 111918"/>
                <a:gd name="connsiteX15" fmla="*/ 27908 w 130683"/>
                <a:gd name="connsiteY15" fmla="*/ 80581 h 111918"/>
                <a:gd name="connsiteX16" fmla="*/ 26289 w 130683"/>
                <a:gd name="connsiteY16" fmla="*/ 78772 h 111918"/>
                <a:gd name="connsiteX17" fmla="*/ 14383 w 130683"/>
                <a:gd name="connsiteY17" fmla="*/ 53435 h 111918"/>
                <a:gd name="connsiteX18" fmla="*/ 13335 w 130683"/>
                <a:gd name="connsiteY18" fmla="*/ 52578 h 111918"/>
                <a:gd name="connsiteX19" fmla="*/ 6953 w 130683"/>
                <a:gd name="connsiteY19" fmla="*/ 47625 h 111918"/>
                <a:gd name="connsiteX20" fmla="*/ 3429 w 130683"/>
                <a:gd name="connsiteY20" fmla="*/ 30766 h 111918"/>
                <a:gd name="connsiteX21" fmla="*/ 2000 w 130683"/>
                <a:gd name="connsiteY21" fmla="*/ 21050 h 111918"/>
                <a:gd name="connsiteX22" fmla="*/ 3905 w 130683"/>
                <a:gd name="connsiteY22" fmla="*/ 13906 h 111918"/>
                <a:gd name="connsiteX23" fmla="*/ 4572 w 130683"/>
                <a:gd name="connsiteY23" fmla="*/ 13621 h 111918"/>
                <a:gd name="connsiteX24" fmla="*/ 4953 w 130683"/>
                <a:gd name="connsiteY24" fmla="*/ 13621 h 111918"/>
                <a:gd name="connsiteX25" fmla="*/ 6858 w 130683"/>
                <a:gd name="connsiteY25" fmla="*/ 14192 h 111918"/>
                <a:gd name="connsiteX26" fmla="*/ 8001 w 130683"/>
                <a:gd name="connsiteY26" fmla="*/ 14192 h 111918"/>
                <a:gd name="connsiteX27" fmla="*/ 8382 w 130683"/>
                <a:gd name="connsiteY27" fmla="*/ 13144 h 111918"/>
                <a:gd name="connsiteX28" fmla="*/ 6763 w 130683"/>
                <a:gd name="connsiteY28" fmla="*/ 3715 h 111918"/>
                <a:gd name="connsiteX29" fmla="*/ 4572 w 130683"/>
                <a:gd name="connsiteY29" fmla="*/ 0 h 111918"/>
                <a:gd name="connsiteX30" fmla="*/ 4572 w 130683"/>
                <a:gd name="connsiteY30" fmla="*/ 1333 h 111918"/>
                <a:gd name="connsiteX31" fmla="*/ 5525 w 130683"/>
                <a:gd name="connsiteY31" fmla="*/ 9906 h 111918"/>
                <a:gd name="connsiteX32" fmla="*/ 5810 w 130683"/>
                <a:gd name="connsiteY32" fmla="*/ 11430 h 111918"/>
                <a:gd name="connsiteX33" fmla="*/ 4286 w 130683"/>
                <a:gd name="connsiteY33" fmla="*/ 11716 h 111918"/>
                <a:gd name="connsiteX34" fmla="*/ 3048 w 130683"/>
                <a:gd name="connsiteY34" fmla="*/ 12192 h 111918"/>
                <a:gd name="connsiteX35" fmla="*/ 0 w 130683"/>
                <a:gd name="connsiteY35" fmla="*/ 21241 h 111918"/>
                <a:gd name="connsiteX36" fmla="*/ 1524 w 130683"/>
                <a:gd name="connsiteY36" fmla="*/ 31432 h 111918"/>
                <a:gd name="connsiteX37" fmla="*/ 4953 w 130683"/>
                <a:gd name="connsiteY37" fmla="*/ 48101 h 111918"/>
                <a:gd name="connsiteX38" fmla="*/ 11525 w 130683"/>
                <a:gd name="connsiteY38" fmla="*/ 54578 h 111918"/>
                <a:gd name="connsiteX39" fmla="*/ 12573 w 130683"/>
                <a:gd name="connsiteY39" fmla="*/ 54769 h 111918"/>
                <a:gd name="connsiteX40" fmla="*/ 12763 w 130683"/>
                <a:gd name="connsiteY40" fmla="*/ 55817 h 111918"/>
                <a:gd name="connsiteX41" fmla="*/ 24765 w 130683"/>
                <a:gd name="connsiteY41" fmla="*/ 80296 h 111918"/>
                <a:gd name="connsiteX42" fmla="*/ 26098 w 130683"/>
                <a:gd name="connsiteY42" fmla="*/ 82010 h 111918"/>
                <a:gd name="connsiteX43" fmla="*/ 26384 w 130683"/>
                <a:gd name="connsiteY43" fmla="*/ 82391 h 111918"/>
                <a:gd name="connsiteX44" fmla="*/ 26861 w 130683"/>
                <a:gd name="connsiteY44" fmla="*/ 82867 h 111918"/>
                <a:gd name="connsiteX45" fmla="*/ 26861 w 130683"/>
                <a:gd name="connsiteY45" fmla="*/ 100679 h 111918"/>
                <a:gd name="connsiteX46" fmla="*/ 24765 w 130683"/>
                <a:gd name="connsiteY46" fmla="*/ 109252 h 111918"/>
                <a:gd name="connsiteX47" fmla="*/ 26384 w 130683"/>
                <a:gd name="connsiteY47" fmla="*/ 110395 h 111918"/>
                <a:gd name="connsiteX48" fmla="*/ 28861 w 130683"/>
                <a:gd name="connsiteY48" fmla="*/ 100679 h 111918"/>
                <a:gd name="connsiteX49" fmla="*/ 28861 w 130683"/>
                <a:gd name="connsiteY49" fmla="*/ 83915 h 111918"/>
                <a:gd name="connsiteX50" fmla="*/ 52864 w 130683"/>
                <a:gd name="connsiteY50" fmla="*/ 96965 h 111918"/>
                <a:gd name="connsiteX51" fmla="*/ 81724 w 130683"/>
                <a:gd name="connsiteY51" fmla="*/ 96393 h 111918"/>
                <a:gd name="connsiteX52" fmla="*/ 101632 w 130683"/>
                <a:gd name="connsiteY52" fmla="*/ 84106 h 111918"/>
                <a:gd name="connsiteX53" fmla="*/ 101632 w 130683"/>
                <a:gd name="connsiteY53" fmla="*/ 100679 h 111918"/>
                <a:gd name="connsiteX54" fmla="*/ 105156 w 130683"/>
                <a:gd name="connsiteY54" fmla="*/ 111919 h 111918"/>
                <a:gd name="connsiteX55" fmla="*/ 106871 w 130683"/>
                <a:gd name="connsiteY55" fmla="*/ 110680 h 111918"/>
                <a:gd name="connsiteX56" fmla="*/ 103727 w 130683"/>
                <a:gd name="connsiteY56" fmla="*/ 100679 h 111918"/>
                <a:gd name="connsiteX57" fmla="*/ 103727 w 130683"/>
                <a:gd name="connsiteY57" fmla="*/ 82963 h 111918"/>
                <a:gd name="connsiteX58" fmla="*/ 104204 w 130683"/>
                <a:gd name="connsiteY58" fmla="*/ 82487 h 111918"/>
                <a:gd name="connsiteX59" fmla="*/ 104489 w 130683"/>
                <a:gd name="connsiteY59" fmla="*/ 82105 h 111918"/>
                <a:gd name="connsiteX60" fmla="*/ 104775 w 130683"/>
                <a:gd name="connsiteY60" fmla="*/ 81629 h 111918"/>
                <a:gd name="connsiteX61" fmla="*/ 105823 w 130683"/>
                <a:gd name="connsiteY61" fmla="*/ 80391 h 111918"/>
                <a:gd name="connsiteX62" fmla="*/ 117824 w 130683"/>
                <a:gd name="connsiteY62" fmla="*/ 55912 h 111918"/>
                <a:gd name="connsiteX63" fmla="*/ 118015 w 130683"/>
                <a:gd name="connsiteY63" fmla="*/ 54864 h 111918"/>
                <a:gd name="connsiteX64" fmla="*/ 119063 w 130683"/>
                <a:gd name="connsiteY64" fmla="*/ 54673 h 111918"/>
                <a:gd name="connsiteX65" fmla="*/ 125635 w 130683"/>
                <a:gd name="connsiteY65" fmla="*/ 48196 h 111918"/>
                <a:gd name="connsiteX66" fmla="*/ 129064 w 130683"/>
                <a:gd name="connsiteY66" fmla="*/ 31623 h 111918"/>
                <a:gd name="connsiteX67" fmla="*/ 130683 w 130683"/>
                <a:gd name="connsiteY67" fmla="*/ 21336 h 111918"/>
                <a:gd name="connsiteX68" fmla="*/ 127540 w 130683"/>
                <a:gd name="connsiteY68" fmla="*/ 12287 h 111918"/>
                <a:gd name="connsiteX69" fmla="*/ 126302 w 130683"/>
                <a:gd name="connsiteY69" fmla="*/ 11811 h 111918"/>
                <a:gd name="connsiteX70" fmla="*/ 124778 w 130683"/>
                <a:gd name="connsiteY70" fmla="*/ 11525 h 111918"/>
                <a:gd name="connsiteX71" fmla="*/ 125063 w 130683"/>
                <a:gd name="connsiteY71" fmla="*/ 10001 h 111918"/>
                <a:gd name="connsiteX72" fmla="*/ 126016 w 130683"/>
                <a:gd name="connsiteY72" fmla="*/ 1429 h 111918"/>
                <a:gd name="connsiteX73" fmla="*/ 126016 w 130683"/>
                <a:gd name="connsiteY73" fmla="*/ 0 h 111918"/>
                <a:gd name="connsiteX74" fmla="*/ 123539 w 130683"/>
                <a:gd name="connsiteY74" fmla="*/ 6477 h 111918"/>
                <a:gd name="connsiteX75" fmla="*/ 122777 w 130683"/>
                <a:gd name="connsiteY75" fmla="*/ 10954 h 1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30683" h="111918">
                  <a:moveTo>
                    <a:pt x="122968" y="10763"/>
                  </a:moveTo>
                  <a:cubicBezTo>
                    <a:pt x="122777" y="11906"/>
                    <a:pt x="122682" y="13049"/>
                    <a:pt x="122682" y="14002"/>
                  </a:cubicBezTo>
                  <a:cubicBezTo>
                    <a:pt x="122682" y="14002"/>
                    <a:pt x="122682" y="14002"/>
                    <a:pt x="122682" y="14097"/>
                  </a:cubicBezTo>
                  <a:cubicBezTo>
                    <a:pt x="123063" y="14383"/>
                    <a:pt x="123444" y="14383"/>
                    <a:pt x="123825" y="14192"/>
                  </a:cubicBezTo>
                  <a:cubicBezTo>
                    <a:pt x="124587" y="13716"/>
                    <a:pt x="125730" y="13335"/>
                    <a:pt x="126682" y="13811"/>
                  </a:cubicBezTo>
                  <a:cubicBezTo>
                    <a:pt x="127540" y="14478"/>
                    <a:pt x="128778" y="16097"/>
                    <a:pt x="128778" y="21050"/>
                  </a:cubicBezTo>
                  <a:cubicBezTo>
                    <a:pt x="128778" y="25051"/>
                    <a:pt x="128206" y="27242"/>
                    <a:pt x="127254" y="30766"/>
                  </a:cubicBezTo>
                  <a:cubicBezTo>
                    <a:pt x="126397" y="34195"/>
                    <a:pt x="125158" y="38862"/>
                    <a:pt x="123730" y="47625"/>
                  </a:cubicBezTo>
                  <a:cubicBezTo>
                    <a:pt x="123158" y="51149"/>
                    <a:pt x="120110" y="52483"/>
                    <a:pt x="117348" y="52578"/>
                  </a:cubicBezTo>
                  <a:cubicBezTo>
                    <a:pt x="116777" y="52578"/>
                    <a:pt x="116300" y="52959"/>
                    <a:pt x="116300" y="53435"/>
                  </a:cubicBezTo>
                  <a:cubicBezTo>
                    <a:pt x="114871" y="62865"/>
                    <a:pt x="110776" y="71628"/>
                    <a:pt x="104489" y="78772"/>
                  </a:cubicBezTo>
                  <a:lnTo>
                    <a:pt x="102394" y="80963"/>
                  </a:lnTo>
                  <a:lnTo>
                    <a:pt x="80963" y="94202"/>
                  </a:lnTo>
                  <a:cubicBezTo>
                    <a:pt x="76390" y="96203"/>
                    <a:pt x="71533" y="97250"/>
                    <a:pt x="66675" y="97250"/>
                  </a:cubicBezTo>
                  <a:cubicBezTo>
                    <a:pt x="62389" y="97250"/>
                    <a:pt x="58103" y="96488"/>
                    <a:pt x="54007" y="94869"/>
                  </a:cubicBezTo>
                  <a:lnTo>
                    <a:pt x="27908" y="80581"/>
                  </a:lnTo>
                  <a:lnTo>
                    <a:pt x="26289" y="78772"/>
                  </a:lnTo>
                  <a:cubicBezTo>
                    <a:pt x="19907" y="71628"/>
                    <a:pt x="15811" y="62865"/>
                    <a:pt x="14383" y="53435"/>
                  </a:cubicBezTo>
                  <a:cubicBezTo>
                    <a:pt x="14383" y="52959"/>
                    <a:pt x="13906" y="52578"/>
                    <a:pt x="13335" y="52578"/>
                  </a:cubicBezTo>
                  <a:cubicBezTo>
                    <a:pt x="10573" y="52578"/>
                    <a:pt x="7525" y="51149"/>
                    <a:pt x="6953" y="47625"/>
                  </a:cubicBezTo>
                  <a:cubicBezTo>
                    <a:pt x="5525" y="38957"/>
                    <a:pt x="4381" y="34195"/>
                    <a:pt x="3429" y="30766"/>
                  </a:cubicBezTo>
                  <a:cubicBezTo>
                    <a:pt x="2476" y="27242"/>
                    <a:pt x="2000" y="25051"/>
                    <a:pt x="2000" y="21050"/>
                  </a:cubicBezTo>
                  <a:cubicBezTo>
                    <a:pt x="2000" y="16097"/>
                    <a:pt x="3238" y="14383"/>
                    <a:pt x="3905" y="13906"/>
                  </a:cubicBezTo>
                  <a:lnTo>
                    <a:pt x="4572" y="13621"/>
                  </a:lnTo>
                  <a:lnTo>
                    <a:pt x="4953" y="13621"/>
                  </a:lnTo>
                  <a:cubicBezTo>
                    <a:pt x="5715" y="13621"/>
                    <a:pt x="6382" y="13906"/>
                    <a:pt x="6858" y="14192"/>
                  </a:cubicBezTo>
                  <a:cubicBezTo>
                    <a:pt x="7239" y="14383"/>
                    <a:pt x="7620" y="14383"/>
                    <a:pt x="8001" y="14192"/>
                  </a:cubicBezTo>
                  <a:cubicBezTo>
                    <a:pt x="8382" y="13906"/>
                    <a:pt x="8477" y="13526"/>
                    <a:pt x="8382" y="13144"/>
                  </a:cubicBezTo>
                  <a:cubicBezTo>
                    <a:pt x="7810" y="11049"/>
                    <a:pt x="7048" y="7810"/>
                    <a:pt x="6763" y="3715"/>
                  </a:cubicBezTo>
                  <a:cubicBezTo>
                    <a:pt x="6096" y="2095"/>
                    <a:pt x="5334" y="952"/>
                    <a:pt x="4572" y="0"/>
                  </a:cubicBezTo>
                  <a:cubicBezTo>
                    <a:pt x="4572" y="476"/>
                    <a:pt x="4572" y="857"/>
                    <a:pt x="4572" y="1333"/>
                  </a:cubicBezTo>
                  <a:cubicBezTo>
                    <a:pt x="4572" y="4286"/>
                    <a:pt x="4953" y="7144"/>
                    <a:pt x="5525" y="9906"/>
                  </a:cubicBezTo>
                  <a:lnTo>
                    <a:pt x="5810" y="11430"/>
                  </a:lnTo>
                  <a:lnTo>
                    <a:pt x="4286" y="11716"/>
                  </a:lnTo>
                  <a:cubicBezTo>
                    <a:pt x="4286" y="11716"/>
                    <a:pt x="3429" y="11906"/>
                    <a:pt x="3048" y="12192"/>
                  </a:cubicBezTo>
                  <a:cubicBezTo>
                    <a:pt x="476" y="13716"/>
                    <a:pt x="0" y="17907"/>
                    <a:pt x="0" y="21241"/>
                  </a:cubicBezTo>
                  <a:cubicBezTo>
                    <a:pt x="0" y="25527"/>
                    <a:pt x="571" y="27718"/>
                    <a:pt x="1524" y="31432"/>
                  </a:cubicBezTo>
                  <a:cubicBezTo>
                    <a:pt x="2381" y="34766"/>
                    <a:pt x="3619" y="39433"/>
                    <a:pt x="4953" y="48101"/>
                  </a:cubicBezTo>
                  <a:cubicBezTo>
                    <a:pt x="5715" y="52768"/>
                    <a:pt x="9334" y="54197"/>
                    <a:pt x="11525" y="54578"/>
                  </a:cubicBezTo>
                  <a:lnTo>
                    <a:pt x="12573" y="54769"/>
                  </a:lnTo>
                  <a:lnTo>
                    <a:pt x="12763" y="55817"/>
                  </a:lnTo>
                  <a:cubicBezTo>
                    <a:pt x="14478" y="64960"/>
                    <a:pt x="18669" y="73342"/>
                    <a:pt x="24765" y="80296"/>
                  </a:cubicBezTo>
                  <a:lnTo>
                    <a:pt x="26098" y="82010"/>
                  </a:lnTo>
                  <a:cubicBezTo>
                    <a:pt x="26098" y="82010"/>
                    <a:pt x="26289" y="82296"/>
                    <a:pt x="26384" y="82391"/>
                  </a:cubicBezTo>
                  <a:lnTo>
                    <a:pt x="26861" y="82867"/>
                  </a:lnTo>
                  <a:lnTo>
                    <a:pt x="26861" y="100679"/>
                  </a:lnTo>
                  <a:cubicBezTo>
                    <a:pt x="26861" y="103632"/>
                    <a:pt x="26098" y="106585"/>
                    <a:pt x="24765" y="109252"/>
                  </a:cubicBezTo>
                  <a:lnTo>
                    <a:pt x="26384" y="110395"/>
                  </a:lnTo>
                  <a:cubicBezTo>
                    <a:pt x="28004" y="107347"/>
                    <a:pt x="28861" y="104013"/>
                    <a:pt x="28861" y="100679"/>
                  </a:cubicBezTo>
                  <a:lnTo>
                    <a:pt x="28861" y="83915"/>
                  </a:lnTo>
                  <a:lnTo>
                    <a:pt x="52864" y="96965"/>
                  </a:lnTo>
                  <a:cubicBezTo>
                    <a:pt x="62294" y="100679"/>
                    <a:pt x="72866" y="100393"/>
                    <a:pt x="81724" y="96393"/>
                  </a:cubicBezTo>
                  <a:lnTo>
                    <a:pt x="101632" y="84106"/>
                  </a:lnTo>
                  <a:lnTo>
                    <a:pt x="101632" y="100679"/>
                  </a:lnTo>
                  <a:cubicBezTo>
                    <a:pt x="101632" y="104584"/>
                    <a:pt x="102870" y="108490"/>
                    <a:pt x="105156" y="111919"/>
                  </a:cubicBezTo>
                  <a:lnTo>
                    <a:pt x="106871" y="110680"/>
                  </a:lnTo>
                  <a:cubicBezTo>
                    <a:pt x="104870" y="107537"/>
                    <a:pt x="103727" y="104108"/>
                    <a:pt x="103727" y="100679"/>
                  </a:cubicBezTo>
                  <a:lnTo>
                    <a:pt x="103727" y="82963"/>
                  </a:lnTo>
                  <a:lnTo>
                    <a:pt x="104204" y="82487"/>
                  </a:lnTo>
                  <a:cubicBezTo>
                    <a:pt x="104204" y="82487"/>
                    <a:pt x="104394" y="82201"/>
                    <a:pt x="104489" y="82105"/>
                  </a:cubicBezTo>
                  <a:lnTo>
                    <a:pt x="104775" y="81629"/>
                  </a:lnTo>
                  <a:lnTo>
                    <a:pt x="105823" y="80391"/>
                  </a:lnTo>
                  <a:cubicBezTo>
                    <a:pt x="112014" y="73438"/>
                    <a:pt x="116205" y="64960"/>
                    <a:pt x="117824" y="55912"/>
                  </a:cubicBezTo>
                  <a:lnTo>
                    <a:pt x="118015" y="54864"/>
                  </a:lnTo>
                  <a:lnTo>
                    <a:pt x="119063" y="54673"/>
                  </a:lnTo>
                  <a:cubicBezTo>
                    <a:pt x="121158" y="54197"/>
                    <a:pt x="124873" y="52768"/>
                    <a:pt x="125635" y="48196"/>
                  </a:cubicBezTo>
                  <a:cubicBezTo>
                    <a:pt x="126968" y="39719"/>
                    <a:pt x="128206" y="35052"/>
                    <a:pt x="129064" y="31623"/>
                  </a:cubicBezTo>
                  <a:cubicBezTo>
                    <a:pt x="130016" y="27813"/>
                    <a:pt x="130683" y="25527"/>
                    <a:pt x="130683" y="21336"/>
                  </a:cubicBezTo>
                  <a:cubicBezTo>
                    <a:pt x="130683" y="16573"/>
                    <a:pt x="129635" y="13526"/>
                    <a:pt x="127540" y="12287"/>
                  </a:cubicBezTo>
                  <a:cubicBezTo>
                    <a:pt x="127254" y="12097"/>
                    <a:pt x="126873" y="11906"/>
                    <a:pt x="126302" y="11811"/>
                  </a:cubicBezTo>
                  <a:lnTo>
                    <a:pt x="124778" y="11525"/>
                  </a:lnTo>
                  <a:lnTo>
                    <a:pt x="125063" y="10001"/>
                  </a:lnTo>
                  <a:cubicBezTo>
                    <a:pt x="125635" y="7239"/>
                    <a:pt x="125921" y="4382"/>
                    <a:pt x="126016" y="1429"/>
                  </a:cubicBezTo>
                  <a:cubicBezTo>
                    <a:pt x="126016" y="952"/>
                    <a:pt x="126016" y="476"/>
                    <a:pt x="126016" y="0"/>
                  </a:cubicBezTo>
                  <a:cubicBezTo>
                    <a:pt x="124873" y="1714"/>
                    <a:pt x="124111" y="4096"/>
                    <a:pt x="123539" y="6477"/>
                  </a:cubicBezTo>
                  <a:cubicBezTo>
                    <a:pt x="123349" y="8192"/>
                    <a:pt x="123063" y="9716"/>
                    <a:pt x="122777" y="10954"/>
                  </a:cubicBezTo>
                  <a:close/>
                </a:path>
              </a:pathLst>
            </a:custGeom>
            <a:grpFill/>
            <a:ln w="9525" cap="flat">
              <a:noFill/>
              <a:prstDash val="solid"/>
              <a:miter/>
            </a:ln>
          </p:spPr>
          <p:txBody>
            <a:bodyPr rtlCol="0" anchor="ctr"/>
            <a:lstStyle/>
            <a:p>
              <a:endParaRPr lang="en-US" dirty="0"/>
            </a:p>
          </p:txBody>
        </p:sp>
        <p:sp>
          <p:nvSpPr>
            <p:cNvPr id="1647" name="Freeform: Shape 1646">
              <a:extLst>
                <a:ext uri="{FF2B5EF4-FFF2-40B4-BE49-F238E27FC236}">
                  <a16:creationId xmlns:a16="http://schemas.microsoft.com/office/drawing/2014/main" id="{809BCC50-36F5-DFDB-DABC-CFADBDC10A19}"/>
                </a:ext>
              </a:extLst>
            </p:cNvPr>
            <p:cNvSpPr/>
            <p:nvPr/>
          </p:nvSpPr>
          <p:spPr>
            <a:xfrm>
              <a:off x="4631712" y="399110"/>
              <a:ext cx="1481" cy="4023"/>
            </a:xfrm>
            <a:custGeom>
              <a:avLst/>
              <a:gdLst>
                <a:gd name="connsiteX0" fmla="*/ 667 w 666"/>
                <a:gd name="connsiteY0" fmla="*/ 1619 h 1809"/>
                <a:gd name="connsiteX1" fmla="*/ 0 w 666"/>
                <a:gd name="connsiteY1" fmla="*/ 0 h 1809"/>
                <a:gd name="connsiteX2" fmla="*/ 571 w 666"/>
                <a:gd name="connsiteY2" fmla="*/ 1810 h 1809"/>
                <a:gd name="connsiteX3" fmla="*/ 667 w 666"/>
                <a:gd name="connsiteY3" fmla="*/ 1715 h 1809"/>
              </a:gdLst>
              <a:ahLst/>
              <a:cxnLst>
                <a:cxn ang="0">
                  <a:pos x="connsiteX0" y="connsiteY0"/>
                </a:cxn>
                <a:cxn ang="0">
                  <a:pos x="connsiteX1" y="connsiteY1"/>
                </a:cxn>
                <a:cxn ang="0">
                  <a:pos x="connsiteX2" y="connsiteY2"/>
                </a:cxn>
                <a:cxn ang="0">
                  <a:pos x="connsiteX3" y="connsiteY3"/>
                </a:cxn>
              </a:cxnLst>
              <a:rect l="l" t="t" r="r" b="b"/>
              <a:pathLst>
                <a:path w="666" h="1809">
                  <a:moveTo>
                    <a:pt x="667" y="1619"/>
                  </a:moveTo>
                  <a:cubicBezTo>
                    <a:pt x="381" y="1048"/>
                    <a:pt x="191" y="476"/>
                    <a:pt x="0" y="0"/>
                  </a:cubicBezTo>
                  <a:cubicBezTo>
                    <a:pt x="191" y="572"/>
                    <a:pt x="381" y="1238"/>
                    <a:pt x="571" y="1810"/>
                  </a:cubicBezTo>
                  <a:cubicBezTo>
                    <a:pt x="571" y="1810"/>
                    <a:pt x="571" y="1810"/>
                    <a:pt x="667" y="1715"/>
                  </a:cubicBezTo>
                  <a:close/>
                </a:path>
              </a:pathLst>
            </a:custGeom>
            <a:grpFill/>
            <a:ln w="9525" cap="flat">
              <a:noFill/>
              <a:prstDash val="solid"/>
              <a:miter/>
            </a:ln>
          </p:spPr>
          <p:txBody>
            <a:bodyPr rtlCol="0" anchor="ctr"/>
            <a:lstStyle/>
            <a:p>
              <a:endParaRPr lang="en-US" dirty="0"/>
            </a:p>
          </p:txBody>
        </p:sp>
        <p:sp>
          <p:nvSpPr>
            <p:cNvPr id="1648" name="Freeform: Shape 1647">
              <a:extLst>
                <a:ext uri="{FF2B5EF4-FFF2-40B4-BE49-F238E27FC236}">
                  <a16:creationId xmlns:a16="http://schemas.microsoft.com/office/drawing/2014/main" id="{24C4A897-2D1E-9AB5-B7F9-DA382C03C641}"/>
                </a:ext>
              </a:extLst>
            </p:cNvPr>
            <p:cNvSpPr/>
            <p:nvPr/>
          </p:nvSpPr>
          <p:spPr>
            <a:xfrm>
              <a:off x="4835756" y="520910"/>
              <a:ext cx="7145" cy="40034"/>
            </a:xfrm>
            <a:custGeom>
              <a:avLst/>
              <a:gdLst>
                <a:gd name="connsiteX0" fmla="*/ 166 w 3213"/>
                <a:gd name="connsiteY0" fmla="*/ 12859 h 18002"/>
                <a:gd name="connsiteX1" fmla="*/ 1595 w 3213"/>
                <a:gd name="connsiteY1" fmla="*/ 17240 h 18002"/>
                <a:gd name="connsiteX2" fmla="*/ 3214 w 3213"/>
                <a:gd name="connsiteY2" fmla="*/ 18002 h 18002"/>
                <a:gd name="connsiteX3" fmla="*/ 1880 w 3213"/>
                <a:gd name="connsiteY3" fmla="*/ 762 h 18002"/>
                <a:gd name="connsiteX4" fmla="*/ 1880 w 3213"/>
                <a:gd name="connsiteY4" fmla="*/ 0 h 18002"/>
                <a:gd name="connsiteX5" fmla="*/ 1880 w 3213"/>
                <a:gd name="connsiteY5" fmla="*/ 1810 h 18002"/>
                <a:gd name="connsiteX6" fmla="*/ 261 w 3213"/>
                <a:gd name="connsiteY6" fmla="*/ 12954 h 1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3" h="18002">
                  <a:moveTo>
                    <a:pt x="166" y="12859"/>
                  </a:moveTo>
                  <a:cubicBezTo>
                    <a:pt x="-310" y="14478"/>
                    <a:pt x="261" y="16192"/>
                    <a:pt x="1595" y="17240"/>
                  </a:cubicBezTo>
                  <a:cubicBezTo>
                    <a:pt x="2071" y="17621"/>
                    <a:pt x="2642" y="17812"/>
                    <a:pt x="3214" y="18002"/>
                  </a:cubicBezTo>
                  <a:cubicBezTo>
                    <a:pt x="3214" y="17621"/>
                    <a:pt x="1975" y="5620"/>
                    <a:pt x="1880" y="762"/>
                  </a:cubicBezTo>
                  <a:cubicBezTo>
                    <a:pt x="1880" y="476"/>
                    <a:pt x="1880" y="191"/>
                    <a:pt x="1880" y="0"/>
                  </a:cubicBezTo>
                  <a:cubicBezTo>
                    <a:pt x="1880" y="572"/>
                    <a:pt x="1880" y="1238"/>
                    <a:pt x="1880" y="1810"/>
                  </a:cubicBezTo>
                  <a:cubicBezTo>
                    <a:pt x="1690" y="6858"/>
                    <a:pt x="928" y="10668"/>
                    <a:pt x="261" y="12954"/>
                  </a:cubicBezTo>
                  <a:close/>
                </a:path>
              </a:pathLst>
            </a:custGeom>
            <a:grpFill/>
            <a:ln w="9525" cap="flat">
              <a:noFill/>
              <a:prstDash val="solid"/>
              <a:miter/>
            </a:ln>
          </p:spPr>
          <p:txBody>
            <a:bodyPr rtlCol="0" anchor="ctr"/>
            <a:lstStyle/>
            <a:p>
              <a:endParaRPr lang="en-US" dirty="0"/>
            </a:p>
          </p:txBody>
        </p:sp>
        <p:sp>
          <p:nvSpPr>
            <p:cNvPr id="1649" name="Freeform: Shape 1648">
              <a:extLst>
                <a:ext uri="{FF2B5EF4-FFF2-40B4-BE49-F238E27FC236}">
                  <a16:creationId xmlns:a16="http://schemas.microsoft.com/office/drawing/2014/main" id="{6E8BC1EB-2815-6D28-9BB9-F11A798F25BE}"/>
                </a:ext>
              </a:extLst>
            </p:cNvPr>
            <p:cNvSpPr/>
            <p:nvPr/>
          </p:nvSpPr>
          <p:spPr>
            <a:xfrm>
              <a:off x="4628323" y="413728"/>
              <a:ext cx="847" cy="3812"/>
            </a:xfrm>
            <a:custGeom>
              <a:avLst/>
              <a:gdLst>
                <a:gd name="connsiteX0" fmla="*/ 0 w 381"/>
                <a:gd name="connsiteY0" fmla="*/ 0 h 1714"/>
                <a:gd name="connsiteX1" fmla="*/ 0 w 381"/>
                <a:gd name="connsiteY1" fmla="*/ 1714 h 1714"/>
                <a:gd name="connsiteX2" fmla="*/ 381 w 381"/>
                <a:gd name="connsiteY2" fmla="*/ 1333 h 1714"/>
                <a:gd name="connsiteX3" fmla="*/ 95 w 381"/>
                <a:gd name="connsiteY3" fmla="*/ 0 h 1714"/>
              </a:gdLst>
              <a:ahLst/>
              <a:cxnLst>
                <a:cxn ang="0">
                  <a:pos x="connsiteX0" y="connsiteY0"/>
                </a:cxn>
                <a:cxn ang="0">
                  <a:pos x="connsiteX1" y="connsiteY1"/>
                </a:cxn>
                <a:cxn ang="0">
                  <a:pos x="connsiteX2" y="connsiteY2"/>
                </a:cxn>
                <a:cxn ang="0">
                  <a:pos x="connsiteX3" y="connsiteY3"/>
                </a:cxn>
              </a:cxnLst>
              <a:rect l="l" t="t" r="r" b="b"/>
              <a:pathLst>
                <a:path w="381" h="1714">
                  <a:moveTo>
                    <a:pt x="0" y="0"/>
                  </a:moveTo>
                  <a:cubicBezTo>
                    <a:pt x="0" y="571"/>
                    <a:pt x="0" y="1143"/>
                    <a:pt x="0" y="1714"/>
                  </a:cubicBezTo>
                  <a:cubicBezTo>
                    <a:pt x="95" y="1619"/>
                    <a:pt x="191" y="1429"/>
                    <a:pt x="381" y="1333"/>
                  </a:cubicBezTo>
                  <a:cubicBezTo>
                    <a:pt x="286" y="952"/>
                    <a:pt x="191" y="476"/>
                    <a:pt x="95" y="0"/>
                  </a:cubicBezTo>
                  <a:close/>
                </a:path>
              </a:pathLst>
            </a:custGeom>
            <a:grpFill/>
            <a:ln w="9525" cap="flat">
              <a:noFill/>
              <a:prstDash val="solid"/>
              <a:miter/>
            </a:ln>
          </p:spPr>
          <p:txBody>
            <a:bodyPr rtlCol="0" anchor="ctr"/>
            <a:lstStyle/>
            <a:p>
              <a:endParaRPr lang="en-US" dirty="0"/>
            </a:p>
          </p:txBody>
        </p:sp>
        <p:sp>
          <p:nvSpPr>
            <p:cNvPr id="1650" name="Freeform: Shape 1649">
              <a:extLst>
                <a:ext uri="{FF2B5EF4-FFF2-40B4-BE49-F238E27FC236}">
                  <a16:creationId xmlns:a16="http://schemas.microsoft.com/office/drawing/2014/main" id="{8398DDAE-2D23-D986-0ACD-2BF5480DA852}"/>
                </a:ext>
              </a:extLst>
            </p:cNvPr>
            <p:cNvSpPr/>
            <p:nvPr/>
          </p:nvSpPr>
          <p:spPr>
            <a:xfrm>
              <a:off x="4632984" y="402713"/>
              <a:ext cx="3389" cy="7201"/>
            </a:xfrm>
            <a:custGeom>
              <a:avLst/>
              <a:gdLst>
                <a:gd name="connsiteX0" fmla="*/ 1048 w 1524"/>
                <a:gd name="connsiteY0" fmla="*/ 3239 h 3238"/>
                <a:gd name="connsiteX1" fmla="*/ 1524 w 1524"/>
                <a:gd name="connsiteY1" fmla="*/ 2858 h 3238"/>
                <a:gd name="connsiteX2" fmla="*/ 95 w 1524"/>
                <a:gd name="connsiteY2" fmla="*/ 0 h 3238"/>
                <a:gd name="connsiteX3" fmla="*/ 0 w 1524"/>
                <a:gd name="connsiteY3" fmla="*/ 95 h 3238"/>
                <a:gd name="connsiteX4" fmla="*/ 1143 w 1524"/>
                <a:gd name="connsiteY4" fmla="*/ 3239 h 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 h="3238">
                  <a:moveTo>
                    <a:pt x="1048" y="3239"/>
                  </a:moveTo>
                  <a:cubicBezTo>
                    <a:pt x="1048" y="3239"/>
                    <a:pt x="1334" y="2953"/>
                    <a:pt x="1524" y="2858"/>
                  </a:cubicBezTo>
                  <a:cubicBezTo>
                    <a:pt x="953" y="1810"/>
                    <a:pt x="476" y="857"/>
                    <a:pt x="95" y="0"/>
                  </a:cubicBezTo>
                  <a:cubicBezTo>
                    <a:pt x="95" y="0"/>
                    <a:pt x="95" y="0"/>
                    <a:pt x="0" y="95"/>
                  </a:cubicBezTo>
                  <a:cubicBezTo>
                    <a:pt x="381" y="1143"/>
                    <a:pt x="762" y="2286"/>
                    <a:pt x="1143" y="3239"/>
                  </a:cubicBezTo>
                  <a:close/>
                </a:path>
              </a:pathLst>
            </a:custGeom>
            <a:grpFill/>
            <a:ln w="9525" cap="flat">
              <a:noFill/>
              <a:prstDash val="solid"/>
              <a:miter/>
            </a:ln>
          </p:spPr>
          <p:txBody>
            <a:bodyPr rtlCol="0" anchor="ctr"/>
            <a:lstStyle/>
            <a:p>
              <a:endParaRPr lang="en-US" dirty="0"/>
            </a:p>
          </p:txBody>
        </p:sp>
        <p:sp>
          <p:nvSpPr>
            <p:cNvPr id="1651" name="Freeform: Shape 1650">
              <a:extLst>
                <a:ext uri="{FF2B5EF4-FFF2-40B4-BE49-F238E27FC236}">
                  <a16:creationId xmlns:a16="http://schemas.microsoft.com/office/drawing/2014/main" id="{DADA6CDD-22B5-30AF-9C6D-92919EE12B51}"/>
                </a:ext>
              </a:extLst>
            </p:cNvPr>
            <p:cNvSpPr/>
            <p:nvPr/>
          </p:nvSpPr>
          <p:spPr>
            <a:xfrm>
              <a:off x="4843962" y="536375"/>
              <a:ext cx="1692" cy="9954"/>
            </a:xfrm>
            <a:custGeom>
              <a:avLst/>
              <a:gdLst>
                <a:gd name="connsiteX0" fmla="*/ 0 w 761"/>
                <a:gd name="connsiteY0" fmla="*/ 4477 h 4476"/>
                <a:gd name="connsiteX1" fmla="*/ 762 w 761"/>
                <a:gd name="connsiteY1" fmla="*/ 0 h 4476"/>
                <a:gd name="connsiteX2" fmla="*/ 0 w 761"/>
                <a:gd name="connsiteY2" fmla="*/ 4477 h 4476"/>
              </a:gdLst>
              <a:ahLst/>
              <a:cxnLst>
                <a:cxn ang="0">
                  <a:pos x="connsiteX0" y="connsiteY0"/>
                </a:cxn>
                <a:cxn ang="0">
                  <a:pos x="connsiteX1" y="connsiteY1"/>
                </a:cxn>
                <a:cxn ang="0">
                  <a:pos x="connsiteX2" y="connsiteY2"/>
                </a:cxn>
              </a:cxnLst>
              <a:rect l="l" t="t" r="r" b="b"/>
              <a:pathLst>
                <a:path w="761" h="4476">
                  <a:moveTo>
                    <a:pt x="0" y="4477"/>
                  </a:moveTo>
                  <a:cubicBezTo>
                    <a:pt x="286" y="3239"/>
                    <a:pt x="571" y="1715"/>
                    <a:pt x="762" y="0"/>
                  </a:cubicBezTo>
                  <a:cubicBezTo>
                    <a:pt x="476" y="1524"/>
                    <a:pt x="190" y="3048"/>
                    <a:pt x="0" y="4477"/>
                  </a:cubicBezTo>
                  <a:close/>
                </a:path>
              </a:pathLst>
            </a:custGeom>
            <a:grpFill/>
            <a:ln w="9525" cap="flat">
              <a:noFill/>
              <a:prstDash val="solid"/>
              <a:miter/>
            </a:ln>
          </p:spPr>
          <p:txBody>
            <a:bodyPr rtlCol="0" anchor="ctr"/>
            <a:lstStyle/>
            <a:p>
              <a:endParaRPr lang="en-US" dirty="0"/>
            </a:p>
          </p:txBody>
        </p:sp>
        <p:sp>
          <p:nvSpPr>
            <p:cNvPr id="1652" name="Freeform: Shape 1651">
              <a:extLst>
                <a:ext uri="{FF2B5EF4-FFF2-40B4-BE49-F238E27FC236}">
                  <a16:creationId xmlns:a16="http://schemas.microsoft.com/office/drawing/2014/main" id="{FF471E27-E97C-5B5F-FA55-F28E53A77DA2}"/>
                </a:ext>
              </a:extLst>
            </p:cNvPr>
            <p:cNvSpPr/>
            <p:nvPr/>
          </p:nvSpPr>
          <p:spPr>
            <a:xfrm>
              <a:off x="4803714" y="768959"/>
              <a:ext cx="25842" cy="18641"/>
            </a:xfrm>
            <a:custGeom>
              <a:avLst/>
              <a:gdLst>
                <a:gd name="connsiteX0" fmla="*/ 95 w 11620"/>
                <a:gd name="connsiteY0" fmla="*/ 2953 h 8382"/>
                <a:gd name="connsiteX1" fmla="*/ 1143 w 11620"/>
                <a:gd name="connsiteY1" fmla="*/ 4096 h 8382"/>
                <a:gd name="connsiteX2" fmla="*/ 7906 w 11620"/>
                <a:gd name="connsiteY2" fmla="*/ 8382 h 8382"/>
                <a:gd name="connsiteX3" fmla="*/ 10858 w 11620"/>
                <a:gd name="connsiteY3" fmla="*/ 3715 h 8382"/>
                <a:gd name="connsiteX4" fmla="*/ 11620 w 11620"/>
                <a:gd name="connsiteY4" fmla="*/ 4096 h 8382"/>
                <a:gd name="connsiteX5" fmla="*/ 5715 w 11620"/>
                <a:gd name="connsiteY5" fmla="*/ 857 h 8382"/>
                <a:gd name="connsiteX6" fmla="*/ 4191 w 11620"/>
                <a:gd name="connsiteY6" fmla="*/ 0 h 8382"/>
                <a:gd name="connsiteX7" fmla="*/ 0 w 11620"/>
                <a:gd name="connsiteY7" fmla="*/ 2953 h 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20" h="8382">
                  <a:moveTo>
                    <a:pt x="95" y="2953"/>
                  </a:moveTo>
                  <a:cubicBezTo>
                    <a:pt x="95" y="2953"/>
                    <a:pt x="857" y="3715"/>
                    <a:pt x="1143" y="4096"/>
                  </a:cubicBezTo>
                  <a:cubicBezTo>
                    <a:pt x="3524" y="6382"/>
                    <a:pt x="6096" y="7715"/>
                    <a:pt x="7906" y="8382"/>
                  </a:cubicBezTo>
                  <a:lnTo>
                    <a:pt x="10858" y="3715"/>
                  </a:lnTo>
                  <a:lnTo>
                    <a:pt x="11620" y="4096"/>
                  </a:lnTo>
                  <a:lnTo>
                    <a:pt x="5715" y="857"/>
                  </a:lnTo>
                  <a:lnTo>
                    <a:pt x="4191" y="0"/>
                  </a:lnTo>
                  <a:lnTo>
                    <a:pt x="0" y="2953"/>
                  </a:lnTo>
                  <a:close/>
                </a:path>
              </a:pathLst>
            </a:custGeom>
            <a:grpFill/>
            <a:ln w="9525" cap="flat">
              <a:noFill/>
              <a:prstDash val="solid"/>
              <a:miter/>
            </a:ln>
          </p:spPr>
          <p:txBody>
            <a:bodyPr rtlCol="0" anchor="ctr"/>
            <a:lstStyle/>
            <a:p>
              <a:endParaRPr lang="en-US" dirty="0"/>
            </a:p>
          </p:txBody>
        </p:sp>
        <p:sp>
          <p:nvSpPr>
            <p:cNvPr id="1653" name="Freeform: Shape 1652">
              <a:extLst>
                <a:ext uri="{FF2B5EF4-FFF2-40B4-BE49-F238E27FC236}">
                  <a16:creationId xmlns:a16="http://schemas.microsoft.com/office/drawing/2014/main" id="{17A1E70C-EC31-E344-3545-385854C8EACF}"/>
                </a:ext>
              </a:extLst>
            </p:cNvPr>
            <p:cNvSpPr/>
            <p:nvPr/>
          </p:nvSpPr>
          <p:spPr>
            <a:xfrm>
              <a:off x="4600998" y="765781"/>
              <a:ext cx="29653" cy="20547"/>
            </a:xfrm>
            <a:custGeom>
              <a:avLst/>
              <a:gdLst>
                <a:gd name="connsiteX0" fmla="*/ 11906 w 13334"/>
                <a:gd name="connsiteY0" fmla="*/ 3810 h 9239"/>
                <a:gd name="connsiteX1" fmla="*/ 13335 w 13334"/>
                <a:gd name="connsiteY1" fmla="*/ 2953 h 9239"/>
                <a:gd name="connsiteX2" fmla="*/ 9239 w 13334"/>
                <a:gd name="connsiteY2" fmla="*/ 0 h 9239"/>
                <a:gd name="connsiteX3" fmla="*/ 7715 w 13334"/>
                <a:gd name="connsiteY3" fmla="*/ 857 h 9239"/>
                <a:gd name="connsiteX4" fmla="*/ 0 w 13334"/>
                <a:gd name="connsiteY4" fmla="*/ 5143 h 9239"/>
                <a:gd name="connsiteX5" fmla="*/ 0 w 13334"/>
                <a:gd name="connsiteY5" fmla="*/ 5143 h 9239"/>
                <a:gd name="connsiteX6" fmla="*/ 2572 w 13334"/>
                <a:gd name="connsiteY6" fmla="*/ 9239 h 9239"/>
                <a:gd name="connsiteX7" fmla="*/ 11906 w 13334"/>
                <a:gd name="connsiteY7" fmla="*/ 3810 h 9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34" h="9239">
                  <a:moveTo>
                    <a:pt x="11906" y="3810"/>
                  </a:moveTo>
                  <a:cubicBezTo>
                    <a:pt x="12763" y="3334"/>
                    <a:pt x="13335" y="2953"/>
                    <a:pt x="13335" y="2953"/>
                  </a:cubicBezTo>
                  <a:lnTo>
                    <a:pt x="9239" y="0"/>
                  </a:lnTo>
                  <a:lnTo>
                    <a:pt x="7715" y="857"/>
                  </a:lnTo>
                  <a:lnTo>
                    <a:pt x="0" y="5143"/>
                  </a:lnTo>
                  <a:lnTo>
                    <a:pt x="0" y="5143"/>
                  </a:lnTo>
                  <a:cubicBezTo>
                    <a:pt x="0" y="5143"/>
                    <a:pt x="2572" y="9239"/>
                    <a:pt x="2572" y="9239"/>
                  </a:cubicBezTo>
                  <a:cubicBezTo>
                    <a:pt x="5143" y="7715"/>
                    <a:pt x="9620" y="5143"/>
                    <a:pt x="11906" y="3810"/>
                  </a:cubicBezTo>
                  <a:close/>
                </a:path>
              </a:pathLst>
            </a:custGeom>
            <a:grpFill/>
            <a:ln w="9525" cap="flat">
              <a:noFill/>
              <a:prstDash val="solid"/>
              <a:miter/>
            </a:ln>
          </p:spPr>
          <p:txBody>
            <a:bodyPr rtlCol="0" anchor="ctr"/>
            <a:lstStyle/>
            <a:p>
              <a:endParaRPr lang="en-US" dirty="0"/>
            </a:p>
          </p:txBody>
        </p:sp>
        <p:sp>
          <p:nvSpPr>
            <p:cNvPr id="1654" name="Freeform: Shape 1653">
              <a:extLst>
                <a:ext uri="{FF2B5EF4-FFF2-40B4-BE49-F238E27FC236}">
                  <a16:creationId xmlns:a16="http://schemas.microsoft.com/office/drawing/2014/main" id="{157A2793-A187-1A52-ACC1-7A392C64BFA4}"/>
                </a:ext>
              </a:extLst>
            </p:cNvPr>
            <p:cNvSpPr/>
            <p:nvPr/>
          </p:nvSpPr>
          <p:spPr>
            <a:xfrm>
              <a:off x="4867262" y="448678"/>
              <a:ext cx="845" cy="13557"/>
            </a:xfrm>
            <a:custGeom>
              <a:avLst/>
              <a:gdLst>
                <a:gd name="connsiteX0" fmla="*/ 0 w 380"/>
                <a:gd name="connsiteY0" fmla="*/ 6096 h 6096"/>
                <a:gd name="connsiteX1" fmla="*/ 0 w 380"/>
                <a:gd name="connsiteY1" fmla="*/ 6096 h 6096"/>
                <a:gd name="connsiteX2" fmla="*/ 381 w 380"/>
                <a:gd name="connsiteY2" fmla="*/ 0 h 6096"/>
                <a:gd name="connsiteX3" fmla="*/ 0 w 380"/>
                <a:gd name="connsiteY3" fmla="*/ 6096 h 6096"/>
                <a:gd name="connsiteX4" fmla="*/ 0 w 380"/>
                <a:gd name="connsiteY4" fmla="*/ 6096 h 6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 h="6096">
                  <a:moveTo>
                    <a:pt x="0" y="6096"/>
                  </a:moveTo>
                  <a:lnTo>
                    <a:pt x="0" y="6096"/>
                  </a:lnTo>
                  <a:cubicBezTo>
                    <a:pt x="0" y="6096"/>
                    <a:pt x="381" y="3715"/>
                    <a:pt x="381" y="0"/>
                  </a:cubicBezTo>
                  <a:cubicBezTo>
                    <a:pt x="381" y="1905"/>
                    <a:pt x="190" y="3905"/>
                    <a:pt x="0" y="6096"/>
                  </a:cubicBezTo>
                  <a:lnTo>
                    <a:pt x="0" y="6096"/>
                  </a:lnTo>
                  <a:close/>
                </a:path>
              </a:pathLst>
            </a:custGeom>
            <a:grpFill/>
            <a:ln w="9525" cap="flat">
              <a:noFill/>
              <a:prstDash val="solid"/>
              <a:miter/>
            </a:ln>
          </p:spPr>
          <p:txBody>
            <a:bodyPr rtlCol="0" anchor="ctr"/>
            <a:lstStyle/>
            <a:p>
              <a:endParaRPr lang="en-US" dirty="0"/>
            </a:p>
          </p:txBody>
        </p:sp>
        <p:sp>
          <p:nvSpPr>
            <p:cNvPr id="1655" name="Freeform: Shape 1654">
              <a:extLst>
                <a:ext uri="{FF2B5EF4-FFF2-40B4-BE49-F238E27FC236}">
                  <a16:creationId xmlns:a16="http://schemas.microsoft.com/office/drawing/2014/main" id="{0BE4C870-53C8-9FEA-53F1-401A63051404}"/>
                </a:ext>
              </a:extLst>
            </p:cNvPr>
            <p:cNvSpPr/>
            <p:nvPr/>
          </p:nvSpPr>
          <p:spPr>
            <a:xfrm>
              <a:off x="4828497" y="356959"/>
              <a:ext cx="2964" cy="1270"/>
            </a:xfrm>
            <a:custGeom>
              <a:avLst/>
              <a:gdLst>
                <a:gd name="connsiteX0" fmla="*/ 286 w 1333"/>
                <a:gd name="connsiteY0" fmla="*/ 190 h 571"/>
                <a:gd name="connsiteX1" fmla="*/ 1334 w 1333"/>
                <a:gd name="connsiteY1" fmla="*/ 571 h 571"/>
                <a:gd name="connsiteX2" fmla="*/ 0 w 1333"/>
                <a:gd name="connsiteY2" fmla="*/ 0 h 571"/>
                <a:gd name="connsiteX3" fmla="*/ 381 w 1333"/>
                <a:gd name="connsiteY3" fmla="*/ 190 h 571"/>
              </a:gdLst>
              <a:ahLst/>
              <a:cxnLst>
                <a:cxn ang="0">
                  <a:pos x="connsiteX0" y="connsiteY0"/>
                </a:cxn>
                <a:cxn ang="0">
                  <a:pos x="connsiteX1" y="connsiteY1"/>
                </a:cxn>
                <a:cxn ang="0">
                  <a:pos x="connsiteX2" y="connsiteY2"/>
                </a:cxn>
                <a:cxn ang="0">
                  <a:pos x="connsiteX3" y="connsiteY3"/>
                </a:cxn>
              </a:cxnLst>
              <a:rect l="l" t="t" r="r" b="b"/>
              <a:pathLst>
                <a:path w="1333" h="571">
                  <a:moveTo>
                    <a:pt x="286" y="190"/>
                  </a:moveTo>
                  <a:cubicBezTo>
                    <a:pt x="286" y="190"/>
                    <a:pt x="953" y="381"/>
                    <a:pt x="1334" y="571"/>
                  </a:cubicBezTo>
                  <a:cubicBezTo>
                    <a:pt x="857" y="381"/>
                    <a:pt x="476" y="190"/>
                    <a:pt x="0" y="0"/>
                  </a:cubicBezTo>
                  <a:cubicBezTo>
                    <a:pt x="0" y="0"/>
                    <a:pt x="95" y="0"/>
                    <a:pt x="381" y="190"/>
                  </a:cubicBezTo>
                  <a:close/>
                </a:path>
              </a:pathLst>
            </a:custGeom>
            <a:grpFill/>
            <a:ln w="9525" cap="flat">
              <a:noFill/>
              <a:prstDash val="solid"/>
              <a:miter/>
            </a:ln>
          </p:spPr>
          <p:txBody>
            <a:bodyPr rtlCol="0" anchor="ctr"/>
            <a:lstStyle/>
            <a:p>
              <a:endParaRPr lang="en-US" dirty="0"/>
            </a:p>
          </p:txBody>
        </p:sp>
        <p:sp>
          <p:nvSpPr>
            <p:cNvPr id="1656" name="Freeform: Shape 1655">
              <a:extLst>
                <a:ext uri="{FF2B5EF4-FFF2-40B4-BE49-F238E27FC236}">
                  <a16:creationId xmlns:a16="http://schemas.microsoft.com/office/drawing/2014/main" id="{F3310079-386E-CB25-89B3-7B5216985C30}"/>
                </a:ext>
              </a:extLst>
            </p:cNvPr>
            <p:cNvSpPr/>
            <p:nvPr/>
          </p:nvSpPr>
          <p:spPr>
            <a:xfrm>
              <a:off x="4687422" y="412456"/>
              <a:ext cx="117139" cy="58764"/>
            </a:xfrm>
            <a:custGeom>
              <a:avLst/>
              <a:gdLst>
                <a:gd name="connsiteX0" fmla="*/ 37433 w 52673"/>
                <a:gd name="connsiteY0" fmla="*/ 24575 h 26424"/>
                <a:gd name="connsiteX1" fmla="*/ 52006 w 52673"/>
                <a:gd name="connsiteY1" fmla="*/ 26289 h 26424"/>
                <a:gd name="connsiteX2" fmla="*/ 52673 w 52673"/>
                <a:gd name="connsiteY2" fmla="*/ 26289 h 26424"/>
                <a:gd name="connsiteX3" fmla="*/ 50578 w 52673"/>
                <a:gd name="connsiteY3" fmla="*/ 24860 h 26424"/>
                <a:gd name="connsiteX4" fmla="*/ 41053 w 52673"/>
                <a:gd name="connsiteY4" fmla="*/ 22193 h 26424"/>
                <a:gd name="connsiteX5" fmla="*/ 28385 w 52673"/>
                <a:gd name="connsiteY5" fmla="*/ 16383 h 26424"/>
                <a:gd name="connsiteX6" fmla="*/ 11335 w 52673"/>
                <a:gd name="connsiteY6" fmla="*/ 7048 h 26424"/>
                <a:gd name="connsiteX7" fmla="*/ 2667 w 52673"/>
                <a:gd name="connsiteY7" fmla="*/ 1524 h 26424"/>
                <a:gd name="connsiteX8" fmla="*/ 0 w 52673"/>
                <a:gd name="connsiteY8" fmla="*/ 0 h 26424"/>
                <a:gd name="connsiteX9" fmla="*/ 18097 w 52673"/>
                <a:gd name="connsiteY9" fmla="*/ 16383 h 26424"/>
                <a:gd name="connsiteX10" fmla="*/ 20669 w 52673"/>
                <a:gd name="connsiteY10" fmla="*/ 17717 h 26424"/>
                <a:gd name="connsiteX11" fmla="*/ 28099 w 52673"/>
                <a:gd name="connsiteY11" fmla="*/ 21336 h 26424"/>
                <a:gd name="connsiteX12" fmla="*/ 37433 w 52673"/>
                <a:gd name="connsiteY12" fmla="*/ 24670 h 2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73" h="26424">
                  <a:moveTo>
                    <a:pt x="37433" y="24575"/>
                  </a:moveTo>
                  <a:cubicBezTo>
                    <a:pt x="43339" y="26289"/>
                    <a:pt x="48578" y="26670"/>
                    <a:pt x="52006" y="26289"/>
                  </a:cubicBezTo>
                  <a:cubicBezTo>
                    <a:pt x="52292" y="26289"/>
                    <a:pt x="52483" y="26289"/>
                    <a:pt x="52673" y="26289"/>
                  </a:cubicBezTo>
                  <a:cubicBezTo>
                    <a:pt x="52006" y="25813"/>
                    <a:pt x="51245" y="25336"/>
                    <a:pt x="50578" y="24860"/>
                  </a:cubicBezTo>
                  <a:cubicBezTo>
                    <a:pt x="47149" y="24289"/>
                    <a:pt x="44005" y="23336"/>
                    <a:pt x="41053" y="22193"/>
                  </a:cubicBezTo>
                  <a:cubicBezTo>
                    <a:pt x="36290" y="20384"/>
                    <a:pt x="32099" y="18288"/>
                    <a:pt x="28385" y="16383"/>
                  </a:cubicBezTo>
                  <a:cubicBezTo>
                    <a:pt x="20860" y="12668"/>
                    <a:pt x="15430" y="9525"/>
                    <a:pt x="11335" y="7048"/>
                  </a:cubicBezTo>
                  <a:cubicBezTo>
                    <a:pt x="7239" y="4572"/>
                    <a:pt x="4477" y="2667"/>
                    <a:pt x="2667" y="1524"/>
                  </a:cubicBezTo>
                  <a:cubicBezTo>
                    <a:pt x="857" y="381"/>
                    <a:pt x="0" y="0"/>
                    <a:pt x="0" y="0"/>
                  </a:cubicBezTo>
                  <a:cubicBezTo>
                    <a:pt x="4763" y="7048"/>
                    <a:pt x="11430" y="12478"/>
                    <a:pt x="18097" y="16383"/>
                  </a:cubicBezTo>
                  <a:cubicBezTo>
                    <a:pt x="18955" y="16859"/>
                    <a:pt x="19812" y="17336"/>
                    <a:pt x="20669" y="17717"/>
                  </a:cubicBezTo>
                  <a:cubicBezTo>
                    <a:pt x="23146" y="19050"/>
                    <a:pt x="25622" y="20288"/>
                    <a:pt x="28099" y="21336"/>
                  </a:cubicBezTo>
                  <a:cubicBezTo>
                    <a:pt x="31337" y="22670"/>
                    <a:pt x="34480" y="23813"/>
                    <a:pt x="37433" y="24670"/>
                  </a:cubicBezTo>
                  <a:close/>
                </a:path>
              </a:pathLst>
            </a:custGeom>
            <a:grpFill/>
            <a:ln w="9525" cap="flat">
              <a:noFill/>
              <a:prstDash val="solid"/>
              <a:miter/>
            </a:ln>
          </p:spPr>
          <p:txBody>
            <a:bodyPr rtlCol="0" anchor="ctr"/>
            <a:lstStyle/>
            <a:p>
              <a:endParaRPr lang="en-US" dirty="0"/>
            </a:p>
          </p:txBody>
        </p:sp>
        <p:sp>
          <p:nvSpPr>
            <p:cNvPr id="1657" name="Freeform: Shape 1656">
              <a:extLst>
                <a:ext uri="{FF2B5EF4-FFF2-40B4-BE49-F238E27FC236}">
                  <a16:creationId xmlns:a16="http://schemas.microsoft.com/office/drawing/2014/main" id="{DB199463-02D5-62AB-900F-2842EE677D67}"/>
                </a:ext>
              </a:extLst>
            </p:cNvPr>
            <p:cNvSpPr/>
            <p:nvPr/>
          </p:nvSpPr>
          <p:spPr>
            <a:xfrm>
              <a:off x="4839512" y="473675"/>
              <a:ext cx="12285" cy="4870"/>
            </a:xfrm>
            <a:custGeom>
              <a:avLst/>
              <a:gdLst>
                <a:gd name="connsiteX0" fmla="*/ 5525 w 5524"/>
                <a:gd name="connsiteY0" fmla="*/ 190 h 2190"/>
                <a:gd name="connsiteX1" fmla="*/ 0 w 5524"/>
                <a:gd name="connsiteY1" fmla="*/ 0 h 2190"/>
                <a:gd name="connsiteX2" fmla="*/ 476 w 5524"/>
                <a:gd name="connsiteY2" fmla="*/ 2191 h 2190"/>
                <a:gd name="connsiteX3" fmla="*/ 5525 w 5524"/>
                <a:gd name="connsiteY3" fmla="*/ 190 h 2190"/>
              </a:gdLst>
              <a:ahLst/>
              <a:cxnLst>
                <a:cxn ang="0">
                  <a:pos x="connsiteX0" y="connsiteY0"/>
                </a:cxn>
                <a:cxn ang="0">
                  <a:pos x="connsiteX1" y="connsiteY1"/>
                </a:cxn>
                <a:cxn ang="0">
                  <a:pos x="connsiteX2" y="connsiteY2"/>
                </a:cxn>
                <a:cxn ang="0">
                  <a:pos x="connsiteX3" y="connsiteY3"/>
                </a:cxn>
              </a:cxnLst>
              <a:rect l="l" t="t" r="r" b="b"/>
              <a:pathLst>
                <a:path w="5524" h="2190">
                  <a:moveTo>
                    <a:pt x="5525" y="190"/>
                  </a:moveTo>
                  <a:cubicBezTo>
                    <a:pt x="3620" y="381"/>
                    <a:pt x="1810" y="286"/>
                    <a:pt x="0" y="0"/>
                  </a:cubicBezTo>
                  <a:cubicBezTo>
                    <a:pt x="191" y="762"/>
                    <a:pt x="286" y="1429"/>
                    <a:pt x="476" y="2191"/>
                  </a:cubicBezTo>
                  <a:cubicBezTo>
                    <a:pt x="2191" y="1810"/>
                    <a:pt x="3810" y="1143"/>
                    <a:pt x="5525" y="190"/>
                  </a:cubicBezTo>
                  <a:close/>
                </a:path>
              </a:pathLst>
            </a:custGeom>
            <a:grpFill/>
            <a:ln w="9525" cap="flat">
              <a:noFill/>
              <a:prstDash val="solid"/>
              <a:miter/>
            </a:ln>
          </p:spPr>
          <p:txBody>
            <a:bodyPr rtlCol="0" anchor="ctr"/>
            <a:lstStyle/>
            <a:p>
              <a:endParaRPr lang="en-US" dirty="0"/>
            </a:p>
          </p:txBody>
        </p:sp>
        <p:sp>
          <p:nvSpPr>
            <p:cNvPr id="1658" name="Freeform: Shape 1657">
              <a:extLst>
                <a:ext uri="{FF2B5EF4-FFF2-40B4-BE49-F238E27FC236}">
                  <a16:creationId xmlns:a16="http://schemas.microsoft.com/office/drawing/2014/main" id="{D532A20D-9418-04DD-ECB2-931927EA05EA}"/>
                </a:ext>
              </a:extLst>
            </p:cNvPr>
            <p:cNvSpPr/>
            <p:nvPr/>
          </p:nvSpPr>
          <p:spPr>
            <a:xfrm>
              <a:off x="4779778" y="444653"/>
              <a:ext cx="50625" cy="34951"/>
            </a:xfrm>
            <a:custGeom>
              <a:avLst/>
              <a:gdLst>
                <a:gd name="connsiteX0" fmla="*/ 11049 w 22764"/>
                <a:gd name="connsiteY0" fmla="*/ 11716 h 15716"/>
                <a:gd name="connsiteX1" fmla="*/ 22765 w 22764"/>
                <a:gd name="connsiteY1" fmla="*/ 15716 h 15716"/>
                <a:gd name="connsiteX2" fmla="*/ 21622 w 22764"/>
                <a:gd name="connsiteY2" fmla="*/ 11716 h 15716"/>
                <a:gd name="connsiteX3" fmla="*/ 19621 w 22764"/>
                <a:gd name="connsiteY3" fmla="*/ 10954 h 15716"/>
                <a:gd name="connsiteX4" fmla="*/ 13525 w 22764"/>
                <a:gd name="connsiteY4" fmla="*/ 7810 h 15716"/>
                <a:gd name="connsiteX5" fmla="*/ 6287 w 22764"/>
                <a:gd name="connsiteY5" fmla="*/ 3143 h 15716"/>
                <a:gd name="connsiteX6" fmla="*/ 0 w 22764"/>
                <a:gd name="connsiteY6" fmla="*/ 0 h 15716"/>
                <a:gd name="connsiteX7" fmla="*/ 9049 w 22764"/>
                <a:gd name="connsiteY7" fmla="*/ 10287 h 15716"/>
                <a:gd name="connsiteX8" fmla="*/ 11144 w 22764"/>
                <a:gd name="connsiteY8" fmla="*/ 11716 h 1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64" h="15716">
                  <a:moveTo>
                    <a:pt x="11049" y="11716"/>
                  </a:moveTo>
                  <a:cubicBezTo>
                    <a:pt x="14668" y="14002"/>
                    <a:pt x="18669" y="15526"/>
                    <a:pt x="22765" y="15716"/>
                  </a:cubicBezTo>
                  <a:cubicBezTo>
                    <a:pt x="22384" y="14383"/>
                    <a:pt x="22003" y="13049"/>
                    <a:pt x="21622" y="11716"/>
                  </a:cubicBezTo>
                  <a:cubicBezTo>
                    <a:pt x="20955" y="11430"/>
                    <a:pt x="20288" y="11239"/>
                    <a:pt x="19621" y="10954"/>
                  </a:cubicBezTo>
                  <a:cubicBezTo>
                    <a:pt x="17526" y="10096"/>
                    <a:pt x="15430" y="8953"/>
                    <a:pt x="13525" y="7810"/>
                  </a:cubicBezTo>
                  <a:cubicBezTo>
                    <a:pt x="11049" y="6286"/>
                    <a:pt x="8763" y="4667"/>
                    <a:pt x="6287" y="3143"/>
                  </a:cubicBezTo>
                  <a:cubicBezTo>
                    <a:pt x="4381" y="1905"/>
                    <a:pt x="2191" y="476"/>
                    <a:pt x="0" y="0"/>
                  </a:cubicBezTo>
                  <a:cubicBezTo>
                    <a:pt x="2096" y="3810"/>
                    <a:pt x="5334" y="7429"/>
                    <a:pt x="9049" y="10287"/>
                  </a:cubicBezTo>
                  <a:cubicBezTo>
                    <a:pt x="9715" y="10763"/>
                    <a:pt x="10382" y="11239"/>
                    <a:pt x="11144" y="11716"/>
                  </a:cubicBezTo>
                  <a:close/>
                </a:path>
              </a:pathLst>
            </a:custGeom>
            <a:grpFill/>
            <a:ln w="9525" cap="flat">
              <a:noFill/>
              <a:prstDash val="solid"/>
              <a:miter/>
            </a:ln>
          </p:spPr>
          <p:txBody>
            <a:bodyPr rtlCol="0" anchor="ctr"/>
            <a:lstStyle/>
            <a:p>
              <a:endParaRPr lang="en-US" dirty="0"/>
            </a:p>
          </p:txBody>
        </p:sp>
        <p:sp>
          <p:nvSpPr>
            <p:cNvPr id="1659" name="Freeform: Shape 1658">
              <a:extLst>
                <a:ext uri="{FF2B5EF4-FFF2-40B4-BE49-F238E27FC236}">
                  <a16:creationId xmlns:a16="http://schemas.microsoft.com/office/drawing/2014/main" id="{2BC3B17C-1B1E-4386-E95C-F07CC433D8FB}"/>
                </a:ext>
              </a:extLst>
            </p:cNvPr>
            <p:cNvSpPr/>
            <p:nvPr/>
          </p:nvSpPr>
          <p:spPr>
            <a:xfrm>
              <a:off x="4590261" y="436605"/>
              <a:ext cx="15396" cy="124402"/>
            </a:xfrm>
            <a:custGeom>
              <a:avLst/>
              <a:gdLst>
                <a:gd name="connsiteX0" fmla="*/ 637 w 6923"/>
                <a:gd name="connsiteY0" fmla="*/ 55436 h 55939"/>
                <a:gd name="connsiteX1" fmla="*/ 637 w 6923"/>
                <a:gd name="connsiteY1" fmla="*/ 55912 h 55939"/>
                <a:gd name="connsiteX2" fmla="*/ 637 w 6923"/>
                <a:gd name="connsiteY2" fmla="*/ 55436 h 55939"/>
                <a:gd name="connsiteX3" fmla="*/ 1304 w 6923"/>
                <a:gd name="connsiteY3" fmla="*/ 55054 h 55939"/>
                <a:gd name="connsiteX4" fmla="*/ 1304 w 6923"/>
                <a:gd name="connsiteY4" fmla="*/ 55054 h 55939"/>
                <a:gd name="connsiteX5" fmla="*/ 2351 w 6923"/>
                <a:gd name="connsiteY5" fmla="*/ 49816 h 55939"/>
                <a:gd name="connsiteX6" fmla="*/ 6828 w 6923"/>
                <a:gd name="connsiteY6" fmla="*/ 15145 h 55939"/>
                <a:gd name="connsiteX7" fmla="*/ 6923 w 6923"/>
                <a:gd name="connsiteY7" fmla="*/ 10954 h 55939"/>
                <a:gd name="connsiteX8" fmla="*/ 3399 w 6923"/>
                <a:gd name="connsiteY8" fmla="*/ 0 h 55939"/>
                <a:gd name="connsiteX9" fmla="*/ 446 w 6923"/>
                <a:gd name="connsiteY9" fmla="*/ 36004 h 55939"/>
                <a:gd name="connsiteX10" fmla="*/ 161 w 6923"/>
                <a:gd name="connsiteY10" fmla="*/ 50578 h 55939"/>
                <a:gd name="connsiteX11" fmla="*/ 637 w 6923"/>
                <a:gd name="connsiteY11" fmla="*/ 55626 h 5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23" h="55939">
                  <a:moveTo>
                    <a:pt x="637" y="55436"/>
                  </a:moveTo>
                  <a:cubicBezTo>
                    <a:pt x="637" y="55436"/>
                    <a:pt x="637" y="55816"/>
                    <a:pt x="637" y="55912"/>
                  </a:cubicBezTo>
                  <a:cubicBezTo>
                    <a:pt x="637" y="56102"/>
                    <a:pt x="637" y="55245"/>
                    <a:pt x="637" y="55436"/>
                  </a:cubicBezTo>
                  <a:cubicBezTo>
                    <a:pt x="637" y="55721"/>
                    <a:pt x="1208" y="54769"/>
                    <a:pt x="1304" y="55054"/>
                  </a:cubicBezTo>
                  <a:cubicBezTo>
                    <a:pt x="1304" y="55054"/>
                    <a:pt x="1018" y="56388"/>
                    <a:pt x="1304" y="55054"/>
                  </a:cubicBezTo>
                  <a:cubicBezTo>
                    <a:pt x="1589" y="53816"/>
                    <a:pt x="1875" y="52007"/>
                    <a:pt x="2351" y="49816"/>
                  </a:cubicBezTo>
                  <a:cubicBezTo>
                    <a:pt x="3971" y="41243"/>
                    <a:pt x="6352" y="26765"/>
                    <a:pt x="6828" y="15145"/>
                  </a:cubicBezTo>
                  <a:cubicBezTo>
                    <a:pt x="6828" y="13716"/>
                    <a:pt x="6923" y="12287"/>
                    <a:pt x="6923" y="10954"/>
                  </a:cubicBezTo>
                  <a:cubicBezTo>
                    <a:pt x="6923" y="8191"/>
                    <a:pt x="5114" y="2191"/>
                    <a:pt x="3399" y="0"/>
                  </a:cubicBezTo>
                  <a:cubicBezTo>
                    <a:pt x="1780" y="11906"/>
                    <a:pt x="923" y="24003"/>
                    <a:pt x="446" y="36004"/>
                  </a:cubicBezTo>
                  <a:cubicBezTo>
                    <a:pt x="-30" y="40577"/>
                    <a:pt x="-125" y="45529"/>
                    <a:pt x="161" y="50578"/>
                  </a:cubicBezTo>
                  <a:cubicBezTo>
                    <a:pt x="256" y="52292"/>
                    <a:pt x="446" y="53912"/>
                    <a:pt x="637" y="55626"/>
                  </a:cubicBezTo>
                  <a:close/>
                </a:path>
              </a:pathLst>
            </a:custGeom>
            <a:grpFill/>
            <a:ln w="9525" cap="flat">
              <a:noFill/>
              <a:prstDash val="solid"/>
              <a:miter/>
            </a:ln>
          </p:spPr>
          <p:txBody>
            <a:bodyPr rtlCol="0" anchor="ctr"/>
            <a:lstStyle/>
            <a:p>
              <a:endParaRPr lang="en-US" dirty="0"/>
            </a:p>
          </p:txBody>
        </p:sp>
        <p:sp>
          <p:nvSpPr>
            <p:cNvPr id="1660" name="Freeform: Shape 1659">
              <a:extLst>
                <a:ext uri="{FF2B5EF4-FFF2-40B4-BE49-F238E27FC236}">
                  <a16:creationId xmlns:a16="http://schemas.microsoft.com/office/drawing/2014/main" id="{2171F9AA-517D-DA0A-2A55-D0F4FD003832}"/>
                </a:ext>
              </a:extLst>
            </p:cNvPr>
            <p:cNvSpPr/>
            <p:nvPr/>
          </p:nvSpPr>
          <p:spPr>
            <a:xfrm>
              <a:off x="4813246" y="435758"/>
              <a:ext cx="36856" cy="82611"/>
            </a:xfrm>
            <a:custGeom>
              <a:avLst/>
              <a:gdLst>
                <a:gd name="connsiteX0" fmla="*/ 7715 w 16573"/>
                <a:gd name="connsiteY0" fmla="*/ 19717 h 37147"/>
                <a:gd name="connsiteX1" fmla="*/ 8192 w 16573"/>
                <a:gd name="connsiteY1" fmla="*/ 21336 h 37147"/>
                <a:gd name="connsiteX2" fmla="*/ 10287 w 16573"/>
                <a:gd name="connsiteY2" fmla="*/ 27527 h 37147"/>
                <a:gd name="connsiteX3" fmla="*/ 16573 w 16573"/>
                <a:gd name="connsiteY3" fmla="*/ 37147 h 37147"/>
                <a:gd name="connsiteX4" fmla="*/ 12192 w 16573"/>
                <a:gd name="connsiteY4" fmla="*/ 19240 h 37147"/>
                <a:gd name="connsiteX5" fmla="*/ 11716 w 16573"/>
                <a:gd name="connsiteY5" fmla="*/ 17050 h 37147"/>
                <a:gd name="connsiteX6" fmla="*/ 10954 w 16573"/>
                <a:gd name="connsiteY6" fmla="*/ 14383 h 37147"/>
                <a:gd name="connsiteX7" fmla="*/ 0 w 16573"/>
                <a:gd name="connsiteY7" fmla="*/ 0 h 37147"/>
                <a:gd name="connsiteX8" fmla="*/ 5048 w 16573"/>
                <a:gd name="connsiteY8" fmla="*/ 11049 h 37147"/>
                <a:gd name="connsiteX9" fmla="*/ 5334 w 16573"/>
                <a:gd name="connsiteY9" fmla="*/ 11906 h 37147"/>
                <a:gd name="connsiteX10" fmla="*/ 6572 w 16573"/>
                <a:gd name="connsiteY10" fmla="*/ 15716 h 37147"/>
                <a:gd name="connsiteX11" fmla="*/ 7715 w 16573"/>
                <a:gd name="connsiteY11" fmla="*/ 19717 h 3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73" h="37147">
                  <a:moveTo>
                    <a:pt x="7715" y="19717"/>
                  </a:moveTo>
                  <a:cubicBezTo>
                    <a:pt x="7906" y="20288"/>
                    <a:pt x="8001" y="20860"/>
                    <a:pt x="8192" y="21336"/>
                  </a:cubicBezTo>
                  <a:cubicBezTo>
                    <a:pt x="8763" y="23432"/>
                    <a:pt x="9525" y="25527"/>
                    <a:pt x="10287" y="27527"/>
                  </a:cubicBezTo>
                  <a:cubicBezTo>
                    <a:pt x="11716" y="31147"/>
                    <a:pt x="13621" y="34481"/>
                    <a:pt x="16573" y="37147"/>
                  </a:cubicBezTo>
                  <a:cubicBezTo>
                    <a:pt x="13811" y="31528"/>
                    <a:pt x="13430" y="25336"/>
                    <a:pt x="12192" y="19240"/>
                  </a:cubicBezTo>
                  <a:cubicBezTo>
                    <a:pt x="12002" y="18478"/>
                    <a:pt x="11906" y="17812"/>
                    <a:pt x="11716" y="17050"/>
                  </a:cubicBezTo>
                  <a:cubicBezTo>
                    <a:pt x="11525" y="16192"/>
                    <a:pt x="11239" y="15240"/>
                    <a:pt x="10954" y="14383"/>
                  </a:cubicBezTo>
                  <a:cubicBezTo>
                    <a:pt x="9239" y="9144"/>
                    <a:pt x="4096" y="3620"/>
                    <a:pt x="0" y="0"/>
                  </a:cubicBezTo>
                  <a:cubicBezTo>
                    <a:pt x="3048" y="6572"/>
                    <a:pt x="3810" y="7620"/>
                    <a:pt x="5048" y="11049"/>
                  </a:cubicBezTo>
                  <a:cubicBezTo>
                    <a:pt x="5144" y="11335"/>
                    <a:pt x="5239" y="11621"/>
                    <a:pt x="5334" y="11906"/>
                  </a:cubicBezTo>
                  <a:cubicBezTo>
                    <a:pt x="5715" y="13145"/>
                    <a:pt x="6191" y="14478"/>
                    <a:pt x="6572" y="15716"/>
                  </a:cubicBezTo>
                  <a:cubicBezTo>
                    <a:pt x="6953" y="17050"/>
                    <a:pt x="7334" y="18383"/>
                    <a:pt x="7715" y="19717"/>
                  </a:cubicBezTo>
                  <a:close/>
                </a:path>
              </a:pathLst>
            </a:custGeom>
            <a:grpFill/>
            <a:ln w="9525" cap="flat">
              <a:noFill/>
              <a:prstDash val="solid"/>
              <a:miter/>
            </a:ln>
          </p:spPr>
          <p:txBody>
            <a:bodyPr rtlCol="0" anchor="ctr"/>
            <a:lstStyle/>
            <a:p>
              <a:endParaRPr lang="en-US" dirty="0"/>
            </a:p>
          </p:txBody>
        </p:sp>
        <p:sp>
          <p:nvSpPr>
            <p:cNvPr id="1661" name="Freeform: Shape 1660">
              <a:extLst>
                <a:ext uri="{FF2B5EF4-FFF2-40B4-BE49-F238E27FC236}">
                  <a16:creationId xmlns:a16="http://schemas.microsoft.com/office/drawing/2014/main" id="{2CCD744B-682E-F971-2F3B-5C12014D1E0C}"/>
                </a:ext>
              </a:extLst>
            </p:cNvPr>
            <p:cNvSpPr/>
            <p:nvPr/>
          </p:nvSpPr>
          <p:spPr>
            <a:xfrm>
              <a:off x="4554959" y="304148"/>
              <a:ext cx="313224" cy="256586"/>
            </a:xfrm>
            <a:custGeom>
              <a:avLst/>
              <a:gdLst>
                <a:gd name="connsiteX0" fmla="*/ 123287 w 140845"/>
                <a:gd name="connsiteY0" fmla="*/ 23938 h 115377"/>
                <a:gd name="connsiteX1" fmla="*/ 122906 w 140845"/>
                <a:gd name="connsiteY1" fmla="*/ 23747 h 115377"/>
                <a:gd name="connsiteX2" fmla="*/ 124239 w 140845"/>
                <a:gd name="connsiteY2" fmla="*/ 24319 h 115377"/>
                <a:gd name="connsiteX3" fmla="*/ 135098 w 140845"/>
                <a:gd name="connsiteY3" fmla="*/ 28986 h 115377"/>
                <a:gd name="connsiteX4" fmla="*/ 82996 w 140845"/>
                <a:gd name="connsiteY4" fmla="*/ 316 h 115377"/>
                <a:gd name="connsiteX5" fmla="*/ 71090 w 140845"/>
                <a:gd name="connsiteY5" fmla="*/ 125 h 115377"/>
                <a:gd name="connsiteX6" fmla="*/ 70423 w 140845"/>
                <a:gd name="connsiteY6" fmla="*/ 125 h 115377"/>
                <a:gd name="connsiteX7" fmla="*/ 43944 w 140845"/>
                <a:gd name="connsiteY7" fmla="*/ 6031 h 115377"/>
                <a:gd name="connsiteX8" fmla="*/ 38228 w 140845"/>
                <a:gd name="connsiteY8" fmla="*/ 5840 h 115377"/>
                <a:gd name="connsiteX9" fmla="*/ 33180 w 140845"/>
                <a:gd name="connsiteY9" fmla="*/ 17746 h 115377"/>
                <a:gd name="connsiteX10" fmla="*/ 11844 w 140845"/>
                <a:gd name="connsiteY10" fmla="*/ 18413 h 115377"/>
                <a:gd name="connsiteX11" fmla="*/ 1367 w 140845"/>
                <a:gd name="connsiteY11" fmla="*/ 38797 h 115377"/>
                <a:gd name="connsiteX12" fmla="*/ 14892 w 140845"/>
                <a:gd name="connsiteY12" fmla="*/ 22890 h 115377"/>
                <a:gd name="connsiteX13" fmla="*/ 15083 w 140845"/>
                <a:gd name="connsiteY13" fmla="*/ 22890 h 115377"/>
                <a:gd name="connsiteX14" fmla="*/ 319 w 140845"/>
                <a:gd name="connsiteY14" fmla="*/ 69277 h 115377"/>
                <a:gd name="connsiteX15" fmla="*/ 4129 w 140845"/>
                <a:gd name="connsiteY15" fmla="*/ 57847 h 115377"/>
                <a:gd name="connsiteX16" fmla="*/ 7367 w 140845"/>
                <a:gd name="connsiteY16" fmla="*/ 95470 h 115377"/>
                <a:gd name="connsiteX17" fmla="*/ 8796 w 140845"/>
                <a:gd name="connsiteY17" fmla="*/ 95851 h 115377"/>
                <a:gd name="connsiteX18" fmla="*/ 11844 w 140845"/>
                <a:gd name="connsiteY18" fmla="*/ 98233 h 115377"/>
                <a:gd name="connsiteX19" fmla="*/ 14035 w 140845"/>
                <a:gd name="connsiteY19" fmla="*/ 101947 h 115377"/>
                <a:gd name="connsiteX20" fmla="*/ 16130 w 140845"/>
                <a:gd name="connsiteY20" fmla="*/ 110139 h 115377"/>
                <a:gd name="connsiteX21" fmla="*/ 16416 w 140845"/>
                <a:gd name="connsiteY21" fmla="*/ 95566 h 115377"/>
                <a:gd name="connsiteX22" fmla="*/ 19369 w 140845"/>
                <a:gd name="connsiteY22" fmla="*/ 59561 h 115377"/>
                <a:gd name="connsiteX23" fmla="*/ 22893 w 140845"/>
                <a:gd name="connsiteY23" fmla="*/ 70515 h 115377"/>
                <a:gd name="connsiteX24" fmla="*/ 22798 w 140845"/>
                <a:gd name="connsiteY24" fmla="*/ 74706 h 115377"/>
                <a:gd name="connsiteX25" fmla="*/ 22988 w 140845"/>
                <a:gd name="connsiteY25" fmla="*/ 73753 h 115377"/>
                <a:gd name="connsiteX26" fmla="*/ 24322 w 140845"/>
                <a:gd name="connsiteY26" fmla="*/ 87184 h 115377"/>
                <a:gd name="connsiteX27" fmla="*/ 33085 w 140845"/>
                <a:gd name="connsiteY27" fmla="*/ 50989 h 115377"/>
                <a:gd name="connsiteX28" fmla="*/ 33085 w 140845"/>
                <a:gd name="connsiteY28" fmla="*/ 49274 h 115377"/>
                <a:gd name="connsiteX29" fmla="*/ 33371 w 140845"/>
                <a:gd name="connsiteY29" fmla="*/ 50608 h 115377"/>
                <a:gd name="connsiteX30" fmla="*/ 33371 w 140845"/>
                <a:gd name="connsiteY30" fmla="*/ 50608 h 115377"/>
                <a:gd name="connsiteX31" fmla="*/ 40229 w 140845"/>
                <a:gd name="connsiteY31" fmla="*/ 64038 h 115377"/>
                <a:gd name="connsiteX32" fmla="*/ 62327 w 140845"/>
                <a:gd name="connsiteY32" fmla="*/ 71944 h 115377"/>
                <a:gd name="connsiteX33" fmla="*/ 49373 w 140845"/>
                <a:gd name="connsiteY33" fmla="*/ 66324 h 115377"/>
                <a:gd name="connsiteX34" fmla="*/ 40038 w 140845"/>
                <a:gd name="connsiteY34" fmla="*/ 55656 h 115377"/>
                <a:gd name="connsiteX35" fmla="*/ 36323 w 140845"/>
                <a:gd name="connsiteY35" fmla="*/ 47560 h 115377"/>
                <a:gd name="connsiteX36" fmla="*/ 35180 w 140845"/>
                <a:gd name="connsiteY36" fmla="*/ 44416 h 115377"/>
                <a:gd name="connsiteX37" fmla="*/ 34609 w 140845"/>
                <a:gd name="connsiteY37" fmla="*/ 42607 h 115377"/>
                <a:gd name="connsiteX38" fmla="*/ 35276 w 140845"/>
                <a:gd name="connsiteY38" fmla="*/ 44226 h 115377"/>
                <a:gd name="connsiteX39" fmla="*/ 36704 w 140845"/>
                <a:gd name="connsiteY39" fmla="*/ 47083 h 115377"/>
                <a:gd name="connsiteX40" fmla="*/ 80234 w 140845"/>
                <a:gd name="connsiteY40" fmla="*/ 66324 h 115377"/>
                <a:gd name="connsiteX41" fmla="*/ 77662 w 140845"/>
                <a:gd name="connsiteY41" fmla="*/ 64990 h 115377"/>
                <a:gd name="connsiteX42" fmla="*/ 59564 w 140845"/>
                <a:gd name="connsiteY42" fmla="*/ 48607 h 115377"/>
                <a:gd name="connsiteX43" fmla="*/ 62231 w 140845"/>
                <a:gd name="connsiteY43" fmla="*/ 50131 h 115377"/>
                <a:gd name="connsiteX44" fmla="*/ 70899 w 140845"/>
                <a:gd name="connsiteY44" fmla="*/ 55656 h 115377"/>
                <a:gd name="connsiteX45" fmla="*/ 87949 w 140845"/>
                <a:gd name="connsiteY45" fmla="*/ 64990 h 115377"/>
                <a:gd name="connsiteX46" fmla="*/ 100617 w 140845"/>
                <a:gd name="connsiteY46" fmla="*/ 70801 h 115377"/>
                <a:gd name="connsiteX47" fmla="*/ 110142 w 140845"/>
                <a:gd name="connsiteY47" fmla="*/ 73468 h 115377"/>
                <a:gd name="connsiteX48" fmla="*/ 101094 w 140845"/>
                <a:gd name="connsiteY48" fmla="*/ 63181 h 115377"/>
                <a:gd name="connsiteX49" fmla="*/ 107380 w 140845"/>
                <a:gd name="connsiteY49" fmla="*/ 66324 h 115377"/>
                <a:gd name="connsiteX50" fmla="*/ 114619 w 140845"/>
                <a:gd name="connsiteY50" fmla="*/ 70991 h 115377"/>
                <a:gd name="connsiteX51" fmla="*/ 120715 w 140845"/>
                <a:gd name="connsiteY51" fmla="*/ 74134 h 115377"/>
                <a:gd name="connsiteX52" fmla="*/ 116238 w 140845"/>
                <a:gd name="connsiteY52" fmla="*/ 59466 h 115377"/>
                <a:gd name="connsiteX53" fmla="*/ 121572 w 140845"/>
                <a:gd name="connsiteY53" fmla="*/ 71086 h 115377"/>
                <a:gd name="connsiteX54" fmla="*/ 121286 w 140845"/>
                <a:gd name="connsiteY54" fmla="*/ 70229 h 115377"/>
                <a:gd name="connsiteX55" fmla="*/ 116238 w 140845"/>
                <a:gd name="connsiteY55" fmla="*/ 59180 h 115377"/>
                <a:gd name="connsiteX56" fmla="*/ 127192 w 140845"/>
                <a:gd name="connsiteY56" fmla="*/ 73563 h 115377"/>
                <a:gd name="connsiteX57" fmla="*/ 127954 w 140845"/>
                <a:gd name="connsiteY57" fmla="*/ 76230 h 115377"/>
                <a:gd name="connsiteX58" fmla="*/ 133478 w 140845"/>
                <a:gd name="connsiteY58" fmla="*/ 76420 h 115377"/>
                <a:gd name="connsiteX59" fmla="*/ 128430 w 140845"/>
                <a:gd name="connsiteY59" fmla="*/ 78421 h 115377"/>
                <a:gd name="connsiteX60" fmla="*/ 132812 w 140845"/>
                <a:gd name="connsiteY60" fmla="*/ 96328 h 115377"/>
                <a:gd name="connsiteX61" fmla="*/ 126525 w 140845"/>
                <a:gd name="connsiteY61" fmla="*/ 86707 h 115377"/>
                <a:gd name="connsiteX62" fmla="*/ 128049 w 140845"/>
                <a:gd name="connsiteY62" fmla="*/ 97375 h 115377"/>
                <a:gd name="connsiteX63" fmla="*/ 128049 w 140845"/>
                <a:gd name="connsiteY63" fmla="*/ 98137 h 115377"/>
                <a:gd name="connsiteX64" fmla="*/ 129383 w 140845"/>
                <a:gd name="connsiteY64" fmla="*/ 115378 h 115377"/>
                <a:gd name="connsiteX65" fmla="*/ 129383 w 140845"/>
                <a:gd name="connsiteY65" fmla="*/ 115378 h 115377"/>
                <a:gd name="connsiteX66" fmla="*/ 129383 w 140845"/>
                <a:gd name="connsiteY66" fmla="*/ 115378 h 115377"/>
                <a:gd name="connsiteX67" fmla="*/ 129573 w 140845"/>
                <a:gd name="connsiteY67" fmla="*/ 112139 h 115377"/>
                <a:gd name="connsiteX68" fmla="*/ 129859 w 140845"/>
                <a:gd name="connsiteY68" fmla="*/ 108901 h 115377"/>
                <a:gd name="connsiteX69" fmla="*/ 130621 w 140845"/>
                <a:gd name="connsiteY69" fmla="*/ 104424 h 115377"/>
                <a:gd name="connsiteX70" fmla="*/ 133097 w 140845"/>
                <a:gd name="connsiteY70" fmla="*/ 97947 h 115377"/>
                <a:gd name="connsiteX71" fmla="*/ 136145 w 140845"/>
                <a:gd name="connsiteY71" fmla="*/ 95470 h 115377"/>
                <a:gd name="connsiteX72" fmla="*/ 137193 w 140845"/>
                <a:gd name="connsiteY72" fmla="*/ 95280 h 115377"/>
                <a:gd name="connsiteX73" fmla="*/ 136622 w 140845"/>
                <a:gd name="connsiteY73" fmla="*/ 63752 h 115377"/>
                <a:gd name="connsiteX74" fmla="*/ 140432 w 140845"/>
                <a:gd name="connsiteY74" fmla="*/ 71086 h 115377"/>
                <a:gd name="connsiteX75" fmla="*/ 140432 w 140845"/>
                <a:gd name="connsiteY75" fmla="*/ 71086 h 115377"/>
                <a:gd name="connsiteX76" fmla="*/ 140813 w 140845"/>
                <a:gd name="connsiteY76" fmla="*/ 64990 h 115377"/>
                <a:gd name="connsiteX77" fmla="*/ 123287 w 140845"/>
                <a:gd name="connsiteY77" fmla="*/ 23842 h 115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40845" h="115377">
                  <a:moveTo>
                    <a:pt x="123287" y="23938"/>
                  </a:moveTo>
                  <a:cubicBezTo>
                    <a:pt x="123287" y="23938"/>
                    <a:pt x="122906" y="23747"/>
                    <a:pt x="122906" y="23747"/>
                  </a:cubicBezTo>
                  <a:cubicBezTo>
                    <a:pt x="123382" y="23938"/>
                    <a:pt x="123858" y="24128"/>
                    <a:pt x="124239" y="24319"/>
                  </a:cubicBezTo>
                  <a:cubicBezTo>
                    <a:pt x="130716" y="26890"/>
                    <a:pt x="135098" y="28986"/>
                    <a:pt x="135098" y="28986"/>
                  </a:cubicBezTo>
                  <a:cubicBezTo>
                    <a:pt x="135098" y="28986"/>
                    <a:pt x="120239" y="3268"/>
                    <a:pt x="82996" y="316"/>
                  </a:cubicBezTo>
                  <a:cubicBezTo>
                    <a:pt x="78614" y="-65"/>
                    <a:pt x="74709" y="-65"/>
                    <a:pt x="71090" y="125"/>
                  </a:cubicBezTo>
                  <a:cubicBezTo>
                    <a:pt x="70899" y="125"/>
                    <a:pt x="70613" y="125"/>
                    <a:pt x="70423" y="125"/>
                  </a:cubicBezTo>
                  <a:cubicBezTo>
                    <a:pt x="61565" y="-65"/>
                    <a:pt x="51754" y="1554"/>
                    <a:pt x="43944" y="6031"/>
                  </a:cubicBezTo>
                  <a:lnTo>
                    <a:pt x="38228" y="5840"/>
                  </a:lnTo>
                  <a:cubicBezTo>
                    <a:pt x="35943" y="9269"/>
                    <a:pt x="33752" y="13555"/>
                    <a:pt x="33180" y="17746"/>
                  </a:cubicBezTo>
                  <a:cubicBezTo>
                    <a:pt x="27370" y="12508"/>
                    <a:pt x="17464" y="13365"/>
                    <a:pt x="11844" y="18413"/>
                  </a:cubicBezTo>
                  <a:cubicBezTo>
                    <a:pt x="6605" y="23080"/>
                    <a:pt x="1367" y="34225"/>
                    <a:pt x="1367" y="38797"/>
                  </a:cubicBezTo>
                  <a:cubicBezTo>
                    <a:pt x="5462" y="29176"/>
                    <a:pt x="9368" y="25652"/>
                    <a:pt x="14892" y="22890"/>
                  </a:cubicBezTo>
                  <a:cubicBezTo>
                    <a:pt x="14892" y="22890"/>
                    <a:pt x="14987" y="22890"/>
                    <a:pt x="15083" y="22890"/>
                  </a:cubicBezTo>
                  <a:cubicBezTo>
                    <a:pt x="3843" y="30986"/>
                    <a:pt x="-1396" y="50512"/>
                    <a:pt x="319" y="69277"/>
                  </a:cubicBezTo>
                  <a:cubicBezTo>
                    <a:pt x="1367" y="65086"/>
                    <a:pt x="2700" y="61276"/>
                    <a:pt x="4129" y="57847"/>
                  </a:cubicBezTo>
                  <a:cubicBezTo>
                    <a:pt x="3367" y="67276"/>
                    <a:pt x="5272" y="80897"/>
                    <a:pt x="7367" y="95470"/>
                  </a:cubicBezTo>
                  <a:cubicBezTo>
                    <a:pt x="7367" y="95470"/>
                    <a:pt x="7939" y="95470"/>
                    <a:pt x="8796" y="95851"/>
                  </a:cubicBezTo>
                  <a:cubicBezTo>
                    <a:pt x="9653" y="96137"/>
                    <a:pt x="10701" y="96899"/>
                    <a:pt x="11844" y="98233"/>
                  </a:cubicBezTo>
                  <a:cubicBezTo>
                    <a:pt x="12606" y="99090"/>
                    <a:pt x="13368" y="100328"/>
                    <a:pt x="14035" y="101947"/>
                  </a:cubicBezTo>
                  <a:cubicBezTo>
                    <a:pt x="14892" y="103948"/>
                    <a:pt x="15654" y="106710"/>
                    <a:pt x="16130" y="110139"/>
                  </a:cubicBezTo>
                  <a:cubicBezTo>
                    <a:pt x="15845" y="105091"/>
                    <a:pt x="15940" y="100233"/>
                    <a:pt x="16416" y="95566"/>
                  </a:cubicBezTo>
                  <a:cubicBezTo>
                    <a:pt x="16892" y="83564"/>
                    <a:pt x="17750" y="71467"/>
                    <a:pt x="19369" y="59561"/>
                  </a:cubicBezTo>
                  <a:cubicBezTo>
                    <a:pt x="21083" y="61752"/>
                    <a:pt x="22893" y="67848"/>
                    <a:pt x="22893" y="70515"/>
                  </a:cubicBezTo>
                  <a:cubicBezTo>
                    <a:pt x="22893" y="71848"/>
                    <a:pt x="22893" y="73277"/>
                    <a:pt x="22798" y="74706"/>
                  </a:cubicBezTo>
                  <a:cubicBezTo>
                    <a:pt x="22798" y="74420"/>
                    <a:pt x="22893" y="74039"/>
                    <a:pt x="22988" y="73753"/>
                  </a:cubicBezTo>
                  <a:cubicBezTo>
                    <a:pt x="22988" y="73753"/>
                    <a:pt x="25179" y="81850"/>
                    <a:pt x="24322" y="87184"/>
                  </a:cubicBezTo>
                  <a:cubicBezTo>
                    <a:pt x="25655" y="84898"/>
                    <a:pt x="31751" y="79087"/>
                    <a:pt x="33085" y="50989"/>
                  </a:cubicBezTo>
                  <a:cubicBezTo>
                    <a:pt x="33085" y="50417"/>
                    <a:pt x="33085" y="49846"/>
                    <a:pt x="33085" y="49274"/>
                  </a:cubicBezTo>
                  <a:cubicBezTo>
                    <a:pt x="33180" y="49655"/>
                    <a:pt x="33276" y="50131"/>
                    <a:pt x="33371" y="50608"/>
                  </a:cubicBezTo>
                  <a:cubicBezTo>
                    <a:pt x="33371" y="50608"/>
                    <a:pt x="33371" y="50608"/>
                    <a:pt x="33371" y="50608"/>
                  </a:cubicBezTo>
                  <a:cubicBezTo>
                    <a:pt x="34895" y="55275"/>
                    <a:pt x="36895" y="60323"/>
                    <a:pt x="40229" y="64038"/>
                  </a:cubicBezTo>
                  <a:cubicBezTo>
                    <a:pt x="45658" y="70229"/>
                    <a:pt x="54516" y="71753"/>
                    <a:pt x="62327" y="71944"/>
                  </a:cubicBezTo>
                  <a:cubicBezTo>
                    <a:pt x="57945" y="70420"/>
                    <a:pt x="53373" y="68800"/>
                    <a:pt x="49373" y="66324"/>
                  </a:cubicBezTo>
                  <a:cubicBezTo>
                    <a:pt x="45468" y="63943"/>
                    <a:pt x="42229" y="59656"/>
                    <a:pt x="40038" y="55656"/>
                  </a:cubicBezTo>
                  <a:cubicBezTo>
                    <a:pt x="38800" y="53465"/>
                    <a:pt x="37562" y="50703"/>
                    <a:pt x="36323" y="47560"/>
                  </a:cubicBezTo>
                  <a:cubicBezTo>
                    <a:pt x="35943" y="46607"/>
                    <a:pt x="35561" y="45464"/>
                    <a:pt x="35180" y="44416"/>
                  </a:cubicBezTo>
                  <a:cubicBezTo>
                    <a:pt x="34990" y="43845"/>
                    <a:pt x="34799" y="43273"/>
                    <a:pt x="34609" y="42607"/>
                  </a:cubicBezTo>
                  <a:cubicBezTo>
                    <a:pt x="34799" y="43178"/>
                    <a:pt x="34990" y="43654"/>
                    <a:pt x="35276" y="44226"/>
                  </a:cubicBezTo>
                  <a:cubicBezTo>
                    <a:pt x="35657" y="45083"/>
                    <a:pt x="36133" y="46036"/>
                    <a:pt x="36704" y="47083"/>
                  </a:cubicBezTo>
                  <a:cubicBezTo>
                    <a:pt x="41848" y="56513"/>
                    <a:pt x="54040" y="70039"/>
                    <a:pt x="80234" y="66324"/>
                  </a:cubicBezTo>
                  <a:cubicBezTo>
                    <a:pt x="79377" y="65848"/>
                    <a:pt x="78519" y="65467"/>
                    <a:pt x="77662" y="64990"/>
                  </a:cubicBezTo>
                  <a:cubicBezTo>
                    <a:pt x="70994" y="61085"/>
                    <a:pt x="64232" y="55656"/>
                    <a:pt x="59564" y="48607"/>
                  </a:cubicBezTo>
                  <a:cubicBezTo>
                    <a:pt x="59564" y="48607"/>
                    <a:pt x="60422" y="48988"/>
                    <a:pt x="62231" y="50131"/>
                  </a:cubicBezTo>
                  <a:cubicBezTo>
                    <a:pt x="64041" y="51274"/>
                    <a:pt x="66803" y="53084"/>
                    <a:pt x="70899" y="55656"/>
                  </a:cubicBezTo>
                  <a:cubicBezTo>
                    <a:pt x="74995" y="58228"/>
                    <a:pt x="80519" y="61276"/>
                    <a:pt x="87949" y="64990"/>
                  </a:cubicBezTo>
                  <a:cubicBezTo>
                    <a:pt x="91664" y="66800"/>
                    <a:pt x="95855" y="68896"/>
                    <a:pt x="100617" y="70801"/>
                  </a:cubicBezTo>
                  <a:cubicBezTo>
                    <a:pt x="103570" y="71944"/>
                    <a:pt x="106713" y="72896"/>
                    <a:pt x="110142" y="73468"/>
                  </a:cubicBezTo>
                  <a:cubicBezTo>
                    <a:pt x="106427" y="70610"/>
                    <a:pt x="103284" y="66991"/>
                    <a:pt x="101094" y="63181"/>
                  </a:cubicBezTo>
                  <a:cubicBezTo>
                    <a:pt x="103379" y="63657"/>
                    <a:pt x="105475" y="65086"/>
                    <a:pt x="107380" y="66324"/>
                  </a:cubicBezTo>
                  <a:cubicBezTo>
                    <a:pt x="109761" y="67848"/>
                    <a:pt x="112143" y="69467"/>
                    <a:pt x="114619" y="70991"/>
                  </a:cubicBezTo>
                  <a:cubicBezTo>
                    <a:pt x="116524" y="72134"/>
                    <a:pt x="118619" y="73277"/>
                    <a:pt x="120715" y="74134"/>
                  </a:cubicBezTo>
                  <a:lnTo>
                    <a:pt x="116238" y="59466"/>
                  </a:lnTo>
                  <a:cubicBezTo>
                    <a:pt x="116238" y="59466"/>
                    <a:pt x="118810" y="64228"/>
                    <a:pt x="121572" y="71086"/>
                  </a:cubicBezTo>
                  <a:cubicBezTo>
                    <a:pt x="121572" y="70801"/>
                    <a:pt x="121382" y="70515"/>
                    <a:pt x="121286" y="70229"/>
                  </a:cubicBezTo>
                  <a:cubicBezTo>
                    <a:pt x="120048" y="66800"/>
                    <a:pt x="119286" y="65752"/>
                    <a:pt x="116238" y="59180"/>
                  </a:cubicBezTo>
                  <a:cubicBezTo>
                    <a:pt x="120334" y="62800"/>
                    <a:pt x="125573" y="68324"/>
                    <a:pt x="127192" y="73563"/>
                  </a:cubicBezTo>
                  <a:cubicBezTo>
                    <a:pt x="127478" y="74420"/>
                    <a:pt x="127668" y="75277"/>
                    <a:pt x="127954" y="76230"/>
                  </a:cubicBezTo>
                  <a:cubicBezTo>
                    <a:pt x="129764" y="76516"/>
                    <a:pt x="131573" y="76611"/>
                    <a:pt x="133478" y="76420"/>
                  </a:cubicBezTo>
                  <a:cubicBezTo>
                    <a:pt x="131859" y="77373"/>
                    <a:pt x="130145" y="78040"/>
                    <a:pt x="128430" y="78421"/>
                  </a:cubicBezTo>
                  <a:cubicBezTo>
                    <a:pt x="129669" y="84421"/>
                    <a:pt x="130049" y="90708"/>
                    <a:pt x="132812" y="96328"/>
                  </a:cubicBezTo>
                  <a:cubicBezTo>
                    <a:pt x="129859" y="93661"/>
                    <a:pt x="127954" y="90327"/>
                    <a:pt x="126525" y="86707"/>
                  </a:cubicBezTo>
                  <a:cubicBezTo>
                    <a:pt x="127287" y="90232"/>
                    <a:pt x="127859" y="93851"/>
                    <a:pt x="128049" y="97375"/>
                  </a:cubicBezTo>
                  <a:cubicBezTo>
                    <a:pt x="128049" y="97661"/>
                    <a:pt x="128049" y="97947"/>
                    <a:pt x="128049" y="98137"/>
                  </a:cubicBezTo>
                  <a:cubicBezTo>
                    <a:pt x="128240" y="102995"/>
                    <a:pt x="129383" y="114997"/>
                    <a:pt x="129383" y="115378"/>
                  </a:cubicBezTo>
                  <a:cubicBezTo>
                    <a:pt x="129383" y="115378"/>
                    <a:pt x="129383" y="115378"/>
                    <a:pt x="129383" y="115378"/>
                  </a:cubicBezTo>
                  <a:cubicBezTo>
                    <a:pt x="129383" y="115378"/>
                    <a:pt x="129383" y="115378"/>
                    <a:pt x="129383" y="115378"/>
                  </a:cubicBezTo>
                  <a:cubicBezTo>
                    <a:pt x="129383" y="115187"/>
                    <a:pt x="129383" y="113949"/>
                    <a:pt x="129573" y="112139"/>
                  </a:cubicBezTo>
                  <a:cubicBezTo>
                    <a:pt x="129573" y="111187"/>
                    <a:pt x="129764" y="110044"/>
                    <a:pt x="129859" y="108901"/>
                  </a:cubicBezTo>
                  <a:cubicBezTo>
                    <a:pt x="130049" y="107472"/>
                    <a:pt x="130240" y="105948"/>
                    <a:pt x="130621" y="104424"/>
                  </a:cubicBezTo>
                  <a:cubicBezTo>
                    <a:pt x="131193" y="101947"/>
                    <a:pt x="131954" y="99661"/>
                    <a:pt x="133097" y="97947"/>
                  </a:cubicBezTo>
                  <a:cubicBezTo>
                    <a:pt x="133955" y="96709"/>
                    <a:pt x="134907" y="95851"/>
                    <a:pt x="136145" y="95470"/>
                  </a:cubicBezTo>
                  <a:cubicBezTo>
                    <a:pt x="136527" y="95470"/>
                    <a:pt x="136812" y="95280"/>
                    <a:pt x="137193" y="95280"/>
                  </a:cubicBezTo>
                  <a:cubicBezTo>
                    <a:pt x="137193" y="95280"/>
                    <a:pt x="139003" y="74706"/>
                    <a:pt x="136622" y="63752"/>
                  </a:cubicBezTo>
                  <a:cubicBezTo>
                    <a:pt x="139098" y="68134"/>
                    <a:pt x="140432" y="71086"/>
                    <a:pt x="140432" y="71086"/>
                  </a:cubicBezTo>
                  <a:lnTo>
                    <a:pt x="140432" y="71086"/>
                  </a:lnTo>
                  <a:cubicBezTo>
                    <a:pt x="140622" y="68991"/>
                    <a:pt x="140813" y="66991"/>
                    <a:pt x="140813" y="64990"/>
                  </a:cubicBezTo>
                  <a:cubicBezTo>
                    <a:pt x="141670" y="36034"/>
                    <a:pt x="125763" y="25366"/>
                    <a:pt x="123287" y="23842"/>
                  </a:cubicBezTo>
                  <a:close/>
                </a:path>
              </a:pathLst>
            </a:custGeom>
            <a:grpFill/>
            <a:ln w="9525" cap="flat">
              <a:noFill/>
              <a:prstDash val="solid"/>
              <a:miter/>
            </a:ln>
          </p:spPr>
          <p:txBody>
            <a:bodyPr rtlCol="0" anchor="ctr"/>
            <a:lstStyle/>
            <a:p>
              <a:endParaRPr lang="en-US" dirty="0"/>
            </a:p>
          </p:txBody>
        </p:sp>
        <p:sp>
          <p:nvSpPr>
            <p:cNvPr id="1662" name="Freeform: Shape 1661">
              <a:extLst>
                <a:ext uri="{FF2B5EF4-FFF2-40B4-BE49-F238E27FC236}">
                  <a16:creationId xmlns:a16="http://schemas.microsoft.com/office/drawing/2014/main" id="{694C9223-FC92-6CAE-C42B-2656B3FA270F}"/>
                </a:ext>
              </a:extLst>
            </p:cNvPr>
            <p:cNvSpPr/>
            <p:nvPr/>
          </p:nvSpPr>
          <p:spPr>
            <a:xfrm>
              <a:off x="4803714" y="768959"/>
              <a:ext cx="23722" cy="18427"/>
            </a:xfrm>
            <a:custGeom>
              <a:avLst/>
              <a:gdLst>
                <a:gd name="connsiteX0" fmla="*/ 10668 w 10667"/>
                <a:gd name="connsiteY0" fmla="*/ 3905 h 8286"/>
                <a:gd name="connsiteX1" fmla="*/ 5715 w 10667"/>
                <a:gd name="connsiteY1" fmla="*/ 857 h 8286"/>
                <a:gd name="connsiteX2" fmla="*/ 4191 w 10667"/>
                <a:gd name="connsiteY2" fmla="*/ 0 h 8286"/>
                <a:gd name="connsiteX3" fmla="*/ 0 w 10667"/>
                <a:gd name="connsiteY3" fmla="*/ 2953 h 8286"/>
                <a:gd name="connsiteX4" fmla="*/ 7810 w 10667"/>
                <a:gd name="connsiteY4" fmla="*/ 8287 h 8286"/>
                <a:gd name="connsiteX5" fmla="*/ 10573 w 10667"/>
                <a:gd name="connsiteY5" fmla="*/ 3810 h 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67" h="8286">
                  <a:moveTo>
                    <a:pt x="10668" y="3905"/>
                  </a:moveTo>
                  <a:lnTo>
                    <a:pt x="5715" y="857"/>
                  </a:lnTo>
                  <a:lnTo>
                    <a:pt x="4191" y="0"/>
                  </a:lnTo>
                  <a:lnTo>
                    <a:pt x="0" y="2953"/>
                  </a:lnTo>
                  <a:cubicBezTo>
                    <a:pt x="0" y="2953"/>
                    <a:pt x="5715" y="6858"/>
                    <a:pt x="7810" y="8287"/>
                  </a:cubicBezTo>
                  <a:lnTo>
                    <a:pt x="10573" y="3810"/>
                  </a:lnTo>
                  <a:close/>
                </a:path>
              </a:pathLst>
            </a:custGeom>
            <a:grpFill/>
            <a:ln w="9525" cap="flat">
              <a:noFill/>
              <a:prstDash val="solid"/>
              <a:miter/>
            </a:ln>
          </p:spPr>
          <p:txBody>
            <a:bodyPr rtlCol="0" anchor="ctr"/>
            <a:lstStyle/>
            <a:p>
              <a:endParaRPr lang="en-US" dirty="0"/>
            </a:p>
          </p:txBody>
        </p:sp>
        <p:sp>
          <p:nvSpPr>
            <p:cNvPr id="1663" name="Freeform: Shape 1662">
              <a:extLst>
                <a:ext uri="{FF2B5EF4-FFF2-40B4-BE49-F238E27FC236}">
                  <a16:creationId xmlns:a16="http://schemas.microsoft.com/office/drawing/2014/main" id="{6E60F7CD-7C3A-1B3C-F298-8C60EAD02FC9}"/>
                </a:ext>
              </a:extLst>
            </p:cNvPr>
            <p:cNvSpPr/>
            <p:nvPr/>
          </p:nvSpPr>
          <p:spPr>
            <a:xfrm>
              <a:off x="4601420" y="765781"/>
              <a:ext cx="29231" cy="18852"/>
            </a:xfrm>
            <a:custGeom>
              <a:avLst/>
              <a:gdLst>
                <a:gd name="connsiteX0" fmla="*/ 13145 w 13144"/>
                <a:gd name="connsiteY0" fmla="*/ 2953 h 8477"/>
                <a:gd name="connsiteX1" fmla="*/ 8954 w 13144"/>
                <a:gd name="connsiteY1" fmla="*/ 0 h 8477"/>
                <a:gd name="connsiteX2" fmla="*/ 7429 w 13144"/>
                <a:gd name="connsiteY2" fmla="*/ 857 h 8477"/>
                <a:gd name="connsiteX3" fmla="*/ 0 w 13144"/>
                <a:gd name="connsiteY3" fmla="*/ 5620 h 8477"/>
                <a:gd name="connsiteX4" fmla="*/ 1810 w 13144"/>
                <a:gd name="connsiteY4" fmla="*/ 8477 h 8477"/>
                <a:gd name="connsiteX5" fmla="*/ 13145 w 13144"/>
                <a:gd name="connsiteY5" fmla="*/ 3048 h 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44" h="8477">
                  <a:moveTo>
                    <a:pt x="13145" y="2953"/>
                  </a:moveTo>
                  <a:lnTo>
                    <a:pt x="8954" y="0"/>
                  </a:lnTo>
                  <a:lnTo>
                    <a:pt x="7429" y="857"/>
                  </a:lnTo>
                  <a:lnTo>
                    <a:pt x="0" y="5620"/>
                  </a:lnTo>
                  <a:lnTo>
                    <a:pt x="1810" y="8477"/>
                  </a:lnTo>
                  <a:cubicBezTo>
                    <a:pt x="5906" y="6477"/>
                    <a:pt x="13145" y="3048"/>
                    <a:pt x="13145" y="3048"/>
                  </a:cubicBezTo>
                  <a:close/>
                </a:path>
              </a:pathLst>
            </a:custGeom>
            <a:grpFill/>
            <a:ln w="9525" cap="flat">
              <a:noFill/>
              <a:prstDash val="solid"/>
              <a:miter/>
            </a:ln>
          </p:spPr>
          <p:txBody>
            <a:bodyPr rtlCol="0" anchor="ctr"/>
            <a:lstStyle/>
            <a:p>
              <a:endParaRPr lang="en-US" dirty="0"/>
            </a:p>
          </p:txBody>
        </p:sp>
        <p:sp>
          <p:nvSpPr>
            <p:cNvPr id="1664" name="Freeform: Shape 1663">
              <a:extLst>
                <a:ext uri="{FF2B5EF4-FFF2-40B4-BE49-F238E27FC236}">
                  <a16:creationId xmlns:a16="http://schemas.microsoft.com/office/drawing/2014/main" id="{A9E99677-E0FC-BD81-2F04-F5E59E1D7DAF}"/>
                </a:ext>
              </a:extLst>
            </p:cNvPr>
            <p:cNvSpPr/>
            <p:nvPr/>
          </p:nvSpPr>
          <p:spPr>
            <a:xfrm>
              <a:off x="4601420" y="765781"/>
              <a:ext cx="29231" cy="18852"/>
            </a:xfrm>
            <a:custGeom>
              <a:avLst/>
              <a:gdLst>
                <a:gd name="connsiteX0" fmla="*/ 8954 w 13144"/>
                <a:gd name="connsiteY0" fmla="*/ 0 h 8477"/>
                <a:gd name="connsiteX1" fmla="*/ 7429 w 13144"/>
                <a:gd name="connsiteY1" fmla="*/ 857 h 8477"/>
                <a:gd name="connsiteX2" fmla="*/ 0 w 13144"/>
                <a:gd name="connsiteY2" fmla="*/ 5620 h 8477"/>
                <a:gd name="connsiteX3" fmla="*/ 1810 w 13144"/>
                <a:gd name="connsiteY3" fmla="*/ 8477 h 8477"/>
                <a:gd name="connsiteX4" fmla="*/ 13145 w 13144"/>
                <a:gd name="connsiteY4" fmla="*/ 3048 h 8477"/>
                <a:gd name="connsiteX5" fmla="*/ 8954 w 13144"/>
                <a:gd name="connsiteY5" fmla="*/ 95 h 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44" h="8477">
                  <a:moveTo>
                    <a:pt x="8954" y="0"/>
                  </a:moveTo>
                  <a:lnTo>
                    <a:pt x="7429" y="857"/>
                  </a:lnTo>
                  <a:lnTo>
                    <a:pt x="0" y="5620"/>
                  </a:lnTo>
                  <a:lnTo>
                    <a:pt x="1810" y="8477"/>
                  </a:lnTo>
                  <a:cubicBezTo>
                    <a:pt x="5906" y="6477"/>
                    <a:pt x="13145" y="3048"/>
                    <a:pt x="13145" y="3048"/>
                  </a:cubicBezTo>
                  <a:lnTo>
                    <a:pt x="8954" y="95"/>
                  </a:lnTo>
                  <a:close/>
                </a:path>
              </a:pathLst>
            </a:custGeom>
            <a:grpFill/>
            <a:ln w="9525" cap="flat">
              <a:noFill/>
              <a:prstDash val="solid"/>
              <a:miter/>
            </a:ln>
          </p:spPr>
          <p:txBody>
            <a:bodyPr rtlCol="0" anchor="ctr"/>
            <a:lstStyle/>
            <a:p>
              <a:endParaRPr lang="en-US" dirty="0"/>
            </a:p>
          </p:txBody>
        </p:sp>
        <p:sp>
          <p:nvSpPr>
            <p:cNvPr id="1665" name="Freeform: Shape 1664">
              <a:extLst>
                <a:ext uri="{FF2B5EF4-FFF2-40B4-BE49-F238E27FC236}">
                  <a16:creationId xmlns:a16="http://schemas.microsoft.com/office/drawing/2014/main" id="{1571025B-2AB0-D23D-7837-05824515FAA6}"/>
                </a:ext>
              </a:extLst>
            </p:cNvPr>
            <p:cNvSpPr/>
            <p:nvPr/>
          </p:nvSpPr>
          <p:spPr>
            <a:xfrm>
              <a:off x="4803714" y="768747"/>
              <a:ext cx="23511" cy="18641"/>
            </a:xfrm>
            <a:custGeom>
              <a:avLst/>
              <a:gdLst>
                <a:gd name="connsiteX0" fmla="*/ 4191 w 10572"/>
                <a:gd name="connsiteY0" fmla="*/ 95 h 8382"/>
                <a:gd name="connsiteX1" fmla="*/ 0 w 10572"/>
                <a:gd name="connsiteY1" fmla="*/ 3048 h 8382"/>
                <a:gd name="connsiteX2" fmla="*/ 7810 w 10572"/>
                <a:gd name="connsiteY2" fmla="*/ 8382 h 8382"/>
                <a:gd name="connsiteX3" fmla="*/ 10573 w 10572"/>
                <a:gd name="connsiteY3" fmla="*/ 3905 h 8382"/>
                <a:gd name="connsiteX4" fmla="*/ 5620 w 10572"/>
                <a:gd name="connsiteY4" fmla="*/ 857 h 8382"/>
                <a:gd name="connsiteX5" fmla="*/ 4096 w 10572"/>
                <a:gd name="connsiteY5" fmla="*/ 0 h 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2" h="8382">
                  <a:moveTo>
                    <a:pt x="4191" y="95"/>
                  </a:moveTo>
                  <a:lnTo>
                    <a:pt x="0" y="3048"/>
                  </a:lnTo>
                  <a:cubicBezTo>
                    <a:pt x="0" y="3048"/>
                    <a:pt x="5715" y="6953"/>
                    <a:pt x="7810" y="8382"/>
                  </a:cubicBezTo>
                  <a:lnTo>
                    <a:pt x="10573" y="3905"/>
                  </a:lnTo>
                  <a:lnTo>
                    <a:pt x="5620" y="857"/>
                  </a:lnTo>
                  <a:lnTo>
                    <a:pt x="4096" y="0"/>
                  </a:lnTo>
                  <a:close/>
                </a:path>
              </a:pathLst>
            </a:custGeom>
            <a:grpFill/>
            <a:ln w="9525" cap="flat">
              <a:noFill/>
              <a:prstDash val="solid"/>
              <a:miter/>
            </a:ln>
          </p:spPr>
          <p:txBody>
            <a:bodyPr rtlCol="0" anchor="ctr"/>
            <a:lstStyle/>
            <a:p>
              <a:endParaRPr lang="en-US" dirty="0"/>
            </a:p>
          </p:txBody>
        </p:sp>
        <p:sp>
          <p:nvSpPr>
            <p:cNvPr id="1666" name="Freeform: Shape 1665">
              <a:extLst>
                <a:ext uri="{FF2B5EF4-FFF2-40B4-BE49-F238E27FC236}">
                  <a16:creationId xmlns:a16="http://schemas.microsoft.com/office/drawing/2014/main" id="{9F77E99F-39C3-B16C-0C4E-298BA540C850}"/>
                </a:ext>
              </a:extLst>
            </p:cNvPr>
            <p:cNvSpPr/>
            <p:nvPr/>
          </p:nvSpPr>
          <p:spPr>
            <a:xfrm>
              <a:off x="4601420" y="765781"/>
              <a:ext cx="29231" cy="18852"/>
            </a:xfrm>
            <a:custGeom>
              <a:avLst/>
              <a:gdLst>
                <a:gd name="connsiteX0" fmla="*/ 8954 w 13144"/>
                <a:gd name="connsiteY0" fmla="*/ 0 h 8477"/>
                <a:gd name="connsiteX1" fmla="*/ 7429 w 13144"/>
                <a:gd name="connsiteY1" fmla="*/ 857 h 8477"/>
                <a:gd name="connsiteX2" fmla="*/ 0 w 13144"/>
                <a:gd name="connsiteY2" fmla="*/ 5620 h 8477"/>
                <a:gd name="connsiteX3" fmla="*/ 1810 w 13144"/>
                <a:gd name="connsiteY3" fmla="*/ 8477 h 8477"/>
                <a:gd name="connsiteX4" fmla="*/ 13145 w 13144"/>
                <a:gd name="connsiteY4" fmla="*/ 3048 h 8477"/>
                <a:gd name="connsiteX5" fmla="*/ 8954 w 13144"/>
                <a:gd name="connsiteY5" fmla="*/ 95 h 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44" h="8477">
                  <a:moveTo>
                    <a:pt x="8954" y="0"/>
                  </a:moveTo>
                  <a:lnTo>
                    <a:pt x="7429" y="857"/>
                  </a:lnTo>
                  <a:lnTo>
                    <a:pt x="0" y="5620"/>
                  </a:lnTo>
                  <a:lnTo>
                    <a:pt x="1810" y="8477"/>
                  </a:lnTo>
                  <a:cubicBezTo>
                    <a:pt x="5906" y="6477"/>
                    <a:pt x="13145" y="3048"/>
                    <a:pt x="13145" y="3048"/>
                  </a:cubicBezTo>
                  <a:lnTo>
                    <a:pt x="8954" y="95"/>
                  </a:lnTo>
                  <a:close/>
                </a:path>
              </a:pathLst>
            </a:custGeom>
            <a:grpFill/>
            <a:ln w="9525" cap="flat">
              <a:noFill/>
              <a:prstDash val="solid"/>
              <a:miter/>
            </a:ln>
          </p:spPr>
          <p:txBody>
            <a:bodyPr rtlCol="0" anchor="ctr"/>
            <a:lstStyle/>
            <a:p>
              <a:endParaRPr lang="en-US" dirty="0"/>
            </a:p>
          </p:txBody>
        </p:sp>
        <p:sp>
          <p:nvSpPr>
            <p:cNvPr id="1667" name="Freeform: Shape 1666">
              <a:extLst>
                <a:ext uri="{FF2B5EF4-FFF2-40B4-BE49-F238E27FC236}">
                  <a16:creationId xmlns:a16="http://schemas.microsoft.com/office/drawing/2014/main" id="{F3112331-C378-F8F9-8E15-56AB411364C7}"/>
                </a:ext>
              </a:extLst>
            </p:cNvPr>
            <p:cNvSpPr/>
            <p:nvPr/>
          </p:nvSpPr>
          <p:spPr>
            <a:xfrm>
              <a:off x="4311645" y="501847"/>
              <a:ext cx="48507" cy="2964"/>
            </a:xfrm>
            <a:custGeom>
              <a:avLst/>
              <a:gdLst>
                <a:gd name="connsiteX0" fmla="*/ 21812 w 21812"/>
                <a:gd name="connsiteY0" fmla="*/ 0 h 1333"/>
                <a:gd name="connsiteX1" fmla="*/ 0 w 21812"/>
                <a:gd name="connsiteY1" fmla="*/ 1334 h 1333"/>
                <a:gd name="connsiteX2" fmla="*/ 21812 w 21812"/>
                <a:gd name="connsiteY2" fmla="*/ 0 h 1333"/>
                <a:gd name="connsiteX3" fmla="*/ 21812 w 21812"/>
                <a:gd name="connsiteY3" fmla="*/ 0 h 1333"/>
              </a:gdLst>
              <a:ahLst/>
              <a:cxnLst>
                <a:cxn ang="0">
                  <a:pos x="connsiteX0" y="connsiteY0"/>
                </a:cxn>
                <a:cxn ang="0">
                  <a:pos x="connsiteX1" y="connsiteY1"/>
                </a:cxn>
                <a:cxn ang="0">
                  <a:pos x="connsiteX2" y="connsiteY2"/>
                </a:cxn>
                <a:cxn ang="0">
                  <a:pos x="connsiteX3" y="connsiteY3"/>
                </a:cxn>
              </a:cxnLst>
              <a:rect l="l" t="t" r="r" b="b"/>
              <a:pathLst>
                <a:path w="21812" h="1333">
                  <a:moveTo>
                    <a:pt x="21812" y="0"/>
                  </a:moveTo>
                  <a:cubicBezTo>
                    <a:pt x="14288" y="0"/>
                    <a:pt x="6953" y="381"/>
                    <a:pt x="0" y="1334"/>
                  </a:cubicBezTo>
                  <a:cubicBezTo>
                    <a:pt x="6953" y="381"/>
                    <a:pt x="14288" y="0"/>
                    <a:pt x="21812" y="0"/>
                  </a:cubicBezTo>
                  <a:lnTo>
                    <a:pt x="21812" y="0"/>
                  </a:lnTo>
                  <a:close/>
                </a:path>
              </a:pathLst>
            </a:custGeom>
            <a:grpFill/>
            <a:ln w="9525" cap="flat">
              <a:noFill/>
              <a:prstDash val="solid"/>
              <a:miter/>
            </a:ln>
          </p:spPr>
          <p:txBody>
            <a:bodyPr rtlCol="0" anchor="ctr"/>
            <a:lstStyle/>
            <a:p>
              <a:endParaRPr lang="en-US" dirty="0"/>
            </a:p>
          </p:txBody>
        </p:sp>
        <p:sp>
          <p:nvSpPr>
            <p:cNvPr id="1668" name="Freeform: Shape 1667">
              <a:extLst>
                <a:ext uri="{FF2B5EF4-FFF2-40B4-BE49-F238E27FC236}">
                  <a16:creationId xmlns:a16="http://schemas.microsoft.com/office/drawing/2014/main" id="{D2FFDBA5-02E6-31A2-6800-AF4AAA789441}"/>
                </a:ext>
              </a:extLst>
            </p:cNvPr>
            <p:cNvSpPr/>
            <p:nvPr/>
          </p:nvSpPr>
          <p:spPr>
            <a:xfrm>
              <a:off x="4803714" y="768747"/>
              <a:ext cx="23511" cy="18641"/>
            </a:xfrm>
            <a:custGeom>
              <a:avLst/>
              <a:gdLst>
                <a:gd name="connsiteX0" fmla="*/ 4191 w 10572"/>
                <a:gd name="connsiteY0" fmla="*/ 95 h 8382"/>
                <a:gd name="connsiteX1" fmla="*/ 0 w 10572"/>
                <a:gd name="connsiteY1" fmla="*/ 3048 h 8382"/>
                <a:gd name="connsiteX2" fmla="*/ 7810 w 10572"/>
                <a:gd name="connsiteY2" fmla="*/ 8382 h 8382"/>
                <a:gd name="connsiteX3" fmla="*/ 10573 w 10572"/>
                <a:gd name="connsiteY3" fmla="*/ 3905 h 8382"/>
                <a:gd name="connsiteX4" fmla="*/ 5620 w 10572"/>
                <a:gd name="connsiteY4" fmla="*/ 857 h 8382"/>
                <a:gd name="connsiteX5" fmla="*/ 4096 w 10572"/>
                <a:gd name="connsiteY5" fmla="*/ 0 h 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2" h="8382">
                  <a:moveTo>
                    <a:pt x="4191" y="95"/>
                  </a:moveTo>
                  <a:lnTo>
                    <a:pt x="0" y="3048"/>
                  </a:lnTo>
                  <a:cubicBezTo>
                    <a:pt x="0" y="3048"/>
                    <a:pt x="5715" y="6953"/>
                    <a:pt x="7810" y="8382"/>
                  </a:cubicBezTo>
                  <a:lnTo>
                    <a:pt x="10573" y="3905"/>
                  </a:lnTo>
                  <a:lnTo>
                    <a:pt x="5620" y="857"/>
                  </a:lnTo>
                  <a:lnTo>
                    <a:pt x="4096" y="0"/>
                  </a:lnTo>
                  <a:close/>
                </a:path>
              </a:pathLst>
            </a:custGeom>
            <a:grpFill/>
            <a:ln w="9525" cap="flat">
              <a:noFill/>
              <a:prstDash val="solid"/>
              <a:miter/>
            </a:ln>
          </p:spPr>
          <p:txBody>
            <a:bodyPr rtlCol="0" anchor="ctr"/>
            <a:lstStyle/>
            <a:p>
              <a:endParaRPr lang="en-US" dirty="0"/>
            </a:p>
          </p:txBody>
        </p:sp>
        <p:sp>
          <p:nvSpPr>
            <p:cNvPr id="1669" name="Freeform: Shape 1668">
              <a:extLst>
                <a:ext uri="{FF2B5EF4-FFF2-40B4-BE49-F238E27FC236}">
                  <a16:creationId xmlns:a16="http://schemas.microsoft.com/office/drawing/2014/main" id="{C173EA02-050C-E205-F82E-75FB117109DC}"/>
                </a:ext>
              </a:extLst>
            </p:cNvPr>
            <p:cNvSpPr/>
            <p:nvPr/>
          </p:nvSpPr>
          <p:spPr>
            <a:xfrm>
              <a:off x="4311645" y="501634"/>
              <a:ext cx="48507" cy="2964"/>
            </a:xfrm>
            <a:custGeom>
              <a:avLst/>
              <a:gdLst>
                <a:gd name="connsiteX0" fmla="*/ 0 w 21812"/>
                <a:gd name="connsiteY0" fmla="*/ 1334 h 1333"/>
                <a:gd name="connsiteX1" fmla="*/ 21812 w 21812"/>
                <a:gd name="connsiteY1" fmla="*/ 0 h 1333"/>
                <a:gd name="connsiteX2" fmla="*/ 0 w 21812"/>
                <a:gd name="connsiteY2" fmla="*/ 1334 h 1333"/>
              </a:gdLst>
              <a:ahLst/>
              <a:cxnLst>
                <a:cxn ang="0">
                  <a:pos x="connsiteX0" y="connsiteY0"/>
                </a:cxn>
                <a:cxn ang="0">
                  <a:pos x="connsiteX1" y="connsiteY1"/>
                </a:cxn>
                <a:cxn ang="0">
                  <a:pos x="connsiteX2" y="connsiteY2"/>
                </a:cxn>
              </a:cxnLst>
              <a:rect l="l" t="t" r="r" b="b"/>
              <a:pathLst>
                <a:path w="21812" h="1333">
                  <a:moveTo>
                    <a:pt x="0" y="1334"/>
                  </a:moveTo>
                  <a:cubicBezTo>
                    <a:pt x="6953" y="381"/>
                    <a:pt x="14288" y="0"/>
                    <a:pt x="21812" y="0"/>
                  </a:cubicBezTo>
                  <a:cubicBezTo>
                    <a:pt x="14288" y="0"/>
                    <a:pt x="6953" y="381"/>
                    <a:pt x="0" y="1334"/>
                  </a:cubicBezTo>
                  <a:close/>
                </a:path>
              </a:pathLst>
            </a:custGeom>
            <a:grpFill/>
            <a:ln w="9525" cap="flat">
              <a:noFill/>
              <a:prstDash val="solid"/>
              <a:miter/>
            </a:ln>
          </p:spPr>
          <p:txBody>
            <a:bodyPr rtlCol="0" anchor="ctr"/>
            <a:lstStyle/>
            <a:p>
              <a:endParaRPr lang="en-US" dirty="0"/>
            </a:p>
          </p:txBody>
        </p:sp>
        <p:sp>
          <p:nvSpPr>
            <p:cNvPr id="1670" name="Freeform: Shape 1669">
              <a:extLst>
                <a:ext uri="{FF2B5EF4-FFF2-40B4-BE49-F238E27FC236}">
                  <a16:creationId xmlns:a16="http://schemas.microsoft.com/office/drawing/2014/main" id="{D7C69F3C-DFDA-BC60-E33C-126416B18EC1}"/>
                </a:ext>
              </a:extLst>
            </p:cNvPr>
            <p:cNvSpPr/>
            <p:nvPr/>
          </p:nvSpPr>
          <p:spPr>
            <a:xfrm>
              <a:off x="4318635" y="509473"/>
              <a:ext cx="48930" cy="22875"/>
            </a:xfrm>
            <a:custGeom>
              <a:avLst/>
              <a:gdLst>
                <a:gd name="connsiteX0" fmla="*/ 190 w 22002"/>
                <a:gd name="connsiteY0" fmla="*/ 0 h 10286"/>
                <a:gd name="connsiteX1" fmla="*/ 0 w 22002"/>
                <a:gd name="connsiteY1" fmla="*/ 381 h 10286"/>
                <a:gd name="connsiteX2" fmla="*/ 0 w 22002"/>
                <a:gd name="connsiteY2" fmla="*/ 381 h 10286"/>
                <a:gd name="connsiteX3" fmla="*/ 18288 w 22002"/>
                <a:gd name="connsiteY3" fmla="*/ 8573 h 10286"/>
                <a:gd name="connsiteX4" fmla="*/ 22003 w 22002"/>
                <a:gd name="connsiteY4" fmla="*/ 10287 h 10286"/>
                <a:gd name="connsiteX5" fmla="*/ 22003 w 22002"/>
                <a:gd name="connsiteY5" fmla="*/ 10287 h 10286"/>
                <a:gd name="connsiteX6" fmla="*/ 18288 w 22002"/>
                <a:gd name="connsiteY6" fmla="*/ 8573 h 10286"/>
                <a:gd name="connsiteX7" fmla="*/ 286 w 22002"/>
                <a:gd name="connsiteY7" fmla="*/ 0 h 1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 h="10286">
                  <a:moveTo>
                    <a:pt x="190" y="0"/>
                  </a:moveTo>
                  <a:cubicBezTo>
                    <a:pt x="190" y="0"/>
                    <a:pt x="95" y="286"/>
                    <a:pt x="0" y="381"/>
                  </a:cubicBezTo>
                  <a:lnTo>
                    <a:pt x="0" y="381"/>
                  </a:lnTo>
                  <a:cubicBezTo>
                    <a:pt x="4953" y="3524"/>
                    <a:pt x="11144" y="6572"/>
                    <a:pt x="18288" y="8573"/>
                  </a:cubicBezTo>
                  <a:lnTo>
                    <a:pt x="22003" y="10287"/>
                  </a:lnTo>
                  <a:lnTo>
                    <a:pt x="22003" y="10287"/>
                  </a:lnTo>
                  <a:lnTo>
                    <a:pt x="18288" y="8573"/>
                  </a:lnTo>
                  <a:lnTo>
                    <a:pt x="286" y="0"/>
                  </a:lnTo>
                  <a:close/>
                </a:path>
              </a:pathLst>
            </a:custGeom>
            <a:grpFill/>
            <a:ln w="9525" cap="flat">
              <a:noFill/>
              <a:prstDash val="solid"/>
              <a:miter/>
            </a:ln>
          </p:spPr>
          <p:txBody>
            <a:bodyPr rtlCol="0" anchor="ctr"/>
            <a:lstStyle/>
            <a:p>
              <a:endParaRPr lang="en-US" dirty="0"/>
            </a:p>
          </p:txBody>
        </p:sp>
        <p:sp>
          <p:nvSpPr>
            <p:cNvPr id="1671" name="Freeform: Shape 1670">
              <a:extLst>
                <a:ext uri="{FF2B5EF4-FFF2-40B4-BE49-F238E27FC236}">
                  <a16:creationId xmlns:a16="http://schemas.microsoft.com/office/drawing/2014/main" id="{F023C6A0-927E-986B-69D3-B0F9804CC838}"/>
                </a:ext>
              </a:extLst>
            </p:cNvPr>
            <p:cNvSpPr/>
            <p:nvPr/>
          </p:nvSpPr>
          <p:spPr>
            <a:xfrm>
              <a:off x="4450814" y="539976"/>
              <a:ext cx="2753" cy="7837"/>
            </a:xfrm>
            <a:custGeom>
              <a:avLst/>
              <a:gdLst>
                <a:gd name="connsiteX0" fmla="*/ 0 w 1238"/>
                <a:gd name="connsiteY0" fmla="*/ 0 h 3524"/>
                <a:gd name="connsiteX1" fmla="*/ 1238 w 1238"/>
                <a:gd name="connsiteY1" fmla="*/ 1715 h 3524"/>
                <a:gd name="connsiteX2" fmla="*/ 1238 w 1238"/>
                <a:gd name="connsiteY2" fmla="*/ 3524 h 3524"/>
                <a:gd name="connsiteX3" fmla="*/ 1238 w 1238"/>
                <a:gd name="connsiteY3" fmla="*/ 1715 h 3524"/>
                <a:gd name="connsiteX4" fmla="*/ 0 w 1238"/>
                <a:gd name="connsiteY4" fmla="*/ 0 h 3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 h="3524">
                  <a:moveTo>
                    <a:pt x="0" y="0"/>
                  </a:moveTo>
                  <a:cubicBezTo>
                    <a:pt x="476" y="762"/>
                    <a:pt x="953" y="1429"/>
                    <a:pt x="1238" y="1715"/>
                  </a:cubicBezTo>
                  <a:cubicBezTo>
                    <a:pt x="1238" y="2286"/>
                    <a:pt x="1238" y="2857"/>
                    <a:pt x="1238" y="3524"/>
                  </a:cubicBezTo>
                  <a:cubicBezTo>
                    <a:pt x="1238" y="2953"/>
                    <a:pt x="1238" y="2381"/>
                    <a:pt x="1238" y="1715"/>
                  </a:cubicBezTo>
                  <a:cubicBezTo>
                    <a:pt x="953" y="1429"/>
                    <a:pt x="476" y="762"/>
                    <a:pt x="0" y="0"/>
                  </a:cubicBezTo>
                  <a:close/>
                </a:path>
              </a:pathLst>
            </a:custGeom>
            <a:grpFill/>
            <a:ln w="9525" cap="flat">
              <a:noFill/>
              <a:prstDash val="solid"/>
              <a:miter/>
            </a:ln>
          </p:spPr>
          <p:txBody>
            <a:bodyPr rtlCol="0" anchor="ctr"/>
            <a:lstStyle/>
            <a:p>
              <a:endParaRPr lang="en-US" dirty="0"/>
            </a:p>
          </p:txBody>
        </p:sp>
        <p:sp>
          <p:nvSpPr>
            <p:cNvPr id="1672" name="Freeform: Shape 1671">
              <a:extLst>
                <a:ext uri="{FF2B5EF4-FFF2-40B4-BE49-F238E27FC236}">
                  <a16:creationId xmlns:a16="http://schemas.microsoft.com/office/drawing/2014/main" id="{1CC3D639-B3C8-A73B-D25D-A1CB51AC79EA}"/>
                </a:ext>
              </a:extLst>
            </p:cNvPr>
            <p:cNvSpPr/>
            <p:nvPr/>
          </p:nvSpPr>
          <p:spPr>
            <a:xfrm>
              <a:off x="4408449" y="525147"/>
              <a:ext cx="37068" cy="6776"/>
            </a:xfrm>
            <a:custGeom>
              <a:avLst/>
              <a:gdLst>
                <a:gd name="connsiteX0" fmla="*/ 15526 w 16668"/>
                <a:gd name="connsiteY0" fmla="*/ 857 h 3047"/>
                <a:gd name="connsiteX1" fmla="*/ 16669 w 16668"/>
                <a:gd name="connsiteY1" fmla="*/ 2953 h 3047"/>
                <a:gd name="connsiteX2" fmla="*/ 15526 w 16668"/>
                <a:gd name="connsiteY2" fmla="*/ 857 h 3047"/>
                <a:gd name="connsiteX3" fmla="*/ 15050 w 16668"/>
                <a:gd name="connsiteY3" fmla="*/ 0 h 3047"/>
                <a:gd name="connsiteX4" fmla="*/ 0 w 16668"/>
                <a:gd name="connsiteY4" fmla="*/ 3048 h 3047"/>
                <a:gd name="connsiteX5" fmla="*/ 15240 w 16668"/>
                <a:gd name="connsiteY5" fmla="*/ 762 h 3047"/>
                <a:gd name="connsiteX6" fmla="*/ 15526 w 16668"/>
                <a:gd name="connsiteY6" fmla="*/ 762 h 3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68" h="3047">
                  <a:moveTo>
                    <a:pt x="15526" y="857"/>
                  </a:moveTo>
                  <a:cubicBezTo>
                    <a:pt x="15812" y="1429"/>
                    <a:pt x="16192" y="2095"/>
                    <a:pt x="16669" y="2953"/>
                  </a:cubicBezTo>
                  <a:cubicBezTo>
                    <a:pt x="16192" y="2095"/>
                    <a:pt x="15812" y="1429"/>
                    <a:pt x="15526" y="857"/>
                  </a:cubicBezTo>
                  <a:cubicBezTo>
                    <a:pt x="15240" y="381"/>
                    <a:pt x="15050" y="0"/>
                    <a:pt x="15050" y="0"/>
                  </a:cubicBezTo>
                  <a:lnTo>
                    <a:pt x="0" y="3048"/>
                  </a:lnTo>
                  <a:cubicBezTo>
                    <a:pt x="4858" y="2857"/>
                    <a:pt x="9906" y="2191"/>
                    <a:pt x="15240" y="762"/>
                  </a:cubicBezTo>
                  <a:cubicBezTo>
                    <a:pt x="15335" y="762"/>
                    <a:pt x="15431" y="762"/>
                    <a:pt x="15526" y="762"/>
                  </a:cubicBezTo>
                  <a:close/>
                </a:path>
              </a:pathLst>
            </a:custGeom>
            <a:grpFill/>
            <a:ln w="9525" cap="flat">
              <a:noFill/>
              <a:prstDash val="solid"/>
              <a:miter/>
            </a:ln>
          </p:spPr>
          <p:txBody>
            <a:bodyPr rtlCol="0" anchor="ctr"/>
            <a:lstStyle/>
            <a:p>
              <a:endParaRPr lang="en-US" dirty="0"/>
            </a:p>
          </p:txBody>
        </p:sp>
        <p:sp>
          <p:nvSpPr>
            <p:cNvPr id="1673" name="Freeform: Shape 1672">
              <a:extLst>
                <a:ext uri="{FF2B5EF4-FFF2-40B4-BE49-F238E27FC236}">
                  <a16:creationId xmlns:a16="http://schemas.microsoft.com/office/drawing/2014/main" id="{EB9C2BF6-179D-C1F1-ACEB-29D13EC105A6}"/>
                </a:ext>
              </a:extLst>
            </p:cNvPr>
            <p:cNvSpPr/>
            <p:nvPr/>
          </p:nvSpPr>
          <p:spPr>
            <a:xfrm>
              <a:off x="4601420" y="765781"/>
              <a:ext cx="29231" cy="18852"/>
            </a:xfrm>
            <a:custGeom>
              <a:avLst/>
              <a:gdLst>
                <a:gd name="connsiteX0" fmla="*/ 8954 w 13144"/>
                <a:gd name="connsiteY0" fmla="*/ 0 h 8477"/>
                <a:gd name="connsiteX1" fmla="*/ 7429 w 13144"/>
                <a:gd name="connsiteY1" fmla="*/ 857 h 8477"/>
                <a:gd name="connsiteX2" fmla="*/ 0 w 13144"/>
                <a:gd name="connsiteY2" fmla="*/ 5620 h 8477"/>
                <a:gd name="connsiteX3" fmla="*/ 1810 w 13144"/>
                <a:gd name="connsiteY3" fmla="*/ 8477 h 8477"/>
                <a:gd name="connsiteX4" fmla="*/ 13145 w 13144"/>
                <a:gd name="connsiteY4" fmla="*/ 3048 h 8477"/>
                <a:gd name="connsiteX5" fmla="*/ 8954 w 13144"/>
                <a:gd name="connsiteY5" fmla="*/ 95 h 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44" h="8477">
                  <a:moveTo>
                    <a:pt x="8954" y="0"/>
                  </a:moveTo>
                  <a:lnTo>
                    <a:pt x="7429" y="857"/>
                  </a:lnTo>
                  <a:lnTo>
                    <a:pt x="0" y="5620"/>
                  </a:lnTo>
                  <a:lnTo>
                    <a:pt x="1810" y="8477"/>
                  </a:lnTo>
                  <a:cubicBezTo>
                    <a:pt x="5906" y="6477"/>
                    <a:pt x="13145" y="3048"/>
                    <a:pt x="13145" y="3048"/>
                  </a:cubicBezTo>
                  <a:lnTo>
                    <a:pt x="8954" y="95"/>
                  </a:lnTo>
                  <a:close/>
                </a:path>
              </a:pathLst>
            </a:custGeom>
            <a:grpFill/>
            <a:ln w="9525" cap="flat">
              <a:noFill/>
              <a:prstDash val="solid"/>
              <a:miter/>
            </a:ln>
          </p:spPr>
          <p:txBody>
            <a:bodyPr rtlCol="0" anchor="ctr"/>
            <a:lstStyle/>
            <a:p>
              <a:endParaRPr lang="en-US" dirty="0"/>
            </a:p>
          </p:txBody>
        </p:sp>
        <p:sp>
          <p:nvSpPr>
            <p:cNvPr id="1674" name="Freeform: Shape 1673">
              <a:extLst>
                <a:ext uri="{FF2B5EF4-FFF2-40B4-BE49-F238E27FC236}">
                  <a16:creationId xmlns:a16="http://schemas.microsoft.com/office/drawing/2014/main" id="{423E9D63-27B2-D869-5367-1A590A1F59EF}"/>
                </a:ext>
              </a:extLst>
            </p:cNvPr>
            <p:cNvSpPr/>
            <p:nvPr/>
          </p:nvSpPr>
          <p:spPr>
            <a:xfrm>
              <a:off x="4803714" y="768747"/>
              <a:ext cx="23511" cy="18641"/>
            </a:xfrm>
            <a:custGeom>
              <a:avLst/>
              <a:gdLst>
                <a:gd name="connsiteX0" fmla="*/ 4191 w 10572"/>
                <a:gd name="connsiteY0" fmla="*/ 95 h 8382"/>
                <a:gd name="connsiteX1" fmla="*/ 0 w 10572"/>
                <a:gd name="connsiteY1" fmla="*/ 3048 h 8382"/>
                <a:gd name="connsiteX2" fmla="*/ 7810 w 10572"/>
                <a:gd name="connsiteY2" fmla="*/ 8382 h 8382"/>
                <a:gd name="connsiteX3" fmla="*/ 10573 w 10572"/>
                <a:gd name="connsiteY3" fmla="*/ 3905 h 8382"/>
                <a:gd name="connsiteX4" fmla="*/ 5620 w 10572"/>
                <a:gd name="connsiteY4" fmla="*/ 857 h 8382"/>
                <a:gd name="connsiteX5" fmla="*/ 4096 w 10572"/>
                <a:gd name="connsiteY5" fmla="*/ 0 h 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2" h="8382">
                  <a:moveTo>
                    <a:pt x="4191" y="95"/>
                  </a:moveTo>
                  <a:lnTo>
                    <a:pt x="0" y="3048"/>
                  </a:lnTo>
                  <a:cubicBezTo>
                    <a:pt x="0" y="3048"/>
                    <a:pt x="5715" y="6953"/>
                    <a:pt x="7810" y="8382"/>
                  </a:cubicBezTo>
                  <a:lnTo>
                    <a:pt x="10573" y="3905"/>
                  </a:lnTo>
                  <a:lnTo>
                    <a:pt x="5620" y="857"/>
                  </a:lnTo>
                  <a:lnTo>
                    <a:pt x="4096" y="0"/>
                  </a:lnTo>
                  <a:close/>
                </a:path>
              </a:pathLst>
            </a:custGeom>
            <a:grpFill/>
            <a:ln w="9525" cap="flat">
              <a:noFill/>
              <a:prstDash val="solid"/>
              <a:miter/>
            </a:ln>
          </p:spPr>
          <p:txBody>
            <a:bodyPr rtlCol="0" anchor="ctr"/>
            <a:lstStyle/>
            <a:p>
              <a:endParaRPr lang="en-US" dirty="0"/>
            </a:p>
          </p:txBody>
        </p:sp>
        <p:sp>
          <p:nvSpPr>
            <p:cNvPr id="1675" name="Freeform: Shape 1674">
              <a:extLst>
                <a:ext uri="{FF2B5EF4-FFF2-40B4-BE49-F238E27FC236}">
                  <a16:creationId xmlns:a16="http://schemas.microsoft.com/office/drawing/2014/main" id="{5B4872E0-04BC-07F5-47F6-65E81AF8602D}"/>
                </a:ext>
              </a:extLst>
            </p:cNvPr>
            <p:cNvSpPr/>
            <p:nvPr/>
          </p:nvSpPr>
          <p:spPr>
            <a:xfrm>
              <a:off x="4143030" y="369243"/>
              <a:ext cx="1389997" cy="674664"/>
            </a:xfrm>
            <a:custGeom>
              <a:avLst/>
              <a:gdLst>
                <a:gd name="connsiteX0" fmla="*/ 608743 w 625030"/>
                <a:gd name="connsiteY0" fmla="*/ 238030 h 303371"/>
                <a:gd name="connsiteX1" fmla="*/ 532924 w 625030"/>
                <a:gd name="connsiteY1" fmla="*/ 195644 h 303371"/>
                <a:gd name="connsiteX2" fmla="*/ 519875 w 625030"/>
                <a:gd name="connsiteY2" fmla="*/ 188976 h 303371"/>
                <a:gd name="connsiteX3" fmla="*/ 507111 w 625030"/>
                <a:gd name="connsiteY3" fmla="*/ 180689 h 303371"/>
                <a:gd name="connsiteX4" fmla="*/ 506254 w 625030"/>
                <a:gd name="connsiteY4" fmla="*/ 180308 h 303371"/>
                <a:gd name="connsiteX5" fmla="*/ 496538 w 625030"/>
                <a:gd name="connsiteY5" fmla="*/ 167354 h 303371"/>
                <a:gd name="connsiteX6" fmla="*/ 496538 w 625030"/>
                <a:gd name="connsiteY6" fmla="*/ 152495 h 303371"/>
                <a:gd name="connsiteX7" fmla="*/ 497586 w 625030"/>
                <a:gd name="connsiteY7" fmla="*/ 151352 h 303371"/>
                <a:gd name="connsiteX8" fmla="*/ 509111 w 625030"/>
                <a:gd name="connsiteY8" fmla="*/ 128778 h 303371"/>
                <a:gd name="connsiteX9" fmla="*/ 516446 w 625030"/>
                <a:gd name="connsiteY9" fmla="*/ 120301 h 303371"/>
                <a:gd name="connsiteX10" fmla="*/ 516541 w 625030"/>
                <a:gd name="connsiteY10" fmla="*/ 119634 h 303371"/>
                <a:gd name="connsiteX11" fmla="*/ 519493 w 625030"/>
                <a:gd name="connsiteY11" fmla="*/ 105537 h 303371"/>
                <a:gd name="connsiteX12" fmla="*/ 519875 w 625030"/>
                <a:gd name="connsiteY12" fmla="*/ 103918 h 303371"/>
                <a:gd name="connsiteX13" fmla="*/ 521017 w 625030"/>
                <a:gd name="connsiteY13" fmla="*/ 95440 h 303371"/>
                <a:gd name="connsiteX14" fmla="*/ 520160 w 625030"/>
                <a:gd name="connsiteY14" fmla="*/ 89345 h 303371"/>
                <a:gd name="connsiteX15" fmla="*/ 519493 w 625030"/>
                <a:gd name="connsiteY15" fmla="*/ 89630 h 303371"/>
                <a:gd name="connsiteX16" fmla="*/ 514064 w 625030"/>
                <a:gd name="connsiteY16" fmla="*/ 91059 h 303371"/>
                <a:gd name="connsiteX17" fmla="*/ 514636 w 625030"/>
                <a:gd name="connsiteY17" fmla="*/ 95440 h 303371"/>
                <a:gd name="connsiteX18" fmla="*/ 513302 w 625030"/>
                <a:gd name="connsiteY18" fmla="*/ 104013 h 303371"/>
                <a:gd name="connsiteX19" fmla="*/ 510064 w 625030"/>
                <a:gd name="connsiteY19" fmla="*/ 119348 h 303371"/>
                <a:gd name="connsiteX20" fmla="*/ 505873 w 625030"/>
                <a:gd name="connsiteY20" fmla="*/ 122968 h 303371"/>
                <a:gd name="connsiteX21" fmla="*/ 503587 w 625030"/>
                <a:gd name="connsiteY21" fmla="*/ 123253 h 303371"/>
                <a:gd name="connsiteX22" fmla="*/ 503206 w 625030"/>
                <a:gd name="connsiteY22" fmla="*/ 125539 h 303371"/>
                <a:gd name="connsiteX23" fmla="*/ 496062 w 625030"/>
                <a:gd name="connsiteY23" fmla="*/ 142875 h 303371"/>
                <a:gd name="connsiteX24" fmla="*/ 492824 w 625030"/>
                <a:gd name="connsiteY24" fmla="*/ 147066 h 303371"/>
                <a:gd name="connsiteX25" fmla="*/ 490633 w 625030"/>
                <a:gd name="connsiteY25" fmla="*/ 149543 h 303371"/>
                <a:gd name="connsiteX26" fmla="*/ 485870 w 625030"/>
                <a:gd name="connsiteY26" fmla="*/ 152495 h 303371"/>
                <a:gd name="connsiteX27" fmla="*/ 478155 w 625030"/>
                <a:gd name="connsiteY27" fmla="*/ 157258 h 303371"/>
                <a:gd name="connsiteX28" fmla="*/ 471678 w 625030"/>
                <a:gd name="connsiteY28" fmla="*/ 161258 h 303371"/>
                <a:gd name="connsiteX29" fmla="*/ 469011 w 625030"/>
                <a:gd name="connsiteY29" fmla="*/ 162116 h 303371"/>
                <a:gd name="connsiteX30" fmla="*/ 448818 w 625030"/>
                <a:gd name="connsiteY30" fmla="*/ 161830 h 303371"/>
                <a:gd name="connsiteX31" fmla="*/ 445008 w 625030"/>
                <a:gd name="connsiteY31" fmla="*/ 159734 h 303371"/>
                <a:gd name="connsiteX32" fmla="*/ 425482 w 625030"/>
                <a:gd name="connsiteY32" fmla="*/ 149066 h 303371"/>
                <a:gd name="connsiteX33" fmla="*/ 425196 w 625030"/>
                <a:gd name="connsiteY33" fmla="*/ 149066 h 303371"/>
                <a:gd name="connsiteX34" fmla="*/ 423482 w 625030"/>
                <a:gd name="connsiteY34" fmla="*/ 147066 h 303371"/>
                <a:gd name="connsiteX35" fmla="*/ 422243 w 625030"/>
                <a:gd name="connsiteY35" fmla="*/ 145447 h 303371"/>
                <a:gd name="connsiteX36" fmla="*/ 413671 w 625030"/>
                <a:gd name="connsiteY36" fmla="*/ 127826 h 303371"/>
                <a:gd name="connsiteX37" fmla="*/ 413671 w 625030"/>
                <a:gd name="connsiteY37" fmla="*/ 127540 h 303371"/>
                <a:gd name="connsiteX38" fmla="*/ 413194 w 625030"/>
                <a:gd name="connsiteY38" fmla="*/ 125539 h 303371"/>
                <a:gd name="connsiteX39" fmla="*/ 413004 w 625030"/>
                <a:gd name="connsiteY39" fmla="*/ 124587 h 303371"/>
                <a:gd name="connsiteX40" fmla="*/ 412814 w 625030"/>
                <a:gd name="connsiteY40" fmla="*/ 123253 h 303371"/>
                <a:gd name="connsiteX41" fmla="*/ 411290 w 625030"/>
                <a:gd name="connsiteY41" fmla="*/ 123063 h 303371"/>
                <a:gd name="connsiteX42" fmla="*/ 410527 w 625030"/>
                <a:gd name="connsiteY42" fmla="*/ 123063 h 303371"/>
                <a:gd name="connsiteX43" fmla="*/ 410527 w 625030"/>
                <a:gd name="connsiteY43" fmla="*/ 122968 h 303371"/>
                <a:gd name="connsiteX44" fmla="*/ 410527 w 625030"/>
                <a:gd name="connsiteY44" fmla="*/ 122968 h 303371"/>
                <a:gd name="connsiteX45" fmla="*/ 408051 w 625030"/>
                <a:gd name="connsiteY45" fmla="*/ 122015 h 303371"/>
                <a:gd name="connsiteX46" fmla="*/ 407384 w 625030"/>
                <a:gd name="connsiteY46" fmla="*/ 121349 h 303371"/>
                <a:gd name="connsiteX47" fmla="*/ 406432 w 625030"/>
                <a:gd name="connsiteY47" fmla="*/ 119348 h 303371"/>
                <a:gd name="connsiteX48" fmla="*/ 405765 w 625030"/>
                <a:gd name="connsiteY48" fmla="*/ 115634 h 303371"/>
                <a:gd name="connsiteX49" fmla="*/ 403193 w 625030"/>
                <a:gd name="connsiteY49" fmla="*/ 104013 h 303371"/>
                <a:gd name="connsiteX50" fmla="*/ 401860 w 625030"/>
                <a:gd name="connsiteY50" fmla="*/ 95440 h 303371"/>
                <a:gd name="connsiteX51" fmla="*/ 403574 w 625030"/>
                <a:gd name="connsiteY51" fmla="*/ 89726 h 303371"/>
                <a:gd name="connsiteX52" fmla="*/ 399669 w 625030"/>
                <a:gd name="connsiteY52" fmla="*/ 86487 h 303371"/>
                <a:gd name="connsiteX53" fmla="*/ 398717 w 625030"/>
                <a:gd name="connsiteY53" fmla="*/ 85249 h 303371"/>
                <a:gd name="connsiteX54" fmla="*/ 395383 w 625030"/>
                <a:gd name="connsiteY54" fmla="*/ 95440 h 303371"/>
                <a:gd name="connsiteX55" fmla="*/ 396907 w 625030"/>
                <a:gd name="connsiteY55" fmla="*/ 105632 h 303371"/>
                <a:gd name="connsiteX56" fmla="*/ 399955 w 625030"/>
                <a:gd name="connsiteY56" fmla="*/ 120396 h 303371"/>
                <a:gd name="connsiteX57" fmla="*/ 401098 w 625030"/>
                <a:gd name="connsiteY57" fmla="*/ 123825 h 303371"/>
                <a:gd name="connsiteX58" fmla="*/ 407289 w 625030"/>
                <a:gd name="connsiteY58" fmla="*/ 128873 h 303371"/>
                <a:gd name="connsiteX59" fmla="*/ 418814 w 625030"/>
                <a:gd name="connsiteY59" fmla="*/ 151448 h 303371"/>
                <a:gd name="connsiteX60" fmla="*/ 419862 w 625030"/>
                <a:gd name="connsiteY60" fmla="*/ 152591 h 303371"/>
                <a:gd name="connsiteX61" fmla="*/ 419862 w 625030"/>
                <a:gd name="connsiteY61" fmla="*/ 167450 h 303371"/>
                <a:gd name="connsiteX62" fmla="*/ 410147 w 625030"/>
                <a:gd name="connsiteY62" fmla="*/ 180404 h 303371"/>
                <a:gd name="connsiteX63" fmla="*/ 396240 w 625030"/>
                <a:gd name="connsiteY63" fmla="*/ 189262 h 303371"/>
                <a:gd name="connsiteX64" fmla="*/ 365760 w 625030"/>
                <a:gd name="connsiteY64" fmla="*/ 204788 h 303371"/>
                <a:gd name="connsiteX65" fmla="*/ 357664 w 625030"/>
                <a:gd name="connsiteY65" fmla="*/ 209169 h 303371"/>
                <a:gd name="connsiteX66" fmla="*/ 308896 w 625030"/>
                <a:gd name="connsiteY66" fmla="*/ 183833 h 303371"/>
                <a:gd name="connsiteX67" fmla="*/ 308515 w 625030"/>
                <a:gd name="connsiteY67" fmla="*/ 183642 h 303371"/>
                <a:gd name="connsiteX68" fmla="*/ 302800 w 625030"/>
                <a:gd name="connsiteY68" fmla="*/ 178880 h 303371"/>
                <a:gd name="connsiteX69" fmla="*/ 299371 w 625030"/>
                <a:gd name="connsiteY69" fmla="*/ 169450 h 303371"/>
                <a:gd name="connsiteX70" fmla="*/ 299371 w 625030"/>
                <a:gd name="connsiteY70" fmla="*/ 152972 h 303371"/>
                <a:gd name="connsiteX71" fmla="*/ 299847 w 625030"/>
                <a:gd name="connsiteY71" fmla="*/ 152210 h 303371"/>
                <a:gd name="connsiteX72" fmla="*/ 300800 w 625030"/>
                <a:gd name="connsiteY72" fmla="*/ 151162 h 303371"/>
                <a:gd name="connsiteX73" fmla="*/ 313373 w 625030"/>
                <a:gd name="connsiteY73" fmla="*/ 126206 h 303371"/>
                <a:gd name="connsiteX74" fmla="*/ 321278 w 625030"/>
                <a:gd name="connsiteY74" fmla="*/ 117443 h 303371"/>
                <a:gd name="connsiteX75" fmla="*/ 324707 w 625030"/>
                <a:gd name="connsiteY75" fmla="*/ 101060 h 303371"/>
                <a:gd name="connsiteX76" fmla="*/ 326326 w 625030"/>
                <a:gd name="connsiteY76" fmla="*/ 90107 h 303371"/>
                <a:gd name="connsiteX77" fmla="*/ 321659 w 625030"/>
                <a:gd name="connsiteY77" fmla="*/ 78486 h 303371"/>
                <a:gd name="connsiteX78" fmla="*/ 321659 w 625030"/>
                <a:gd name="connsiteY78" fmla="*/ 78486 h 303371"/>
                <a:gd name="connsiteX79" fmla="*/ 320897 w 625030"/>
                <a:gd name="connsiteY79" fmla="*/ 78105 h 303371"/>
                <a:gd name="connsiteX80" fmla="*/ 321659 w 625030"/>
                <a:gd name="connsiteY80" fmla="*/ 70390 h 303371"/>
                <a:gd name="connsiteX81" fmla="*/ 321659 w 625030"/>
                <a:gd name="connsiteY81" fmla="*/ 66389 h 303371"/>
                <a:gd name="connsiteX82" fmla="*/ 318611 w 625030"/>
                <a:gd name="connsiteY82" fmla="*/ 68866 h 303371"/>
                <a:gd name="connsiteX83" fmla="*/ 318611 w 625030"/>
                <a:gd name="connsiteY83" fmla="*/ 70295 h 303371"/>
                <a:gd name="connsiteX84" fmla="*/ 317659 w 625030"/>
                <a:gd name="connsiteY84" fmla="*/ 78867 h 303371"/>
                <a:gd name="connsiteX85" fmla="*/ 317373 w 625030"/>
                <a:gd name="connsiteY85" fmla="*/ 80391 h 303371"/>
                <a:gd name="connsiteX86" fmla="*/ 318897 w 625030"/>
                <a:gd name="connsiteY86" fmla="*/ 80677 h 303371"/>
                <a:gd name="connsiteX87" fmla="*/ 320135 w 625030"/>
                <a:gd name="connsiteY87" fmla="*/ 81153 h 303371"/>
                <a:gd name="connsiteX88" fmla="*/ 323183 w 625030"/>
                <a:gd name="connsiteY88" fmla="*/ 90202 h 303371"/>
                <a:gd name="connsiteX89" fmla="*/ 321659 w 625030"/>
                <a:gd name="connsiteY89" fmla="*/ 100489 h 303371"/>
                <a:gd name="connsiteX90" fmla="*/ 318230 w 625030"/>
                <a:gd name="connsiteY90" fmla="*/ 117062 h 303371"/>
                <a:gd name="connsiteX91" fmla="*/ 311658 w 625030"/>
                <a:gd name="connsiteY91" fmla="*/ 123539 h 303371"/>
                <a:gd name="connsiteX92" fmla="*/ 310610 w 625030"/>
                <a:gd name="connsiteY92" fmla="*/ 123730 h 303371"/>
                <a:gd name="connsiteX93" fmla="*/ 310420 w 625030"/>
                <a:gd name="connsiteY93" fmla="*/ 124777 h 303371"/>
                <a:gd name="connsiteX94" fmla="*/ 298418 w 625030"/>
                <a:gd name="connsiteY94" fmla="*/ 149257 h 303371"/>
                <a:gd name="connsiteX95" fmla="*/ 297371 w 625030"/>
                <a:gd name="connsiteY95" fmla="*/ 150495 h 303371"/>
                <a:gd name="connsiteX96" fmla="*/ 297085 w 625030"/>
                <a:gd name="connsiteY96" fmla="*/ 150971 h 303371"/>
                <a:gd name="connsiteX97" fmla="*/ 296799 w 625030"/>
                <a:gd name="connsiteY97" fmla="*/ 151352 h 303371"/>
                <a:gd name="connsiteX98" fmla="*/ 296323 w 625030"/>
                <a:gd name="connsiteY98" fmla="*/ 151829 h 303371"/>
                <a:gd name="connsiteX99" fmla="*/ 296323 w 625030"/>
                <a:gd name="connsiteY99" fmla="*/ 169545 h 303371"/>
                <a:gd name="connsiteX100" fmla="*/ 299466 w 625030"/>
                <a:gd name="connsiteY100" fmla="*/ 179546 h 303371"/>
                <a:gd name="connsiteX101" fmla="*/ 297751 w 625030"/>
                <a:gd name="connsiteY101" fmla="*/ 180785 h 303371"/>
                <a:gd name="connsiteX102" fmla="*/ 294227 w 625030"/>
                <a:gd name="connsiteY102" fmla="*/ 169545 h 303371"/>
                <a:gd name="connsiteX103" fmla="*/ 294227 w 625030"/>
                <a:gd name="connsiteY103" fmla="*/ 152972 h 303371"/>
                <a:gd name="connsiteX104" fmla="*/ 274320 w 625030"/>
                <a:gd name="connsiteY104" fmla="*/ 165259 h 303371"/>
                <a:gd name="connsiteX105" fmla="*/ 245459 w 625030"/>
                <a:gd name="connsiteY105" fmla="*/ 165830 h 303371"/>
                <a:gd name="connsiteX106" fmla="*/ 221456 w 625030"/>
                <a:gd name="connsiteY106" fmla="*/ 152781 h 303371"/>
                <a:gd name="connsiteX107" fmla="*/ 221456 w 625030"/>
                <a:gd name="connsiteY107" fmla="*/ 169545 h 303371"/>
                <a:gd name="connsiteX108" fmla="*/ 218980 w 625030"/>
                <a:gd name="connsiteY108" fmla="*/ 179261 h 303371"/>
                <a:gd name="connsiteX109" fmla="*/ 217360 w 625030"/>
                <a:gd name="connsiteY109" fmla="*/ 178118 h 303371"/>
                <a:gd name="connsiteX110" fmla="*/ 219456 w 625030"/>
                <a:gd name="connsiteY110" fmla="*/ 169545 h 303371"/>
                <a:gd name="connsiteX111" fmla="*/ 219456 w 625030"/>
                <a:gd name="connsiteY111" fmla="*/ 151733 h 303371"/>
                <a:gd name="connsiteX112" fmla="*/ 218980 w 625030"/>
                <a:gd name="connsiteY112" fmla="*/ 151257 h 303371"/>
                <a:gd name="connsiteX113" fmla="*/ 218694 w 625030"/>
                <a:gd name="connsiteY113" fmla="*/ 150876 h 303371"/>
                <a:gd name="connsiteX114" fmla="*/ 217360 w 625030"/>
                <a:gd name="connsiteY114" fmla="*/ 149162 h 303371"/>
                <a:gd name="connsiteX115" fmla="*/ 205359 w 625030"/>
                <a:gd name="connsiteY115" fmla="*/ 124682 h 303371"/>
                <a:gd name="connsiteX116" fmla="*/ 205169 w 625030"/>
                <a:gd name="connsiteY116" fmla="*/ 123635 h 303371"/>
                <a:gd name="connsiteX117" fmla="*/ 204121 w 625030"/>
                <a:gd name="connsiteY117" fmla="*/ 123444 h 303371"/>
                <a:gd name="connsiteX118" fmla="*/ 197549 w 625030"/>
                <a:gd name="connsiteY118" fmla="*/ 116967 h 303371"/>
                <a:gd name="connsiteX119" fmla="*/ 194120 w 625030"/>
                <a:gd name="connsiteY119" fmla="*/ 100298 h 303371"/>
                <a:gd name="connsiteX120" fmla="*/ 192596 w 625030"/>
                <a:gd name="connsiteY120" fmla="*/ 90107 h 303371"/>
                <a:gd name="connsiteX121" fmla="*/ 195644 w 625030"/>
                <a:gd name="connsiteY121" fmla="*/ 81058 h 303371"/>
                <a:gd name="connsiteX122" fmla="*/ 196882 w 625030"/>
                <a:gd name="connsiteY122" fmla="*/ 80582 h 303371"/>
                <a:gd name="connsiteX123" fmla="*/ 198406 w 625030"/>
                <a:gd name="connsiteY123" fmla="*/ 80296 h 303371"/>
                <a:gd name="connsiteX124" fmla="*/ 198120 w 625030"/>
                <a:gd name="connsiteY124" fmla="*/ 78772 h 303371"/>
                <a:gd name="connsiteX125" fmla="*/ 197167 w 625030"/>
                <a:gd name="connsiteY125" fmla="*/ 70199 h 303371"/>
                <a:gd name="connsiteX126" fmla="*/ 197167 w 625030"/>
                <a:gd name="connsiteY126" fmla="*/ 68866 h 303371"/>
                <a:gd name="connsiteX127" fmla="*/ 194120 w 625030"/>
                <a:gd name="connsiteY127" fmla="*/ 66485 h 303371"/>
                <a:gd name="connsiteX128" fmla="*/ 194120 w 625030"/>
                <a:gd name="connsiteY128" fmla="*/ 70295 h 303371"/>
                <a:gd name="connsiteX129" fmla="*/ 194882 w 625030"/>
                <a:gd name="connsiteY129" fmla="*/ 78010 h 303371"/>
                <a:gd name="connsiteX130" fmla="*/ 194120 w 625030"/>
                <a:gd name="connsiteY130" fmla="*/ 78391 h 303371"/>
                <a:gd name="connsiteX131" fmla="*/ 189452 w 625030"/>
                <a:gd name="connsiteY131" fmla="*/ 90011 h 303371"/>
                <a:gd name="connsiteX132" fmla="*/ 191071 w 625030"/>
                <a:gd name="connsiteY132" fmla="*/ 100965 h 303371"/>
                <a:gd name="connsiteX133" fmla="*/ 194500 w 625030"/>
                <a:gd name="connsiteY133" fmla="*/ 117348 h 303371"/>
                <a:gd name="connsiteX134" fmla="*/ 202502 w 625030"/>
                <a:gd name="connsiteY134" fmla="*/ 126111 h 303371"/>
                <a:gd name="connsiteX135" fmla="*/ 215075 w 625030"/>
                <a:gd name="connsiteY135" fmla="*/ 151067 h 303371"/>
                <a:gd name="connsiteX136" fmla="*/ 215932 w 625030"/>
                <a:gd name="connsiteY136" fmla="*/ 152019 h 303371"/>
                <a:gd name="connsiteX137" fmla="*/ 216503 w 625030"/>
                <a:gd name="connsiteY137" fmla="*/ 152876 h 303371"/>
                <a:gd name="connsiteX138" fmla="*/ 216503 w 625030"/>
                <a:gd name="connsiteY138" fmla="*/ 169355 h 303371"/>
                <a:gd name="connsiteX139" fmla="*/ 214122 w 625030"/>
                <a:gd name="connsiteY139" fmla="*/ 177546 h 303371"/>
                <a:gd name="connsiteX140" fmla="*/ 206216 w 625030"/>
                <a:gd name="connsiteY140" fmla="*/ 183547 h 303371"/>
                <a:gd name="connsiteX141" fmla="*/ 206216 w 625030"/>
                <a:gd name="connsiteY141" fmla="*/ 183547 h 303371"/>
                <a:gd name="connsiteX142" fmla="*/ 179832 w 625030"/>
                <a:gd name="connsiteY142" fmla="*/ 197168 h 303371"/>
                <a:gd name="connsiteX143" fmla="*/ 164973 w 625030"/>
                <a:gd name="connsiteY143" fmla="*/ 189643 h 303371"/>
                <a:gd name="connsiteX144" fmla="*/ 159544 w 625030"/>
                <a:gd name="connsiteY144" fmla="*/ 186881 h 303371"/>
                <a:gd name="connsiteX145" fmla="*/ 159544 w 625030"/>
                <a:gd name="connsiteY145" fmla="*/ 186881 h 303371"/>
                <a:gd name="connsiteX146" fmla="*/ 154210 w 625030"/>
                <a:gd name="connsiteY146" fmla="*/ 183452 h 303371"/>
                <a:gd name="connsiteX147" fmla="*/ 146780 w 625030"/>
                <a:gd name="connsiteY147" fmla="*/ 178689 h 303371"/>
                <a:gd name="connsiteX148" fmla="*/ 145923 w 625030"/>
                <a:gd name="connsiteY148" fmla="*/ 178308 h 303371"/>
                <a:gd name="connsiteX149" fmla="*/ 143161 w 625030"/>
                <a:gd name="connsiteY149" fmla="*/ 177165 h 303371"/>
                <a:gd name="connsiteX150" fmla="*/ 140208 w 625030"/>
                <a:gd name="connsiteY150" fmla="*/ 174974 h 303371"/>
                <a:gd name="connsiteX151" fmla="*/ 136208 w 625030"/>
                <a:gd name="connsiteY151" fmla="*/ 165354 h 303371"/>
                <a:gd name="connsiteX152" fmla="*/ 136208 w 625030"/>
                <a:gd name="connsiteY152" fmla="*/ 157353 h 303371"/>
                <a:gd name="connsiteX153" fmla="*/ 166592 w 625030"/>
                <a:gd name="connsiteY153" fmla="*/ 130016 h 303371"/>
                <a:gd name="connsiteX154" fmla="*/ 162306 w 625030"/>
                <a:gd name="connsiteY154" fmla="*/ 60865 h 303371"/>
                <a:gd name="connsiteX155" fmla="*/ 162496 w 625030"/>
                <a:gd name="connsiteY155" fmla="*/ 61151 h 303371"/>
                <a:gd name="connsiteX156" fmla="*/ 150686 w 625030"/>
                <a:gd name="connsiteY156" fmla="*/ 26194 h 303371"/>
                <a:gd name="connsiteX157" fmla="*/ 150209 w 625030"/>
                <a:gd name="connsiteY157" fmla="*/ 25527 h 303371"/>
                <a:gd name="connsiteX158" fmla="*/ 149638 w 625030"/>
                <a:gd name="connsiteY158" fmla="*/ 24765 h 303371"/>
                <a:gd name="connsiteX159" fmla="*/ 148495 w 625030"/>
                <a:gd name="connsiteY159" fmla="*/ 23241 h 303371"/>
                <a:gd name="connsiteX160" fmla="*/ 146399 w 625030"/>
                <a:gd name="connsiteY160" fmla="*/ 20669 h 303371"/>
                <a:gd name="connsiteX161" fmla="*/ 145352 w 625030"/>
                <a:gd name="connsiteY161" fmla="*/ 19526 h 303371"/>
                <a:gd name="connsiteX162" fmla="*/ 144304 w 625030"/>
                <a:gd name="connsiteY162" fmla="*/ 18383 h 303371"/>
                <a:gd name="connsiteX163" fmla="*/ 142875 w 625030"/>
                <a:gd name="connsiteY163" fmla="*/ 16859 h 303371"/>
                <a:gd name="connsiteX164" fmla="*/ 142304 w 625030"/>
                <a:gd name="connsiteY164" fmla="*/ 16288 h 303371"/>
                <a:gd name="connsiteX165" fmla="*/ 116396 w 625030"/>
                <a:gd name="connsiteY165" fmla="*/ 1619 h 303371"/>
                <a:gd name="connsiteX166" fmla="*/ 116396 w 625030"/>
                <a:gd name="connsiteY166" fmla="*/ 1619 h 303371"/>
                <a:gd name="connsiteX167" fmla="*/ 116015 w 625030"/>
                <a:gd name="connsiteY167" fmla="*/ 1619 h 303371"/>
                <a:gd name="connsiteX168" fmla="*/ 115157 w 625030"/>
                <a:gd name="connsiteY168" fmla="*/ 1429 h 303371"/>
                <a:gd name="connsiteX169" fmla="*/ 114109 w 625030"/>
                <a:gd name="connsiteY169" fmla="*/ 1143 h 303371"/>
                <a:gd name="connsiteX170" fmla="*/ 113252 w 625030"/>
                <a:gd name="connsiteY170" fmla="*/ 953 h 303371"/>
                <a:gd name="connsiteX171" fmla="*/ 112204 w 625030"/>
                <a:gd name="connsiteY171" fmla="*/ 762 h 303371"/>
                <a:gd name="connsiteX172" fmla="*/ 111728 w 625030"/>
                <a:gd name="connsiteY172" fmla="*/ 762 h 303371"/>
                <a:gd name="connsiteX173" fmla="*/ 111728 w 625030"/>
                <a:gd name="connsiteY173" fmla="*/ 762 h 303371"/>
                <a:gd name="connsiteX174" fmla="*/ 99822 w 625030"/>
                <a:gd name="connsiteY174" fmla="*/ 190 h 303371"/>
                <a:gd name="connsiteX175" fmla="*/ 99441 w 625030"/>
                <a:gd name="connsiteY175" fmla="*/ 190 h 303371"/>
                <a:gd name="connsiteX176" fmla="*/ 99441 w 625030"/>
                <a:gd name="connsiteY176" fmla="*/ 190 h 303371"/>
                <a:gd name="connsiteX177" fmla="*/ 99155 w 625030"/>
                <a:gd name="connsiteY177" fmla="*/ 190 h 303371"/>
                <a:gd name="connsiteX178" fmla="*/ 99155 w 625030"/>
                <a:gd name="connsiteY178" fmla="*/ 190 h 303371"/>
                <a:gd name="connsiteX179" fmla="*/ 98108 w 625030"/>
                <a:gd name="connsiteY179" fmla="*/ 95 h 303371"/>
                <a:gd name="connsiteX180" fmla="*/ 97917 w 625030"/>
                <a:gd name="connsiteY180" fmla="*/ 95 h 303371"/>
                <a:gd name="connsiteX181" fmla="*/ 97631 w 625030"/>
                <a:gd name="connsiteY181" fmla="*/ 95 h 303371"/>
                <a:gd name="connsiteX182" fmla="*/ 97155 w 625030"/>
                <a:gd name="connsiteY182" fmla="*/ 95 h 303371"/>
                <a:gd name="connsiteX183" fmla="*/ 97060 w 625030"/>
                <a:gd name="connsiteY183" fmla="*/ 95 h 303371"/>
                <a:gd name="connsiteX184" fmla="*/ 94679 w 625030"/>
                <a:gd name="connsiteY184" fmla="*/ 0 h 303371"/>
                <a:gd name="connsiteX185" fmla="*/ 94679 w 625030"/>
                <a:gd name="connsiteY185" fmla="*/ 0 h 303371"/>
                <a:gd name="connsiteX186" fmla="*/ 84296 w 625030"/>
                <a:gd name="connsiteY186" fmla="*/ 857 h 303371"/>
                <a:gd name="connsiteX187" fmla="*/ 84296 w 625030"/>
                <a:gd name="connsiteY187" fmla="*/ 857 h 303371"/>
                <a:gd name="connsiteX188" fmla="*/ 62770 w 625030"/>
                <a:gd name="connsiteY188" fmla="*/ 9144 h 303371"/>
                <a:gd name="connsiteX189" fmla="*/ 62198 w 625030"/>
                <a:gd name="connsiteY189" fmla="*/ 9525 h 303371"/>
                <a:gd name="connsiteX190" fmla="*/ 61055 w 625030"/>
                <a:gd name="connsiteY190" fmla="*/ 10287 h 303371"/>
                <a:gd name="connsiteX191" fmla="*/ 59627 w 625030"/>
                <a:gd name="connsiteY191" fmla="*/ 11335 h 303371"/>
                <a:gd name="connsiteX192" fmla="*/ 59055 w 625030"/>
                <a:gd name="connsiteY192" fmla="*/ 11811 h 303371"/>
                <a:gd name="connsiteX193" fmla="*/ 57055 w 625030"/>
                <a:gd name="connsiteY193" fmla="*/ 13430 h 303371"/>
                <a:gd name="connsiteX194" fmla="*/ 56864 w 625030"/>
                <a:gd name="connsiteY194" fmla="*/ 13621 h 303371"/>
                <a:gd name="connsiteX195" fmla="*/ 47530 w 625030"/>
                <a:gd name="connsiteY195" fmla="*/ 23527 h 303371"/>
                <a:gd name="connsiteX196" fmla="*/ 46577 w 625030"/>
                <a:gd name="connsiteY196" fmla="*/ 24860 h 303371"/>
                <a:gd name="connsiteX197" fmla="*/ 33814 w 625030"/>
                <a:gd name="connsiteY197" fmla="*/ 61436 h 303371"/>
                <a:gd name="connsiteX198" fmla="*/ 33814 w 625030"/>
                <a:gd name="connsiteY198" fmla="*/ 61913 h 303371"/>
                <a:gd name="connsiteX199" fmla="*/ 29623 w 625030"/>
                <a:gd name="connsiteY199" fmla="*/ 130302 h 303371"/>
                <a:gd name="connsiteX200" fmla="*/ 59436 w 625030"/>
                <a:gd name="connsiteY200" fmla="*/ 157544 h 303371"/>
                <a:gd name="connsiteX201" fmla="*/ 59436 w 625030"/>
                <a:gd name="connsiteY201" fmla="*/ 165735 h 303371"/>
                <a:gd name="connsiteX202" fmla="*/ 49721 w 625030"/>
                <a:gd name="connsiteY202" fmla="*/ 178689 h 303371"/>
                <a:gd name="connsiteX203" fmla="*/ 35814 w 625030"/>
                <a:gd name="connsiteY203" fmla="*/ 187547 h 303371"/>
                <a:gd name="connsiteX204" fmla="*/ 12859 w 625030"/>
                <a:gd name="connsiteY204" fmla="*/ 199168 h 303371"/>
                <a:gd name="connsiteX205" fmla="*/ 0 w 625030"/>
                <a:gd name="connsiteY205" fmla="*/ 205740 h 303371"/>
                <a:gd name="connsiteX206" fmla="*/ 191 w 625030"/>
                <a:gd name="connsiteY206" fmla="*/ 207550 h 303371"/>
                <a:gd name="connsiteX207" fmla="*/ 9811 w 625030"/>
                <a:gd name="connsiteY207" fmla="*/ 296609 h 303371"/>
                <a:gd name="connsiteX208" fmla="*/ 10573 w 625030"/>
                <a:gd name="connsiteY208" fmla="*/ 303371 h 303371"/>
                <a:gd name="connsiteX209" fmla="*/ 625031 w 625030"/>
                <a:gd name="connsiteY209" fmla="*/ 303371 h 303371"/>
                <a:gd name="connsiteX210" fmla="*/ 625031 w 625030"/>
                <a:gd name="connsiteY210" fmla="*/ 279749 h 303371"/>
                <a:gd name="connsiteX211" fmla="*/ 609219 w 625030"/>
                <a:gd name="connsiteY211" fmla="*/ 238506 h 303371"/>
                <a:gd name="connsiteX212" fmla="*/ 139637 w 625030"/>
                <a:gd name="connsiteY212" fmla="*/ 78486 h 303371"/>
                <a:gd name="connsiteX213" fmla="*/ 139637 w 625030"/>
                <a:gd name="connsiteY213" fmla="*/ 80296 h 303371"/>
                <a:gd name="connsiteX214" fmla="*/ 139637 w 625030"/>
                <a:gd name="connsiteY214" fmla="*/ 82106 h 303371"/>
                <a:gd name="connsiteX215" fmla="*/ 144685 w 625030"/>
                <a:gd name="connsiteY215" fmla="*/ 82487 h 303371"/>
                <a:gd name="connsiteX216" fmla="*/ 146018 w 625030"/>
                <a:gd name="connsiteY216" fmla="*/ 85915 h 303371"/>
                <a:gd name="connsiteX217" fmla="*/ 141732 w 625030"/>
                <a:gd name="connsiteY217" fmla="*/ 93631 h 303371"/>
                <a:gd name="connsiteX218" fmla="*/ 139065 w 625030"/>
                <a:gd name="connsiteY218" fmla="*/ 100584 h 303371"/>
                <a:gd name="connsiteX219" fmla="*/ 134874 w 625030"/>
                <a:gd name="connsiteY219" fmla="*/ 141161 h 303371"/>
                <a:gd name="connsiteX220" fmla="*/ 132017 w 625030"/>
                <a:gd name="connsiteY220" fmla="*/ 144875 h 303371"/>
                <a:gd name="connsiteX221" fmla="*/ 129826 w 625030"/>
                <a:gd name="connsiteY221" fmla="*/ 147352 h 303371"/>
                <a:gd name="connsiteX222" fmla="*/ 130397 w 625030"/>
                <a:gd name="connsiteY222" fmla="*/ 146971 h 303371"/>
                <a:gd name="connsiteX223" fmla="*/ 132017 w 625030"/>
                <a:gd name="connsiteY223" fmla="*/ 146685 h 303371"/>
                <a:gd name="connsiteX224" fmla="*/ 133350 w 625030"/>
                <a:gd name="connsiteY224" fmla="*/ 147638 h 303371"/>
                <a:gd name="connsiteX225" fmla="*/ 133636 w 625030"/>
                <a:gd name="connsiteY225" fmla="*/ 149257 h 303371"/>
                <a:gd name="connsiteX226" fmla="*/ 132683 w 625030"/>
                <a:gd name="connsiteY226" fmla="*/ 150590 h 303371"/>
                <a:gd name="connsiteX227" fmla="*/ 129445 w 625030"/>
                <a:gd name="connsiteY227" fmla="*/ 152591 h 303371"/>
                <a:gd name="connsiteX228" fmla="*/ 129445 w 625030"/>
                <a:gd name="connsiteY228" fmla="*/ 165259 h 303371"/>
                <a:gd name="connsiteX229" fmla="*/ 143351 w 625030"/>
                <a:gd name="connsiteY229" fmla="*/ 184214 h 303371"/>
                <a:gd name="connsiteX230" fmla="*/ 154686 w 625030"/>
                <a:gd name="connsiteY230" fmla="*/ 191548 h 303371"/>
                <a:gd name="connsiteX231" fmla="*/ 135922 w 625030"/>
                <a:gd name="connsiteY231" fmla="*/ 241840 h 303371"/>
                <a:gd name="connsiteX232" fmla="*/ 97536 w 625030"/>
                <a:gd name="connsiteY232" fmla="*/ 261938 h 303371"/>
                <a:gd name="connsiteX233" fmla="*/ 59150 w 625030"/>
                <a:gd name="connsiteY233" fmla="*/ 241840 h 303371"/>
                <a:gd name="connsiteX234" fmla="*/ 40386 w 625030"/>
                <a:gd name="connsiteY234" fmla="*/ 191453 h 303371"/>
                <a:gd name="connsiteX235" fmla="*/ 51625 w 625030"/>
                <a:gd name="connsiteY235" fmla="*/ 184214 h 303371"/>
                <a:gd name="connsiteX236" fmla="*/ 65532 w 625030"/>
                <a:gd name="connsiteY236" fmla="*/ 165259 h 303371"/>
                <a:gd name="connsiteX237" fmla="*/ 65532 w 625030"/>
                <a:gd name="connsiteY237" fmla="*/ 152114 h 303371"/>
                <a:gd name="connsiteX238" fmla="*/ 62865 w 625030"/>
                <a:gd name="connsiteY238" fmla="*/ 150686 h 303371"/>
                <a:gd name="connsiteX239" fmla="*/ 62008 w 625030"/>
                <a:gd name="connsiteY239" fmla="*/ 147828 h 303371"/>
                <a:gd name="connsiteX240" fmla="*/ 63246 w 625030"/>
                <a:gd name="connsiteY240" fmla="*/ 146780 h 303371"/>
                <a:gd name="connsiteX241" fmla="*/ 64579 w 625030"/>
                <a:gd name="connsiteY241" fmla="*/ 146780 h 303371"/>
                <a:gd name="connsiteX242" fmla="*/ 62865 w 625030"/>
                <a:gd name="connsiteY242" fmla="*/ 144780 h 303371"/>
                <a:gd name="connsiteX243" fmla="*/ 60388 w 625030"/>
                <a:gd name="connsiteY243" fmla="*/ 139541 h 303371"/>
                <a:gd name="connsiteX244" fmla="*/ 56293 w 625030"/>
                <a:gd name="connsiteY244" fmla="*/ 98012 h 303371"/>
                <a:gd name="connsiteX245" fmla="*/ 55531 w 625030"/>
                <a:gd name="connsiteY245" fmla="*/ 93440 h 303371"/>
                <a:gd name="connsiteX246" fmla="*/ 51245 w 625030"/>
                <a:gd name="connsiteY246" fmla="*/ 85725 h 303371"/>
                <a:gd name="connsiteX247" fmla="*/ 52578 w 625030"/>
                <a:gd name="connsiteY247" fmla="*/ 82296 h 303371"/>
                <a:gd name="connsiteX248" fmla="*/ 55912 w 625030"/>
                <a:gd name="connsiteY248" fmla="*/ 82010 h 303371"/>
                <a:gd name="connsiteX249" fmla="*/ 58960 w 625030"/>
                <a:gd name="connsiteY249" fmla="*/ 81820 h 303371"/>
                <a:gd name="connsiteX250" fmla="*/ 60008 w 625030"/>
                <a:gd name="connsiteY250" fmla="*/ 82010 h 303371"/>
                <a:gd name="connsiteX251" fmla="*/ 62198 w 625030"/>
                <a:gd name="connsiteY251" fmla="*/ 82010 h 303371"/>
                <a:gd name="connsiteX252" fmla="*/ 77819 w 625030"/>
                <a:gd name="connsiteY252" fmla="*/ 64770 h 303371"/>
                <a:gd name="connsiteX253" fmla="*/ 78391 w 625030"/>
                <a:gd name="connsiteY253" fmla="*/ 64198 h 303371"/>
                <a:gd name="connsiteX254" fmla="*/ 77819 w 625030"/>
                <a:gd name="connsiteY254" fmla="*/ 64770 h 303371"/>
                <a:gd name="connsiteX255" fmla="*/ 134017 w 625030"/>
                <a:gd name="connsiteY255" fmla="*/ 73819 h 303371"/>
                <a:gd name="connsiteX256" fmla="*/ 138970 w 625030"/>
                <a:gd name="connsiteY256" fmla="*/ 79820 h 303371"/>
                <a:gd name="connsiteX257" fmla="*/ 139732 w 625030"/>
                <a:gd name="connsiteY257" fmla="*/ 80391 h 303371"/>
                <a:gd name="connsiteX258" fmla="*/ 139732 w 625030"/>
                <a:gd name="connsiteY258" fmla="*/ 78581 h 303371"/>
                <a:gd name="connsiteX259" fmla="*/ 206216 w 625030"/>
                <a:gd name="connsiteY259" fmla="*/ 183833 h 303371"/>
                <a:gd name="connsiteX260" fmla="*/ 213646 w 625030"/>
                <a:gd name="connsiteY260" fmla="*/ 179070 h 303371"/>
                <a:gd name="connsiteX261" fmla="*/ 215170 w 625030"/>
                <a:gd name="connsiteY261" fmla="*/ 178213 h 303371"/>
                <a:gd name="connsiteX262" fmla="*/ 219361 w 625030"/>
                <a:gd name="connsiteY262" fmla="*/ 181166 h 303371"/>
                <a:gd name="connsiteX263" fmla="*/ 208026 w 625030"/>
                <a:gd name="connsiteY263" fmla="*/ 186595 h 303371"/>
                <a:gd name="connsiteX264" fmla="*/ 206216 w 625030"/>
                <a:gd name="connsiteY264" fmla="*/ 183737 h 303371"/>
                <a:gd name="connsiteX265" fmla="*/ 256984 w 625030"/>
                <a:gd name="connsiteY265" fmla="*/ 264700 h 303371"/>
                <a:gd name="connsiteX266" fmla="*/ 210979 w 625030"/>
                <a:gd name="connsiteY266" fmla="*/ 191548 h 303371"/>
                <a:gd name="connsiteX267" fmla="*/ 220504 w 625030"/>
                <a:gd name="connsiteY267" fmla="*/ 182023 h 303371"/>
                <a:gd name="connsiteX268" fmla="*/ 224314 w 625030"/>
                <a:gd name="connsiteY268" fmla="*/ 169259 h 303371"/>
                <a:gd name="connsiteX269" fmla="*/ 224314 w 625030"/>
                <a:gd name="connsiteY269" fmla="*/ 157639 h 303371"/>
                <a:gd name="connsiteX270" fmla="*/ 243745 w 625030"/>
                <a:gd name="connsiteY270" fmla="*/ 168212 h 303371"/>
                <a:gd name="connsiteX271" fmla="*/ 244221 w 625030"/>
                <a:gd name="connsiteY271" fmla="*/ 168402 h 303371"/>
                <a:gd name="connsiteX272" fmla="*/ 275368 w 625030"/>
                <a:gd name="connsiteY272" fmla="*/ 167735 h 303371"/>
                <a:gd name="connsiteX273" fmla="*/ 290989 w 625030"/>
                <a:gd name="connsiteY273" fmla="*/ 158115 h 303371"/>
                <a:gd name="connsiteX274" fmla="*/ 290989 w 625030"/>
                <a:gd name="connsiteY274" fmla="*/ 169164 h 303371"/>
                <a:gd name="connsiteX275" fmla="*/ 295942 w 625030"/>
                <a:gd name="connsiteY275" fmla="*/ 183452 h 303371"/>
                <a:gd name="connsiteX276" fmla="*/ 304229 w 625030"/>
                <a:gd name="connsiteY276" fmla="*/ 189167 h 303371"/>
                <a:gd name="connsiteX277" fmla="*/ 257080 w 625030"/>
                <a:gd name="connsiteY277" fmla="*/ 264509 h 303371"/>
                <a:gd name="connsiteX278" fmla="*/ 304991 w 625030"/>
                <a:gd name="connsiteY278" fmla="*/ 188024 h 303371"/>
                <a:gd name="connsiteX279" fmla="*/ 297180 w 625030"/>
                <a:gd name="connsiteY279" fmla="*/ 182690 h 303371"/>
                <a:gd name="connsiteX280" fmla="*/ 301371 w 625030"/>
                <a:gd name="connsiteY280" fmla="*/ 179737 h 303371"/>
                <a:gd name="connsiteX281" fmla="*/ 302895 w 625030"/>
                <a:gd name="connsiteY281" fmla="*/ 180594 h 303371"/>
                <a:gd name="connsiteX282" fmla="*/ 307848 w 625030"/>
                <a:gd name="connsiteY282" fmla="*/ 183642 h 303371"/>
                <a:gd name="connsiteX283" fmla="*/ 305086 w 625030"/>
                <a:gd name="connsiteY283" fmla="*/ 188119 h 303371"/>
                <a:gd name="connsiteX284" fmla="*/ 514922 w 625030"/>
                <a:gd name="connsiteY284" fmla="*/ 204026 h 303371"/>
                <a:gd name="connsiteX285" fmla="*/ 496538 w 625030"/>
                <a:gd name="connsiteY285" fmla="*/ 244031 h 303371"/>
                <a:gd name="connsiteX286" fmla="*/ 458152 w 625030"/>
                <a:gd name="connsiteY286" fmla="*/ 264128 h 303371"/>
                <a:gd name="connsiteX287" fmla="*/ 419767 w 625030"/>
                <a:gd name="connsiteY287" fmla="*/ 244031 h 303371"/>
                <a:gd name="connsiteX288" fmla="*/ 401384 w 625030"/>
                <a:gd name="connsiteY288" fmla="*/ 204026 h 303371"/>
                <a:gd name="connsiteX289" fmla="*/ 400907 w 625030"/>
                <a:gd name="connsiteY289" fmla="*/ 193643 h 303371"/>
                <a:gd name="connsiteX290" fmla="*/ 412051 w 625030"/>
                <a:gd name="connsiteY290" fmla="*/ 186404 h 303371"/>
                <a:gd name="connsiteX291" fmla="*/ 425958 w 625030"/>
                <a:gd name="connsiteY291" fmla="*/ 167450 h 303371"/>
                <a:gd name="connsiteX292" fmla="*/ 425958 w 625030"/>
                <a:gd name="connsiteY292" fmla="*/ 154305 h 303371"/>
                <a:gd name="connsiteX293" fmla="*/ 446913 w 625030"/>
                <a:gd name="connsiteY293" fmla="*/ 165735 h 303371"/>
                <a:gd name="connsiteX294" fmla="*/ 459486 w 625030"/>
                <a:gd name="connsiteY294" fmla="*/ 168116 h 303371"/>
                <a:gd name="connsiteX295" fmla="*/ 473297 w 625030"/>
                <a:gd name="connsiteY295" fmla="*/ 165164 h 303371"/>
                <a:gd name="connsiteX296" fmla="*/ 490061 w 625030"/>
                <a:gd name="connsiteY296" fmla="*/ 154781 h 303371"/>
                <a:gd name="connsiteX297" fmla="*/ 490061 w 625030"/>
                <a:gd name="connsiteY297" fmla="*/ 167450 h 303371"/>
                <a:gd name="connsiteX298" fmla="*/ 503968 w 625030"/>
                <a:gd name="connsiteY298" fmla="*/ 186404 h 303371"/>
                <a:gd name="connsiteX299" fmla="*/ 515302 w 625030"/>
                <a:gd name="connsiteY299" fmla="*/ 193739 h 303371"/>
                <a:gd name="connsiteX300" fmla="*/ 514826 w 625030"/>
                <a:gd name="connsiteY300" fmla="*/ 204026 h 303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625030" h="303371">
                  <a:moveTo>
                    <a:pt x="608743" y="238030"/>
                  </a:moveTo>
                  <a:cubicBezTo>
                    <a:pt x="607505" y="220504"/>
                    <a:pt x="532924" y="195644"/>
                    <a:pt x="532924" y="195644"/>
                  </a:cubicBezTo>
                  <a:lnTo>
                    <a:pt x="519875" y="188976"/>
                  </a:lnTo>
                  <a:lnTo>
                    <a:pt x="507111" y="180689"/>
                  </a:lnTo>
                  <a:lnTo>
                    <a:pt x="506254" y="180308"/>
                  </a:lnTo>
                  <a:cubicBezTo>
                    <a:pt x="500539" y="178689"/>
                    <a:pt x="496538" y="173355"/>
                    <a:pt x="496538" y="167354"/>
                  </a:cubicBezTo>
                  <a:lnTo>
                    <a:pt x="496538" y="152495"/>
                  </a:lnTo>
                  <a:lnTo>
                    <a:pt x="497586" y="151352"/>
                  </a:lnTo>
                  <a:cubicBezTo>
                    <a:pt x="503301" y="144971"/>
                    <a:pt x="507301" y="137160"/>
                    <a:pt x="509111" y="128778"/>
                  </a:cubicBezTo>
                  <a:cubicBezTo>
                    <a:pt x="512445" y="127635"/>
                    <a:pt x="515684" y="125063"/>
                    <a:pt x="516446" y="120301"/>
                  </a:cubicBezTo>
                  <a:cubicBezTo>
                    <a:pt x="516446" y="120015"/>
                    <a:pt x="516446" y="119825"/>
                    <a:pt x="516541" y="119634"/>
                  </a:cubicBezTo>
                  <a:cubicBezTo>
                    <a:pt x="517779" y="112395"/>
                    <a:pt x="518732" y="108490"/>
                    <a:pt x="519493" y="105537"/>
                  </a:cubicBezTo>
                  <a:cubicBezTo>
                    <a:pt x="519684" y="104965"/>
                    <a:pt x="519779" y="104394"/>
                    <a:pt x="519875" y="103918"/>
                  </a:cubicBezTo>
                  <a:cubicBezTo>
                    <a:pt x="520541" y="101251"/>
                    <a:pt x="521017" y="98965"/>
                    <a:pt x="521017" y="95440"/>
                  </a:cubicBezTo>
                  <a:cubicBezTo>
                    <a:pt x="521017" y="93059"/>
                    <a:pt x="520636" y="91059"/>
                    <a:pt x="520160" y="89345"/>
                  </a:cubicBezTo>
                  <a:cubicBezTo>
                    <a:pt x="519970" y="89345"/>
                    <a:pt x="519684" y="89535"/>
                    <a:pt x="519493" y="89630"/>
                  </a:cubicBezTo>
                  <a:cubicBezTo>
                    <a:pt x="517779" y="90297"/>
                    <a:pt x="515874" y="90773"/>
                    <a:pt x="514064" y="91059"/>
                  </a:cubicBezTo>
                  <a:cubicBezTo>
                    <a:pt x="514350" y="92012"/>
                    <a:pt x="514636" y="93345"/>
                    <a:pt x="514636" y="95440"/>
                  </a:cubicBezTo>
                  <a:cubicBezTo>
                    <a:pt x="514636" y="98965"/>
                    <a:pt x="514159" y="100584"/>
                    <a:pt x="513302" y="104013"/>
                  </a:cubicBezTo>
                  <a:cubicBezTo>
                    <a:pt x="512540" y="106966"/>
                    <a:pt x="511397" y="111347"/>
                    <a:pt x="510064" y="119348"/>
                  </a:cubicBezTo>
                  <a:cubicBezTo>
                    <a:pt x="509588" y="122111"/>
                    <a:pt x="507301" y="122777"/>
                    <a:pt x="505873" y="122968"/>
                  </a:cubicBezTo>
                  <a:lnTo>
                    <a:pt x="503587" y="123253"/>
                  </a:lnTo>
                  <a:lnTo>
                    <a:pt x="503206" y="125539"/>
                  </a:lnTo>
                  <a:cubicBezTo>
                    <a:pt x="502158" y="131826"/>
                    <a:pt x="499682" y="137732"/>
                    <a:pt x="496062" y="142875"/>
                  </a:cubicBezTo>
                  <a:cubicBezTo>
                    <a:pt x="495014" y="144304"/>
                    <a:pt x="493967" y="145733"/>
                    <a:pt x="492824" y="147066"/>
                  </a:cubicBezTo>
                  <a:lnTo>
                    <a:pt x="490633" y="149543"/>
                  </a:lnTo>
                  <a:lnTo>
                    <a:pt x="485870" y="152495"/>
                  </a:lnTo>
                  <a:lnTo>
                    <a:pt x="478155" y="157258"/>
                  </a:lnTo>
                  <a:lnTo>
                    <a:pt x="471678" y="161258"/>
                  </a:lnTo>
                  <a:cubicBezTo>
                    <a:pt x="470821" y="161639"/>
                    <a:pt x="469964" y="161830"/>
                    <a:pt x="469011" y="162116"/>
                  </a:cubicBezTo>
                  <a:cubicBezTo>
                    <a:pt x="462439" y="164306"/>
                    <a:pt x="455200" y="164306"/>
                    <a:pt x="448818" y="161830"/>
                  </a:cubicBezTo>
                  <a:lnTo>
                    <a:pt x="445008" y="159734"/>
                  </a:lnTo>
                  <a:lnTo>
                    <a:pt x="425482" y="149066"/>
                  </a:lnTo>
                  <a:cubicBezTo>
                    <a:pt x="425482" y="149066"/>
                    <a:pt x="425291" y="149066"/>
                    <a:pt x="425196" y="149066"/>
                  </a:cubicBezTo>
                  <a:lnTo>
                    <a:pt x="423482" y="147066"/>
                  </a:lnTo>
                  <a:cubicBezTo>
                    <a:pt x="423005" y="146590"/>
                    <a:pt x="422719" y="146018"/>
                    <a:pt x="422243" y="145447"/>
                  </a:cubicBezTo>
                  <a:cubicBezTo>
                    <a:pt x="418052" y="140303"/>
                    <a:pt x="415100" y="134303"/>
                    <a:pt x="413671" y="127826"/>
                  </a:cubicBezTo>
                  <a:cubicBezTo>
                    <a:pt x="413671" y="127826"/>
                    <a:pt x="413671" y="127635"/>
                    <a:pt x="413671" y="127540"/>
                  </a:cubicBezTo>
                  <a:cubicBezTo>
                    <a:pt x="413480" y="126873"/>
                    <a:pt x="413290" y="126206"/>
                    <a:pt x="413194" y="125539"/>
                  </a:cubicBezTo>
                  <a:lnTo>
                    <a:pt x="413004" y="124587"/>
                  </a:lnTo>
                  <a:lnTo>
                    <a:pt x="412814" y="123253"/>
                  </a:lnTo>
                  <a:lnTo>
                    <a:pt x="411290" y="123063"/>
                  </a:lnTo>
                  <a:lnTo>
                    <a:pt x="410527" y="123063"/>
                  </a:lnTo>
                  <a:cubicBezTo>
                    <a:pt x="410527" y="123063"/>
                    <a:pt x="410527" y="122968"/>
                    <a:pt x="410527" y="122968"/>
                  </a:cubicBezTo>
                  <a:cubicBezTo>
                    <a:pt x="410527" y="122968"/>
                    <a:pt x="410527" y="122968"/>
                    <a:pt x="410527" y="122968"/>
                  </a:cubicBezTo>
                  <a:cubicBezTo>
                    <a:pt x="409861" y="122873"/>
                    <a:pt x="408908" y="122587"/>
                    <a:pt x="408051" y="122015"/>
                  </a:cubicBezTo>
                  <a:cubicBezTo>
                    <a:pt x="407765" y="121825"/>
                    <a:pt x="407575" y="121539"/>
                    <a:pt x="407384" y="121349"/>
                  </a:cubicBezTo>
                  <a:cubicBezTo>
                    <a:pt x="406908" y="120872"/>
                    <a:pt x="406527" y="120206"/>
                    <a:pt x="406432" y="119348"/>
                  </a:cubicBezTo>
                  <a:cubicBezTo>
                    <a:pt x="406241" y="118015"/>
                    <a:pt x="406051" y="116776"/>
                    <a:pt x="405765" y="115634"/>
                  </a:cubicBezTo>
                  <a:cubicBezTo>
                    <a:pt x="404717" y="110014"/>
                    <a:pt x="403860" y="106585"/>
                    <a:pt x="403193" y="104013"/>
                  </a:cubicBezTo>
                  <a:cubicBezTo>
                    <a:pt x="402336" y="100679"/>
                    <a:pt x="401860" y="98965"/>
                    <a:pt x="401860" y="95440"/>
                  </a:cubicBezTo>
                  <a:cubicBezTo>
                    <a:pt x="401860" y="91916"/>
                    <a:pt x="402526" y="90297"/>
                    <a:pt x="403574" y="89726"/>
                  </a:cubicBezTo>
                  <a:cubicBezTo>
                    <a:pt x="402146" y="88868"/>
                    <a:pt x="400812" y="87725"/>
                    <a:pt x="399669" y="86487"/>
                  </a:cubicBezTo>
                  <a:cubicBezTo>
                    <a:pt x="399288" y="86106"/>
                    <a:pt x="399098" y="85630"/>
                    <a:pt x="398717" y="85249"/>
                  </a:cubicBezTo>
                  <a:cubicBezTo>
                    <a:pt x="396526" y="87249"/>
                    <a:pt x="395383" y="90678"/>
                    <a:pt x="395383" y="95440"/>
                  </a:cubicBezTo>
                  <a:cubicBezTo>
                    <a:pt x="395383" y="99727"/>
                    <a:pt x="395954" y="102108"/>
                    <a:pt x="396907" y="105632"/>
                  </a:cubicBezTo>
                  <a:cubicBezTo>
                    <a:pt x="397669" y="108680"/>
                    <a:pt x="398717" y="112776"/>
                    <a:pt x="399955" y="120396"/>
                  </a:cubicBezTo>
                  <a:cubicBezTo>
                    <a:pt x="400145" y="121730"/>
                    <a:pt x="400622" y="122777"/>
                    <a:pt x="401098" y="123825"/>
                  </a:cubicBezTo>
                  <a:cubicBezTo>
                    <a:pt x="402526" y="126397"/>
                    <a:pt x="404813" y="128111"/>
                    <a:pt x="407289" y="128873"/>
                  </a:cubicBezTo>
                  <a:cubicBezTo>
                    <a:pt x="409099" y="137255"/>
                    <a:pt x="413099" y="145066"/>
                    <a:pt x="418814" y="151448"/>
                  </a:cubicBezTo>
                  <a:lnTo>
                    <a:pt x="419862" y="152591"/>
                  </a:lnTo>
                  <a:lnTo>
                    <a:pt x="419862" y="167450"/>
                  </a:lnTo>
                  <a:cubicBezTo>
                    <a:pt x="419862" y="173450"/>
                    <a:pt x="415861" y="178689"/>
                    <a:pt x="410147" y="180404"/>
                  </a:cubicBezTo>
                  <a:lnTo>
                    <a:pt x="396240" y="189262"/>
                  </a:lnTo>
                  <a:lnTo>
                    <a:pt x="365760" y="204788"/>
                  </a:lnTo>
                  <a:lnTo>
                    <a:pt x="357664" y="209169"/>
                  </a:lnTo>
                  <a:lnTo>
                    <a:pt x="308896" y="183833"/>
                  </a:lnTo>
                  <a:lnTo>
                    <a:pt x="308515" y="183642"/>
                  </a:lnTo>
                  <a:lnTo>
                    <a:pt x="302800" y="178880"/>
                  </a:lnTo>
                  <a:cubicBezTo>
                    <a:pt x="300609" y="176022"/>
                    <a:pt x="299371" y="172688"/>
                    <a:pt x="299371" y="169450"/>
                  </a:cubicBezTo>
                  <a:lnTo>
                    <a:pt x="299371" y="152972"/>
                  </a:lnTo>
                  <a:cubicBezTo>
                    <a:pt x="299371" y="152972"/>
                    <a:pt x="299752" y="152495"/>
                    <a:pt x="299847" y="152210"/>
                  </a:cubicBezTo>
                  <a:lnTo>
                    <a:pt x="300800" y="151162"/>
                  </a:lnTo>
                  <a:cubicBezTo>
                    <a:pt x="307181" y="144113"/>
                    <a:pt x="311467" y="135446"/>
                    <a:pt x="313373" y="126206"/>
                  </a:cubicBezTo>
                  <a:cubicBezTo>
                    <a:pt x="317659" y="124968"/>
                    <a:pt x="320611" y="121730"/>
                    <a:pt x="321278" y="117443"/>
                  </a:cubicBezTo>
                  <a:cubicBezTo>
                    <a:pt x="322612" y="109061"/>
                    <a:pt x="323755" y="104489"/>
                    <a:pt x="324707" y="101060"/>
                  </a:cubicBezTo>
                  <a:cubicBezTo>
                    <a:pt x="325660" y="97346"/>
                    <a:pt x="326326" y="94678"/>
                    <a:pt x="326326" y="90107"/>
                  </a:cubicBezTo>
                  <a:cubicBezTo>
                    <a:pt x="326326" y="84201"/>
                    <a:pt x="324802" y="80201"/>
                    <a:pt x="321659" y="78486"/>
                  </a:cubicBezTo>
                  <a:lnTo>
                    <a:pt x="321659" y="78486"/>
                  </a:lnTo>
                  <a:cubicBezTo>
                    <a:pt x="321659" y="78486"/>
                    <a:pt x="321183" y="78200"/>
                    <a:pt x="320897" y="78105"/>
                  </a:cubicBezTo>
                  <a:cubicBezTo>
                    <a:pt x="321278" y="75629"/>
                    <a:pt x="321564" y="73057"/>
                    <a:pt x="321659" y="70390"/>
                  </a:cubicBezTo>
                  <a:cubicBezTo>
                    <a:pt x="321659" y="69056"/>
                    <a:pt x="321659" y="67723"/>
                    <a:pt x="321659" y="66389"/>
                  </a:cubicBezTo>
                  <a:cubicBezTo>
                    <a:pt x="320421" y="66675"/>
                    <a:pt x="319468" y="67628"/>
                    <a:pt x="318611" y="68866"/>
                  </a:cubicBezTo>
                  <a:cubicBezTo>
                    <a:pt x="318611" y="69342"/>
                    <a:pt x="318611" y="69818"/>
                    <a:pt x="318611" y="70295"/>
                  </a:cubicBezTo>
                  <a:cubicBezTo>
                    <a:pt x="318611" y="73247"/>
                    <a:pt x="318230" y="76105"/>
                    <a:pt x="317659" y="78867"/>
                  </a:cubicBezTo>
                  <a:lnTo>
                    <a:pt x="317373" y="80391"/>
                  </a:lnTo>
                  <a:lnTo>
                    <a:pt x="318897" y="80677"/>
                  </a:lnTo>
                  <a:cubicBezTo>
                    <a:pt x="319468" y="80772"/>
                    <a:pt x="319850" y="80963"/>
                    <a:pt x="320135" y="81153"/>
                  </a:cubicBezTo>
                  <a:cubicBezTo>
                    <a:pt x="322231" y="82391"/>
                    <a:pt x="323183" y="85344"/>
                    <a:pt x="323183" y="90202"/>
                  </a:cubicBezTo>
                  <a:cubicBezTo>
                    <a:pt x="323183" y="94488"/>
                    <a:pt x="322612" y="96679"/>
                    <a:pt x="321659" y="100489"/>
                  </a:cubicBezTo>
                  <a:cubicBezTo>
                    <a:pt x="320802" y="103918"/>
                    <a:pt x="319564" y="108490"/>
                    <a:pt x="318230" y="117062"/>
                  </a:cubicBezTo>
                  <a:cubicBezTo>
                    <a:pt x="317468" y="121730"/>
                    <a:pt x="313754" y="123158"/>
                    <a:pt x="311658" y="123539"/>
                  </a:cubicBezTo>
                  <a:lnTo>
                    <a:pt x="310610" y="123730"/>
                  </a:lnTo>
                  <a:lnTo>
                    <a:pt x="310420" y="124777"/>
                  </a:lnTo>
                  <a:cubicBezTo>
                    <a:pt x="308705" y="133922"/>
                    <a:pt x="304514" y="142304"/>
                    <a:pt x="298418" y="149257"/>
                  </a:cubicBezTo>
                  <a:lnTo>
                    <a:pt x="297371" y="150495"/>
                  </a:lnTo>
                  <a:lnTo>
                    <a:pt x="297085" y="150971"/>
                  </a:lnTo>
                  <a:cubicBezTo>
                    <a:pt x="297085" y="150971"/>
                    <a:pt x="296894" y="151257"/>
                    <a:pt x="296799" y="151352"/>
                  </a:cubicBezTo>
                  <a:lnTo>
                    <a:pt x="296323" y="151829"/>
                  </a:lnTo>
                  <a:lnTo>
                    <a:pt x="296323" y="169545"/>
                  </a:lnTo>
                  <a:cubicBezTo>
                    <a:pt x="296323" y="173069"/>
                    <a:pt x="297371" y="176498"/>
                    <a:pt x="299466" y="179546"/>
                  </a:cubicBezTo>
                  <a:lnTo>
                    <a:pt x="297751" y="180785"/>
                  </a:lnTo>
                  <a:cubicBezTo>
                    <a:pt x="295466" y="177356"/>
                    <a:pt x="294227" y="173450"/>
                    <a:pt x="294227" y="169545"/>
                  </a:cubicBezTo>
                  <a:lnTo>
                    <a:pt x="294227" y="152972"/>
                  </a:lnTo>
                  <a:lnTo>
                    <a:pt x="274320" y="165259"/>
                  </a:lnTo>
                  <a:cubicBezTo>
                    <a:pt x="265462" y="169259"/>
                    <a:pt x="254889" y="169545"/>
                    <a:pt x="245459" y="165830"/>
                  </a:cubicBezTo>
                  <a:lnTo>
                    <a:pt x="221456" y="152781"/>
                  </a:lnTo>
                  <a:lnTo>
                    <a:pt x="221456" y="169545"/>
                  </a:lnTo>
                  <a:cubicBezTo>
                    <a:pt x="221456" y="172879"/>
                    <a:pt x="220599" y="176213"/>
                    <a:pt x="218980" y="179261"/>
                  </a:cubicBezTo>
                  <a:lnTo>
                    <a:pt x="217360" y="178118"/>
                  </a:lnTo>
                  <a:cubicBezTo>
                    <a:pt x="218789" y="175451"/>
                    <a:pt x="219456" y="172498"/>
                    <a:pt x="219456" y="169545"/>
                  </a:cubicBezTo>
                  <a:lnTo>
                    <a:pt x="219456" y="151733"/>
                  </a:lnTo>
                  <a:lnTo>
                    <a:pt x="218980" y="151257"/>
                  </a:lnTo>
                  <a:cubicBezTo>
                    <a:pt x="218980" y="151257"/>
                    <a:pt x="218694" y="150971"/>
                    <a:pt x="218694" y="150876"/>
                  </a:cubicBezTo>
                  <a:lnTo>
                    <a:pt x="217360" y="149162"/>
                  </a:lnTo>
                  <a:cubicBezTo>
                    <a:pt x="211169" y="142208"/>
                    <a:pt x="206978" y="133731"/>
                    <a:pt x="205359" y="124682"/>
                  </a:cubicBezTo>
                  <a:lnTo>
                    <a:pt x="205169" y="123635"/>
                  </a:lnTo>
                  <a:lnTo>
                    <a:pt x="204121" y="123444"/>
                  </a:lnTo>
                  <a:cubicBezTo>
                    <a:pt x="202025" y="122968"/>
                    <a:pt x="198311" y="121539"/>
                    <a:pt x="197549" y="116967"/>
                  </a:cubicBezTo>
                  <a:cubicBezTo>
                    <a:pt x="196120" y="108299"/>
                    <a:pt x="194977" y="103727"/>
                    <a:pt x="194120" y="100298"/>
                  </a:cubicBezTo>
                  <a:cubicBezTo>
                    <a:pt x="193167" y="96584"/>
                    <a:pt x="192596" y="94298"/>
                    <a:pt x="192596" y="90107"/>
                  </a:cubicBezTo>
                  <a:cubicBezTo>
                    <a:pt x="192596" y="86773"/>
                    <a:pt x="193167" y="82582"/>
                    <a:pt x="195644" y="81058"/>
                  </a:cubicBezTo>
                  <a:cubicBezTo>
                    <a:pt x="196025" y="80867"/>
                    <a:pt x="196406" y="80677"/>
                    <a:pt x="196882" y="80582"/>
                  </a:cubicBezTo>
                  <a:lnTo>
                    <a:pt x="198406" y="80296"/>
                  </a:lnTo>
                  <a:lnTo>
                    <a:pt x="198120" y="78772"/>
                  </a:lnTo>
                  <a:cubicBezTo>
                    <a:pt x="197549" y="76010"/>
                    <a:pt x="197263" y="73152"/>
                    <a:pt x="197167" y="70199"/>
                  </a:cubicBezTo>
                  <a:cubicBezTo>
                    <a:pt x="197167" y="69723"/>
                    <a:pt x="197167" y="69342"/>
                    <a:pt x="197167" y="68866"/>
                  </a:cubicBezTo>
                  <a:cubicBezTo>
                    <a:pt x="196025" y="67532"/>
                    <a:pt x="194977" y="66866"/>
                    <a:pt x="194120" y="66485"/>
                  </a:cubicBezTo>
                  <a:cubicBezTo>
                    <a:pt x="194120" y="67723"/>
                    <a:pt x="194120" y="68961"/>
                    <a:pt x="194120" y="70295"/>
                  </a:cubicBezTo>
                  <a:cubicBezTo>
                    <a:pt x="194120" y="72962"/>
                    <a:pt x="194405" y="75533"/>
                    <a:pt x="194882" y="78010"/>
                  </a:cubicBezTo>
                  <a:cubicBezTo>
                    <a:pt x="194596" y="78105"/>
                    <a:pt x="194310" y="78296"/>
                    <a:pt x="194120" y="78391"/>
                  </a:cubicBezTo>
                  <a:cubicBezTo>
                    <a:pt x="191071" y="80201"/>
                    <a:pt x="189452" y="84106"/>
                    <a:pt x="189452" y="90011"/>
                  </a:cubicBezTo>
                  <a:cubicBezTo>
                    <a:pt x="189452" y="94678"/>
                    <a:pt x="190119" y="97346"/>
                    <a:pt x="191071" y="100965"/>
                  </a:cubicBezTo>
                  <a:cubicBezTo>
                    <a:pt x="191929" y="104299"/>
                    <a:pt x="193072" y="108776"/>
                    <a:pt x="194500" y="117348"/>
                  </a:cubicBezTo>
                  <a:cubicBezTo>
                    <a:pt x="195167" y="121634"/>
                    <a:pt x="198120" y="124873"/>
                    <a:pt x="202502" y="126111"/>
                  </a:cubicBezTo>
                  <a:cubicBezTo>
                    <a:pt x="204407" y="135350"/>
                    <a:pt x="208788" y="144018"/>
                    <a:pt x="215075" y="151067"/>
                  </a:cubicBezTo>
                  <a:lnTo>
                    <a:pt x="215932" y="152019"/>
                  </a:lnTo>
                  <a:cubicBezTo>
                    <a:pt x="215932" y="152019"/>
                    <a:pt x="216217" y="152591"/>
                    <a:pt x="216503" y="152876"/>
                  </a:cubicBezTo>
                  <a:lnTo>
                    <a:pt x="216503" y="169355"/>
                  </a:lnTo>
                  <a:cubicBezTo>
                    <a:pt x="216503" y="172212"/>
                    <a:pt x="215646" y="175070"/>
                    <a:pt x="214122" y="177546"/>
                  </a:cubicBezTo>
                  <a:lnTo>
                    <a:pt x="206216" y="183547"/>
                  </a:lnTo>
                  <a:lnTo>
                    <a:pt x="206216" y="183547"/>
                  </a:lnTo>
                  <a:cubicBezTo>
                    <a:pt x="206216" y="183547"/>
                    <a:pt x="179832" y="197168"/>
                    <a:pt x="179832" y="197168"/>
                  </a:cubicBezTo>
                  <a:lnTo>
                    <a:pt x="164973" y="189643"/>
                  </a:lnTo>
                  <a:lnTo>
                    <a:pt x="159544" y="186881"/>
                  </a:lnTo>
                  <a:lnTo>
                    <a:pt x="159544" y="186881"/>
                  </a:lnTo>
                  <a:cubicBezTo>
                    <a:pt x="159544" y="186881"/>
                    <a:pt x="154210" y="183452"/>
                    <a:pt x="154210" y="183452"/>
                  </a:cubicBezTo>
                  <a:lnTo>
                    <a:pt x="146780" y="178689"/>
                  </a:lnTo>
                  <a:lnTo>
                    <a:pt x="145923" y="178308"/>
                  </a:lnTo>
                  <a:cubicBezTo>
                    <a:pt x="144971" y="178022"/>
                    <a:pt x="144018" y="177641"/>
                    <a:pt x="143161" y="177165"/>
                  </a:cubicBezTo>
                  <a:cubicBezTo>
                    <a:pt x="142113" y="176594"/>
                    <a:pt x="141065" y="175832"/>
                    <a:pt x="140208" y="174974"/>
                  </a:cubicBezTo>
                  <a:cubicBezTo>
                    <a:pt x="137732" y="172498"/>
                    <a:pt x="136208" y="169069"/>
                    <a:pt x="136208" y="165354"/>
                  </a:cubicBezTo>
                  <a:lnTo>
                    <a:pt x="136208" y="157353"/>
                  </a:lnTo>
                  <a:cubicBezTo>
                    <a:pt x="144113" y="155353"/>
                    <a:pt x="162306" y="148685"/>
                    <a:pt x="166592" y="130016"/>
                  </a:cubicBezTo>
                  <a:cubicBezTo>
                    <a:pt x="166592" y="130016"/>
                    <a:pt x="168116" y="93059"/>
                    <a:pt x="162306" y="60865"/>
                  </a:cubicBezTo>
                  <a:cubicBezTo>
                    <a:pt x="162306" y="60960"/>
                    <a:pt x="162401" y="61055"/>
                    <a:pt x="162496" y="61151"/>
                  </a:cubicBezTo>
                  <a:cubicBezTo>
                    <a:pt x="160115" y="47720"/>
                    <a:pt x="156400" y="35147"/>
                    <a:pt x="150686" y="26194"/>
                  </a:cubicBezTo>
                  <a:cubicBezTo>
                    <a:pt x="150495" y="26003"/>
                    <a:pt x="150400" y="25717"/>
                    <a:pt x="150209" y="25527"/>
                  </a:cubicBezTo>
                  <a:cubicBezTo>
                    <a:pt x="150019" y="25241"/>
                    <a:pt x="149828" y="24955"/>
                    <a:pt x="149638" y="24765"/>
                  </a:cubicBezTo>
                  <a:cubicBezTo>
                    <a:pt x="149257" y="24194"/>
                    <a:pt x="148876" y="23717"/>
                    <a:pt x="148495" y="23241"/>
                  </a:cubicBezTo>
                  <a:cubicBezTo>
                    <a:pt x="147828" y="22289"/>
                    <a:pt x="147066" y="21431"/>
                    <a:pt x="146399" y="20669"/>
                  </a:cubicBezTo>
                  <a:cubicBezTo>
                    <a:pt x="146018" y="20288"/>
                    <a:pt x="145733" y="19907"/>
                    <a:pt x="145352" y="19526"/>
                  </a:cubicBezTo>
                  <a:cubicBezTo>
                    <a:pt x="144971" y="19145"/>
                    <a:pt x="144685" y="18764"/>
                    <a:pt x="144304" y="18383"/>
                  </a:cubicBezTo>
                  <a:cubicBezTo>
                    <a:pt x="143828" y="17907"/>
                    <a:pt x="143351" y="17336"/>
                    <a:pt x="142875" y="16859"/>
                  </a:cubicBezTo>
                  <a:cubicBezTo>
                    <a:pt x="142684" y="16669"/>
                    <a:pt x="142494" y="16478"/>
                    <a:pt x="142304" y="16288"/>
                  </a:cubicBezTo>
                  <a:cubicBezTo>
                    <a:pt x="133541" y="7715"/>
                    <a:pt x="124111" y="3620"/>
                    <a:pt x="116396" y="1619"/>
                  </a:cubicBezTo>
                  <a:cubicBezTo>
                    <a:pt x="116396" y="1619"/>
                    <a:pt x="116396" y="1619"/>
                    <a:pt x="116396" y="1619"/>
                  </a:cubicBezTo>
                  <a:cubicBezTo>
                    <a:pt x="116300" y="1619"/>
                    <a:pt x="116205" y="1619"/>
                    <a:pt x="116015" y="1619"/>
                  </a:cubicBezTo>
                  <a:cubicBezTo>
                    <a:pt x="115729" y="1619"/>
                    <a:pt x="115443" y="1524"/>
                    <a:pt x="115157" y="1429"/>
                  </a:cubicBezTo>
                  <a:cubicBezTo>
                    <a:pt x="114776" y="1429"/>
                    <a:pt x="114395" y="1238"/>
                    <a:pt x="114109" y="1143"/>
                  </a:cubicBezTo>
                  <a:cubicBezTo>
                    <a:pt x="113824" y="1143"/>
                    <a:pt x="113538" y="1048"/>
                    <a:pt x="113252" y="953"/>
                  </a:cubicBezTo>
                  <a:cubicBezTo>
                    <a:pt x="112871" y="953"/>
                    <a:pt x="112586" y="857"/>
                    <a:pt x="112204" y="762"/>
                  </a:cubicBezTo>
                  <a:cubicBezTo>
                    <a:pt x="112014" y="762"/>
                    <a:pt x="111919" y="762"/>
                    <a:pt x="111728" y="762"/>
                  </a:cubicBezTo>
                  <a:lnTo>
                    <a:pt x="111728" y="762"/>
                  </a:lnTo>
                  <a:cubicBezTo>
                    <a:pt x="105918" y="-190"/>
                    <a:pt x="101537" y="0"/>
                    <a:pt x="99822" y="190"/>
                  </a:cubicBezTo>
                  <a:cubicBezTo>
                    <a:pt x="99727" y="190"/>
                    <a:pt x="99536" y="190"/>
                    <a:pt x="99441" y="190"/>
                  </a:cubicBezTo>
                  <a:cubicBezTo>
                    <a:pt x="99441" y="190"/>
                    <a:pt x="99441" y="190"/>
                    <a:pt x="99441" y="190"/>
                  </a:cubicBezTo>
                  <a:cubicBezTo>
                    <a:pt x="99346" y="190"/>
                    <a:pt x="99250" y="190"/>
                    <a:pt x="99155" y="190"/>
                  </a:cubicBezTo>
                  <a:cubicBezTo>
                    <a:pt x="99155" y="190"/>
                    <a:pt x="99155" y="190"/>
                    <a:pt x="99155" y="190"/>
                  </a:cubicBezTo>
                  <a:cubicBezTo>
                    <a:pt x="99155" y="190"/>
                    <a:pt x="98774" y="190"/>
                    <a:pt x="98108" y="95"/>
                  </a:cubicBezTo>
                  <a:cubicBezTo>
                    <a:pt x="98108" y="95"/>
                    <a:pt x="98012" y="95"/>
                    <a:pt x="97917" y="95"/>
                  </a:cubicBezTo>
                  <a:cubicBezTo>
                    <a:pt x="97917" y="95"/>
                    <a:pt x="97727" y="95"/>
                    <a:pt x="97631" y="95"/>
                  </a:cubicBezTo>
                  <a:cubicBezTo>
                    <a:pt x="97441" y="95"/>
                    <a:pt x="97346" y="95"/>
                    <a:pt x="97155" y="95"/>
                  </a:cubicBezTo>
                  <a:cubicBezTo>
                    <a:pt x="97155" y="95"/>
                    <a:pt x="97155" y="95"/>
                    <a:pt x="97060" y="95"/>
                  </a:cubicBezTo>
                  <a:cubicBezTo>
                    <a:pt x="96393" y="95"/>
                    <a:pt x="95631" y="95"/>
                    <a:pt x="94679" y="0"/>
                  </a:cubicBezTo>
                  <a:cubicBezTo>
                    <a:pt x="94679" y="0"/>
                    <a:pt x="94679" y="0"/>
                    <a:pt x="94679" y="0"/>
                  </a:cubicBezTo>
                  <a:cubicBezTo>
                    <a:pt x="92107" y="0"/>
                    <a:pt x="88487" y="95"/>
                    <a:pt x="84296" y="857"/>
                  </a:cubicBezTo>
                  <a:cubicBezTo>
                    <a:pt x="84296" y="857"/>
                    <a:pt x="84296" y="857"/>
                    <a:pt x="84296" y="857"/>
                  </a:cubicBezTo>
                  <a:cubicBezTo>
                    <a:pt x="78200" y="1810"/>
                    <a:pt x="70580" y="4096"/>
                    <a:pt x="62770" y="9144"/>
                  </a:cubicBezTo>
                  <a:cubicBezTo>
                    <a:pt x="62579" y="9239"/>
                    <a:pt x="62389" y="9335"/>
                    <a:pt x="62198" y="9525"/>
                  </a:cubicBezTo>
                  <a:cubicBezTo>
                    <a:pt x="61817" y="9811"/>
                    <a:pt x="61436" y="10001"/>
                    <a:pt x="61055" y="10287"/>
                  </a:cubicBezTo>
                  <a:cubicBezTo>
                    <a:pt x="60579" y="10573"/>
                    <a:pt x="60103" y="10954"/>
                    <a:pt x="59627" y="11335"/>
                  </a:cubicBezTo>
                  <a:cubicBezTo>
                    <a:pt x="59436" y="11525"/>
                    <a:pt x="59246" y="11621"/>
                    <a:pt x="59055" y="11811"/>
                  </a:cubicBezTo>
                  <a:cubicBezTo>
                    <a:pt x="58388" y="12287"/>
                    <a:pt x="57721" y="12859"/>
                    <a:pt x="57055" y="13430"/>
                  </a:cubicBezTo>
                  <a:cubicBezTo>
                    <a:pt x="57055" y="13430"/>
                    <a:pt x="56959" y="13526"/>
                    <a:pt x="56864" y="13621"/>
                  </a:cubicBezTo>
                  <a:cubicBezTo>
                    <a:pt x="53626" y="16383"/>
                    <a:pt x="50483" y="19622"/>
                    <a:pt x="47530" y="23527"/>
                  </a:cubicBezTo>
                  <a:cubicBezTo>
                    <a:pt x="47149" y="24003"/>
                    <a:pt x="46863" y="24384"/>
                    <a:pt x="46577" y="24860"/>
                  </a:cubicBezTo>
                  <a:cubicBezTo>
                    <a:pt x="40196" y="33909"/>
                    <a:pt x="36290" y="47149"/>
                    <a:pt x="33814" y="61436"/>
                  </a:cubicBezTo>
                  <a:cubicBezTo>
                    <a:pt x="33814" y="61627"/>
                    <a:pt x="33814" y="61722"/>
                    <a:pt x="33814" y="61913"/>
                  </a:cubicBezTo>
                  <a:cubicBezTo>
                    <a:pt x="28099" y="94012"/>
                    <a:pt x="29623" y="130302"/>
                    <a:pt x="29623" y="130302"/>
                  </a:cubicBezTo>
                  <a:cubicBezTo>
                    <a:pt x="33814" y="148495"/>
                    <a:pt x="51340" y="155258"/>
                    <a:pt x="59436" y="157544"/>
                  </a:cubicBezTo>
                  <a:lnTo>
                    <a:pt x="59436" y="165735"/>
                  </a:lnTo>
                  <a:cubicBezTo>
                    <a:pt x="59436" y="171736"/>
                    <a:pt x="55436" y="176975"/>
                    <a:pt x="49721" y="178689"/>
                  </a:cubicBezTo>
                  <a:lnTo>
                    <a:pt x="35814" y="187547"/>
                  </a:lnTo>
                  <a:lnTo>
                    <a:pt x="12859" y="199168"/>
                  </a:lnTo>
                  <a:lnTo>
                    <a:pt x="0" y="205740"/>
                  </a:lnTo>
                  <a:lnTo>
                    <a:pt x="191" y="207550"/>
                  </a:lnTo>
                  <a:lnTo>
                    <a:pt x="9811" y="296609"/>
                  </a:lnTo>
                  <a:lnTo>
                    <a:pt x="10573" y="303371"/>
                  </a:lnTo>
                  <a:lnTo>
                    <a:pt x="625031" y="303371"/>
                  </a:lnTo>
                  <a:lnTo>
                    <a:pt x="625031" y="279749"/>
                  </a:lnTo>
                  <a:cubicBezTo>
                    <a:pt x="625031" y="279749"/>
                    <a:pt x="610552" y="256032"/>
                    <a:pt x="609219" y="238506"/>
                  </a:cubicBezTo>
                  <a:close/>
                  <a:moveTo>
                    <a:pt x="139637" y="78486"/>
                  </a:moveTo>
                  <a:cubicBezTo>
                    <a:pt x="139637" y="79058"/>
                    <a:pt x="139637" y="79629"/>
                    <a:pt x="139637" y="80296"/>
                  </a:cubicBezTo>
                  <a:cubicBezTo>
                    <a:pt x="139637" y="80867"/>
                    <a:pt x="139637" y="81439"/>
                    <a:pt x="139637" y="82106"/>
                  </a:cubicBezTo>
                  <a:cubicBezTo>
                    <a:pt x="141542" y="82106"/>
                    <a:pt x="143351" y="82296"/>
                    <a:pt x="144685" y="82487"/>
                  </a:cubicBezTo>
                  <a:cubicBezTo>
                    <a:pt x="147161" y="82772"/>
                    <a:pt x="146018" y="85915"/>
                    <a:pt x="146018" y="85915"/>
                  </a:cubicBezTo>
                  <a:cubicBezTo>
                    <a:pt x="146018" y="85915"/>
                    <a:pt x="142113" y="85630"/>
                    <a:pt x="141732" y="93631"/>
                  </a:cubicBezTo>
                  <a:cubicBezTo>
                    <a:pt x="141637" y="96202"/>
                    <a:pt x="141446" y="98679"/>
                    <a:pt x="139065" y="100584"/>
                  </a:cubicBezTo>
                  <a:cubicBezTo>
                    <a:pt x="138208" y="116110"/>
                    <a:pt x="136398" y="130683"/>
                    <a:pt x="134874" y="141161"/>
                  </a:cubicBezTo>
                  <a:cubicBezTo>
                    <a:pt x="134017" y="142399"/>
                    <a:pt x="133064" y="143637"/>
                    <a:pt x="132017" y="144875"/>
                  </a:cubicBezTo>
                  <a:lnTo>
                    <a:pt x="129826" y="147352"/>
                  </a:lnTo>
                  <a:lnTo>
                    <a:pt x="130397" y="146971"/>
                  </a:lnTo>
                  <a:cubicBezTo>
                    <a:pt x="130397" y="146971"/>
                    <a:pt x="131445" y="146590"/>
                    <a:pt x="132017" y="146685"/>
                  </a:cubicBezTo>
                  <a:cubicBezTo>
                    <a:pt x="132588" y="146780"/>
                    <a:pt x="133064" y="147161"/>
                    <a:pt x="133350" y="147638"/>
                  </a:cubicBezTo>
                  <a:cubicBezTo>
                    <a:pt x="133636" y="148114"/>
                    <a:pt x="133731" y="148685"/>
                    <a:pt x="133636" y="149257"/>
                  </a:cubicBezTo>
                  <a:cubicBezTo>
                    <a:pt x="133541" y="149828"/>
                    <a:pt x="133159" y="150305"/>
                    <a:pt x="132683" y="150590"/>
                  </a:cubicBezTo>
                  <a:lnTo>
                    <a:pt x="129445" y="152591"/>
                  </a:lnTo>
                  <a:lnTo>
                    <a:pt x="129445" y="165259"/>
                  </a:lnTo>
                  <a:cubicBezTo>
                    <a:pt x="129445" y="173927"/>
                    <a:pt x="135160" y="181642"/>
                    <a:pt x="143351" y="184214"/>
                  </a:cubicBezTo>
                  <a:lnTo>
                    <a:pt x="154686" y="191548"/>
                  </a:lnTo>
                  <a:cubicBezTo>
                    <a:pt x="155162" y="201549"/>
                    <a:pt x="153162" y="220504"/>
                    <a:pt x="135922" y="241840"/>
                  </a:cubicBezTo>
                  <a:cubicBezTo>
                    <a:pt x="119158" y="262509"/>
                    <a:pt x="97536" y="261938"/>
                    <a:pt x="97536" y="261938"/>
                  </a:cubicBezTo>
                  <a:cubicBezTo>
                    <a:pt x="97536" y="261938"/>
                    <a:pt x="75914" y="262509"/>
                    <a:pt x="59150" y="241840"/>
                  </a:cubicBezTo>
                  <a:cubicBezTo>
                    <a:pt x="41815" y="220409"/>
                    <a:pt x="39815" y="201454"/>
                    <a:pt x="40386" y="191453"/>
                  </a:cubicBezTo>
                  <a:lnTo>
                    <a:pt x="51625" y="184214"/>
                  </a:lnTo>
                  <a:cubicBezTo>
                    <a:pt x="59817" y="181642"/>
                    <a:pt x="65532" y="173927"/>
                    <a:pt x="65532" y="165259"/>
                  </a:cubicBezTo>
                  <a:lnTo>
                    <a:pt x="65532" y="152114"/>
                  </a:lnTo>
                  <a:lnTo>
                    <a:pt x="62865" y="150686"/>
                  </a:lnTo>
                  <a:cubicBezTo>
                    <a:pt x="61817" y="150114"/>
                    <a:pt x="61436" y="148876"/>
                    <a:pt x="62008" y="147828"/>
                  </a:cubicBezTo>
                  <a:cubicBezTo>
                    <a:pt x="62294" y="147352"/>
                    <a:pt x="62770" y="146971"/>
                    <a:pt x="63246" y="146780"/>
                  </a:cubicBezTo>
                  <a:cubicBezTo>
                    <a:pt x="63722" y="146685"/>
                    <a:pt x="64103" y="146780"/>
                    <a:pt x="64579" y="146780"/>
                  </a:cubicBezTo>
                  <a:lnTo>
                    <a:pt x="62865" y="144780"/>
                  </a:lnTo>
                  <a:lnTo>
                    <a:pt x="60388" y="139541"/>
                  </a:lnTo>
                  <a:cubicBezTo>
                    <a:pt x="58865" y="128588"/>
                    <a:pt x="57055" y="113728"/>
                    <a:pt x="56293" y="98012"/>
                  </a:cubicBezTo>
                  <a:cubicBezTo>
                    <a:pt x="55721" y="96584"/>
                    <a:pt x="55626" y="95060"/>
                    <a:pt x="55531" y="93440"/>
                  </a:cubicBezTo>
                  <a:cubicBezTo>
                    <a:pt x="55054" y="85439"/>
                    <a:pt x="51245" y="85725"/>
                    <a:pt x="51245" y="85725"/>
                  </a:cubicBezTo>
                  <a:cubicBezTo>
                    <a:pt x="51245" y="85725"/>
                    <a:pt x="50197" y="82582"/>
                    <a:pt x="52578" y="82296"/>
                  </a:cubicBezTo>
                  <a:cubicBezTo>
                    <a:pt x="53531" y="82201"/>
                    <a:pt x="54674" y="82106"/>
                    <a:pt x="55912" y="82010"/>
                  </a:cubicBezTo>
                  <a:cubicBezTo>
                    <a:pt x="56864" y="82010"/>
                    <a:pt x="57817" y="81915"/>
                    <a:pt x="58960" y="81820"/>
                  </a:cubicBezTo>
                  <a:moveTo>
                    <a:pt x="60008" y="82010"/>
                  </a:moveTo>
                  <a:cubicBezTo>
                    <a:pt x="60770" y="82010"/>
                    <a:pt x="61436" y="82010"/>
                    <a:pt x="62198" y="82010"/>
                  </a:cubicBezTo>
                  <a:lnTo>
                    <a:pt x="77819" y="64770"/>
                  </a:lnTo>
                  <a:lnTo>
                    <a:pt x="78391" y="64198"/>
                  </a:lnTo>
                  <a:lnTo>
                    <a:pt x="77819" y="64770"/>
                  </a:lnTo>
                  <a:cubicBezTo>
                    <a:pt x="90107" y="72485"/>
                    <a:pt x="109347" y="79724"/>
                    <a:pt x="134017" y="73819"/>
                  </a:cubicBezTo>
                  <a:lnTo>
                    <a:pt x="138970" y="79820"/>
                  </a:lnTo>
                  <a:cubicBezTo>
                    <a:pt x="138970" y="79820"/>
                    <a:pt x="139446" y="80296"/>
                    <a:pt x="139732" y="80391"/>
                  </a:cubicBezTo>
                  <a:cubicBezTo>
                    <a:pt x="139732" y="79820"/>
                    <a:pt x="139732" y="79248"/>
                    <a:pt x="139732" y="78581"/>
                  </a:cubicBezTo>
                  <a:moveTo>
                    <a:pt x="206216" y="183833"/>
                  </a:moveTo>
                  <a:lnTo>
                    <a:pt x="213646" y="179070"/>
                  </a:lnTo>
                  <a:lnTo>
                    <a:pt x="215170" y="178213"/>
                  </a:lnTo>
                  <a:lnTo>
                    <a:pt x="219361" y="181166"/>
                  </a:lnTo>
                  <a:cubicBezTo>
                    <a:pt x="219361" y="181166"/>
                    <a:pt x="212217" y="184595"/>
                    <a:pt x="208026" y="186595"/>
                  </a:cubicBezTo>
                  <a:lnTo>
                    <a:pt x="206216" y="183737"/>
                  </a:lnTo>
                  <a:close/>
                  <a:moveTo>
                    <a:pt x="256984" y="264700"/>
                  </a:moveTo>
                  <a:lnTo>
                    <a:pt x="210979" y="191548"/>
                  </a:lnTo>
                  <a:lnTo>
                    <a:pt x="220504" y="182023"/>
                  </a:lnTo>
                  <a:cubicBezTo>
                    <a:pt x="222980" y="178213"/>
                    <a:pt x="224314" y="173736"/>
                    <a:pt x="224314" y="169259"/>
                  </a:cubicBezTo>
                  <a:lnTo>
                    <a:pt x="224314" y="157639"/>
                  </a:lnTo>
                  <a:lnTo>
                    <a:pt x="243745" y="168212"/>
                  </a:lnTo>
                  <a:lnTo>
                    <a:pt x="244221" y="168402"/>
                  </a:lnTo>
                  <a:cubicBezTo>
                    <a:pt x="254127" y="172307"/>
                    <a:pt x="265748" y="172117"/>
                    <a:pt x="275368" y="167735"/>
                  </a:cubicBezTo>
                  <a:lnTo>
                    <a:pt x="290989" y="158115"/>
                  </a:lnTo>
                  <a:lnTo>
                    <a:pt x="290989" y="169164"/>
                  </a:lnTo>
                  <a:cubicBezTo>
                    <a:pt x="290989" y="174212"/>
                    <a:pt x="292703" y="179165"/>
                    <a:pt x="295942" y="183452"/>
                  </a:cubicBezTo>
                  <a:lnTo>
                    <a:pt x="304229" y="189167"/>
                  </a:lnTo>
                  <a:lnTo>
                    <a:pt x="257080" y="264509"/>
                  </a:lnTo>
                  <a:close/>
                  <a:moveTo>
                    <a:pt x="304991" y="188024"/>
                  </a:moveTo>
                  <a:cubicBezTo>
                    <a:pt x="302800" y="186500"/>
                    <a:pt x="297466" y="182975"/>
                    <a:pt x="297180" y="182690"/>
                  </a:cubicBezTo>
                  <a:lnTo>
                    <a:pt x="301371" y="179737"/>
                  </a:lnTo>
                  <a:lnTo>
                    <a:pt x="302895" y="180594"/>
                  </a:lnTo>
                  <a:lnTo>
                    <a:pt x="307848" y="183642"/>
                  </a:lnTo>
                  <a:lnTo>
                    <a:pt x="305086" y="188119"/>
                  </a:lnTo>
                  <a:close/>
                  <a:moveTo>
                    <a:pt x="514922" y="204026"/>
                  </a:moveTo>
                  <a:cubicBezTo>
                    <a:pt x="513588" y="214503"/>
                    <a:pt x="509016" y="228600"/>
                    <a:pt x="496538" y="244031"/>
                  </a:cubicBezTo>
                  <a:cubicBezTo>
                    <a:pt x="479774" y="264700"/>
                    <a:pt x="458152" y="264128"/>
                    <a:pt x="458152" y="264128"/>
                  </a:cubicBezTo>
                  <a:cubicBezTo>
                    <a:pt x="458152" y="264128"/>
                    <a:pt x="436531" y="264700"/>
                    <a:pt x="419767" y="244031"/>
                  </a:cubicBezTo>
                  <a:cubicBezTo>
                    <a:pt x="407289" y="228600"/>
                    <a:pt x="402812" y="214503"/>
                    <a:pt x="401384" y="204026"/>
                  </a:cubicBezTo>
                  <a:cubicBezTo>
                    <a:pt x="400812" y="199930"/>
                    <a:pt x="400812" y="196406"/>
                    <a:pt x="400907" y="193643"/>
                  </a:cubicBezTo>
                  <a:lnTo>
                    <a:pt x="412051" y="186404"/>
                  </a:lnTo>
                  <a:cubicBezTo>
                    <a:pt x="420243" y="183833"/>
                    <a:pt x="425958" y="176117"/>
                    <a:pt x="425958" y="167450"/>
                  </a:cubicBezTo>
                  <a:lnTo>
                    <a:pt x="425958" y="154305"/>
                  </a:lnTo>
                  <a:lnTo>
                    <a:pt x="446913" y="165735"/>
                  </a:lnTo>
                  <a:cubicBezTo>
                    <a:pt x="450914" y="167354"/>
                    <a:pt x="455105" y="168116"/>
                    <a:pt x="459486" y="168116"/>
                  </a:cubicBezTo>
                  <a:cubicBezTo>
                    <a:pt x="464249" y="168116"/>
                    <a:pt x="469011" y="167069"/>
                    <a:pt x="473297" y="165164"/>
                  </a:cubicBezTo>
                  <a:lnTo>
                    <a:pt x="490061" y="154781"/>
                  </a:lnTo>
                  <a:lnTo>
                    <a:pt x="490061" y="167450"/>
                  </a:lnTo>
                  <a:cubicBezTo>
                    <a:pt x="490061" y="176117"/>
                    <a:pt x="495776" y="183833"/>
                    <a:pt x="503968" y="186404"/>
                  </a:cubicBezTo>
                  <a:lnTo>
                    <a:pt x="515302" y="193739"/>
                  </a:lnTo>
                  <a:cubicBezTo>
                    <a:pt x="515398" y="196501"/>
                    <a:pt x="515302" y="200025"/>
                    <a:pt x="514826" y="204026"/>
                  </a:cubicBezTo>
                  <a:close/>
                </a:path>
              </a:pathLst>
            </a:custGeom>
            <a:grpFill/>
            <a:ln w="9525" cap="flat">
              <a:noFill/>
              <a:prstDash val="solid"/>
              <a:miter/>
            </a:ln>
          </p:spPr>
          <p:txBody>
            <a:bodyPr rtlCol="0" anchor="ctr"/>
            <a:lstStyle/>
            <a:p>
              <a:endParaRPr lang="en-US" dirty="0"/>
            </a:p>
          </p:txBody>
        </p:sp>
      </p:grpSp>
      <p:grpSp>
        <p:nvGrpSpPr>
          <p:cNvPr id="3" name="Group 2">
            <a:extLst>
              <a:ext uri="{FF2B5EF4-FFF2-40B4-BE49-F238E27FC236}">
                <a16:creationId xmlns:a16="http://schemas.microsoft.com/office/drawing/2014/main" id="{E67449E0-C843-B342-BE36-466E288ED955}"/>
              </a:ext>
            </a:extLst>
          </p:cNvPr>
          <p:cNvGrpSpPr/>
          <p:nvPr/>
        </p:nvGrpSpPr>
        <p:grpSpPr>
          <a:xfrm>
            <a:off x="588461" y="4324255"/>
            <a:ext cx="609600" cy="767643"/>
            <a:chOff x="588461" y="4324255"/>
            <a:chExt cx="609600" cy="767643"/>
          </a:xfrm>
        </p:grpSpPr>
        <p:sp>
          <p:nvSpPr>
            <p:cNvPr id="12" name="Freeform: Shape 11">
              <a:extLst>
                <a:ext uri="{FF2B5EF4-FFF2-40B4-BE49-F238E27FC236}">
                  <a16:creationId xmlns:a16="http://schemas.microsoft.com/office/drawing/2014/main" id="{BF76CB52-5B83-73EF-6592-0657B220C9E4}"/>
                </a:ext>
              </a:extLst>
            </p:cNvPr>
            <p:cNvSpPr/>
            <p:nvPr/>
          </p:nvSpPr>
          <p:spPr>
            <a:xfrm>
              <a:off x="756298" y="4324255"/>
              <a:ext cx="303656" cy="303656"/>
            </a:xfrm>
            <a:custGeom>
              <a:avLst/>
              <a:gdLst>
                <a:gd name="connsiteX0" fmla="*/ 151829 w 303656"/>
                <a:gd name="connsiteY0" fmla="*/ 0 h 303656"/>
                <a:gd name="connsiteX1" fmla="*/ 0 w 303656"/>
                <a:gd name="connsiteY1" fmla="*/ 151829 h 303656"/>
                <a:gd name="connsiteX2" fmla="*/ 151829 w 303656"/>
                <a:gd name="connsiteY2" fmla="*/ 303657 h 303656"/>
                <a:gd name="connsiteX3" fmla="*/ 303657 w 303656"/>
                <a:gd name="connsiteY3" fmla="*/ 151829 h 303656"/>
                <a:gd name="connsiteX4" fmla="*/ 151829 w 303656"/>
                <a:gd name="connsiteY4" fmla="*/ 0 h 303656"/>
                <a:gd name="connsiteX5" fmla="*/ 216217 w 303656"/>
                <a:gd name="connsiteY5" fmla="*/ 195167 h 303656"/>
                <a:gd name="connsiteX6" fmla="*/ 203168 w 303656"/>
                <a:gd name="connsiteY6" fmla="*/ 222694 h 303656"/>
                <a:gd name="connsiteX7" fmla="*/ 168402 w 303656"/>
                <a:gd name="connsiteY7" fmla="*/ 234220 h 303656"/>
                <a:gd name="connsiteX8" fmla="*/ 168402 w 303656"/>
                <a:gd name="connsiteY8" fmla="*/ 254603 h 303656"/>
                <a:gd name="connsiteX9" fmla="*/ 138875 w 303656"/>
                <a:gd name="connsiteY9" fmla="*/ 254603 h 303656"/>
                <a:gd name="connsiteX10" fmla="*/ 138875 w 303656"/>
                <a:gd name="connsiteY10" fmla="*/ 234220 h 303656"/>
                <a:gd name="connsiteX11" fmla="*/ 102489 w 303656"/>
                <a:gd name="connsiteY11" fmla="*/ 220504 h 303656"/>
                <a:gd name="connsiteX12" fmla="*/ 89345 w 303656"/>
                <a:gd name="connsiteY12" fmla="*/ 183642 h 303656"/>
                <a:gd name="connsiteX13" fmla="*/ 118872 w 303656"/>
                <a:gd name="connsiteY13" fmla="*/ 183642 h 303656"/>
                <a:gd name="connsiteX14" fmla="*/ 124587 w 303656"/>
                <a:gd name="connsiteY14" fmla="*/ 201359 h 303656"/>
                <a:gd name="connsiteX15" fmla="*/ 140589 w 303656"/>
                <a:gd name="connsiteY15" fmla="*/ 207740 h 303656"/>
                <a:gd name="connsiteX16" fmla="*/ 164687 w 303656"/>
                <a:gd name="connsiteY16" fmla="*/ 207740 h 303656"/>
                <a:gd name="connsiteX17" fmla="*/ 180213 w 303656"/>
                <a:gd name="connsiteY17" fmla="*/ 203740 h 303656"/>
                <a:gd name="connsiteX18" fmla="*/ 186214 w 303656"/>
                <a:gd name="connsiteY18" fmla="*/ 192977 h 303656"/>
                <a:gd name="connsiteX19" fmla="*/ 186214 w 303656"/>
                <a:gd name="connsiteY19" fmla="*/ 185547 h 303656"/>
                <a:gd name="connsiteX20" fmla="*/ 170593 w 303656"/>
                <a:gd name="connsiteY20" fmla="*/ 172307 h 303656"/>
                <a:gd name="connsiteX21" fmla="*/ 130683 w 303656"/>
                <a:gd name="connsiteY21" fmla="*/ 165544 h 303656"/>
                <a:gd name="connsiteX22" fmla="*/ 101060 w 303656"/>
                <a:gd name="connsiteY22" fmla="*/ 153067 h 303656"/>
                <a:gd name="connsiteX23" fmla="*/ 90964 w 303656"/>
                <a:gd name="connsiteY23" fmla="*/ 129540 h 303656"/>
                <a:gd name="connsiteX24" fmla="*/ 90964 w 303656"/>
                <a:gd name="connsiteY24" fmla="*/ 117348 h 303656"/>
                <a:gd name="connsiteX25" fmla="*/ 96965 w 303656"/>
                <a:gd name="connsiteY25" fmla="*/ 97631 h 303656"/>
                <a:gd name="connsiteX26" fmla="*/ 113824 w 303656"/>
                <a:gd name="connsiteY26" fmla="*/ 83915 h 303656"/>
                <a:gd name="connsiteX27" fmla="*/ 138970 w 303656"/>
                <a:gd name="connsiteY27" fmla="*/ 78677 h 303656"/>
                <a:gd name="connsiteX28" fmla="*/ 138970 w 303656"/>
                <a:gd name="connsiteY28" fmla="*/ 58293 h 303656"/>
                <a:gd name="connsiteX29" fmla="*/ 168497 w 303656"/>
                <a:gd name="connsiteY29" fmla="*/ 58293 h 303656"/>
                <a:gd name="connsiteX30" fmla="*/ 168497 w 303656"/>
                <a:gd name="connsiteY30" fmla="*/ 78677 h 303656"/>
                <a:gd name="connsiteX31" fmla="*/ 201168 w 303656"/>
                <a:gd name="connsiteY31" fmla="*/ 92393 h 303656"/>
                <a:gd name="connsiteX32" fmla="*/ 213455 w 303656"/>
                <a:gd name="connsiteY32" fmla="*/ 125349 h 303656"/>
                <a:gd name="connsiteX33" fmla="*/ 183928 w 303656"/>
                <a:gd name="connsiteY33" fmla="*/ 125349 h 303656"/>
                <a:gd name="connsiteX34" fmla="*/ 178975 w 303656"/>
                <a:gd name="connsiteY34" fmla="*/ 110681 h 303656"/>
                <a:gd name="connsiteX35" fmla="*/ 165735 w 303656"/>
                <a:gd name="connsiteY35" fmla="*/ 105156 h 303656"/>
                <a:gd name="connsiteX36" fmla="*/ 141161 w 303656"/>
                <a:gd name="connsiteY36" fmla="*/ 105156 h 303656"/>
                <a:gd name="connsiteX37" fmla="*/ 126492 w 303656"/>
                <a:gd name="connsiteY37" fmla="*/ 109061 h 303656"/>
                <a:gd name="connsiteX38" fmla="*/ 120968 w 303656"/>
                <a:gd name="connsiteY38" fmla="*/ 119444 h 303656"/>
                <a:gd name="connsiteX39" fmla="*/ 120968 w 303656"/>
                <a:gd name="connsiteY39" fmla="*/ 125349 h 303656"/>
                <a:gd name="connsiteX40" fmla="*/ 135922 w 303656"/>
                <a:gd name="connsiteY40" fmla="*/ 138779 h 303656"/>
                <a:gd name="connsiteX41" fmla="*/ 175641 w 303656"/>
                <a:gd name="connsiteY41" fmla="*/ 145733 h 303656"/>
                <a:gd name="connsiteX42" fmla="*/ 205835 w 303656"/>
                <a:gd name="connsiteY42" fmla="*/ 158020 h 303656"/>
                <a:gd name="connsiteX43" fmla="*/ 216217 w 303656"/>
                <a:gd name="connsiteY43" fmla="*/ 180689 h 303656"/>
                <a:gd name="connsiteX44" fmla="*/ 216217 w 303656"/>
                <a:gd name="connsiteY44" fmla="*/ 194977 h 303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03656" h="303656">
                  <a:moveTo>
                    <a:pt x="151829" y="0"/>
                  </a:moveTo>
                  <a:cubicBezTo>
                    <a:pt x="68009" y="0"/>
                    <a:pt x="0" y="68009"/>
                    <a:pt x="0" y="151829"/>
                  </a:cubicBezTo>
                  <a:cubicBezTo>
                    <a:pt x="0" y="235649"/>
                    <a:pt x="68009" y="303657"/>
                    <a:pt x="151829" y="303657"/>
                  </a:cubicBezTo>
                  <a:cubicBezTo>
                    <a:pt x="235649" y="303657"/>
                    <a:pt x="303657" y="235649"/>
                    <a:pt x="303657" y="151829"/>
                  </a:cubicBezTo>
                  <a:cubicBezTo>
                    <a:pt x="303657" y="68009"/>
                    <a:pt x="235649" y="0"/>
                    <a:pt x="151829" y="0"/>
                  </a:cubicBezTo>
                  <a:close/>
                  <a:moveTo>
                    <a:pt x="216217" y="195167"/>
                  </a:moveTo>
                  <a:cubicBezTo>
                    <a:pt x="216217" y="206502"/>
                    <a:pt x="211836" y="215646"/>
                    <a:pt x="203168" y="222694"/>
                  </a:cubicBezTo>
                  <a:cubicBezTo>
                    <a:pt x="194501" y="229743"/>
                    <a:pt x="182880" y="233648"/>
                    <a:pt x="168402" y="234220"/>
                  </a:cubicBezTo>
                  <a:lnTo>
                    <a:pt x="168402" y="254603"/>
                  </a:lnTo>
                  <a:lnTo>
                    <a:pt x="138875" y="254603"/>
                  </a:lnTo>
                  <a:lnTo>
                    <a:pt x="138875" y="234220"/>
                  </a:lnTo>
                  <a:cubicBezTo>
                    <a:pt x="123349" y="234029"/>
                    <a:pt x="111252" y="229553"/>
                    <a:pt x="102489" y="220504"/>
                  </a:cubicBezTo>
                  <a:cubicBezTo>
                    <a:pt x="93726" y="211550"/>
                    <a:pt x="89345" y="199263"/>
                    <a:pt x="89345" y="183642"/>
                  </a:cubicBezTo>
                  <a:lnTo>
                    <a:pt x="118872" y="183642"/>
                  </a:lnTo>
                  <a:cubicBezTo>
                    <a:pt x="118872" y="191167"/>
                    <a:pt x="120777" y="197072"/>
                    <a:pt x="124587" y="201359"/>
                  </a:cubicBezTo>
                  <a:cubicBezTo>
                    <a:pt x="128397" y="205645"/>
                    <a:pt x="133731" y="207740"/>
                    <a:pt x="140589" y="207740"/>
                  </a:cubicBezTo>
                  <a:lnTo>
                    <a:pt x="164687" y="207740"/>
                  </a:lnTo>
                  <a:cubicBezTo>
                    <a:pt x="171069" y="207740"/>
                    <a:pt x="176213" y="206407"/>
                    <a:pt x="180213" y="203740"/>
                  </a:cubicBezTo>
                  <a:cubicBezTo>
                    <a:pt x="184214" y="201073"/>
                    <a:pt x="186214" y="197453"/>
                    <a:pt x="186214" y="192977"/>
                  </a:cubicBezTo>
                  <a:lnTo>
                    <a:pt x="186214" y="185547"/>
                  </a:lnTo>
                  <a:cubicBezTo>
                    <a:pt x="186214" y="178499"/>
                    <a:pt x="180975" y="174022"/>
                    <a:pt x="170593" y="172307"/>
                  </a:cubicBezTo>
                  <a:lnTo>
                    <a:pt x="130683" y="165544"/>
                  </a:lnTo>
                  <a:cubicBezTo>
                    <a:pt x="117634" y="163354"/>
                    <a:pt x="107823" y="159258"/>
                    <a:pt x="101060" y="153067"/>
                  </a:cubicBezTo>
                  <a:cubicBezTo>
                    <a:pt x="94298" y="146876"/>
                    <a:pt x="90964" y="139065"/>
                    <a:pt x="90964" y="129540"/>
                  </a:cubicBezTo>
                  <a:lnTo>
                    <a:pt x="90964" y="117348"/>
                  </a:lnTo>
                  <a:cubicBezTo>
                    <a:pt x="90964" y="109919"/>
                    <a:pt x="92964" y="103346"/>
                    <a:pt x="96965" y="97631"/>
                  </a:cubicBezTo>
                  <a:cubicBezTo>
                    <a:pt x="100965" y="91821"/>
                    <a:pt x="106585" y="87249"/>
                    <a:pt x="113824" y="83915"/>
                  </a:cubicBezTo>
                  <a:cubicBezTo>
                    <a:pt x="121063" y="80582"/>
                    <a:pt x="129445" y="78867"/>
                    <a:pt x="138970" y="78677"/>
                  </a:cubicBezTo>
                  <a:lnTo>
                    <a:pt x="138970" y="58293"/>
                  </a:lnTo>
                  <a:lnTo>
                    <a:pt x="168497" y="58293"/>
                  </a:lnTo>
                  <a:lnTo>
                    <a:pt x="168497" y="78677"/>
                  </a:lnTo>
                  <a:cubicBezTo>
                    <a:pt x="182118" y="79439"/>
                    <a:pt x="192977" y="83915"/>
                    <a:pt x="201168" y="92393"/>
                  </a:cubicBezTo>
                  <a:cubicBezTo>
                    <a:pt x="209360" y="100775"/>
                    <a:pt x="213455" y="111824"/>
                    <a:pt x="213455" y="125349"/>
                  </a:cubicBezTo>
                  <a:lnTo>
                    <a:pt x="183928" y="125349"/>
                  </a:lnTo>
                  <a:cubicBezTo>
                    <a:pt x="183928" y="119253"/>
                    <a:pt x="182213" y="114395"/>
                    <a:pt x="178975" y="110681"/>
                  </a:cubicBezTo>
                  <a:cubicBezTo>
                    <a:pt x="175641" y="106966"/>
                    <a:pt x="171260" y="105156"/>
                    <a:pt x="165735" y="105156"/>
                  </a:cubicBezTo>
                  <a:lnTo>
                    <a:pt x="141161" y="105156"/>
                  </a:lnTo>
                  <a:cubicBezTo>
                    <a:pt x="135065" y="105156"/>
                    <a:pt x="130207" y="106490"/>
                    <a:pt x="126492" y="109061"/>
                  </a:cubicBezTo>
                  <a:cubicBezTo>
                    <a:pt x="122777" y="111633"/>
                    <a:pt x="120968" y="115157"/>
                    <a:pt x="120968" y="119444"/>
                  </a:cubicBezTo>
                  <a:lnTo>
                    <a:pt x="120968" y="125349"/>
                  </a:lnTo>
                  <a:cubicBezTo>
                    <a:pt x="120968" y="132588"/>
                    <a:pt x="125921" y="137065"/>
                    <a:pt x="135922" y="138779"/>
                  </a:cubicBezTo>
                  <a:lnTo>
                    <a:pt x="175641" y="145733"/>
                  </a:lnTo>
                  <a:cubicBezTo>
                    <a:pt x="188786" y="148019"/>
                    <a:pt x="198882" y="152114"/>
                    <a:pt x="205835" y="158020"/>
                  </a:cubicBezTo>
                  <a:cubicBezTo>
                    <a:pt x="212789" y="163925"/>
                    <a:pt x="216217" y="171450"/>
                    <a:pt x="216217" y="180689"/>
                  </a:cubicBezTo>
                  <a:lnTo>
                    <a:pt x="216217" y="194977"/>
                  </a:lnTo>
                  <a:close/>
                </a:path>
              </a:pathLst>
            </a:custGeom>
            <a:solidFill>
              <a:srgbClr val="40AA1D"/>
            </a:solidFill>
            <a:ln w="0" cap="flat">
              <a:noFill/>
              <a:prstDash val="solid"/>
              <a:miter/>
            </a:ln>
          </p:spPr>
          <p:txBody>
            <a:bodyPr rtlCol="0" anchor="ctr"/>
            <a:lstStyle/>
            <a:p>
              <a:endParaRPr lang="en-US" dirty="0"/>
            </a:p>
          </p:txBody>
        </p:sp>
        <p:pic>
          <p:nvPicPr>
            <p:cNvPr id="25" name="Graphic 24">
              <a:extLst>
                <a:ext uri="{FF2B5EF4-FFF2-40B4-BE49-F238E27FC236}">
                  <a16:creationId xmlns:a16="http://schemas.microsoft.com/office/drawing/2014/main" id="{B2E73EE0-9E83-1A4A-2B17-A09DCAD0081C}"/>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588461" y="4482298"/>
              <a:ext cx="609600" cy="609600"/>
            </a:xfrm>
            <a:prstGeom prst="rect">
              <a:avLst/>
            </a:prstGeom>
          </p:spPr>
        </p:pic>
      </p:grpSp>
      <p:grpSp>
        <p:nvGrpSpPr>
          <p:cNvPr id="27" name="Group 26">
            <a:extLst>
              <a:ext uri="{FF2B5EF4-FFF2-40B4-BE49-F238E27FC236}">
                <a16:creationId xmlns:a16="http://schemas.microsoft.com/office/drawing/2014/main" id="{728F0A89-6F58-E0BA-3761-8FFF1475AD2F}"/>
              </a:ext>
            </a:extLst>
          </p:cNvPr>
          <p:cNvGrpSpPr/>
          <p:nvPr/>
        </p:nvGrpSpPr>
        <p:grpSpPr>
          <a:xfrm>
            <a:off x="1780049" y="4346359"/>
            <a:ext cx="738046" cy="745539"/>
            <a:chOff x="1844701" y="4346359"/>
            <a:chExt cx="738046" cy="745539"/>
          </a:xfrm>
        </p:grpSpPr>
        <p:sp>
          <p:nvSpPr>
            <p:cNvPr id="34" name="Freeform: Shape 33">
              <a:extLst>
                <a:ext uri="{FF2B5EF4-FFF2-40B4-BE49-F238E27FC236}">
                  <a16:creationId xmlns:a16="http://schemas.microsoft.com/office/drawing/2014/main" id="{BFE93488-210A-88F4-BB92-C986B533A4EC}"/>
                </a:ext>
              </a:extLst>
            </p:cNvPr>
            <p:cNvSpPr/>
            <p:nvPr/>
          </p:nvSpPr>
          <p:spPr>
            <a:xfrm>
              <a:off x="2432531" y="4536859"/>
              <a:ext cx="150216" cy="152400"/>
            </a:xfrm>
            <a:custGeom>
              <a:avLst/>
              <a:gdLst>
                <a:gd name="connsiteX0" fmla="*/ 150216 w 150216"/>
                <a:gd name="connsiteY0" fmla="*/ 100965 h 152400"/>
                <a:gd name="connsiteX1" fmla="*/ 74636 w 150216"/>
                <a:gd name="connsiteY1" fmla="*/ 0 h 152400"/>
                <a:gd name="connsiteX2" fmla="*/ 0 w 150216"/>
                <a:gd name="connsiteY2" fmla="*/ 100965 h 152400"/>
                <a:gd name="connsiteX3" fmla="*/ 18895 w 150216"/>
                <a:gd name="connsiteY3" fmla="*/ 100965 h 152400"/>
                <a:gd name="connsiteX4" fmla="*/ 18895 w 150216"/>
                <a:gd name="connsiteY4" fmla="*/ 152400 h 152400"/>
                <a:gd name="connsiteX5" fmla="*/ 53851 w 150216"/>
                <a:gd name="connsiteY5" fmla="*/ 152400 h 152400"/>
                <a:gd name="connsiteX6" fmla="*/ 53851 w 150216"/>
                <a:gd name="connsiteY6" fmla="*/ 106680 h 152400"/>
                <a:gd name="connsiteX7" fmla="*/ 94476 w 150216"/>
                <a:gd name="connsiteY7" fmla="*/ 106680 h 152400"/>
                <a:gd name="connsiteX8" fmla="*/ 94476 w 150216"/>
                <a:gd name="connsiteY8" fmla="*/ 125730 h 152400"/>
                <a:gd name="connsiteX9" fmla="*/ 94476 w 150216"/>
                <a:gd name="connsiteY9" fmla="*/ 152400 h 152400"/>
                <a:gd name="connsiteX10" fmla="*/ 131321 w 150216"/>
                <a:gd name="connsiteY10" fmla="*/ 152400 h 152400"/>
                <a:gd name="connsiteX11" fmla="*/ 131321 w 150216"/>
                <a:gd name="connsiteY11" fmla="*/ 10096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0216" h="152400">
                  <a:moveTo>
                    <a:pt x="150216" y="100965"/>
                  </a:moveTo>
                  <a:lnTo>
                    <a:pt x="74636" y="0"/>
                  </a:lnTo>
                  <a:lnTo>
                    <a:pt x="0" y="100965"/>
                  </a:lnTo>
                  <a:lnTo>
                    <a:pt x="18895" y="100965"/>
                  </a:lnTo>
                  <a:lnTo>
                    <a:pt x="18895" y="152400"/>
                  </a:lnTo>
                  <a:lnTo>
                    <a:pt x="53851" y="152400"/>
                  </a:lnTo>
                  <a:lnTo>
                    <a:pt x="53851" y="106680"/>
                  </a:lnTo>
                  <a:lnTo>
                    <a:pt x="94476" y="106680"/>
                  </a:lnTo>
                  <a:lnTo>
                    <a:pt x="94476" y="125730"/>
                  </a:lnTo>
                  <a:lnTo>
                    <a:pt x="94476" y="152400"/>
                  </a:lnTo>
                  <a:lnTo>
                    <a:pt x="131321" y="152400"/>
                  </a:lnTo>
                  <a:lnTo>
                    <a:pt x="131321" y="100965"/>
                  </a:lnTo>
                  <a:close/>
                </a:path>
              </a:pathLst>
            </a:custGeom>
            <a:solidFill>
              <a:srgbClr val="40AA1D"/>
            </a:solidFill>
            <a:ln w="9409"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67371D15-0013-F997-20E9-859B86D58D59}"/>
                </a:ext>
              </a:extLst>
            </p:cNvPr>
            <p:cNvSpPr/>
            <p:nvPr/>
          </p:nvSpPr>
          <p:spPr>
            <a:xfrm>
              <a:off x="1883628" y="4441609"/>
              <a:ext cx="151160" cy="152400"/>
            </a:xfrm>
            <a:custGeom>
              <a:avLst/>
              <a:gdLst>
                <a:gd name="connsiteX0" fmla="*/ 109592 w 151160"/>
                <a:gd name="connsiteY0" fmla="*/ 0 h 152400"/>
                <a:gd name="connsiteX1" fmla="*/ 85973 w 151160"/>
                <a:gd name="connsiteY1" fmla="*/ 9525 h 152400"/>
                <a:gd name="connsiteX2" fmla="*/ 75580 w 151160"/>
                <a:gd name="connsiteY2" fmla="*/ 19050 h 152400"/>
                <a:gd name="connsiteX3" fmla="*/ 65188 w 151160"/>
                <a:gd name="connsiteY3" fmla="*/ 9525 h 152400"/>
                <a:gd name="connsiteX4" fmla="*/ 41569 w 151160"/>
                <a:gd name="connsiteY4" fmla="*/ 0 h 152400"/>
                <a:gd name="connsiteX5" fmla="*/ 0 w 151160"/>
                <a:gd name="connsiteY5" fmla="*/ 46672 h 152400"/>
                <a:gd name="connsiteX6" fmla="*/ 0 w 151160"/>
                <a:gd name="connsiteY6" fmla="*/ 46672 h 152400"/>
                <a:gd name="connsiteX7" fmla="*/ 11337 w 151160"/>
                <a:gd name="connsiteY7" fmla="*/ 76200 h 152400"/>
                <a:gd name="connsiteX8" fmla="*/ 75580 w 151160"/>
                <a:gd name="connsiteY8" fmla="*/ 152400 h 152400"/>
                <a:gd name="connsiteX9" fmla="*/ 139824 w 151160"/>
                <a:gd name="connsiteY9" fmla="*/ 77153 h 152400"/>
                <a:gd name="connsiteX10" fmla="*/ 151161 w 151160"/>
                <a:gd name="connsiteY10" fmla="*/ 47625 h 152400"/>
                <a:gd name="connsiteX11" fmla="*/ 151161 w 151160"/>
                <a:gd name="connsiteY11" fmla="*/ 47625 h 152400"/>
                <a:gd name="connsiteX12" fmla="*/ 109592 w 151160"/>
                <a:gd name="connsiteY12"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1160" h="152400">
                  <a:moveTo>
                    <a:pt x="109592" y="0"/>
                  </a:moveTo>
                  <a:cubicBezTo>
                    <a:pt x="101089" y="0"/>
                    <a:pt x="91641" y="5715"/>
                    <a:pt x="85973" y="9525"/>
                  </a:cubicBezTo>
                  <a:cubicBezTo>
                    <a:pt x="83139" y="11430"/>
                    <a:pt x="75580" y="19050"/>
                    <a:pt x="75580" y="19050"/>
                  </a:cubicBezTo>
                  <a:cubicBezTo>
                    <a:pt x="75580" y="19050"/>
                    <a:pt x="68022" y="12383"/>
                    <a:pt x="65188" y="9525"/>
                  </a:cubicBezTo>
                  <a:cubicBezTo>
                    <a:pt x="60464" y="5715"/>
                    <a:pt x="50072" y="0"/>
                    <a:pt x="41569" y="0"/>
                  </a:cubicBezTo>
                  <a:cubicBezTo>
                    <a:pt x="18895" y="0"/>
                    <a:pt x="0" y="20955"/>
                    <a:pt x="0" y="46672"/>
                  </a:cubicBezTo>
                  <a:cubicBezTo>
                    <a:pt x="0" y="46672"/>
                    <a:pt x="0" y="46672"/>
                    <a:pt x="0" y="46672"/>
                  </a:cubicBezTo>
                  <a:cubicBezTo>
                    <a:pt x="0" y="58103"/>
                    <a:pt x="4724" y="68580"/>
                    <a:pt x="11337" y="76200"/>
                  </a:cubicBezTo>
                  <a:lnTo>
                    <a:pt x="75580" y="152400"/>
                  </a:lnTo>
                  <a:lnTo>
                    <a:pt x="139824" y="77153"/>
                  </a:lnTo>
                  <a:cubicBezTo>
                    <a:pt x="146437" y="69532"/>
                    <a:pt x="151161" y="58103"/>
                    <a:pt x="151161" y="47625"/>
                  </a:cubicBezTo>
                  <a:cubicBezTo>
                    <a:pt x="151161" y="47625"/>
                    <a:pt x="151161" y="47625"/>
                    <a:pt x="151161" y="47625"/>
                  </a:cubicBezTo>
                  <a:cubicBezTo>
                    <a:pt x="151161" y="20955"/>
                    <a:pt x="132266" y="0"/>
                    <a:pt x="109592" y="0"/>
                  </a:cubicBezTo>
                  <a:close/>
                </a:path>
              </a:pathLst>
            </a:custGeom>
            <a:solidFill>
              <a:srgbClr val="40AA1D"/>
            </a:solidFill>
            <a:ln w="9409"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4D539487-A403-FB19-4129-54AC12D8A30B}"/>
                </a:ext>
              </a:extLst>
            </p:cNvPr>
            <p:cNvSpPr/>
            <p:nvPr/>
          </p:nvSpPr>
          <p:spPr>
            <a:xfrm>
              <a:off x="2110369" y="4346359"/>
              <a:ext cx="264531" cy="303847"/>
            </a:xfrm>
            <a:custGeom>
              <a:avLst/>
              <a:gdLst>
                <a:gd name="connsiteX0" fmla="*/ 132266 w 264531"/>
                <a:gd name="connsiteY0" fmla="*/ 0 h 303847"/>
                <a:gd name="connsiteX1" fmla="*/ 0 w 264531"/>
                <a:gd name="connsiteY1" fmla="*/ 36195 h 303847"/>
                <a:gd name="connsiteX2" fmla="*/ 0 w 264531"/>
                <a:gd name="connsiteY2" fmla="*/ 40958 h 303847"/>
                <a:gd name="connsiteX3" fmla="*/ 4724 w 264531"/>
                <a:gd name="connsiteY3" fmla="*/ 90488 h 303847"/>
                <a:gd name="connsiteX4" fmla="*/ 26453 w 264531"/>
                <a:gd name="connsiteY4" fmla="*/ 179070 h 303847"/>
                <a:gd name="connsiteX5" fmla="*/ 58575 w 264531"/>
                <a:gd name="connsiteY5" fmla="*/ 235268 h 303847"/>
                <a:gd name="connsiteX6" fmla="*/ 91641 w 264531"/>
                <a:gd name="connsiteY6" fmla="*/ 273368 h 303847"/>
                <a:gd name="connsiteX7" fmla="*/ 129432 w 264531"/>
                <a:gd name="connsiteY7" fmla="*/ 301943 h 303847"/>
                <a:gd name="connsiteX8" fmla="*/ 132266 w 264531"/>
                <a:gd name="connsiteY8" fmla="*/ 303848 h 303847"/>
                <a:gd name="connsiteX9" fmla="*/ 135100 w 264531"/>
                <a:gd name="connsiteY9" fmla="*/ 301943 h 303847"/>
                <a:gd name="connsiteX10" fmla="*/ 172890 w 264531"/>
                <a:gd name="connsiteY10" fmla="*/ 273368 h 303847"/>
                <a:gd name="connsiteX11" fmla="*/ 205957 w 264531"/>
                <a:gd name="connsiteY11" fmla="*/ 235268 h 303847"/>
                <a:gd name="connsiteX12" fmla="*/ 238079 w 264531"/>
                <a:gd name="connsiteY12" fmla="*/ 179070 h 303847"/>
                <a:gd name="connsiteX13" fmla="*/ 259808 w 264531"/>
                <a:gd name="connsiteY13" fmla="*/ 90488 h 303847"/>
                <a:gd name="connsiteX14" fmla="*/ 264532 w 264531"/>
                <a:gd name="connsiteY14" fmla="*/ 40005 h 303847"/>
                <a:gd name="connsiteX15" fmla="*/ 264532 w 264531"/>
                <a:gd name="connsiteY15" fmla="*/ 35243 h 303847"/>
                <a:gd name="connsiteX16" fmla="*/ 132266 w 264531"/>
                <a:gd name="connsiteY16" fmla="*/ 0 h 303847"/>
                <a:gd name="connsiteX17" fmla="*/ 191785 w 264531"/>
                <a:gd name="connsiteY17" fmla="*/ 157163 h 303847"/>
                <a:gd name="connsiteX18" fmla="*/ 149271 w 264531"/>
                <a:gd name="connsiteY18" fmla="*/ 157163 h 303847"/>
                <a:gd name="connsiteX19" fmla="*/ 149271 w 264531"/>
                <a:gd name="connsiteY19" fmla="*/ 200025 h 303847"/>
                <a:gd name="connsiteX20" fmla="*/ 111481 w 264531"/>
                <a:gd name="connsiteY20" fmla="*/ 200025 h 303847"/>
                <a:gd name="connsiteX21" fmla="*/ 111481 w 264531"/>
                <a:gd name="connsiteY21" fmla="*/ 157163 h 303847"/>
                <a:gd name="connsiteX22" fmla="*/ 68967 w 264531"/>
                <a:gd name="connsiteY22" fmla="*/ 157163 h 303847"/>
                <a:gd name="connsiteX23" fmla="*/ 68967 w 264531"/>
                <a:gd name="connsiteY23" fmla="*/ 119063 h 303847"/>
                <a:gd name="connsiteX24" fmla="*/ 111481 w 264531"/>
                <a:gd name="connsiteY24" fmla="*/ 119063 h 303847"/>
                <a:gd name="connsiteX25" fmla="*/ 111481 w 264531"/>
                <a:gd name="connsiteY25" fmla="*/ 76200 h 303847"/>
                <a:gd name="connsiteX26" fmla="*/ 149271 w 264531"/>
                <a:gd name="connsiteY26" fmla="*/ 76200 h 303847"/>
                <a:gd name="connsiteX27" fmla="*/ 149271 w 264531"/>
                <a:gd name="connsiteY27" fmla="*/ 119063 h 303847"/>
                <a:gd name="connsiteX28" fmla="*/ 191785 w 264531"/>
                <a:gd name="connsiteY28" fmla="*/ 119063 h 303847"/>
                <a:gd name="connsiteX29" fmla="*/ 191785 w 264531"/>
                <a:gd name="connsiteY29" fmla="*/ 157163 h 30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64531" h="303847">
                  <a:moveTo>
                    <a:pt x="132266" y="0"/>
                  </a:moveTo>
                  <a:lnTo>
                    <a:pt x="0" y="36195"/>
                  </a:lnTo>
                  <a:lnTo>
                    <a:pt x="0" y="40958"/>
                  </a:lnTo>
                  <a:cubicBezTo>
                    <a:pt x="0" y="41910"/>
                    <a:pt x="945" y="62865"/>
                    <a:pt x="4724" y="90488"/>
                  </a:cubicBezTo>
                  <a:cubicBezTo>
                    <a:pt x="9448" y="127635"/>
                    <a:pt x="17006" y="157163"/>
                    <a:pt x="26453" y="179070"/>
                  </a:cubicBezTo>
                  <a:cubicBezTo>
                    <a:pt x="34956" y="199073"/>
                    <a:pt x="45348" y="218123"/>
                    <a:pt x="58575" y="235268"/>
                  </a:cubicBezTo>
                  <a:cubicBezTo>
                    <a:pt x="68967" y="249555"/>
                    <a:pt x="79360" y="261938"/>
                    <a:pt x="91641" y="273368"/>
                  </a:cubicBezTo>
                  <a:cubicBezTo>
                    <a:pt x="112426" y="293370"/>
                    <a:pt x="128487" y="301943"/>
                    <a:pt x="129432" y="301943"/>
                  </a:cubicBezTo>
                  <a:lnTo>
                    <a:pt x="132266" y="303848"/>
                  </a:lnTo>
                  <a:lnTo>
                    <a:pt x="135100" y="301943"/>
                  </a:lnTo>
                  <a:cubicBezTo>
                    <a:pt x="136045" y="301943"/>
                    <a:pt x="152106" y="293370"/>
                    <a:pt x="172890" y="273368"/>
                  </a:cubicBezTo>
                  <a:cubicBezTo>
                    <a:pt x="185172" y="261938"/>
                    <a:pt x="196509" y="249555"/>
                    <a:pt x="205957" y="235268"/>
                  </a:cubicBezTo>
                  <a:cubicBezTo>
                    <a:pt x="218239" y="218123"/>
                    <a:pt x="229576" y="199073"/>
                    <a:pt x="238079" y="179070"/>
                  </a:cubicBezTo>
                  <a:cubicBezTo>
                    <a:pt x="247526" y="157163"/>
                    <a:pt x="254139" y="127635"/>
                    <a:pt x="259808" y="90488"/>
                  </a:cubicBezTo>
                  <a:cubicBezTo>
                    <a:pt x="262642" y="61913"/>
                    <a:pt x="264532" y="40958"/>
                    <a:pt x="264532" y="40005"/>
                  </a:cubicBezTo>
                  <a:lnTo>
                    <a:pt x="264532" y="35243"/>
                  </a:lnTo>
                  <a:lnTo>
                    <a:pt x="132266" y="0"/>
                  </a:lnTo>
                  <a:close/>
                  <a:moveTo>
                    <a:pt x="191785" y="157163"/>
                  </a:moveTo>
                  <a:lnTo>
                    <a:pt x="149271" y="157163"/>
                  </a:lnTo>
                  <a:lnTo>
                    <a:pt x="149271" y="200025"/>
                  </a:lnTo>
                  <a:lnTo>
                    <a:pt x="111481" y="200025"/>
                  </a:lnTo>
                  <a:lnTo>
                    <a:pt x="111481" y="157163"/>
                  </a:lnTo>
                  <a:lnTo>
                    <a:pt x="68967" y="157163"/>
                  </a:lnTo>
                  <a:lnTo>
                    <a:pt x="68967" y="119063"/>
                  </a:lnTo>
                  <a:lnTo>
                    <a:pt x="111481" y="119063"/>
                  </a:lnTo>
                  <a:lnTo>
                    <a:pt x="111481" y="76200"/>
                  </a:lnTo>
                  <a:lnTo>
                    <a:pt x="149271" y="76200"/>
                  </a:lnTo>
                  <a:lnTo>
                    <a:pt x="149271" y="119063"/>
                  </a:lnTo>
                  <a:lnTo>
                    <a:pt x="191785" y="119063"/>
                  </a:lnTo>
                  <a:lnTo>
                    <a:pt x="191785" y="157163"/>
                  </a:lnTo>
                  <a:close/>
                </a:path>
              </a:pathLst>
            </a:custGeom>
            <a:solidFill>
              <a:srgbClr val="40AA1D"/>
            </a:solidFill>
            <a:ln w="9409" cap="flat">
              <a:noFill/>
              <a:prstDash val="solid"/>
              <a:miter/>
            </a:ln>
          </p:spPr>
          <p:txBody>
            <a:bodyPr rtlCol="0" anchor="ctr"/>
            <a:lstStyle/>
            <a:p>
              <a:endParaRPr lang="en-US" dirty="0"/>
            </a:p>
          </p:txBody>
        </p:sp>
        <p:pic>
          <p:nvPicPr>
            <p:cNvPr id="54" name="Graphic 53">
              <a:extLst>
                <a:ext uri="{FF2B5EF4-FFF2-40B4-BE49-F238E27FC236}">
                  <a16:creationId xmlns:a16="http://schemas.microsoft.com/office/drawing/2014/main" id="{3637BB0C-ACB2-454B-8C21-9F2B0C6B9948}"/>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1844701" y="4482298"/>
              <a:ext cx="609600" cy="609600"/>
            </a:xfrm>
            <a:prstGeom prst="rect">
              <a:avLst/>
            </a:prstGeom>
          </p:spPr>
        </p:pic>
      </p:grpSp>
      <p:grpSp>
        <p:nvGrpSpPr>
          <p:cNvPr id="55" name="Group 54">
            <a:extLst>
              <a:ext uri="{FF2B5EF4-FFF2-40B4-BE49-F238E27FC236}">
                <a16:creationId xmlns:a16="http://schemas.microsoft.com/office/drawing/2014/main" id="{CA1163E6-5ABD-DBD2-C5EB-479EB5CFC1DC}"/>
              </a:ext>
            </a:extLst>
          </p:cNvPr>
          <p:cNvGrpSpPr/>
          <p:nvPr/>
        </p:nvGrpSpPr>
        <p:grpSpPr>
          <a:xfrm>
            <a:off x="3066977" y="4378808"/>
            <a:ext cx="609600" cy="712980"/>
            <a:chOff x="3066977" y="4378918"/>
            <a:chExt cx="609600" cy="712980"/>
          </a:xfrm>
        </p:grpSpPr>
        <p:grpSp>
          <p:nvGrpSpPr>
            <p:cNvPr id="58" name="Graphic 43">
              <a:extLst>
                <a:ext uri="{FF2B5EF4-FFF2-40B4-BE49-F238E27FC236}">
                  <a16:creationId xmlns:a16="http://schemas.microsoft.com/office/drawing/2014/main" id="{E22E1A03-79C0-7264-A956-85E66F876ECC}"/>
                </a:ext>
              </a:extLst>
            </p:cNvPr>
            <p:cNvGrpSpPr/>
            <p:nvPr/>
          </p:nvGrpSpPr>
          <p:grpSpPr>
            <a:xfrm>
              <a:off x="3257889" y="4378918"/>
              <a:ext cx="227777" cy="260316"/>
              <a:chOff x="3669656" y="4150316"/>
              <a:chExt cx="249787" cy="285471"/>
            </a:xfrm>
            <a:solidFill>
              <a:srgbClr val="40AA1D"/>
            </a:solidFill>
          </p:grpSpPr>
          <p:grpSp>
            <p:nvGrpSpPr>
              <p:cNvPr id="80" name="Graphic 43">
                <a:extLst>
                  <a:ext uri="{FF2B5EF4-FFF2-40B4-BE49-F238E27FC236}">
                    <a16:creationId xmlns:a16="http://schemas.microsoft.com/office/drawing/2014/main" id="{BFF8AEE2-E01D-7CA0-7FC6-6BB052287E71}"/>
                  </a:ext>
                </a:extLst>
              </p:cNvPr>
              <p:cNvGrpSpPr/>
              <p:nvPr/>
            </p:nvGrpSpPr>
            <p:grpSpPr>
              <a:xfrm>
                <a:off x="3683037" y="4297512"/>
                <a:ext cx="223024" cy="138275"/>
                <a:chOff x="3683037" y="4297512"/>
                <a:chExt cx="223024" cy="138275"/>
              </a:xfrm>
              <a:solidFill>
                <a:srgbClr val="40AA1D"/>
              </a:solidFill>
            </p:grpSpPr>
            <p:sp>
              <p:nvSpPr>
                <p:cNvPr id="1033" name="Freeform: Shape 1032">
                  <a:extLst>
                    <a:ext uri="{FF2B5EF4-FFF2-40B4-BE49-F238E27FC236}">
                      <a16:creationId xmlns:a16="http://schemas.microsoft.com/office/drawing/2014/main" id="{C344D5DA-662A-DE0D-F926-BB7416AA0D9E}"/>
                    </a:ext>
                  </a:extLst>
                </p:cNvPr>
                <p:cNvSpPr/>
                <p:nvPr/>
              </p:nvSpPr>
              <p:spPr>
                <a:xfrm>
                  <a:off x="3683037" y="4297512"/>
                  <a:ext cx="102591" cy="138275"/>
                </a:xfrm>
                <a:custGeom>
                  <a:avLst/>
                  <a:gdLst>
                    <a:gd name="connsiteX0" fmla="*/ 0 w 102591"/>
                    <a:gd name="connsiteY0" fmla="*/ 0 h 138275"/>
                    <a:gd name="connsiteX1" fmla="*/ 0 w 102591"/>
                    <a:gd name="connsiteY1" fmla="*/ 124894 h 138275"/>
                    <a:gd name="connsiteX2" fmla="*/ 13381 w 102591"/>
                    <a:gd name="connsiteY2" fmla="*/ 138275 h 138275"/>
                    <a:gd name="connsiteX3" fmla="*/ 102591 w 102591"/>
                    <a:gd name="connsiteY3" fmla="*/ 138275 h 138275"/>
                    <a:gd name="connsiteX4" fmla="*/ 102591 w 102591"/>
                    <a:gd name="connsiteY4" fmla="*/ 0 h 138275"/>
                    <a:gd name="connsiteX5" fmla="*/ 0 w 102591"/>
                    <a:gd name="connsiteY5" fmla="*/ 0 h 13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591" h="138275">
                      <a:moveTo>
                        <a:pt x="0" y="0"/>
                      </a:moveTo>
                      <a:lnTo>
                        <a:pt x="0" y="124894"/>
                      </a:lnTo>
                      <a:cubicBezTo>
                        <a:pt x="0" y="132030"/>
                        <a:pt x="6245" y="138275"/>
                        <a:pt x="13381" y="138275"/>
                      </a:cubicBezTo>
                      <a:lnTo>
                        <a:pt x="102591" y="138275"/>
                      </a:lnTo>
                      <a:lnTo>
                        <a:pt x="102591" y="0"/>
                      </a:lnTo>
                      <a:lnTo>
                        <a:pt x="0" y="0"/>
                      </a:lnTo>
                      <a:close/>
                    </a:path>
                  </a:pathLst>
                </a:custGeom>
                <a:solidFill>
                  <a:srgbClr val="40AA1D"/>
                </a:solidFill>
                <a:ln w="8828" cap="flat">
                  <a:noFill/>
                  <a:prstDash val="solid"/>
                  <a:miter/>
                </a:ln>
              </p:spPr>
              <p:txBody>
                <a:bodyPr rtlCol="0" anchor="ctr"/>
                <a:lstStyle/>
                <a:p>
                  <a:endParaRPr lang="en-US" dirty="0"/>
                </a:p>
              </p:txBody>
            </p:sp>
            <p:sp>
              <p:nvSpPr>
                <p:cNvPr id="1034" name="Freeform: Shape 1033">
                  <a:extLst>
                    <a:ext uri="{FF2B5EF4-FFF2-40B4-BE49-F238E27FC236}">
                      <a16:creationId xmlns:a16="http://schemas.microsoft.com/office/drawing/2014/main" id="{69AD278F-D4EE-B135-F4E2-4B2A26C3B882}"/>
                    </a:ext>
                  </a:extLst>
                </p:cNvPr>
                <p:cNvSpPr/>
                <p:nvPr/>
              </p:nvSpPr>
              <p:spPr>
                <a:xfrm>
                  <a:off x="3803470" y="4297512"/>
                  <a:ext cx="102591" cy="138275"/>
                </a:xfrm>
                <a:custGeom>
                  <a:avLst/>
                  <a:gdLst>
                    <a:gd name="connsiteX0" fmla="*/ 0 w 102591"/>
                    <a:gd name="connsiteY0" fmla="*/ 0 h 138275"/>
                    <a:gd name="connsiteX1" fmla="*/ 0 w 102591"/>
                    <a:gd name="connsiteY1" fmla="*/ 138275 h 138275"/>
                    <a:gd name="connsiteX2" fmla="*/ 89210 w 102591"/>
                    <a:gd name="connsiteY2" fmla="*/ 138275 h 138275"/>
                    <a:gd name="connsiteX3" fmla="*/ 102591 w 102591"/>
                    <a:gd name="connsiteY3" fmla="*/ 124894 h 138275"/>
                    <a:gd name="connsiteX4" fmla="*/ 102591 w 102591"/>
                    <a:gd name="connsiteY4" fmla="*/ 0 h 138275"/>
                    <a:gd name="connsiteX5" fmla="*/ 0 w 102591"/>
                    <a:gd name="connsiteY5" fmla="*/ 0 h 13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591" h="138275">
                      <a:moveTo>
                        <a:pt x="0" y="0"/>
                      </a:moveTo>
                      <a:lnTo>
                        <a:pt x="0" y="138275"/>
                      </a:lnTo>
                      <a:lnTo>
                        <a:pt x="89210" y="138275"/>
                      </a:lnTo>
                      <a:cubicBezTo>
                        <a:pt x="96347" y="138275"/>
                        <a:pt x="102591" y="132030"/>
                        <a:pt x="102591" y="124894"/>
                      </a:cubicBezTo>
                      <a:lnTo>
                        <a:pt x="102591" y="0"/>
                      </a:lnTo>
                      <a:lnTo>
                        <a:pt x="0" y="0"/>
                      </a:lnTo>
                      <a:close/>
                    </a:path>
                  </a:pathLst>
                </a:custGeom>
                <a:solidFill>
                  <a:srgbClr val="40AA1D"/>
                </a:solidFill>
                <a:ln w="8828" cap="flat">
                  <a:noFill/>
                  <a:prstDash val="solid"/>
                  <a:miter/>
                </a:ln>
              </p:spPr>
              <p:txBody>
                <a:bodyPr rtlCol="0" anchor="ctr"/>
                <a:lstStyle/>
                <a:p>
                  <a:endParaRPr lang="en-US" dirty="0"/>
                </a:p>
              </p:txBody>
            </p:sp>
          </p:grpSp>
          <p:grpSp>
            <p:nvGrpSpPr>
              <p:cNvPr id="84" name="Graphic 43">
                <a:extLst>
                  <a:ext uri="{FF2B5EF4-FFF2-40B4-BE49-F238E27FC236}">
                    <a16:creationId xmlns:a16="http://schemas.microsoft.com/office/drawing/2014/main" id="{FD4710AE-D443-C1A0-8C7D-D5DFF5FECF0C}"/>
                  </a:ext>
                </a:extLst>
              </p:cNvPr>
              <p:cNvGrpSpPr/>
              <p:nvPr/>
            </p:nvGrpSpPr>
            <p:grpSpPr>
              <a:xfrm>
                <a:off x="3669656" y="4226144"/>
                <a:ext cx="249787" cy="53525"/>
                <a:chOff x="3669656" y="4226144"/>
                <a:chExt cx="249787" cy="53525"/>
              </a:xfrm>
              <a:solidFill>
                <a:srgbClr val="40AA1D"/>
              </a:solidFill>
            </p:grpSpPr>
            <p:sp>
              <p:nvSpPr>
                <p:cNvPr id="1029" name="Freeform: Shape 1028">
                  <a:extLst>
                    <a:ext uri="{FF2B5EF4-FFF2-40B4-BE49-F238E27FC236}">
                      <a16:creationId xmlns:a16="http://schemas.microsoft.com/office/drawing/2014/main" id="{F630669B-C3B8-B557-961C-68A4C0D7D328}"/>
                    </a:ext>
                  </a:extLst>
                </p:cNvPr>
                <p:cNvSpPr/>
                <p:nvPr/>
              </p:nvSpPr>
              <p:spPr>
                <a:xfrm>
                  <a:off x="3803470" y="4226144"/>
                  <a:ext cx="115972" cy="53525"/>
                </a:xfrm>
                <a:custGeom>
                  <a:avLst/>
                  <a:gdLst>
                    <a:gd name="connsiteX0" fmla="*/ 0 w 115972"/>
                    <a:gd name="connsiteY0" fmla="*/ 0 h 53525"/>
                    <a:gd name="connsiteX1" fmla="*/ 115973 w 115972"/>
                    <a:gd name="connsiteY1" fmla="*/ 0 h 53525"/>
                    <a:gd name="connsiteX2" fmla="*/ 115973 w 115972"/>
                    <a:gd name="connsiteY2" fmla="*/ 53526 h 53525"/>
                    <a:gd name="connsiteX3" fmla="*/ 0 w 115972"/>
                    <a:gd name="connsiteY3" fmla="*/ 53526 h 53525"/>
                  </a:gdLst>
                  <a:ahLst/>
                  <a:cxnLst>
                    <a:cxn ang="0">
                      <a:pos x="connsiteX0" y="connsiteY0"/>
                    </a:cxn>
                    <a:cxn ang="0">
                      <a:pos x="connsiteX1" y="connsiteY1"/>
                    </a:cxn>
                    <a:cxn ang="0">
                      <a:pos x="connsiteX2" y="connsiteY2"/>
                    </a:cxn>
                    <a:cxn ang="0">
                      <a:pos x="connsiteX3" y="connsiteY3"/>
                    </a:cxn>
                  </a:cxnLst>
                  <a:rect l="l" t="t" r="r" b="b"/>
                  <a:pathLst>
                    <a:path w="115972" h="53525">
                      <a:moveTo>
                        <a:pt x="0" y="0"/>
                      </a:moveTo>
                      <a:lnTo>
                        <a:pt x="115973" y="0"/>
                      </a:lnTo>
                      <a:lnTo>
                        <a:pt x="115973" y="53526"/>
                      </a:lnTo>
                      <a:lnTo>
                        <a:pt x="0" y="53526"/>
                      </a:lnTo>
                      <a:close/>
                    </a:path>
                  </a:pathLst>
                </a:custGeom>
                <a:solidFill>
                  <a:srgbClr val="40AA1D"/>
                </a:solidFill>
                <a:ln w="8828" cap="flat">
                  <a:noFill/>
                  <a:prstDash val="solid"/>
                  <a:miter/>
                </a:ln>
              </p:spPr>
              <p:txBody>
                <a:bodyPr rtlCol="0" anchor="ctr"/>
                <a:lstStyle/>
                <a:p>
                  <a:endParaRPr lang="en-US" dirty="0"/>
                </a:p>
              </p:txBody>
            </p:sp>
            <p:sp>
              <p:nvSpPr>
                <p:cNvPr id="1032" name="Freeform: Shape 1031">
                  <a:extLst>
                    <a:ext uri="{FF2B5EF4-FFF2-40B4-BE49-F238E27FC236}">
                      <a16:creationId xmlns:a16="http://schemas.microsoft.com/office/drawing/2014/main" id="{6D2E0029-0A15-0225-34BE-F412445CAE84}"/>
                    </a:ext>
                  </a:extLst>
                </p:cNvPr>
                <p:cNvSpPr/>
                <p:nvPr/>
              </p:nvSpPr>
              <p:spPr>
                <a:xfrm>
                  <a:off x="3669656" y="4226144"/>
                  <a:ext cx="115972" cy="53525"/>
                </a:xfrm>
                <a:custGeom>
                  <a:avLst/>
                  <a:gdLst>
                    <a:gd name="connsiteX0" fmla="*/ 0 w 115972"/>
                    <a:gd name="connsiteY0" fmla="*/ 0 h 53525"/>
                    <a:gd name="connsiteX1" fmla="*/ 115973 w 115972"/>
                    <a:gd name="connsiteY1" fmla="*/ 0 h 53525"/>
                    <a:gd name="connsiteX2" fmla="*/ 115973 w 115972"/>
                    <a:gd name="connsiteY2" fmla="*/ 53526 h 53525"/>
                    <a:gd name="connsiteX3" fmla="*/ 0 w 115972"/>
                    <a:gd name="connsiteY3" fmla="*/ 53526 h 53525"/>
                  </a:gdLst>
                  <a:ahLst/>
                  <a:cxnLst>
                    <a:cxn ang="0">
                      <a:pos x="connsiteX0" y="connsiteY0"/>
                    </a:cxn>
                    <a:cxn ang="0">
                      <a:pos x="connsiteX1" y="connsiteY1"/>
                    </a:cxn>
                    <a:cxn ang="0">
                      <a:pos x="connsiteX2" y="connsiteY2"/>
                    </a:cxn>
                    <a:cxn ang="0">
                      <a:pos x="connsiteX3" y="connsiteY3"/>
                    </a:cxn>
                  </a:cxnLst>
                  <a:rect l="l" t="t" r="r" b="b"/>
                  <a:pathLst>
                    <a:path w="115972" h="53525">
                      <a:moveTo>
                        <a:pt x="0" y="0"/>
                      </a:moveTo>
                      <a:lnTo>
                        <a:pt x="115973" y="0"/>
                      </a:lnTo>
                      <a:lnTo>
                        <a:pt x="115973" y="53526"/>
                      </a:lnTo>
                      <a:lnTo>
                        <a:pt x="0" y="53526"/>
                      </a:lnTo>
                      <a:close/>
                    </a:path>
                  </a:pathLst>
                </a:custGeom>
                <a:solidFill>
                  <a:srgbClr val="40AA1D"/>
                </a:solidFill>
                <a:ln w="8828" cap="flat">
                  <a:noFill/>
                  <a:prstDash val="solid"/>
                  <a:miter/>
                </a:ln>
              </p:spPr>
              <p:txBody>
                <a:bodyPr rtlCol="0" anchor="ctr"/>
                <a:lstStyle/>
                <a:p>
                  <a:endParaRPr lang="en-US" dirty="0"/>
                </a:p>
              </p:txBody>
            </p:sp>
          </p:grpSp>
          <p:sp>
            <p:nvSpPr>
              <p:cNvPr id="88" name="Freeform: Shape 87">
                <a:extLst>
                  <a:ext uri="{FF2B5EF4-FFF2-40B4-BE49-F238E27FC236}">
                    <a16:creationId xmlns:a16="http://schemas.microsoft.com/office/drawing/2014/main" id="{347D8AA5-B693-725A-B8A8-75D9FE155464}"/>
                  </a:ext>
                </a:extLst>
              </p:cNvPr>
              <p:cNvSpPr/>
              <p:nvPr/>
            </p:nvSpPr>
            <p:spPr>
              <a:xfrm>
                <a:off x="3725858" y="4150316"/>
                <a:ext cx="135598" cy="74936"/>
              </a:xfrm>
              <a:custGeom>
                <a:avLst/>
                <a:gdLst>
                  <a:gd name="connsiteX0" fmla="*/ 99915 w 135598"/>
                  <a:gd name="connsiteY0" fmla="*/ 0 h 74936"/>
                  <a:gd name="connsiteX1" fmla="*/ 68692 w 135598"/>
                  <a:gd name="connsiteY1" fmla="*/ 16058 h 74936"/>
                  <a:gd name="connsiteX2" fmla="*/ 37468 w 135598"/>
                  <a:gd name="connsiteY2" fmla="*/ 0 h 74936"/>
                  <a:gd name="connsiteX3" fmla="*/ 0 w 135598"/>
                  <a:gd name="connsiteY3" fmla="*/ 37468 h 74936"/>
                  <a:gd name="connsiteX4" fmla="*/ 37468 w 135598"/>
                  <a:gd name="connsiteY4" fmla="*/ 74936 h 74936"/>
                  <a:gd name="connsiteX5" fmla="*/ 38360 w 135598"/>
                  <a:gd name="connsiteY5" fmla="*/ 74936 h 74936"/>
                  <a:gd name="connsiteX6" fmla="*/ 97239 w 135598"/>
                  <a:gd name="connsiteY6" fmla="*/ 74936 h 74936"/>
                  <a:gd name="connsiteX7" fmla="*/ 98131 w 135598"/>
                  <a:gd name="connsiteY7" fmla="*/ 74936 h 74936"/>
                  <a:gd name="connsiteX8" fmla="*/ 135599 w 135598"/>
                  <a:gd name="connsiteY8" fmla="*/ 37468 h 74936"/>
                  <a:gd name="connsiteX9" fmla="*/ 99915 w 135598"/>
                  <a:gd name="connsiteY9" fmla="*/ 0 h 74936"/>
                  <a:gd name="connsiteX10" fmla="*/ 17842 w 135598"/>
                  <a:gd name="connsiteY10" fmla="*/ 37468 h 74936"/>
                  <a:gd name="connsiteX11" fmla="*/ 37468 w 135598"/>
                  <a:gd name="connsiteY11" fmla="*/ 17842 h 74936"/>
                  <a:gd name="connsiteX12" fmla="*/ 57094 w 135598"/>
                  <a:gd name="connsiteY12" fmla="*/ 37468 h 74936"/>
                  <a:gd name="connsiteX13" fmla="*/ 37468 w 135598"/>
                  <a:gd name="connsiteY13" fmla="*/ 57094 h 74936"/>
                  <a:gd name="connsiteX14" fmla="*/ 17842 w 135598"/>
                  <a:gd name="connsiteY14" fmla="*/ 37468 h 74936"/>
                  <a:gd name="connsiteX15" fmla="*/ 99915 w 135598"/>
                  <a:gd name="connsiteY15" fmla="*/ 57986 h 74936"/>
                  <a:gd name="connsiteX16" fmla="*/ 80289 w 135598"/>
                  <a:gd name="connsiteY16" fmla="*/ 38360 h 74936"/>
                  <a:gd name="connsiteX17" fmla="*/ 99915 w 135598"/>
                  <a:gd name="connsiteY17" fmla="*/ 18734 h 74936"/>
                  <a:gd name="connsiteX18" fmla="*/ 119541 w 135598"/>
                  <a:gd name="connsiteY18" fmla="*/ 38360 h 74936"/>
                  <a:gd name="connsiteX19" fmla="*/ 99915 w 135598"/>
                  <a:gd name="connsiteY19" fmla="*/ 57986 h 74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598" h="74936">
                    <a:moveTo>
                      <a:pt x="99915" y="0"/>
                    </a:moveTo>
                    <a:cubicBezTo>
                      <a:pt x="86533" y="0"/>
                      <a:pt x="75828" y="6245"/>
                      <a:pt x="68692" y="16058"/>
                    </a:cubicBezTo>
                    <a:cubicBezTo>
                      <a:pt x="61555" y="6245"/>
                      <a:pt x="50850" y="0"/>
                      <a:pt x="37468" y="0"/>
                    </a:cubicBezTo>
                    <a:cubicBezTo>
                      <a:pt x="16950" y="0"/>
                      <a:pt x="0" y="16950"/>
                      <a:pt x="0" y="37468"/>
                    </a:cubicBezTo>
                    <a:cubicBezTo>
                      <a:pt x="0" y="57986"/>
                      <a:pt x="16950" y="74936"/>
                      <a:pt x="37468" y="74936"/>
                    </a:cubicBezTo>
                    <a:cubicBezTo>
                      <a:pt x="38360" y="74936"/>
                      <a:pt x="38360" y="74936"/>
                      <a:pt x="38360" y="74936"/>
                    </a:cubicBezTo>
                    <a:lnTo>
                      <a:pt x="97239" y="74936"/>
                    </a:lnTo>
                    <a:cubicBezTo>
                      <a:pt x="98131" y="74936"/>
                      <a:pt x="98131" y="74936"/>
                      <a:pt x="98131" y="74936"/>
                    </a:cubicBezTo>
                    <a:cubicBezTo>
                      <a:pt x="118649" y="74936"/>
                      <a:pt x="135599" y="57986"/>
                      <a:pt x="135599" y="37468"/>
                    </a:cubicBezTo>
                    <a:cubicBezTo>
                      <a:pt x="135599" y="16950"/>
                      <a:pt x="120433" y="0"/>
                      <a:pt x="99915" y="0"/>
                    </a:cubicBezTo>
                    <a:close/>
                    <a:moveTo>
                      <a:pt x="17842" y="37468"/>
                    </a:moveTo>
                    <a:cubicBezTo>
                      <a:pt x="17842" y="26763"/>
                      <a:pt x="26763" y="17842"/>
                      <a:pt x="37468" y="17842"/>
                    </a:cubicBezTo>
                    <a:cubicBezTo>
                      <a:pt x="48173" y="17842"/>
                      <a:pt x="57094" y="26763"/>
                      <a:pt x="57094" y="37468"/>
                    </a:cubicBezTo>
                    <a:cubicBezTo>
                      <a:pt x="57094" y="48173"/>
                      <a:pt x="48173" y="57094"/>
                      <a:pt x="37468" y="57094"/>
                    </a:cubicBezTo>
                    <a:cubicBezTo>
                      <a:pt x="26763" y="57094"/>
                      <a:pt x="17842" y="49065"/>
                      <a:pt x="17842" y="37468"/>
                    </a:cubicBezTo>
                    <a:close/>
                    <a:moveTo>
                      <a:pt x="99915" y="57986"/>
                    </a:moveTo>
                    <a:cubicBezTo>
                      <a:pt x="89210" y="57986"/>
                      <a:pt x="80289" y="49065"/>
                      <a:pt x="80289" y="38360"/>
                    </a:cubicBezTo>
                    <a:cubicBezTo>
                      <a:pt x="80289" y="27655"/>
                      <a:pt x="89210" y="18734"/>
                      <a:pt x="99915" y="18734"/>
                    </a:cubicBezTo>
                    <a:cubicBezTo>
                      <a:pt x="110620" y="18734"/>
                      <a:pt x="119541" y="27655"/>
                      <a:pt x="119541" y="38360"/>
                    </a:cubicBezTo>
                    <a:cubicBezTo>
                      <a:pt x="119541" y="49065"/>
                      <a:pt x="110620" y="57986"/>
                      <a:pt x="99915" y="57986"/>
                    </a:cubicBezTo>
                    <a:close/>
                  </a:path>
                </a:pathLst>
              </a:custGeom>
              <a:solidFill>
                <a:srgbClr val="40AA1D"/>
              </a:solidFill>
              <a:ln w="8828" cap="flat">
                <a:noFill/>
                <a:prstDash val="solid"/>
                <a:miter/>
              </a:ln>
            </p:spPr>
            <p:txBody>
              <a:bodyPr rtlCol="0" anchor="ctr"/>
              <a:lstStyle/>
              <a:p>
                <a:endParaRPr lang="en-US" dirty="0"/>
              </a:p>
            </p:txBody>
          </p:sp>
        </p:grpSp>
        <p:pic>
          <p:nvPicPr>
            <p:cNvPr id="70" name="Graphic 69">
              <a:extLst>
                <a:ext uri="{FF2B5EF4-FFF2-40B4-BE49-F238E27FC236}">
                  <a16:creationId xmlns:a16="http://schemas.microsoft.com/office/drawing/2014/main" id="{F0231808-CB7B-D0FA-CD43-91BB09728B00}"/>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3066977" y="4482298"/>
              <a:ext cx="609600" cy="609600"/>
            </a:xfrm>
            <a:prstGeom prst="rect">
              <a:avLst/>
            </a:prstGeom>
          </p:spPr>
        </p:pic>
      </p:grpSp>
    </p:spTree>
    <p:extLst>
      <p:ext uri="{BB962C8B-B14F-4D97-AF65-F5344CB8AC3E}">
        <p14:creationId xmlns:p14="http://schemas.microsoft.com/office/powerpoint/2010/main" val="19365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6D4DC-3B3B-4C01-A598-B5CD4BF27413}"/>
              </a:ext>
            </a:extLst>
          </p:cNvPr>
          <p:cNvSpPr>
            <a:spLocks noGrp="1"/>
          </p:cNvSpPr>
          <p:nvPr>
            <p:ph type="title"/>
          </p:nvPr>
        </p:nvSpPr>
        <p:spPr>
          <a:xfrm>
            <a:off x="490760" y="547539"/>
            <a:ext cx="10789920" cy="369332"/>
          </a:xfrm>
        </p:spPr>
        <p:txBody>
          <a:bodyPr/>
          <a:lstStyle/>
          <a:p>
            <a:r>
              <a:rPr lang="en-US" dirty="0"/>
              <a:t>PTC ICONS</a:t>
            </a:r>
          </a:p>
        </p:txBody>
      </p:sp>
      <p:pic>
        <p:nvPicPr>
          <p:cNvPr id="101" name="Graphic 100">
            <a:extLst>
              <a:ext uri="{FF2B5EF4-FFF2-40B4-BE49-F238E27FC236}">
                <a16:creationId xmlns:a16="http://schemas.microsoft.com/office/drawing/2014/main" id="{FB790B99-9EB7-4FC0-8B70-CA9AA257F836}"/>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405" r="25557"/>
          <a:stretch/>
        </p:blipFill>
        <p:spPr>
          <a:xfrm>
            <a:off x="1748829" y="1882814"/>
            <a:ext cx="294304" cy="612648"/>
          </a:xfrm>
          <a:prstGeom prst="rect">
            <a:avLst/>
          </a:prstGeom>
        </p:spPr>
      </p:pic>
      <p:pic>
        <p:nvPicPr>
          <p:cNvPr id="103" name="Graphic 102">
            <a:extLst>
              <a:ext uri="{FF2B5EF4-FFF2-40B4-BE49-F238E27FC236}">
                <a16:creationId xmlns:a16="http://schemas.microsoft.com/office/drawing/2014/main" id="{856FB589-76D2-436E-AA47-052872BDD3B2}"/>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t="1218" b="2341"/>
          <a:stretch/>
        </p:blipFill>
        <p:spPr>
          <a:xfrm>
            <a:off x="2677234" y="1893714"/>
            <a:ext cx="612648" cy="590849"/>
          </a:xfrm>
          <a:prstGeom prst="rect">
            <a:avLst/>
          </a:prstGeom>
        </p:spPr>
      </p:pic>
      <p:pic>
        <p:nvPicPr>
          <p:cNvPr id="105" name="Graphic 104">
            <a:extLst>
              <a:ext uri="{FF2B5EF4-FFF2-40B4-BE49-F238E27FC236}">
                <a16:creationId xmlns:a16="http://schemas.microsoft.com/office/drawing/2014/main" id="{E2494D2A-7452-40E7-A0D0-3A889DEB2007}"/>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l="5936" t="8018" r="5241" b="7816"/>
          <a:stretch/>
        </p:blipFill>
        <p:spPr>
          <a:xfrm>
            <a:off x="5170732" y="1972458"/>
            <a:ext cx="608437" cy="433360"/>
          </a:xfrm>
          <a:prstGeom prst="rect">
            <a:avLst/>
          </a:prstGeom>
        </p:spPr>
      </p:pic>
      <p:sp>
        <p:nvSpPr>
          <p:cNvPr id="106" name="Text Placeholder 81">
            <a:extLst>
              <a:ext uri="{FF2B5EF4-FFF2-40B4-BE49-F238E27FC236}">
                <a16:creationId xmlns:a16="http://schemas.microsoft.com/office/drawing/2014/main" id="{65D9B9FD-2C30-4AF2-9E0D-33ECE8E1D1A2}"/>
              </a:ext>
            </a:extLst>
          </p:cNvPr>
          <p:cNvSpPr txBox="1">
            <a:spLocks/>
          </p:cNvSpPr>
          <p:nvPr/>
        </p:nvSpPr>
        <p:spPr>
          <a:xfrm>
            <a:off x="4971435" y="1598029"/>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YouTube</a:t>
            </a:r>
          </a:p>
        </p:txBody>
      </p:sp>
      <p:sp>
        <p:nvSpPr>
          <p:cNvPr id="107" name="Text Placeholder 81">
            <a:extLst>
              <a:ext uri="{FF2B5EF4-FFF2-40B4-BE49-F238E27FC236}">
                <a16:creationId xmlns:a16="http://schemas.microsoft.com/office/drawing/2014/main" id="{1A68AEB7-386E-464F-822E-B8C3D0BA0370}"/>
              </a:ext>
            </a:extLst>
          </p:cNvPr>
          <p:cNvSpPr txBox="1">
            <a:spLocks/>
          </p:cNvSpPr>
          <p:nvPr/>
        </p:nvSpPr>
        <p:spPr>
          <a:xfrm>
            <a:off x="3711198" y="1598029"/>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witter</a:t>
            </a:r>
          </a:p>
        </p:txBody>
      </p:sp>
      <p:sp>
        <p:nvSpPr>
          <p:cNvPr id="108" name="Text Placeholder 81">
            <a:extLst>
              <a:ext uri="{FF2B5EF4-FFF2-40B4-BE49-F238E27FC236}">
                <a16:creationId xmlns:a16="http://schemas.microsoft.com/office/drawing/2014/main" id="{3B53C3E6-CC21-4DE2-AA1E-79B50C8B4EDD}"/>
              </a:ext>
            </a:extLst>
          </p:cNvPr>
          <p:cNvSpPr txBox="1">
            <a:spLocks/>
          </p:cNvSpPr>
          <p:nvPr/>
        </p:nvSpPr>
        <p:spPr>
          <a:xfrm>
            <a:off x="2450961" y="1598029"/>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inkedIn</a:t>
            </a:r>
          </a:p>
        </p:txBody>
      </p:sp>
      <p:sp>
        <p:nvSpPr>
          <p:cNvPr id="110" name="Text Placeholder 81">
            <a:extLst>
              <a:ext uri="{FF2B5EF4-FFF2-40B4-BE49-F238E27FC236}">
                <a16:creationId xmlns:a16="http://schemas.microsoft.com/office/drawing/2014/main" id="{FBFE768A-A889-4296-9736-B3882180E1F7}"/>
              </a:ext>
            </a:extLst>
          </p:cNvPr>
          <p:cNvSpPr txBox="1">
            <a:spLocks/>
          </p:cNvSpPr>
          <p:nvPr/>
        </p:nvSpPr>
        <p:spPr>
          <a:xfrm>
            <a:off x="1440108" y="1598029"/>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acebook </a:t>
            </a:r>
          </a:p>
        </p:txBody>
      </p:sp>
      <p:sp>
        <p:nvSpPr>
          <p:cNvPr id="196" name="Rectangle 195">
            <a:extLst>
              <a:ext uri="{FF2B5EF4-FFF2-40B4-BE49-F238E27FC236}">
                <a16:creationId xmlns:a16="http://schemas.microsoft.com/office/drawing/2014/main" id="{6B73C685-B1E4-4B34-9990-3D5CAD73205A}"/>
              </a:ext>
            </a:extLst>
          </p:cNvPr>
          <p:cNvSpPr/>
          <p:nvPr/>
        </p:nvSpPr>
        <p:spPr>
          <a:xfrm>
            <a:off x="505745" y="1192744"/>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solidFill>
                  <a:schemeClr val="bg1"/>
                </a:solidFill>
              </a:rPr>
              <a:t>Social Media</a:t>
            </a:r>
          </a:p>
        </p:txBody>
      </p:sp>
      <p:sp>
        <p:nvSpPr>
          <p:cNvPr id="150" name="TextBox 149">
            <a:extLst>
              <a:ext uri="{FF2B5EF4-FFF2-40B4-BE49-F238E27FC236}">
                <a16:creationId xmlns:a16="http://schemas.microsoft.com/office/drawing/2014/main" id="{087CC832-DD9A-4397-B4D1-ED3BAC76817D}"/>
              </a:ext>
            </a:extLst>
          </p:cNvPr>
          <p:cNvSpPr txBox="1"/>
          <p:nvPr/>
        </p:nvSpPr>
        <p:spPr>
          <a:xfrm>
            <a:off x="669701" y="1598029"/>
            <a:ext cx="376705"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hare</a:t>
            </a:r>
          </a:p>
        </p:txBody>
      </p:sp>
      <p:pic>
        <p:nvPicPr>
          <p:cNvPr id="151" name="Graphic 150">
            <a:extLst>
              <a:ext uri="{FF2B5EF4-FFF2-40B4-BE49-F238E27FC236}">
                <a16:creationId xmlns:a16="http://schemas.microsoft.com/office/drawing/2014/main" id="{012D1077-BCDA-446D-B4D7-CEC55F25EEA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5128" y="1884338"/>
            <a:ext cx="609600" cy="609600"/>
          </a:xfrm>
          <a:prstGeom prst="rect">
            <a:avLst/>
          </a:prstGeom>
        </p:spPr>
      </p:pic>
      <p:sp>
        <p:nvSpPr>
          <p:cNvPr id="8" name="Text Placeholder 81">
            <a:extLst>
              <a:ext uri="{FF2B5EF4-FFF2-40B4-BE49-F238E27FC236}">
                <a16:creationId xmlns:a16="http://schemas.microsoft.com/office/drawing/2014/main" id="{4E74D60D-B04F-6BC0-FA59-2DA733C858C8}"/>
              </a:ext>
            </a:extLst>
          </p:cNvPr>
          <p:cNvSpPr txBox="1">
            <a:spLocks/>
          </p:cNvSpPr>
          <p:nvPr/>
        </p:nvSpPr>
        <p:spPr>
          <a:xfrm>
            <a:off x="6038780" y="33828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ower Button</a:t>
            </a:r>
          </a:p>
        </p:txBody>
      </p:sp>
      <p:sp>
        <p:nvSpPr>
          <p:cNvPr id="12" name="Text Placeholder 81">
            <a:extLst>
              <a:ext uri="{FF2B5EF4-FFF2-40B4-BE49-F238E27FC236}">
                <a16:creationId xmlns:a16="http://schemas.microsoft.com/office/drawing/2014/main" id="{E200F6FA-B532-655B-62DF-19BCC860107B}"/>
              </a:ext>
            </a:extLst>
          </p:cNvPr>
          <p:cNvSpPr txBox="1">
            <a:spLocks/>
          </p:cNvSpPr>
          <p:nvPr/>
        </p:nvSpPr>
        <p:spPr>
          <a:xfrm>
            <a:off x="5057895" y="33828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ause</a:t>
            </a:r>
          </a:p>
        </p:txBody>
      </p:sp>
      <p:sp>
        <p:nvSpPr>
          <p:cNvPr id="13" name="Text Placeholder 81">
            <a:extLst>
              <a:ext uri="{FF2B5EF4-FFF2-40B4-BE49-F238E27FC236}">
                <a16:creationId xmlns:a16="http://schemas.microsoft.com/office/drawing/2014/main" id="{140C689C-58C7-A830-09F5-5AA4ADD7212E}"/>
              </a:ext>
            </a:extLst>
          </p:cNvPr>
          <p:cNvSpPr txBox="1">
            <a:spLocks/>
          </p:cNvSpPr>
          <p:nvPr/>
        </p:nvSpPr>
        <p:spPr>
          <a:xfrm>
            <a:off x="4362372" y="3382851"/>
            <a:ext cx="71001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Video, Play</a:t>
            </a:r>
          </a:p>
        </p:txBody>
      </p:sp>
      <p:sp>
        <p:nvSpPr>
          <p:cNvPr id="14" name="Text Placeholder 81">
            <a:extLst>
              <a:ext uri="{FF2B5EF4-FFF2-40B4-BE49-F238E27FC236}">
                <a16:creationId xmlns:a16="http://schemas.microsoft.com/office/drawing/2014/main" id="{B50D80D8-D6B4-7B4E-E87D-2F883EB76159}"/>
              </a:ext>
            </a:extLst>
          </p:cNvPr>
          <p:cNvSpPr txBox="1">
            <a:spLocks/>
          </p:cNvSpPr>
          <p:nvPr/>
        </p:nvSpPr>
        <p:spPr>
          <a:xfrm>
            <a:off x="3258656" y="33828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kip Left</a:t>
            </a:r>
          </a:p>
        </p:txBody>
      </p:sp>
      <p:sp>
        <p:nvSpPr>
          <p:cNvPr id="16" name="Text Placeholder 81">
            <a:extLst>
              <a:ext uri="{FF2B5EF4-FFF2-40B4-BE49-F238E27FC236}">
                <a16:creationId xmlns:a16="http://schemas.microsoft.com/office/drawing/2014/main" id="{2404E831-D60D-DC6E-7192-747FD5885104}"/>
              </a:ext>
            </a:extLst>
          </p:cNvPr>
          <p:cNvSpPr txBox="1">
            <a:spLocks/>
          </p:cNvSpPr>
          <p:nvPr/>
        </p:nvSpPr>
        <p:spPr>
          <a:xfrm>
            <a:off x="2332362" y="33828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kip Right</a:t>
            </a:r>
          </a:p>
        </p:txBody>
      </p:sp>
      <p:sp>
        <p:nvSpPr>
          <p:cNvPr id="17" name="Text Placeholder 81">
            <a:extLst>
              <a:ext uri="{FF2B5EF4-FFF2-40B4-BE49-F238E27FC236}">
                <a16:creationId xmlns:a16="http://schemas.microsoft.com/office/drawing/2014/main" id="{8D22235A-0E87-72A6-E07B-90737B205914}"/>
              </a:ext>
            </a:extLst>
          </p:cNvPr>
          <p:cNvSpPr txBox="1">
            <a:spLocks/>
          </p:cNvSpPr>
          <p:nvPr/>
        </p:nvSpPr>
        <p:spPr>
          <a:xfrm>
            <a:off x="1288125" y="33828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wind </a:t>
            </a:r>
          </a:p>
        </p:txBody>
      </p:sp>
      <p:sp>
        <p:nvSpPr>
          <p:cNvPr id="18" name="Text Placeholder 81">
            <a:extLst>
              <a:ext uri="{FF2B5EF4-FFF2-40B4-BE49-F238E27FC236}">
                <a16:creationId xmlns:a16="http://schemas.microsoft.com/office/drawing/2014/main" id="{2F52CCB7-1C91-1029-99B1-01EC2DC0834C}"/>
              </a:ext>
            </a:extLst>
          </p:cNvPr>
          <p:cNvSpPr txBox="1">
            <a:spLocks/>
          </p:cNvSpPr>
          <p:nvPr/>
        </p:nvSpPr>
        <p:spPr>
          <a:xfrm>
            <a:off x="329648" y="33828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ast Forward</a:t>
            </a:r>
          </a:p>
        </p:txBody>
      </p:sp>
      <p:sp>
        <p:nvSpPr>
          <p:cNvPr id="19" name="Text Placeholder 81">
            <a:extLst>
              <a:ext uri="{FF2B5EF4-FFF2-40B4-BE49-F238E27FC236}">
                <a16:creationId xmlns:a16="http://schemas.microsoft.com/office/drawing/2014/main" id="{56DFBE72-6461-C7B9-2651-B8F301FB2268}"/>
              </a:ext>
            </a:extLst>
          </p:cNvPr>
          <p:cNvSpPr txBox="1">
            <a:spLocks/>
          </p:cNvSpPr>
          <p:nvPr/>
        </p:nvSpPr>
        <p:spPr>
          <a:xfrm>
            <a:off x="8801122" y="33828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ound ON</a:t>
            </a:r>
          </a:p>
        </p:txBody>
      </p:sp>
      <p:sp>
        <p:nvSpPr>
          <p:cNvPr id="20" name="Text Placeholder 81">
            <a:extLst>
              <a:ext uri="{FF2B5EF4-FFF2-40B4-BE49-F238E27FC236}">
                <a16:creationId xmlns:a16="http://schemas.microsoft.com/office/drawing/2014/main" id="{F1287D09-7503-9A7C-EFDE-8B938EE609C2}"/>
              </a:ext>
            </a:extLst>
          </p:cNvPr>
          <p:cNvSpPr txBox="1">
            <a:spLocks/>
          </p:cNvSpPr>
          <p:nvPr/>
        </p:nvSpPr>
        <p:spPr>
          <a:xfrm>
            <a:off x="7221325" y="3382851"/>
            <a:ext cx="553320" cy="138499"/>
          </a:xfrm>
          <a:prstGeom prst="rect">
            <a:avLst/>
          </a:prstGeom>
          <a:solidFill>
            <a:schemeClr val="bg1"/>
          </a:solidFill>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Stop</a:t>
            </a:r>
          </a:p>
        </p:txBody>
      </p:sp>
      <p:sp>
        <p:nvSpPr>
          <p:cNvPr id="21" name="Text Placeholder 81">
            <a:extLst>
              <a:ext uri="{FF2B5EF4-FFF2-40B4-BE49-F238E27FC236}">
                <a16:creationId xmlns:a16="http://schemas.microsoft.com/office/drawing/2014/main" id="{FD8A48AD-FBBB-CF9D-D99D-40FBCFA81993}"/>
              </a:ext>
            </a:extLst>
          </p:cNvPr>
          <p:cNvSpPr txBox="1">
            <a:spLocks/>
          </p:cNvSpPr>
          <p:nvPr/>
        </p:nvSpPr>
        <p:spPr>
          <a:xfrm>
            <a:off x="9833052" y="33828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ound Off, Mute</a:t>
            </a:r>
          </a:p>
        </p:txBody>
      </p:sp>
      <p:sp>
        <p:nvSpPr>
          <p:cNvPr id="22" name="Rectangle 21">
            <a:extLst>
              <a:ext uri="{FF2B5EF4-FFF2-40B4-BE49-F238E27FC236}">
                <a16:creationId xmlns:a16="http://schemas.microsoft.com/office/drawing/2014/main" id="{8021C2D4-F68B-C4DE-EEDD-49FF266A236A}"/>
              </a:ext>
            </a:extLst>
          </p:cNvPr>
          <p:cNvSpPr/>
          <p:nvPr/>
        </p:nvSpPr>
        <p:spPr>
          <a:xfrm>
            <a:off x="505987" y="2951713"/>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Media Play Buttons</a:t>
            </a:r>
            <a:endParaRPr lang="en-US" sz="1400" dirty="0">
              <a:solidFill>
                <a:schemeClr val="bg1"/>
              </a:solidFill>
            </a:endParaRPr>
          </a:p>
        </p:txBody>
      </p:sp>
      <p:grpSp>
        <p:nvGrpSpPr>
          <p:cNvPr id="24" name="Graphic 2">
            <a:extLst>
              <a:ext uri="{FF2B5EF4-FFF2-40B4-BE49-F238E27FC236}">
                <a16:creationId xmlns:a16="http://schemas.microsoft.com/office/drawing/2014/main" id="{161F7B7A-265C-9C86-E324-517F85034D51}"/>
              </a:ext>
            </a:extLst>
          </p:cNvPr>
          <p:cNvGrpSpPr>
            <a:grpSpLocks noChangeAspect="1"/>
          </p:cNvGrpSpPr>
          <p:nvPr/>
        </p:nvGrpSpPr>
        <p:grpSpPr>
          <a:xfrm>
            <a:off x="597051" y="3779013"/>
            <a:ext cx="612648" cy="531732"/>
            <a:chOff x="736035" y="2420175"/>
            <a:chExt cx="737483" cy="640080"/>
          </a:xfrm>
        </p:grpSpPr>
        <p:sp>
          <p:nvSpPr>
            <p:cNvPr id="25" name="Freeform: Shape 24">
              <a:extLst>
                <a:ext uri="{FF2B5EF4-FFF2-40B4-BE49-F238E27FC236}">
                  <a16:creationId xmlns:a16="http://schemas.microsoft.com/office/drawing/2014/main" id="{09D569F2-BE45-CA12-7572-36EF1D4219B2}"/>
                </a:ext>
              </a:extLst>
            </p:cNvPr>
            <p:cNvSpPr/>
            <p:nvPr/>
          </p:nvSpPr>
          <p:spPr>
            <a:xfrm>
              <a:off x="736035" y="2420175"/>
              <a:ext cx="426720" cy="630803"/>
            </a:xfrm>
            <a:custGeom>
              <a:avLst/>
              <a:gdLst>
                <a:gd name="connsiteX0" fmla="*/ 0 w 426719"/>
                <a:gd name="connsiteY0" fmla="*/ 0 h 630803"/>
                <a:gd name="connsiteX1" fmla="*/ 0 w 426719"/>
                <a:gd name="connsiteY1" fmla="*/ 633957 h 630803"/>
                <a:gd name="connsiteX2" fmla="*/ 426766 w 426719"/>
                <a:gd name="connsiteY2" fmla="*/ 321200 h 630803"/>
              </a:gdLst>
              <a:ahLst/>
              <a:cxnLst>
                <a:cxn ang="0">
                  <a:pos x="connsiteX0" y="connsiteY0"/>
                </a:cxn>
                <a:cxn ang="0">
                  <a:pos x="connsiteX1" y="connsiteY1"/>
                </a:cxn>
                <a:cxn ang="0">
                  <a:pos x="connsiteX2" y="connsiteY2"/>
                </a:cxn>
              </a:cxnLst>
              <a:rect l="l" t="t" r="r" b="b"/>
              <a:pathLst>
                <a:path w="426719" h="630803">
                  <a:moveTo>
                    <a:pt x="0" y="0"/>
                  </a:moveTo>
                  <a:lnTo>
                    <a:pt x="0" y="633957"/>
                  </a:lnTo>
                  <a:lnTo>
                    <a:pt x="426766" y="321200"/>
                  </a:lnTo>
                </a:path>
              </a:pathLst>
            </a:custGeom>
            <a:solidFill>
              <a:schemeClr val="tx1"/>
            </a:solidFill>
            <a:ln w="4613" cap="flat">
              <a:noFill/>
              <a:prstDash val="solid"/>
              <a:miter/>
            </a:ln>
          </p:spPr>
          <p:txBody>
            <a:bodyPr rtlCol="0" anchor="ctr"/>
            <a:lstStyle/>
            <a:p>
              <a:endParaRPr lang="en-US" sz="1000" dirty="0"/>
            </a:p>
          </p:txBody>
        </p:sp>
        <p:sp>
          <p:nvSpPr>
            <p:cNvPr id="26" name="Freeform: Shape 25">
              <a:extLst>
                <a:ext uri="{FF2B5EF4-FFF2-40B4-BE49-F238E27FC236}">
                  <a16:creationId xmlns:a16="http://schemas.microsoft.com/office/drawing/2014/main" id="{3AC69F99-F12D-8B2C-3200-02AC90AC2945}"/>
                </a:ext>
              </a:extLst>
            </p:cNvPr>
            <p:cNvSpPr/>
            <p:nvPr/>
          </p:nvSpPr>
          <p:spPr>
            <a:xfrm>
              <a:off x="1041464" y="2420175"/>
              <a:ext cx="426720" cy="640080"/>
            </a:xfrm>
            <a:custGeom>
              <a:avLst/>
              <a:gdLst>
                <a:gd name="connsiteX0" fmla="*/ 1994 w 426719"/>
                <a:gd name="connsiteY0" fmla="*/ 504782 h 640080"/>
                <a:gd name="connsiteX1" fmla="*/ 1994 w 426719"/>
                <a:gd name="connsiteY1" fmla="*/ 642353 h 640080"/>
                <a:gd name="connsiteX2" fmla="*/ 431126 w 426719"/>
                <a:gd name="connsiteY2" fmla="*/ 320643 h 640080"/>
                <a:gd name="connsiteX3" fmla="*/ 0 w 426719"/>
                <a:gd name="connsiteY3" fmla="*/ 0 h 640080"/>
                <a:gd name="connsiteX4" fmla="*/ 0 w 426719"/>
                <a:gd name="connsiteY4" fmla="*/ 128248 h 640080"/>
                <a:gd name="connsiteX5" fmla="*/ 253388 w 426719"/>
                <a:gd name="connsiteY5" fmla="*/ 318788 h 640080"/>
                <a:gd name="connsiteX6" fmla="*/ 1994 w 426719"/>
                <a:gd name="connsiteY6" fmla="*/ 504782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719" h="640080">
                  <a:moveTo>
                    <a:pt x="1994" y="504782"/>
                  </a:moveTo>
                  <a:cubicBezTo>
                    <a:pt x="-1484" y="507101"/>
                    <a:pt x="1994" y="642353"/>
                    <a:pt x="1994" y="642353"/>
                  </a:cubicBezTo>
                  <a:lnTo>
                    <a:pt x="431126" y="320643"/>
                  </a:lnTo>
                  <a:lnTo>
                    <a:pt x="0" y="0"/>
                  </a:lnTo>
                  <a:lnTo>
                    <a:pt x="0" y="128248"/>
                  </a:lnTo>
                  <a:lnTo>
                    <a:pt x="253388" y="318788"/>
                  </a:lnTo>
                  <a:lnTo>
                    <a:pt x="1994" y="504782"/>
                  </a:lnTo>
                  <a:close/>
                </a:path>
              </a:pathLst>
            </a:custGeom>
            <a:solidFill>
              <a:schemeClr val="bg2"/>
            </a:solidFill>
            <a:ln w="4613" cap="flat">
              <a:noFill/>
              <a:prstDash val="solid"/>
              <a:miter/>
            </a:ln>
          </p:spPr>
          <p:txBody>
            <a:bodyPr rtlCol="0" anchor="ctr"/>
            <a:lstStyle/>
            <a:p>
              <a:endParaRPr lang="en-US" sz="1000" dirty="0"/>
            </a:p>
          </p:txBody>
        </p:sp>
      </p:grpSp>
      <p:grpSp>
        <p:nvGrpSpPr>
          <p:cNvPr id="27" name="Group 26">
            <a:extLst>
              <a:ext uri="{FF2B5EF4-FFF2-40B4-BE49-F238E27FC236}">
                <a16:creationId xmlns:a16="http://schemas.microsoft.com/office/drawing/2014/main" id="{4F85E644-3BDC-EC97-23BE-34394B923315}"/>
              </a:ext>
            </a:extLst>
          </p:cNvPr>
          <p:cNvGrpSpPr>
            <a:grpSpLocks noChangeAspect="1"/>
          </p:cNvGrpSpPr>
          <p:nvPr/>
        </p:nvGrpSpPr>
        <p:grpSpPr>
          <a:xfrm>
            <a:off x="1479641" y="3777575"/>
            <a:ext cx="612648" cy="534609"/>
            <a:chOff x="2002852" y="2688069"/>
            <a:chExt cx="733072" cy="639694"/>
          </a:xfrm>
        </p:grpSpPr>
        <p:sp>
          <p:nvSpPr>
            <p:cNvPr id="28" name="Freeform: Shape 27">
              <a:extLst>
                <a:ext uri="{FF2B5EF4-FFF2-40B4-BE49-F238E27FC236}">
                  <a16:creationId xmlns:a16="http://schemas.microsoft.com/office/drawing/2014/main" id="{7B2B98FB-5614-14B3-6740-0DA288D6B61C}"/>
                </a:ext>
              </a:extLst>
            </p:cNvPr>
            <p:cNvSpPr/>
            <p:nvPr/>
          </p:nvSpPr>
          <p:spPr>
            <a:xfrm>
              <a:off x="2311815" y="2696410"/>
              <a:ext cx="424109" cy="629092"/>
            </a:xfrm>
            <a:custGeom>
              <a:avLst/>
              <a:gdLst>
                <a:gd name="connsiteX0" fmla="*/ 425629 w 424109"/>
                <a:gd name="connsiteY0" fmla="*/ 632272 h 629091"/>
                <a:gd name="connsiteX1" fmla="*/ 425629 w 424109"/>
                <a:gd name="connsiteY1" fmla="*/ 0 h 629091"/>
                <a:gd name="connsiteX2" fmla="*/ 0 w 424109"/>
                <a:gd name="connsiteY2" fmla="*/ 311930 h 629091"/>
                <a:gd name="connsiteX3" fmla="*/ 425629 w 424109"/>
                <a:gd name="connsiteY3" fmla="*/ 632272 h 629091"/>
              </a:gdLst>
              <a:ahLst/>
              <a:cxnLst>
                <a:cxn ang="0">
                  <a:pos x="connsiteX0" y="connsiteY0"/>
                </a:cxn>
                <a:cxn ang="0">
                  <a:pos x="connsiteX1" y="connsiteY1"/>
                </a:cxn>
                <a:cxn ang="0">
                  <a:pos x="connsiteX2" y="connsiteY2"/>
                </a:cxn>
                <a:cxn ang="0">
                  <a:pos x="connsiteX3" y="connsiteY3"/>
                </a:cxn>
              </a:cxnLst>
              <a:rect l="l" t="t" r="r" b="b"/>
              <a:pathLst>
                <a:path w="424109" h="629091">
                  <a:moveTo>
                    <a:pt x="425629" y="632272"/>
                  </a:moveTo>
                  <a:lnTo>
                    <a:pt x="425629" y="0"/>
                  </a:lnTo>
                  <a:lnTo>
                    <a:pt x="0" y="311930"/>
                  </a:lnTo>
                  <a:lnTo>
                    <a:pt x="425629" y="632272"/>
                  </a:lnTo>
                  <a:close/>
                </a:path>
              </a:pathLst>
            </a:custGeom>
            <a:solidFill>
              <a:schemeClr val="tx1"/>
            </a:solidFill>
            <a:ln w="2726" cap="flat">
              <a:noFill/>
              <a:prstDash val="solid"/>
              <a:miter/>
            </a:ln>
          </p:spPr>
          <p:txBody>
            <a:bodyPr rtlCol="0" anchor="ctr"/>
            <a:lstStyle/>
            <a:p>
              <a:endParaRPr lang="en-US" sz="1000" dirty="0"/>
            </a:p>
          </p:txBody>
        </p:sp>
        <p:sp>
          <p:nvSpPr>
            <p:cNvPr id="29" name="Freeform: Shape 28">
              <a:extLst>
                <a:ext uri="{FF2B5EF4-FFF2-40B4-BE49-F238E27FC236}">
                  <a16:creationId xmlns:a16="http://schemas.microsoft.com/office/drawing/2014/main" id="{717EB927-164E-700E-B5D2-94BCC67E421D}"/>
                </a:ext>
              </a:extLst>
            </p:cNvPr>
            <p:cNvSpPr/>
            <p:nvPr/>
          </p:nvSpPr>
          <p:spPr>
            <a:xfrm>
              <a:off x="2002852" y="2688069"/>
              <a:ext cx="427643" cy="639694"/>
            </a:xfrm>
            <a:custGeom>
              <a:avLst/>
              <a:gdLst>
                <a:gd name="connsiteX0" fmla="*/ 427961 w 427643"/>
                <a:gd name="connsiteY0" fmla="*/ 137163 h 639694"/>
                <a:gd name="connsiteX1" fmla="*/ 427961 w 427643"/>
                <a:gd name="connsiteY1" fmla="*/ 0 h 639694"/>
                <a:gd name="connsiteX2" fmla="*/ 0 w 427643"/>
                <a:gd name="connsiteY2" fmla="*/ 320837 h 639694"/>
                <a:gd name="connsiteX3" fmla="*/ 429941 w 427643"/>
                <a:gd name="connsiteY3" fmla="*/ 640613 h 639694"/>
                <a:gd name="connsiteX4" fmla="*/ 429941 w 427643"/>
                <a:gd name="connsiteY4" fmla="*/ 512710 h 639694"/>
                <a:gd name="connsiteX5" fmla="*/ 177242 w 427643"/>
                <a:gd name="connsiteY5" fmla="*/ 322675 h 63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643" h="639694">
                  <a:moveTo>
                    <a:pt x="427961" y="137163"/>
                  </a:moveTo>
                  <a:cubicBezTo>
                    <a:pt x="431496" y="134866"/>
                    <a:pt x="427961" y="0"/>
                    <a:pt x="427961" y="0"/>
                  </a:cubicBezTo>
                  <a:lnTo>
                    <a:pt x="0" y="320837"/>
                  </a:lnTo>
                  <a:lnTo>
                    <a:pt x="429941" y="640613"/>
                  </a:lnTo>
                  <a:lnTo>
                    <a:pt x="429941" y="512710"/>
                  </a:lnTo>
                  <a:lnTo>
                    <a:pt x="177242" y="322675"/>
                  </a:lnTo>
                  <a:close/>
                </a:path>
              </a:pathLst>
            </a:custGeom>
            <a:solidFill>
              <a:schemeClr val="bg2"/>
            </a:solidFill>
            <a:ln w="2726" cap="flat">
              <a:noFill/>
              <a:prstDash val="solid"/>
              <a:miter/>
            </a:ln>
          </p:spPr>
          <p:txBody>
            <a:bodyPr rtlCol="0" anchor="ctr"/>
            <a:lstStyle/>
            <a:p>
              <a:endParaRPr lang="en-US" sz="1000" dirty="0"/>
            </a:p>
          </p:txBody>
        </p:sp>
      </p:grpSp>
      <p:grpSp>
        <p:nvGrpSpPr>
          <p:cNvPr id="30" name="Group 29">
            <a:extLst>
              <a:ext uri="{FF2B5EF4-FFF2-40B4-BE49-F238E27FC236}">
                <a16:creationId xmlns:a16="http://schemas.microsoft.com/office/drawing/2014/main" id="{AD0CAD88-3679-3F84-0DD3-0357A5F01738}"/>
              </a:ext>
            </a:extLst>
          </p:cNvPr>
          <p:cNvGrpSpPr>
            <a:grpSpLocks noChangeAspect="1"/>
          </p:cNvGrpSpPr>
          <p:nvPr/>
        </p:nvGrpSpPr>
        <p:grpSpPr>
          <a:xfrm>
            <a:off x="6212717" y="3738555"/>
            <a:ext cx="559691" cy="612648"/>
            <a:chOff x="7435334" y="2462779"/>
            <a:chExt cx="604499" cy="661695"/>
          </a:xfrm>
        </p:grpSpPr>
        <p:sp>
          <p:nvSpPr>
            <p:cNvPr id="31" name="Freeform: Shape 30">
              <a:extLst>
                <a:ext uri="{FF2B5EF4-FFF2-40B4-BE49-F238E27FC236}">
                  <a16:creationId xmlns:a16="http://schemas.microsoft.com/office/drawing/2014/main" id="{B1ADF48D-1A8B-E405-22CB-6CF8719F3AF7}"/>
                </a:ext>
              </a:extLst>
            </p:cNvPr>
            <p:cNvSpPr/>
            <p:nvPr/>
          </p:nvSpPr>
          <p:spPr>
            <a:xfrm>
              <a:off x="7699352" y="2462779"/>
              <a:ext cx="74137" cy="290842"/>
            </a:xfrm>
            <a:custGeom>
              <a:avLst/>
              <a:gdLst>
                <a:gd name="connsiteX0" fmla="*/ 0 w 74136"/>
                <a:gd name="connsiteY0" fmla="*/ 0 h 290842"/>
                <a:gd name="connsiteX1" fmla="*/ 76617 w 74136"/>
                <a:gd name="connsiteY1" fmla="*/ 0 h 290842"/>
                <a:gd name="connsiteX2" fmla="*/ 76617 w 74136"/>
                <a:gd name="connsiteY2" fmla="*/ 291641 h 290842"/>
                <a:gd name="connsiteX3" fmla="*/ 0 w 74136"/>
                <a:gd name="connsiteY3" fmla="*/ 291641 h 290842"/>
              </a:gdLst>
              <a:ahLst/>
              <a:cxnLst>
                <a:cxn ang="0">
                  <a:pos x="connsiteX0" y="connsiteY0"/>
                </a:cxn>
                <a:cxn ang="0">
                  <a:pos x="connsiteX1" y="connsiteY1"/>
                </a:cxn>
                <a:cxn ang="0">
                  <a:pos x="connsiteX2" y="connsiteY2"/>
                </a:cxn>
                <a:cxn ang="0">
                  <a:pos x="connsiteX3" y="connsiteY3"/>
                </a:cxn>
              </a:cxnLst>
              <a:rect l="l" t="t" r="r" b="b"/>
              <a:pathLst>
                <a:path w="74136" h="290842">
                  <a:moveTo>
                    <a:pt x="0" y="0"/>
                  </a:moveTo>
                  <a:lnTo>
                    <a:pt x="76617" y="0"/>
                  </a:lnTo>
                  <a:lnTo>
                    <a:pt x="76617" y="291641"/>
                  </a:lnTo>
                  <a:lnTo>
                    <a:pt x="0" y="291641"/>
                  </a:lnTo>
                  <a:close/>
                </a:path>
              </a:pathLst>
            </a:custGeom>
            <a:solidFill>
              <a:schemeClr val="bg2"/>
            </a:solidFill>
            <a:ln w="2372" cap="flat">
              <a:noFill/>
              <a:prstDash val="solid"/>
              <a:miter/>
            </a:ln>
          </p:spPr>
          <p:txBody>
            <a:bodyPr rtlCol="0" anchor="ctr"/>
            <a:lstStyle/>
            <a:p>
              <a:endParaRPr lang="en-US" sz="1000" dirty="0"/>
            </a:p>
          </p:txBody>
        </p:sp>
        <p:sp>
          <p:nvSpPr>
            <p:cNvPr id="32" name="Freeform: Shape 31">
              <a:extLst>
                <a:ext uri="{FF2B5EF4-FFF2-40B4-BE49-F238E27FC236}">
                  <a16:creationId xmlns:a16="http://schemas.microsoft.com/office/drawing/2014/main" id="{3C3E26B1-21B7-963E-C46E-51F354AD5DBD}"/>
                </a:ext>
              </a:extLst>
            </p:cNvPr>
            <p:cNvSpPr/>
            <p:nvPr/>
          </p:nvSpPr>
          <p:spPr>
            <a:xfrm>
              <a:off x="7435334" y="2539938"/>
              <a:ext cx="604499" cy="584536"/>
            </a:xfrm>
            <a:custGeom>
              <a:avLst/>
              <a:gdLst>
                <a:gd name="connsiteX0" fmla="*/ 420874 w 604498"/>
                <a:gd name="connsiteY0" fmla="*/ 5247 h 584535"/>
                <a:gd name="connsiteX1" fmla="*/ 408528 w 604498"/>
                <a:gd name="connsiteY1" fmla="*/ 0 h 584535"/>
                <a:gd name="connsiteX2" fmla="*/ 408528 w 604498"/>
                <a:gd name="connsiteY2" fmla="*/ 66979 h 584535"/>
                <a:gd name="connsiteX3" fmla="*/ 413318 w 604498"/>
                <a:gd name="connsiteY3" fmla="*/ 69460 h 584535"/>
                <a:gd name="connsiteX4" fmla="*/ 518216 w 604498"/>
                <a:gd name="connsiteY4" fmla="*/ 396367 h 584535"/>
                <a:gd name="connsiteX5" fmla="*/ 191308 w 604498"/>
                <a:gd name="connsiteY5" fmla="*/ 501267 h 584535"/>
                <a:gd name="connsiteX6" fmla="*/ 86409 w 604498"/>
                <a:gd name="connsiteY6" fmla="*/ 174357 h 584535"/>
                <a:gd name="connsiteX7" fmla="*/ 191308 w 604498"/>
                <a:gd name="connsiteY7" fmla="*/ 69460 h 584535"/>
                <a:gd name="connsiteX8" fmla="*/ 196098 w 604498"/>
                <a:gd name="connsiteY8" fmla="*/ 66979 h 584535"/>
                <a:gd name="connsiteX9" fmla="*/ 196098 w 604498"/>
                <a:gd name="connsiteY9" fmla="*/ 0 h 584535"/>
                <a:gd name="connsiteX10" fmla="*/ 183780 w 604498"/>
                <a:gd name="connsiteY10" fmla="*/ 5247 h 584535"/>
                <a:gd name="connsiteX11" fmla="*/ 24296 w 604498"/>
                <a:gd name="connsiteY11" fmla="*/ 401824 h 584535"/>
                <a:gd name="connsiteX12" fmla="*/ 420874 w 604498"/>
                <a:gd name="connsiteY12" fmla="*/ 561306 h 584535"/>
                <a:gd name="connsiteX13" fmla="*/ 580357 w 604498"/>
                <a:gd name="connsiteY13" fmla="*/ 164728 h 584535"/>
                <a:gd name="connsiteX14" fmla="*/ 420874 w 604498"/>
                <a:gd name="connsiteY14" fmla="*/ 5247 h 58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4498" h="584535">
                  <a:moveTo>
                    <a:pt x="420874" y="5247"/>
                  </a:moveTo>
                  <a:lnTo>
                    <a:pt x="408528" y="0"/>
                  </a:lnTo>
                  <a:lnTo>
                    <a:pt x="408528" y="66979"/>
                  </a:lnTo>
                  <a:lnTo>
                    <a:pt x="413318" y="69460"/>
                  </a:lnTo>
                  <a:cubicBezTo>
                    <a:pt x="532558" y="130766"/>
                    <a:pt x="579524" y="277127"/>
                    <a:pt x="518216" y="396367"/>
                  </a:cubicBezTo>
                  <a:cubicBezTo>
                    <a:pt x="456911" y="515609"/>
                    <a:pt x="310548" y="562572"/>
                    <a:pt x="191308" y="501267"/>
                  </a:cubicBezTo>
                  <a:cubicBezTo>
                    <a:pt x="72067" y="439959"/>
                    <a:pt x="25102" y="293600"/>
                    <a:pt x="86409" y="174357"/>
                  </a:cubicBezTo>
                  <a:cubicBezTo>
                    <a:pt x="109573" y="129304"/>
                    <a:pt x="146253" y="92624"/>
                    <a:pt x="191308" y="69460"/>
                  </a:cubicBezTo>
                  <a:lnTo>
                    <a:pt x="196098" y="66979"/>
                  </a:lnTo>
                  <a:lnTo>
                    <a:pt x="196098" y="0"/>
                  </a:lnTo>
                  <a:lnTo>
                    <a:pt x="183780" y="5247"/>
                  </a:lnTo>
                  <a:cubicBezTo>
                    <a:pt x="30227" y="70718"/>
                    <a:pt x="-41176" y="248271"/>
                    <a:pt x="24296" y="401824"/>
                  </a:cubicBezTo>
                  <a:cubicBezTo>
                    <a:pt x="89768" y="555375"/>
                    <a:pt x="267323" y="626777"/>
                    <a:pt x="420874" y="561306"/>
                  </a:cubicBezTo>
                  <a:cubicBezTo>
                    <a:pt x="574426" y="495835"/>
                    <a:pt x="645831" y="318281"/>
                    <a:pt x="580357" y="164728"/>
                  </a:cubicBezTo>
                  <a:cubicBezTo>
                    <a:pt x="549767" y="92982"/>
                    <a:pt x="492622" y="35838"/>
                    <a:pt x="420874" y="5247"/>
                  </a:cubicBezTo>
                  <a:close/>
                </a:path>
              </a:pathLst>
            </a:custGeom>
            <a:solidFill>
              <a:schemeClr val="tx1"/>
            </a:solidFill>
            <a:ln w="2372" cap="flat">
              <a:noFill/>
              <a:prstDash val="solid"/>
              <a:miter/>
            </a:ln>
          </p:spPr>
          <p:txBody>
            <a:bodyPr rtlCol="0" anchor="ctr"/>
            <a:lstStyle/>
            <a:p>
              <a:endParaRPr lang="en-US" sz="1000" dirty="0"/>
            </a:p>
          </p:txBody>
        </p:sp>
      </p:grpSp>
      <p:grpSp>
        <p:nvGrpSpPr>
          <p:cNvPr id="33" name="Group 32">
            <a:extLst>
              <a:ext uri="{FF2B5EF4-FFF2-40B4-BE49-F238E27FC236}">
                <a16:creationId xmlns:a16="http://schemas.microsoft.com/office/drawing/2014/main" id="{E12742EE-8517-2AC9-CA02-DC2FAF512FFF}"/>
              </a:ext>
            </a:extLst>
          </p:cNvPr>
          <p:cNvGrpSpPr>
            <a:grpSpLocks noChangeAspect="1"/>
          </p:cNvGrpSpPr>
          <p:nvPr/>
        </p:nvGrpSpPr>
        <p:grpSpPr>
          <a:xfrm>
            <a:off x="10051714" y="3808357"/>
            <a:ext cx="612648" cy="473045"/>
            <a:chOff x="10846123" y="2684145"/>
            <a:chExt cx="797873" cy="616062"/>
          </a:xfrm>
        </p:grpSpPr>
        <p:sp>
          <p:nvSpPr>
            <p:cNvPr id="34" name="Freeform: Shape 33">
              <a:extLst>
                <a:ext uri="{FF2B5EF4-FFF2-40B4-BE49-F238E27FC236}">
                  <a16:creationId xmlns:a16="http://schemas.microsoft.com/office/drawing/2014/main" id="{44D50001-68FA-1130-5B9A-A1ACC2A3670F}"/>
                </a:ext>
              </a:extLst>
            </p:cNvPr>
            <p:cNvSpPr/>
            <p:nvPr/>
          </p:nvSpPr>
          <p:spPr>
            <a:xfrm>
              <a:off x="10942940" y="2684145"/>
              <a:ext cx="253897" cy="616062"/>
            </a:xfrm>
            <a:custGeom>
              <a:avLst/>
              <a:gdLst>
                <a:gd name="connsiteX0" fmla="*/ 228769 w 253897"/>
                <a:gd name="connsiteY0" fmla="*/ 5237 h 616061"/>
                <a:gd name="connsiteX1" fmla="*/ 42602 w 253897"/>
                <a:gd name="connsiteY1" fmla="*/ 191437 h 616061"/>
                <a:gd name="connsiteX2" fmla="*/ 42304 w 253897"/>
                <a:gd name="connsiteY2" fmla="*/ 191399 h 616061"/>
                <a:gd name="connsiteX3" fmla="*/ 0 w 253897"/>
                <a:gd name="connsiteY3" fmla="*/ 191399 h 616061"/>
                <a:gd name="connsiteX4" fmla="*/ 0 w 253897"/>
                <a:gd name="connsiteY4" fmla="*/ 425988 h 616061"/>
                <a:gd name="connsiteX5" fmla="*/ 42304 w 253897"/>
                <a:gd name="connsiteY5" fmla="*/ 425988 h 616061"/>
                <a:gd name="connsiteX6" fmla="*/ 42602 w 253897"/>
                <a:gd name="connsiteY6" fmla="*/ 425951 h 616061"/>
                <a:gd name="connsiteX7" fmla="*/ 228769 w 253897"/>
                <a:gd name="connsiteY7" fmla="*/ 612113 h 616061"/>
                <a:gd name="connsiteX8" fmla="*/ 254047 w 253897"/>
                <a:gd name="connsiteY8" fmla="*/ 612113 h 616061"/>
                <a:gd name="connsiteX9" fmla="*/ 254047 w 253897"/>
                <a:gd name="connsiteY9" fmla="*/ 5237 h 616061"/>
                <a:gd name="connsiteX10" fmla="*/ 228769 w 253897"/>
                <a:gd name="connsiteY10" fmla="*/ 5237 h 61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897" h="616061">
                  <a:moveTo>
                    <a:pt x="228769" y="5237"/>
                  </a:moveTo>
                  <a:lnTo>
                    <a:pt x="42602" y="191437"/>
                  </a:lnTo>
                  <a:cubicBezTo>
                    <a:pt x="42490" y="191437"/>
                    <a:pt x="42416" y="191399"/>
                    <a:pt x="42304" y="191399"/>
                  </a:cubicBezTo>
                  <a:lnTo>
                    <a:pt x="0" y="191399"/>
                  </a:lnTo>
                  <a:lnTo>
                    <a:pt x="0" y="425988"/>
                  </a:lnTo>
                  <a:lnTo>
                    <a:pt x="42304" y="425988"/>
                  </a:lnTo>
                  <a:cubicBezTo>
                    <a:pt x="42416" y="425988"/>
                    <a:pt x="42490" y="425951"/>
                    <a:pt x="42602" y="425951"/>
                  </a:cubicBezTo>
                  <a:lnTo>
                    <a:pt x="228769" y="612113"/>
                  </a:lnTo>
                  <a:cubicBezTo>
                    <a:pt x="235751" y="619095"/>
                    <a:pt x="247064" y="619095"/>
                    <a:pt x="254047" y="612113"/>
                  </a:cubicBezTo>
                  <a:lnTo>
                    <a:pt x="254047" y="5237"/>
                  </a:lnTo>
                  <a:cubicBezTo>
                    <a:pt x="247102" y="-1746"/>
                    <a:pt x="235788" y="-1746"/>
                    <a:pt x="228769" y="5237"/>
                  </a:cubicBezTo>
                  <a:close/>
                </a:path>
              </a:pathLst>
            </a:custGeom>
            <a:solidFill>
              <a:schemeClr val="bg2"/>
            </a:solidFill>
            <a:ln w="2939" cap="flat">
              <a:noFill/>
              <a:prstDash val="solid"/>
              <a:miter/>
            </a:ln>
          </p:spPr>
          <p:txBody>
            <a:bodyPr rtlCol="0" anchor="ctr"/>
            <a:lstStyle/>
            <a:p>
              <a:endParaRPr lang="en-US" sz="1000" dirty="0"/>
            </a:p>
          </p:txBody>
        </p:sp>
        <p:sp>
          <p:nvSpPr>
            <p:cNvPr id="35" name="Freeform: Shape 34">
              <a:extLst>
                <a:ext uri="{FF2B5EF4-FFF2-40B4-BE49-F238E27FC236}">
                  <a16:creationId xmlns:a16="http://schemas.microsoft.com/office/drawing/2014/main" id="{20B0B29A-139E-075D-9E8D-FFF9A07380AE}"/>
                </a:ext>
              </a:extLst>
            </p:cNvPr>
            <p:cNvSpPr/>
            <p:nvPr/>
          </p:nvSpPr>
          <p:spPr>
            <a:xfrm>
              <a:off x="10846123" y="2875544"/>
              <a:ext cx="56007" cy="231490"/>
            </a:xfrm>
            <a:custGeom>
              <a:avLst/>
              <a:gdLst>
                <a:gd name="connsiteX0" fmla="*/ 26510 w 56006"/>
                <a:gd name="connsiteY0" fmla="*/ 0 h 231489"/>
                <a:gd name="connsiteX1" fmla="*/ 0 w 56006"/>
                <a:gd name="connsiteY1" fmla="*/ 26509 h 231489"/>
                <a:gd name="connsiteX2" fmla="*/ 0 w 56006"/>
                <a:gd name="connsiteY2" fmla="*/ 208117 h 231489"/>
                <a:gd name="connsiteX3" fmla="*/ 26510 w 56006"/>
                <a:gd name="connsiteY3" fmla="*/ 234626 h 231489"/>
                <a:gd name="connsiteX4" fmla="*/ 57687 w 56006"/>
                <a:gd name="connsiteY4" fmla="*/ 234626 h 231489"/>
                <a:gd name="connsiteX5" fmla="*/ 57687 w 56006"/>
                <a:gd name="connsiteY5" fmla="*/ 37 h 231489"/>
                <a:gd name="connsiteX6" fmla="*/ 26510 w 56006"/>
                <a:gd name="connsiteY6" fmla="*/ 37 h 23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06" h="231489">
                  <a:moveTo>
                    <a:pt x="26510" y="0"/>
                  </a:moveTo>
                  <a:cubicBezTo>
                    <a:pt x="11873" y="0"/>
                    <a:pt x="0" y="11873"/>
                    <a:pt x="0" y="26509"/>
                  </a:cubicBezTo>
                  <a:lnTo>
                    <a:pt x="0" y="208117"/>
                  </a:lnTo>
                  <a:cubicBezTo>
                    <a:pt x="0" y="222753"/>
                    <a:pt x="11873" y="234626"/>
                    <a:pt x="26510" y="234626"/>
                  </a:cubicBezTo>
                  <a:lnTo>
                    <a:pt x="57687" y="234626"/>
                  </a:lnTo>
                  <a:lnTo>
                    <a:pt x="57687" y="37"/>
                  </a:lnTo>
                  <a:lnTo>
                    <a:pt x="26510" y="37"/>
                  </a:lnTo>
                  <a:close/>
                </a:path>
              </a:pathLst>
            </a:custGeom>
            <a:solidFill>
              <a:schemeClr val="tx1"/>
            </a:solidFill>
            <a:ln w="2939" cap="flat">
              <a:noFill/>
              <a:prstDash val="solid"/>
              <a:miter/>
            </a:ln>
          </p:spPr>
          <p:txBody>
            <a:bodyPr rtlCol="0" anchor="ctr"/>
            <a:lstStyle/>
            <a:p>
              <a:endParaRPr lang="en-US" sz="1000" dirty="0"/>
            </a:p>
          </p:txBody>
        </p:sp>
        <p:sp>
          <p:nvSpPr>
            <p:cNvPr id="36" name="Freeform: Shape 35">
              <a:extLst>
                <a:ext uri="{FF2B5EF4-FFF2-40B4-BE49-F238E27FC236}">
                  <a16:creationId xmlns:a16="http://schemas.microsoft.com/office/drawing/2014/main" id="{14E3C7E6-1806-4F75-075E-728AD8F7BC3F}"/>
                </a:ext>
              </a:extLst>
            </p:cNvPr>
            <p:cNvSpPr/>
            <p:nvPr/>
          </p:nvSpPr>
          <p:spPr>
            <a:xfrm>
              <a:off x="11326624" y="2822787"/>
              <a:ext cx="317372" cy="317365"/>
            </a:xfrm>
            <a:custGeom>
              <a:avLst/>
              <a:gdLst>
                <a:gd name="connsiteX0" fmla="*/ 281789 w 317371"/>
                <a:gd name="connsiteY0" fmla="*/ 0 h 317365"/>
                <a:gd name="connsiteX1" fmla="*/ 318902 w 317371"/>
                <a:gd name="connsiteY1" fmla="*/ 37113 h 317365"/>
                <a:gd name="connsiteX2" fmla="*/ 196061 w 317371"/>
                <a:gd name="connsiteY2" fmla="*/ 159915 h 317365"/>
                <a:gd name="connsiteX3" fmla="*/ 319836 w 317371"/>
                <a:gd name="connsiteY3" fmla="*/ 283687 h 317365"/>
                <a:gd name="connsiteX4" fmla="*/ 283656 w 317371"/>
                <a:gd name="connsiteY4" fmla="*/ 319829 h 317365"/>
                <a:gd name="connsiteX5" fmla="*/ 159918 w 317371"/>
                <a:gd name="connsiteY5" fmla="*/ 196094 h 317365"/>
                <a:gd name="connsiteX6" fmla="*/ 36143 w 317371"/>
                <a:gd name="connsiteY6" fmla="*/ 319829 h 317365"/>
                <a:gd name="connsiteX7" fmla="*/ 0 w 317371"/>
                <a:gd name="connsiteY7" fmla="*/ 283687 h 317365"/>
                <a:gd name="connsiteX8" fmla="*/ 123028 w 317371"/>
                <a:gd name="connsiteY8" fmla="*/ 160624 h 317365"/>
                <a:gd name="connsiteX9" fmla="*/ 0 w 317371"/>
                <a:gd name="connsiteY9" fmla="*/ 36180 h 317365"/>
                <a:gd name="connsiteX10" fmla="*/ 36143 w 317371"/>
                <a:gd name="connsiteY10" fmla="*/ 0 h 317365"/>
                <a:gd name="connsiteX11" fmla="*/ 159918 w 317371"/>
                <a:gd name="connsiteY11" fmla="*/ 123772 h 317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371" h="317365">
                  <a:moveTo>
                    <a:pt x="281789" y="0"/>
                  </a:moveTo>
                  <a:lnTo>
                    <a:pt x="318902" y="37113"/>
                  </a:lnTo>
                  <a:lnTo>
                    <a:pt x="196061" y="159915"/>
                  </a:lnTo>
                  <a:lnTo>
                    <a:pt x="319836" y="283687"/>
                  </a:lnTo>
                  <a:lnTo>
                    <a:pt x="283656" y="319829"/>
                  </a:lnTo>
                  <a:lnTo>
                    <a:pt x="159918" y="196094"/>
                  </a:lnTo>
                  <a:lnTo>
                    <a:pt x="36143" y="319829"/>
                  </a:lnTo>
                  <a:lnTo>
                    <a:pt x="0" y="283687"/>
                  </a:lnTo>
                  <a:lnTo>
                    <a:pt x="123028" y="160624"/>
                  </a:lnTo>
                  <a:lnTo>
                    <a:pt x="0" y="36180"/>
                  </a:lnTo>
                  <a:lnTo>
                    <a:pt x="36143" y="0"/>
                  </a:lnTo>
                  <a:lnTo>
                    <a:pt x="159918" y="123772"/>
                  </a:lnTo>
                  <a:close/>
                </a:path>
              </a:pathLst>
            </a:custGeom>
            <a:solidFill>
              <a:schemeClr val="tx1"/>
            </a:solidFill>
            <a:ln w="2939" cap="flat">
              <a:noFill/>
              <a:prstDash val="solid"/>
              <a:miter/>
            </a:ln>
          </p:spPr>
          <p:txBody>
            <a:bodyPr rtlCol="0" anchor="ctr"/>
            <a:lstStyle/>
            <a:p>
              <a:endParaRPr lang="en-US" sz="1000" dirty="0"/>
            </a:p>
          </p:txBody>
        </p:sp>
      </p:grpSp>
      <p:grpSp>
        <p:nvGrpSpPr>
          <p:cNvPr id="37" name="Group 36">
            <a:extLst>
              <a:ext uri="{FF2B5EF4-FFF2-40B4-BE49-F238E27FC236}">
                <a16:creationId xmlns:a16="http://schemas.microsoft.com/office/drawing/2014/main" id="{ED3DFD68-9758-6E95-B615-EF19353E6660}"/>
              </a:ext>
            </a:extLst>
          </p:cNvPr>
          <p:cNvGrpSpPr>
            <a:grpSpLocks noChangeAspect="1"/>
          </p:cNvGrpSpPr>
          <p:nvPr/>
        </p:nvGrpSpPr>
        <p:grpSpPr>
          <a:xfrm>
            <a:off x="9019784" y="3738655"/>
            <a:ext cx="612648" cy="612448"/>
            <a:chOff x="9753524" y="2775589"/>
            <a:chExt cx="601726" cy="601529"/>
          </a:xfrm>
        </p:grpSpPr>
        <p:sp>
          <p:nvSpPr>
            <p:cNvPr id="38" name="Freeform: Shape 37">
              <a:extLst>
                <a:ext uri="{FF2B5EF4-FFF2-40B4-BE49-F238E27FC236}">
                  <a16:creationId xmlns:a16="http://schemas.microsoft.com/office/drawing/2014/main" id="{19E77310-1DBD-C2C8-25AF-DEF8430894D4}"/>
                </a:ext>
              </a:extLst>
            </p:cNvPr>
            <p:cNvSpPr/>
            <p:nvPr/>
          </p:nvSpPr>
          <p:spPr>
            <a:xfrm>
              <a:off x="10230148" y="2783604"/>
              <a:ext cx="125102" cy="575932"/>
            </a:xfrm>
            <a:custGeom>
              <a:avLst/>
              <a:gdLst>
                <a:gd name="connsiteX0" fmla="*/ 126723 w 125102"/>
                <a:gd name="connsiteY0" fmla="*/ 289209 h 575931"/>
                <a:gd name="connsiteX1" fmla="*/ 34019 w 125102"/>
                <a:gd name="connsiteY1" fmla="*/ 1883 h 575931"/>
                <a:gd name="connsiteX2" fmla="*/ 26994 w 125102"/>
                <a:gd name="connsiteY2" fmla="*/ 1797 h 575931"/>
                <a:gd name="connsiteX3" fmla="*/ 1460 w 125102"/>
                <a:gd name="connsiteY3" fmla="*/ 33879 h 575931"/>
                <a:gd name="connsiteX4" fmla="*/ 1364 w 125102"/>
                <a:gd name="connsiteY4" fmla="*/ 42497 h 575931"/>
                <a:gd name="connsiteX5" fmla="*/ 80916 w 125102"/>
                <a:gd name="connsiteY5" fmla="*/ 289209 h 575931"/>
                <a:gd name="connsiteX6" fmla="*/ 1364 w 125102"/>
                <a:gd name="connsiteY6" fmla="*/ 535921 h 575931"/>
                <a:gd name="connsiteX7" fmla="*/ 1428 w 125102"/>
                <a:gd name="connsiteY7" fmla="*/ 544539 h 575931"/>
                <a:gd name="connsiteX8" fmla="*/ 26962 w 125102"/>
                <a:gd name="connsiteY8" fmla="*/ 576620 h 575931"/>
                <a:gd name="connsiteX9" fmla="*/ 33987 w 125102"/>
                <a:gd name="connsiteY9" fmla="*/ 576535 h 575931"/>
                <a:gd name="connsiteX10" fmla="*/ 126723 w 125102"/>
                <a:gd name="connsiteY10" fmla="*/ 289209 h 57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102" h="575931">
                  <a:moveTo>
                    <a:pt x="126723" y="289209"/>
                  </a:moveTo>
                  <a:cubicBezTo>
                    <a:pt x="126723" y="181104"/>
                    <a:pt x="93843" y="79314"/>
                    <a:pt x="34019" y="1883"/>
                  </a:cubicBezTo>
                  <a:cubicBezTo>
                    <a:pt x="32094" y="-592"/>
                    <a:pt x="28950" y="-634"/>
                    <a:pt x="26994" y="1797"/>
                  </a:cubicBezTo>
                  <a:lnTo>
                    <a:pt x="1460" y="33879"/>
                  </a:lnTo>
                  <a:cubicBezTo>
                    <a:pt x="-433" y="36268"/>
                    <a:pt x="-465" y="40108"/>
                    <a:pt x="1364" y="42497"/>
                  </a:cubicBezTo>
                  <a:cubicBezTo>
                    <a:pt x="50571" y="106446"/>
                    <a:pt x="80916" y="193476"/>
                    <a:pt x="80916" y="289209"/>
                  </a:cubicBezTo>
                  <a:cubicBezTo>
                    <a:pt x="80916" y="384984"/>
                    <a:pt x="50603" y="472014"/>
                    <a:pt x="1364" y="535921"/>
                  </a:cubicBezTo>
                  <a:cubicBezTo>
                    <a:pt x="-497" y="538310"/>
                    <a:pt x="-433" y="542150"/>
                    <a:pt x="1428" y="544539"/>
                  </a:cubicBezTo>
                  <a:lnTo>
                    <a:pt x="26962" y="576620"/>
                  </a:lnTo>
                  <a:cubicBezTo>
                    <a:pt x="28918" y="579052"/>
                    <a:pt x="32062" y="579009"/>
                    <a:pt x="33987" y="576535"/>
                  </a:cubicBezTo>
                  <a:cubicBezTo>
                    <a:pt x="93843" y="499147"/>
                    <a:pt x="126723" y="397356"/>
                    <a:pt x="126723" y="289209"/>
                  </a:cubicBezTo>
                  <a:close/>
                </a:path>
              </a:pathLst>
            </a:custGeom>
            <a:solidFill>
              <a:schemeClr val="tx1"/>
            </a:solidFill>
            <a:ln w="2302" cap="flat">
              <a:noFill/>
              <a:prstDash val="solid"/>
              <a:miter/>
            </a:ln>
          </p:spPr>
          <p:txBody>
            <a:bodyPr rtlCol="0" anchor="ctr"/>
            <a:lstStyle/>
            <a:p>
              <a:endParaRPr lang="en-US" sz="1000" dirty="0"/>
            </a:p>
          </p:txBody>
        </p:sp>
        <p:sp>
          <p:nvSpPr>
            <p:cNvPr id="39" name="Freeform: Shape 38">
              <a:extLst>
                <a:ext uri="{FF2B5EF4-FFF2-40B4-BE49-F238E27FC236}">
                  <a16:creationId xmlns:a16="http://schemas.microsoft.com/office/drawing/2014/main" id="{895D2D65-78AD-51F0-F6A0-4B8E3ED2E859}"/>
                </a:ext>
              </a:extLst>
            </p:cNvPr>
            <p:cNvSpPr/>
            <p:nvPr/>
          </p:nvSpPr>
          <p:spPr>
            <a:xfrm>
              <a:off x="10166009" y="2864240"/>
              <a:ext cx="99440" cy="413818"/>
            </a:xfrm>
            <a:custGeom>
              <a:avLst/>
              <a:gdLst>
                <a:gd name="connsiteX0" fmla="*/ 26913 w 99440"/>
                <a:gd name="connsiteY0" fmla="*/ 1835 h 413817"/>
                <a:gd name="connsiteX1" fmla="*/ 1444 w 99440"/>
                <a:gd name="connsiteY1" fmla="*/ 33788 h 413817"/>
                <a:gd name="connsiteX2" fmla="*/ 1348 w 99440"/>
                <a:gd name="connsiteY2" fmla="*/ 42363 h 413817"/>
                <a:gd name="connsiteX3" fmla="*/ 54340 w 99440"/>
                <a:gd name="connsiteY3" fmla="*/ 208573 h 413817"/>
                <a:gd name="connsiteX4" fmla="*/ 1348 w 99440"/>
                <a:gd name="connsiteY4" fmla="*/ 374782 h 413817"/>
                <a:gd name="connsiteX5" fmla="*/ 1444 w 99440"/>
                <a:gd name="connsiteY5" fmla="*/ 383357 h 413817"/>
                <a:gd name="connsiteX6" fmla="*/ 26913 w 99440"/>
                <a:gd name="connsiteY6" fmla="*/ 415311 h 413817"/>
                <a:gd name="connsiteX7" fmla="*/ 33938 w 99440"/>
                <a:gd name="connsiteY7" fmla="*/ 415226 h 413817"/>
                <a:gd name="connsiteX8" fmla="*/ 100179 w 99440"/>
                <a:gd name="connsiteY8" fmla="*/ 208530 h 413817"/>
                <a:gd name="connsiteX9" fmla="*/ 33938 w 99440"/>
                <a:gd name="connsiteY9" fmla="*/ 1877 h 413817"/>
                <a:gd name="connsiteX10" fmla="*/ 26913 w 99440"/>
                <a:gd name="connsiteY10" fmla="*/ 1835 h 413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40" h="413817">
                  <a:moveTo>
                    <a:pt x="26913" y="1835"/>
                  </a:moveTo>
                  <a:lnTo>
                    <a:pt x="1444" y="33788"/>
                  </a:lnTo>
                  <a:cubicBezTo>
                    <a:pt x="-449" y="36135"/>
                    <a:pt x="-481" y="39974"/>
                    <a:pt x="1348" y="42363"/>
                  </a:cubicBezTo>
                  <a:cubicBezTo>
                    <a:pt x="34163" y="85665"/>
                    <a:pt x="54340" y="144196"/>
                    <a:pt x="54340" y="208573"/>
                  </a:cubicBezTo>
                  <a:cubicBezTo>
                    <a:pt x="54340" y="272949"/>
                    <a:pt x="34163" y="331481"/>
                    <a:pt x="1348" y="374782"/>
                  </a:cubicBezTo>
                  <a:cubicBezTo>
                    <a:pt x="-481" y="377214"/>
                    <a:pt x="-449" y="381011"/>
                    <a:pt x="1444" y="383357"/>
                  </a:cubicBezTo>
                  <a:lnTo>
                    <a:pt x="26913" y="415311"/>
                  </a:lnTo>
                  <a:cubicBezTo>
                    <a:pt x="28870" y="417743"/>
                    <a:pt x="32046" y="417700"/>
                    <a:pt x="33938" y="415226"/>
                  </a:cubicBezTo>
                  <a:cubicBezTo>
                    <a:pt x="74933" y="361515"/>
                    <a:pt x="100179" y="288691"/>
                    <a:pt x="100179" y="208530"/>
                  </a:cubicBezTo>
                  <a:cubicBezTo>
                    <a:pt x="100179" y="128412"/>
                    <a:pt x="74933" y="55588"/>
                    <a:pt x="33938" y="1877"/>
                  </a:cubicBezTo>
                  <a:cubicBezTo>
                    <a:pt x="32046" y="-597"/>
                    <a:pt x="28870" y="-640"/>
                    <a:pt x="26913" y="1835"/>
                  </a:cubicBezTo>
                  <a:close/>
                </a:path>
              </a:pathLst>
            </a:custGeom>
            <a:solidFill>
              <a:schemeClr val="tx1"/>
            </a:solidFill>
            <a:ln w="2302" cap="flat">
              <a:noFill/>
              <a:prstDash val="solid"/>
              <a:miter/>
            </a:ln>
          </p:spPr>
          <p:txBody>
            <a:bodyPr rtlCol="0" anchor="ctr"/>
            <a:lstStyle/>
            <a:p>
              <a:endParaRPr lang="en-US" sz="1000" dirty="0"/>
            </a:p>
          </p:txBody>
        </p:sp>
        <p:sp>
          <p:nvSpPr>
            <p:cNvPr id="40" name="Freeform: Shape 39">
              <a:extLst>
                <a:ext uri="{FF2B5EF4-FFF2-40B4-BE49-F238E27FC236}">
                  <a16:creationId xmlns:a16="http://schemas.microsoft.com/office/drawing/2014/main" id="{686D9ED8-1D3E-E129-7CEF-3D7640D98D7F}"/>
                </a:ext>
              </a:extLst>
            </p:cNvPr>
            <p:cNvSpPr/>
            <p:nvPr/>
          </p:nvSpPr>
          <p:spPr>
            <a:xfrm>
              <a:off x="10097126" y="2950805"/>
              <a:ext cx="70571" cy="243171"/>
            </a:xfrm>
            <a:custGeom>
              <a:avLst/>
              <a:gdLst>
                <a:gd name="connsiteX0" fmla="*/ 26894 w 70570"/>
                <a:gd name="connsiteY0" fmla="*/ 1829 h 243171"/>
                <a:gd name="connsiteX1" fmla="*/ 1424 w 70570"/>
                <a:gd name="connsiteY1" fmla="*/ 33783 h 243171"/>
                <a:gd name="connsiteX2" fmla="*/ 1296 w 70570"/>
                <a:gd name="connsiteY2" fmla="*/ 42315 h 243171"/>
                <a:gd name="connsiteX3" fmla="*/ 25771 w 70570"/>
                <a:gd name="connsiteY3" fmla="*/ 122007 h 243171"/>
                <a:gd name="connsiteX4" fmla="*/ 1296 w 70570"/>
                <a:gd name="connsiteY4" fmla="*/ 201742 h 243171"/>
                <a:gd name="connsiteX5" fmla="*/ 1424 w 70570"/>
                <a:gd name="connsiteY5" fmla="*/ 210274 h 243171"/>
                <a:gd name="connsiteX6" fmla="*/ 26894 w 70570"/>
                <a:gd name="connsiteY6" fmla="*/ 242228 h 243171"/>
                <a:gd name="connsiteX7" fmla="*/ 33983 w 70570"/>
                <a:gd name="connsiteY7" fmla="*/ 242057 h 243171"/>
                <a:gd name="connsiteX8" fmla="*/ 71610 w 70570"/>
                <a:gd name="connsiteY8" fmla="*/ 121965 h 243171"/>
                <a:gd name="connsiteX9" fmla="*/ 33983 w 70570"/>
                <a:gd name="connsiteY9" fmla="*/ 1915 h 243171"/>
                <a:gd name="connsiteX10" fmla="*/ 26894 w 70570"/>
                <a:gd name="connsiteY10" fmla="*/ 1829 h 243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570" h="243171">
                  <a:moveTo>
                    <a:pt x="26894" y="1829"/>
                  </a:moveTo>
                  <a:lnTo>
                    <a:pt x="1424" y="33783"/>
                  </a:lnTo>
                  <a:cubicBezTo>
                    <a:pt x="-436" y="36129"/>
                    <a:pt x="-468" y="39884"/>
                    <a:pt x="1296" y="42315"/>
                  </a:cubicBezTo>
                  <a:cubicBezTo>
                    <a:pt x="16501" y="63433"/>
                    <a:pt x="25771" y="91376"/>
                    <a:pt x="25771" y="122007"/>
                  </a:cubicBezTo>
                  <a:cubicBezTo>
                    <a:pt x="25771" y="152638"/>
                    <a:pt x="16501" y="180624"/>
                    <a:pt x="1296" y="201742"/>
                  </a:cubicBezTo>
                  <a:cubicBezTo>
                    <a:pt x="-468" y="204173"/>
                    <a:pt x="-436" y="207928"/>
                    <a:pt x="1424" y="210274"/>
                  </a:cubicBezTo>
                  <a:lnTo>
                    <a:pt x="26894" y="242228"/>
                  </a:lnTo>
                  <a:cubicBezTo>
                    <a:pt x="28850" y="244702"/>
                    <a:pt x="32058" y="244617"/>
                    <a:pt x="33983" y="242057"/>
                  </a:cubicBezTo>
                  <a:cubicBezTo>
                    <a:pt x="57335" y="210530"/>
                    <a:pt x="71610" y="168338"/>
                    <a:pt x="71610" y="121965"/>
                  </a:cubicBezTo>
                  <a:cubicBezTo>
                    <a:pt x="71610" y="75591"/>
                    <a:pt x="57303" y="33442"/>
                    <a:pt x="33983" y="1915"/>
                  </a:cubicBezTo>
                  <a:cubicBezTo>
                    <a:pt x="32058" y="-602"/>
                    <a:pt x="28850" y="-645"/>
                    <a:pt x="26894" y="1829"/>
                  </a:cubicBezTo>
                  <a:close/>
                </a:path>
              </a:pathLst>
            </a:custGeom>
            <a:solidFill>
              <a:schemeClr val="tx1"/>
            </a:solidFill>
            <a:ln w="2302" cap="flat">
              <a:noFill/>
              <a:prstDash val="solid"/>
              <a:miter/>
            </a:ln>
          </p:spPr>
          <p:txBody>
            <a:bodyPr rtlCol="0" anchor="ctr"/>
            <a:lstStyle/>
            <a:p>
              <a:endParaRPr lang="en-US" sz="1000" dirty="0"/>
            </a:p>
          </p:txBody>
        </p:sp>
        <p:sp>
          <p:nvSpPr>
            <p:cNvPr id="41" name="Freeform: Shape 40">
              <a:extLst>
                <a:ext uri="{FF2B5EF4-FFF2-40B4-BE49-F238E27FC236}">
                  <a16:creationId xmlns:a16="http://schemas.microsoft.com/office/drawing/2014/main" id="{1832B698-B4E3-B64D-4E32-2B7622BDAD35}"/>
                </a:ext>
              </a:extLst>
            </p:cNvPr>
            <p:cNvSpPr/>
            <p:nvPr/>
          </p:nvSpPr>
          <p:spPr>
            <a:xfrm>
              <a:off x="9824608" y="2775589"/>
              <a:ext cx="182842" cy="601529"/>
            </a:xfrm>
            <a:custGeom>
              <a:avLst/>
              <a:gdLst>
                <a:gd name="connsiteX0" fmla="*/ 167445 w 182841"/>
                <a:gd name="connsiteY0" fmla="*/ 5119 h 601528"/>
                <a:gd name="connsiteX1" fmla="*/ 31051 w 182841"/>
                <a:gd name="connsiteY1" fmla="*/ 186517 h 601528"/>
                <a:gd name="connsiteX2" fmla="*/ 30859 w 182841"/>
                <a:gd name="connsiteY2" fmla="*/ 186474 h 601528"/>
                <a:gd name="connsiteX3" fmla="*/ 0 w 182841"/>
                <a:gd name="connsiteY3" fmla="*/ 186474 h 601528"/>
                <a:gd name="connsiteX4" fmla="*/ 0 w 182841"/>
                <a:gd name="connsiteY4" fmla="*/ 415055 h 601528"/>
                <a:gd name="connsiteX5" fmla="*/ 30859 w 182841"/>
                <a:gd name="connsiteY5" fmla="*/ 415055 h 601528"/>
                <a:gd name="connsiteX6" fmla="*/ 31051 w 182841"/>
                <a:gd name="connsiteY6" fmla="*/ 415012 h 601528"/>
                <a:gd name="connsiteX7" fmla="*/ 167445 w 182841"/>
                <a:gd name="connsiteY7" fmla="*/ 596452 h 601528"/>
                <a:gd name="connsiteX8" fmla="*/ 185953 w 182841"/>
                <a:gd name="connsiteY8" fmla="*/ 596452 h 601528"/>
                <a:gd name="connsiteX9" fmla="*/ 185953 w 182841"/>
                <a:gd name="connsiteY9" fmla="*/ 5119 h 601528"/>
                <a:gd name="connsiteX10" fmla="*/ 167445 w 182841"/>
                <a:gd name="connsiteY10" fmla="*/ 5119 h 60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841" h="601528">
                  <a:moveTo>
                    <a:pt x="167445" y="5119"/>
                  </a:moveTo>
                  <a:lnTo>
                    <a:pt x="31051" y="186517"/>
                  </a:lnTo>
                  <a:cubicBezTo>
                    <a:pt x="30987" y="186517"/>
                    <a:pt x="30923" y="186474"/>
                    <a:pt x="30859" y="186474"/>
                  </a:cubicBezTo>
                  <a:lnTo>
                    <a:pt x="0" y="186474"/>
                  </a:lnTo>
                  <a:lnTo>
                    <a:pt x="0" y="415055"/>
                  </a:lnTo>
                  <a:lnTo>
                    <a:pt x="30859" y="415055"/>
                  </a:lnTo>
                  <a:cubicBezTo>
                    <a:pt x="30923" y="415055"/>
                    <a:pt x="30987" y="415055"/>
                    <a:pt x="31051" y="415012"/>
                  </a:cubicBezTo>
                  <a:lnTo>
                    <a:pt x="167445" y="596452"/>
                  </a:lnTo>
                  <a:cubicBezTo>
                    <a:pt x="172577" y="603278"/>
                    <a:pt x="180853" y="603278"/>
                    <a:pt x="185953" y="596452"/>
                  </a:cubicBezTo>
                  <a:lnTo>
                    <a:pt x="185953" y="5119"/>
                  </a:lnTo>
                  <a:cubicBezTo>
                    <a:pt x="180885" y="-1706"/>
                    <a:pt x="172577" y="-1706"/>
                    <a:pt x="167445" y="5119"/>
                  </a:cubicBezTo>
                  <a:close/>
                </a:path>
              </a:pathLst>
            </a:custGeom>
            <a:solidFill>
              <a:schemeClr val="bg2"/>
            </a:solidFill>
            <a:ln w="2302" cap="flat">
              <a:noFill/>
              <a:prstDash val="solid"/>
              <a:miter/>
            </a:ln>
          </p:spPr>
          <p:txBody>
            <a:bodyPr rtlCol="0" anchor="ctr"/>
            <a:lstStyle/>
            <a:p>
              <a:endParaRPr lang="en-US" sz="1000" dirty="0"/>
            </a:p>
          </p:txBody>
        </p:sp>
        <p:sp>
          <p:nvSpPr>
            <p:cNvPr id="42" name="Freeform: Shape 41">
              <a:extLst>
                <a:ext uri="{FF2B5EF4-FFF2-40B4-BE49-F238E27FC236}">
                  <a16:creationId xmlns:a16="http://schemas.microsoft.com/office/drawing/2014/main" id="{CAD04D3F-6E80-B51A-177E-FA6541CAB4A2}"/>
                </a:ext>
              </a:extLst>
            </p:cNvPr>
            <p:cNvSpPr/>
            <p:nvPr/>
          </p:nvSpPr>
          <p:spPr>
            <a:xfrm>
              <a:off x="9753524" y="2962063"/>
              <a:ext cx="41701" cy="226107"/>
            </a:xfrm>
            <a:custGeom>
              <a:avLst/>
              <a:gdLst>
                <a:gd name="connsiteX0" fmla="*/ 19407 w 41700"/>
                <a:gd name="connsiteY0" fmla="*/ 0 h 226106"/>
                <a:gd name="connsiteX1" fmla="*/ 0 w 41700"/>
                <a:gd name="connsiteY1" fmla="*/ 25810 h 226106"/>
                <a:gd name="connsiteX2" fmla="*/ 0 w 41700"/>
                <a:gd name="connsiteY2" fmla="*/ 202771 h 226106"/>
                <a:gd name="connsiteX3" fmla="*/ 19407 w 41700"/>
                <a:gd name="connsiteY3" fmla="*/ 228581 h 226106"/>
                <a:gd name="connsiteX4" fmla="*/ 42439 w 41700"/>
                <a:gd name="connsiteY4" fmla="*/ 228581 h 226106"/>
                <a:gd name="connsiteX5" fmla="*/ 42439 w 41700"/>
                <a:gd name="connsiteY5" fmla="*/ 0 h 226106"/>
                <a:gd name="connsiteX6" fmla="*/ 19407 w 41700"/>
                <a:gd name="connsiteY6" fmla="*/ 0 h 22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00" h="226106">
                  <a:moveTo>
                    <a:pt x="19407" y="0"/>
                  </a:moveTo>
                  <a:cubicBezTo>
                    <a:pt x="8693" y="0"/>
                    <a:pt x="0" y="11561"/>
                    <a:pt x="0" y="25810"/>
                  </a:cubicBezTo>
                  <a:lnTo>
                    <a:pt x="0" y="202771"/>
                  </a:lnTo>
                  <a:cubicBezTo>
                    <a:pt x="0" y="217020"/>
                    <a:pt x="8693" y="228581"/>
                    <a:pt x="19407" y="228581"/>
                  </a:cubicBezTo>
                  <a:lnTo>
                    <a:pt x="42439" y="228581"/>
                  </a:lnTo>
                  <a:lnTo>
                    <a:pt x="42439" y="0"/>
                  </a:lnTo>
                  <a:lnTo>
                    <a:pt x="19407" y="0"/>
                  </a:lnTo>
                  <a:close/>
                </a:path>
              </a:pathLst>
            </a:custGeom>
            <a:solidFill>
              <a:schemeClr val="tx1"/>
            </a:solidFill>
            <a:ln w="2302" cap="flat">
              <a:noFill/>
              <a:prstDash val="solid"/>
              <a:miter/>
            </a:ln>
          </p:spPr>
          <p:txBody>
            <a:bodyPr rtlCol="0" anchor="ctr"/>
            <a:lstStyle/>
            <a:p>
              <a:endParaRPr lang="en-US" sz="1000" dirty="0"/>
            </a:p>
          </p:txBody>
        </p:sp>
      </p:grpSp>
      <p:pic>
        <p:nvPicPr>
          <p:cNvPr id="43" name="Graphic 42">
            <a:extLst>
              <a:ext uri="{FF2B5EF4-FFF2-40B4-BE49-F238E27FC236}">
                <a16:creationId xmlns:a16="http://schemas.microsoft.com/office/drawing/2014/main" id="{BC25BEB4-E6CF-4BAA-BAF5-08B5357E70D7}"/>
              </a:ext>
            </a:extLst>
          </p:cNvPr>
          <p:cNvPicPr>
            <a:picLocks noChangeAspect="1"/>
          </p:cNvPicPr>
          <p:nvPr/>
        </p:nvPicPr>
        <p:blipFill rotWithShape="1">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l="21436" t="18118" r="18511" b="15393"/>
          <a:stretch/>
        </p:blipFill>
        <p:spPr>
          <a:xfrm>
            <a:off x="3508428" y="3738555"/>
            <a:ext cx="491255" cy="612648"/>
          </a:xfrm>
          <a:prstGeom prst="rect">
            <a:avLst/>
          </a:prstGeom>
        </p:spPr>
      </p:pic>
      <p:pic>
        <p:nvPicPr>
          <p:cNvPr id="44" name="Graphic 43">
            <a:extLst>
              <a:ext uri="{FF2B5EF4-FFF2-40B4-BE49-F238E27FC236}">
                <a16:creationId xmlns:a16="http://schemas.microsoft.com/office/drawing/2014/main" id="{03AD7EEA-AA06-E115-6BCB-508F818E4398}"/>
              </a:ext>
            </a:extLst>
          </p:cNvPr>
          <p:cNvPicPr>
            <a:picLocks noChangeAspect="1"/>
          </p:cNvPicPr>
          <p:nvPr/>
        </p:nvPicPr>
        <p:blipFill rotWithShape="1">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l="13419" t="18117" r="26528" b="15395"/>
          <a:stretch/>
        </p:blipFill>
        <p:spPr>
          <a:xfrm>
            <a:off x="2573981" y="3738555"/>
            <a:ext cx="491255" cy="612648"/>
          </a:xfrm>
          <a:prstGeom prst="rect">
            <a:avLst/>
          </a:prstGeom>
        </p:spPr>
      </p:pic>
      <p:pic>
        <p:nvPicPr>
          <p:cNvPr id="45" name="Graphic 44">
            <a:extLst>
              <a:ext uri="{FF2B5EF4-FFF2-40B4-BE49-F238E27FC236}">
                <a16:creationId xmlns:a16="http://schemas.microsoft.com/office/drawing/2014/main" id="{15CBD89E-9711-0213-4923-E7A925019081}"/>
              </a:ext>
            </a:extLst>
          </p:cNvPr>
          <p:cNvPicPr>
            <a:picLocks noChangeAspect="1"/>
          </p:cNvPicPr>
          <p:nvPr/>
        </p:nvPicPr>
        <p:blipFill rotWithShape="1">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l="25632" t="24239" r="26863" b="22877"/>
          <a:stretch/>
        </p:blipFill>
        <p:spPr>
          <a:xfrm>
            <a:off x="5293542" y="3738555"/>
            <a:ext cx="552983" cy="612648"/>
          </a:xfrm>
          <a:prstGeom prst="rect">
            <a:avLst/>
          </a:prstGeom>
        </p:spPr>
      </p:pic>
      <p:pic>
        <p:nvPicPr>
          <p:cNvPr id="47" name="Graphic 46">
            <a:extLst>
              <a:ext uri="{FF2B5EF4-FFF2-40B4-BE49-F238E27FC236}">
                <a16:creationId xmlns:a16="http://schemas.microsoft.com/office/drawing/2014/main" id="{CC94DB9A-A060-A992-21B1-15FBDF7E20F2}"/>
              </a:ext>
            </a:extLst>
          </p:cNvPr>
          <p:cNvPicPr>
            <a:picLocks noChangeAspect="1"/>
          </p:cNvPicPr>
          <p:nvPr/>
        </p:nvPicPr>
        <p:blipFill rotWithShape="1">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l="22115" t="23012" r="18791" b="24958"/>
          <a:stretch/>
        </p:blipFill>
        <p:spPr>
          <a:xfrm>
            <a:off x="7189123" y="3738555"/>
            <a:ext cx="617725" cy="612648"/>
          </a:xfrm>
          <a:prstGeom prst="rect">
            <a:avLst/>
          </a:prstGeom>
        </p:spPr>
      </p:pic>
      <p:sp>
        <p:nvSpPr>
          <p:cNvPr id="52" name="object 23">
            <a:extLst>
              <a:ext uri="{FF2B5EF4-FFF2-40B4-BE49-F238E27FC236}">
                <a16:creationId xmlns:a16="http://schemas.microsoft.com/office/drawing/2014/main" id="{E7949FA7-1892-E361-BFA6-FBC1F4FBEECB}"/>
              </a:ext>
            </a:extLst>
          </p:cNvPr>
          <p:cNvSpPr txBox="1"/>
          <p:nvPr/>
        </p:nvSpPr>
        <p:spPr>
          <a:xfrm>
            <a:off x="10852307" y="3382851"/>
            <a:ext cx="98789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Microphone</a:t>
            </a:r>
          </a:p>
        </p:txBody>
      </p:sp>
      <p:sp>
        <p:nvSpPr>
          <p:cNvPr id="58" name="object 45">
            <a:extLst>
              <a:ext uri="{FF2B5EF4-FFF2-40B4-BE49-F238E27FC236}">
                <a16:creationId xmlns:a16="http://schemas.microsoft.com/office/drawing/2014/main" id="{CF97AF6B-3773-0010-CD74-1E72BA928BC5}"/>
              </a:ext>
            </a:extLst>
          </p:cNvPr>
          <p:cNvSpPr txBox="1"/>
          <p:nvPr/>
        </p:nvSpPr>
        <p:spPr>
          <a:xfrm>
            <a:off x="8025595" y="3382851"/>
            <a:ext cx="86133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peaker</a:t>
            </a:r>
            <a:endParaRPr dirty="0"/>
          </a:p>
        </p:txBody>
      </p:sp>
      <p:pic>
        <p:nvPicPr>
          <p:cNvPr id="7" name="Graphic 6">
            <a:extLst>
              <a:ext uri="{FF2B5EF4-FFF2-40B4-BE49-F238E27FC236}">
                <a16:creationId xmlns:a16="http://schemas.microsoft.com/office/drawing/2014/main" id="{9F3999AD-A0DE-8B18-1C09-691B7A6AB223}"/>
              </a:ext>
            </a:extLst>
          </p:cNvPr>
          <p:cNvPicPr>
            <a:picLocks noChangeAspect="1"/>
          </p:cNvPicPr>
          <p:nvPr/>
        </p:nvPicPr>
        <p:blipFill rotWithShape="1">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t="17479" b="18147"/>
          <a:stretch/>
        </p:blipFill>
        <p:spPr>
          <a:xfrm>
            <a:off x="7656971" y="1991948"/>
            <a:ext cx="612648" cy="394380"/>
          </a:xfrm>
          <a:prstGeom prst="rect">
            <a:avLst/>
          </a:prstGeom>
        </p:spPr>
      </p:pic>
      <p:sp>
        <p:nvSpPr>
          <p:cNvPr id="9" name="Text Placeholder 81">
            <a:extLst>
              <a:ext uri="{FF2B5EF4-FFF2-40B4-BE49-F238E27FC236}">
                <a16:creationId xmlns:a16="http://schemas.microsoft.com/office/drawing/2014/main" id="{82F369D0-394D-1D33-9137-66F07EF36FFF}"/>
              </a:ext>
            </a:extLst>
          </p:cNvPr>
          <p:cNvSpPr txBox="1">
            <a:spLocks/>
          </p:cNvSpPr>
          <p:nvPr/>
        </p:nvSpPr>
        <p:spPr>
          <a:xfrm>
            <a:off x="7480767" y="1598029"/>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oogle+</a:t>
            </a:r>
          </a:p>
        </p:txBody>
      </p:sp>
      <p:pic>
        <p:nvPicPr>
          <p:cNvPr id="23" name="Graphic 22">
            <a:extLst>
              <a:ext uri="{FF2B5EF4-FFF2-40B4-BE49-F238E27FC236}">
                <a16:creationId xmlns:a16="http://schemas.microsoft.com/office/drawing/2014/main" id="{2332EB20-08CE-A75A-E3F7-7417F42E69A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151463" y="3740079"/>
            <a:ext cx="609600" cy="609600"/>
          </a:xfrm>
          <a:prstGeom prst="rect">
            <a:avLst/>
          </a:prstGeom>
        </p:spPr>
      </p:pic>
      <p:pic>
        <p:nvPicPr>
          <p:cNvPr id="4" name="Graphic 3">
            <a:extLst>
              <a:ext uri="{FF2B5EF4-FFF2-40B4-BE49-F238E27FC236}">
                <a16:creationId xmlns:a16="http://schemas.microsoft.com/office/drawing/2014/main" id="{7F60A5A9-5D60-B0A7-C6F8-15419C4A182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317750" y="3740079"/>
            <a:ext cx="609600" cy="609600"/>
          </a:xfrm>
          <a:prstGeom prst="rect">
            <a:avLst/>
          </a:prstGeom>
        </p:spPr>
      </p:pic>
      <p:pic>
        <p:nvPicPr>
          <p:cNvPr id="6" name="Graphic 5">
            <a:extLst>
              <a:ext uri="{FF2B5EF4-FFF2-40B4-BE49-F238E27FC236}">
                <a16:creationId xmlns:a16="http://schemas.microsoft.com/office/drawing/2014/main" id="{02A04720-37D4-4272-D96A-5DBAD6286A7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1055985" y="3740079"/>
            <a:ext cx="609600" cy="609600"/>
          </a:xfrm>
          <a:prstGeom prst="rect">
            <a:avLst/>
          </a:prstGeom>
        </p:spPr>
      </p:pic>
      <p:sp>
        <p:nvSpPr>
          <p:cNvPr id="10" name="object 69">
            <a:extLst>
              <a:ext uri="{FF2B5EF4-FFF2-40B4-BE49-F238E27FC236}">
                <a16:creationId xmlns:a16="http://schemas.microsoft.com/office/drawing/2014/main" id="{F96313B5-0F71-0B5B-A5FC-2E0F084A4444}"/>
              </a:ext>
            </a:extLst>
          </p:cNvPr>
          <p:cNvSpPr txBox="1"/>
          <p:nvPr/>
        </p:nvSpPr>
        <p:spPr>
          <a:xfrm>
            <a:off x="8685601" y="1604954"/>
            <a:ext cx="10763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oll</a:t>
            </a:r>
          </a:p>
        </p:txBody>
      </p:sp>
      <p:sp>
        <p:nvSpPr>
          <p:cNvPr id="11" name="object 29">
            <a:extLst>
              <a:ext uri="{FF2B5EF4-FFF2-40B4-BE49-F238E27FC236}">
                <a16:creationId xmlns:a16="http://schemas.microsoft.com/office/drawing/2014/main" id="{D26377E4-1BE7-0C57-037D-C2C42F68C792}"/>
              </a:ext>
            </a:extLst>
          </p:cNvPr>
          <p:cNvSpPr txBox="1"/>
          <p:nvPr/>
        </p:nvSpPr>
        <p:spPr>
          <a:xfrm>
            <a:off x="6266786" y="1604954"/>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laylist</a:t>
            </a:r>
          </a:p>
        </p:txBody>
      </p:sp>
      <p:pic>
        <p:nvPicPr>
          <p:cNvPr id="49" name="Graphic 48">
            <a:extLst>
              <a:ext uri="{FF2B5EF4-FFF2-40B4-BE49-F238E27FC236}">
                <a16:creationId xmlns:a16="http://schemas.microsoft.com/office/drawing/2014/main" id="{EA8B633B-5A1B-39B3-9029-FEFB5F693E82}"/>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413270" y="1884338"/>
            <a:ext cx="609600" cy="609600"/>
          </a:xfrm>
          <a:prstGeom prst="rect">
            <a:avLst/>
          </a:prstGeom>
        </p:spPr>
      </p:pic>
      <p:pic>
        <p:nvPicPr>
          <p:cNvPr id="54" name="Graphic 53">
            <a:extLst>
              <a:ext uri="{FF2B5EF4-FFF2-40B4-BE49-F238E27FC236}">
                <a16:creationId xmlns:a16="http://schemas.microsoft.com/office/drawing/2014/main" id="{2EBBCDB2-9F4D-05E0-3F60-D2B62D40AD2D}"/>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8903723" y="1869098"/>
            <a:ext cx="640080" cy="640080"/>
          </a:xfrm>
          <a:prstGeom prst="rect">
            <a:avLst/>
          </a:prstGeom>
        </p:spPr>
      </p:pic>
      <p:pic>
        <p:nvPicPr>
          <p:cNvPr id="15" name="Graphic 14">
            <a:extLst>
              <a:ext uri="{FF2B5EF4-FFF2-40B4-BE49-F238E27FC236}">
                <a16:creationId xmlns:a16="http://schemas.microsoft.com/office/drawing/2014/main" id="{C53A5575-0296-4A30-D84C-A1D2A5EF6C61}"/>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945543" y="1891958"/>
            <a:ext cx="581281" cy="594360"/>
          </a:xfrm>
          <a:prstGeom prst="rect">
            <a:avLst/>
          </a:prstGeom>
        </p:spPr>
      </p:pic>
      <p:sp>
        <p:nvSpPr>
          <p:cNvPr id="3" name="Text Placeholder 81">
            <a:extLst>
              <a:ext uri="{FF2B5EF4-FFF2-40B4-BE49-F238E27FC236}">
                <a16:creationId xmlns:a16="http://schemas.microsoft.com/office/drawing/2014/main" id="{9416052F-85E8-3821-0C65-6712D78793A0}"/>
              </a:ext>
            </a:extLst>
          </p:cNvPr>
          <p:cNvSpPr txBox="1">
            <a:spLocks/>
          </p:cNvSpPr>
          <p:nvPr/>
        </p:nvSpPr>
        <p:spPr>
          <a:xfrm>
            <a:off x="8090503" y="4686464"/>
            <a:ext cx="7315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play</a:t>
            </a:r>
          </a:p>
        </p:txBody>
      </p:sp>
      <p:pic>
        <p:nvPicPr>
          <p:cNvPr id="5" name="Graphic 4">
            <a:extLst>
              <a:ext uri="{FF2B5EF4-FFF2-40B4-BE49-F238E27FC236}">
                <a16:creationId xmlns:a16="http://schemas.microsoft.com/office/drawing/2014/main" id="{7BDA93EA-FA68-3231-4C18-6AD3F80B6AD0}"/>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8242702" y="4955171"/>
            <a:ext cx="609600" cy="609600"/>
          </a:xfrm>
          <a:prstGeom prst="rect">
            <a:avLst/>
          </a:prstGeom>
        </p:spPr>
      </p:pic>
      <p:sp>
        <p:nvSpPr>
          <p:cNvPr id="46" name="Text Placeholder 81">
            <a:extLst>
              <a:ext uri="{FF2B5EF4-FFF2-40B4-BE49-F238E27FC236}">
                <a16:creationId xmlns:a16="http://schemas.microsoft.com/office/drawing/2014/main" id="{4AF0489C-39A5-677D-DA35-41CCDBEC37E9}"/>
              </a:ext>
            </a:extLst>
          </p:cNvPr>
          <p:cNvSpPr txBox="1">
            <a:spLocks/>
          </p:cNvSpPr>
          <p:nvPr/>
        </p:nvSpPr>
        <p:spPr>
          <a:xfrm>
            <a:off x="9946558" y="4686464"/>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Volume off</a:t>
            </a:r>
          </a:p>
        </p:txBody>
      </p:sp>
      <p:sp>
        <p:nvSpPr>
          <p:cNvPr id="50" name="Text Placeholder 81">
            <a:extLst>
              <a:ext uri="{FF2B5EF4-FFF2-40B4-BE49-F238E27FC236}">
                <a16:creationId xmlns:a16="http://schemas.microsoft.com/office/drawing/2014/main" id="{F561EEB7-D08D-1AE7-DF8E-A26B24CEB622}"/>
              </a:ext>
            </a:extLst>
          </p:cNvPr>
          <p:cNvSpPr txBox="1">
            <a:spLocks/>
          </p:cNvSpPr>
          <p:nvPr/>
        </p:nvSpPr>
        <p:spPr>
          <a:xfrm>
            <a:off x="8914628" y="4686464"/>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Volume Up</a:t>
            </a:r>
          </a:p>
        </p:txBody>
      </p:sp>
      <p:pic>
        <p:nvPicPr>
          <p:cNvPr id="51" name="Graphic 50">
            <a:extLst>
              <a:ext uri="{FF2B5EF4-FFF2-40B4-BE49-F238E27FC236}">
                <a16:creationId xmlns:a16="http://schemas.microsoft.com/office/drawing/2014/main" id="{D5A1A42E-173D-50B8-6921-7CF182F73E7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053238" y="4945371"/>
            <a:ext cx="609600" cy="609600"/>
          </a:xfrm>
          <a:prstGeom prst="rect">
            <a:avLst/>
          </a:prstGeom>
        </p:spPr>
      </p:pic>
      <p:pic>
        <p:nvPicPr>
          <p:cNvPr id="53" name="Graphic 52">
            <a:extLst>
              <a:ext uri="{FF2B5EF4-FFF2-40B4-BE49-F238E27FC236}">
                <a16:creationId xmlns:a16="http://schemas.microsoft.com/office/drawing/2014/main" id="{A0AF013F-8211-1B37-7454-22CB56C53755}"/>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9021308" y="4945371"/>
            <a:ext cx="609600" cy="609600"/>
          </a:xfrm>
          <a:prstGeom prst="rect">
            <a:avLst/>
          </a:prstGeom>
        </p:spPr>
      </p:pic>
      <p:sp>
        <p:nvSpPr>
          <p:cNvPr id="55" name="Text Placeholder 81">
            <a:extLst>
              <a:ext uri="{FF2B5EF4-FFF2-40B4-BE49-F238E27FC236}">
                <a16:creationId xmlns:a16="http://schemas.microsoft.com/office/drawing/2014/main" id="{B9C16FB6-04EC-3CF8-41DA-3E41BD75B399}"/>
              </a:ext>
            </a:extLst>
          </p:cNvPr>
          <p:cNvSpPr txBox="1">
            <a:spLocks/>
          </p:cNvSpPr>
          <p:nvPr/>
        </p:nvSpPr>
        <p:spPr>
          <a:xfrm>
            <a:off x="7040785" y="4686464"/>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ast Forward</a:t>
            </a:r>
          </a:p>
        </p:txBody>
      </p:sp>
      <p:pic>
        <p:nvPicPr>
          <p:cNvPr id="56" name="Graphic 55">
            <a:extLst>
              <a:ext uri="{FF2B5EF4-FFF2-40B4-BE49-F238E27FC236}">
                <a16:creationId xmlns:a16="http://schemas.microsoft.com/office/drawing/2014/main" id="{A76B0E1F-55C2-7737-B8DA-718891BBC440}"/>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7193185" y="4915714"/>
            <a:ext cx="609600" cy="609600"/>
          </a:xfrm>
          <a:prstGeom prst="rect">
            <a:avLst/>
          </a:prstGeom>
        </p:spPr>
      </p:pic>
    </p:spTree>
    <p:extLst>
      <p:ext uri="{BB962C8B-B14F-4D97-AF65-F5344CB8AC3E}">
        <p14:creationId xmlns:p14="http://schemas.microsoft.com/office/powerpoint/2010/main" val="348260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FBD0CFD-1D7A-1172-1796-66C116DD1EC0}"/>
              </a:ext>
            </a:extLst>
          </p:cNvPr>
          <p:cNvSpPr>
            <a:spLocks noGrp="1"/>
          </p:cNvSpPr>
          <p:nvPr>
            <p:ph idx="1"/>
          </p:nvPr>
        </p:nvSpPr>
        <p:spPr/>
        <p:txBody>
          <a:bodyPr/>
          <a:lstStyle/>
          <a:p>
            <a:r>
              <a:rPr lang="en-US" dirty="0"/>
              <a:t>Parts </a:t>
            </a:r>
          </a:p>
          <a:p>
            <a:r>
              <a:rPr lang="en-US" dirty="0"/>
              <a:t>CAD Model (EPM Documents)</a:t>
            </a:r>
          </a:p>
          <a:p>
            <a:r>
              <a:rPr lang="en-US" dirty="0"/>
              <a:t>Documents -</a:t>
            </a:r>
            <a:endParaRPr lang="en-US" sz="1600" dirty="0"/>
          </a:p>
          <a:p>
            <a:pPr lvl="1"/>
            <a:r>
              <a:rPr lang="en-US" dirty="0"/>
              <a:t>Specifications</a:t>
            </a:r>
          </a:p>
          <a:p>
            <a:pPr lvl="1"/>
            <a:r>
              <a:rPr lang="en-US" dirty="0"/>
              <a:t>Standards</a:t>
            </a:r>
          </a:p>
          <a:p>
            <a:r>
              <a:rPr lang="en-US" dirty="0"/>
              <a:t>Structure (Usage and Occurrences : part &amp; Usage: CAD Model)</a:t>
            </a:r>
          </a:p>
          <a:p>
            <a:pPr lvl="1"/>
            <a:r>
              <a:rPr lang="en-US" dirty="0"/>
              <a:t>Parts</a:t>
            </a:r>
          </a:p>
          <a:p>
            <a:pPr lvl="1"/>
            <a:r>
              <a:rPr lang="en-US" dirty="0"/>
              <a:t>CAD Models</a:t>
            </a:r>
          </a:p>
          <a:p>
            <a:pPr lvl="1"/>
            <a:r>
              <a:rPr lang="en-US" dirty="0"/>
              <a:t>Documents</a:t>
            </a:r>
          </a:p>
          <a:p>
            <a:r>
              <a:rPr lang="en-US" dirty="0"/>
              <a:t>Manufacturing process Plan</a:t>
            </a:r>
          </a:p>
          <a:p>
            <a:r>
              <a:rPr lang="en-US" dirty="0"/>
              <a:t>Standard Control Characteristics : engineering and manufacturing characteristics</a:t>
            </a:r>
          </a:p>
          <a:p>
            <a:r>
              <a:rPr lang="en-US" dirty="0"/>
              <a:t>Process Resources</a:t>
            </a:r>
          </a:p>
          <a:p>
            <a:pPr lvl="1"/>
            <a:r>
              <a:rPr lang="en-US" dirty="0"/>
              <a:t>Change Requests, Change Notices, Problem Reports, Quality domains etc.</a:t>
            </a:r>
          </a:p>
        </p:txBody>
      </p:sp>
      <p:sp>
        <p:nvSpPr>
          <p:cNvPr id="3" name="Title 2">
            <a:extLst>
              <a:ext uri="{FF2B5EF4-FFF2-40B4-BE49-F238E27FC236}">
                <a16:creationId xmlns:a16="http://schemas.microsoft.com/office/drawing/2014/main" id="{1F1B733A-B7A3-8C37-811D-757F145DBA99}"/>
              </a:ext>
            </a:extLst>
          </p:cNvPr>
          <p:cNvSpPr>
            <a:spLocks noGrp="1"/>
          </p:cNvSpPr>
          <p:nvPr>
            <p:ph type="title"/>
          </p:nvPr>
        </p:nvSpPr>
        <p:spPr>
          <a:xfrm>
            <a:off x="490760" y="547539"/>
            <a:ext cx="10789920" cy="738664"/>
          </a:xfrm>
        </p:spPr>
        <p:txBody>
          <a:bodyPr/>
          <a:lstStyle/>
          <a:p>
            <a:r>
              <a:rPr lang="en-US" dirty="0"/>
              <a:t>Resources (Support soft types for all objects types and each with specific constraints)</a:t>
            </a:r>
          </a:p>
        </p:txBody>
      </p:sp>
    </p:spTree>
    <p:extLst>
      <p:ext uri="{BB962C8B-B14F-4D97-AF65-F5344CB8AC3E}">
        <p14:creationId xmlns:p14="http://schemas.microsoft.com/office/powerpoint/2010/main" val="3339887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5D46CF8-D837-9E2C-233E-EF9A782B0546}"/>
              </a:ext>
            </a:extLst>
          </p:cNvPr>
          <p:cNvSpPr>
            <a:spLocks noGrp="1"/>
          </p:cNvSpPr>
          <p:nvPr>
            <p:ph idx="1"/>
          </p:nvPr>
        </p:nvSpPr>
        <p:spPr/>
        <p:txBody>
          <a:bodyPr/>
          <a:lstStyle/>
          <a:p>
            <a:r>
              <a:rPr lang="en-US" dirty="0"/>
              <a:t>Document: </a:t>
            </a:r>
            <a:r>
              <a:rPr lang="en-IN" sz="2400" dirty="0"/>
              <a:t>Manage and share content that has been created using an external application</a:t>
            </a:r>
            <a:endParaRPr lang="en-US" dirty="0"/>
          </a:p>
          <a:p>
            <a:r>
              <a:rPr lang="en-US" dirty="0"/>
              <a:t>Problem Report: </a:t>
            </a:r>
            <a:r>
              <a:rPr lang="en-IN" dirty="0"/>
              <a:t>created to document a problem or request a product enhancement</a:t>
            </a:r>
          </a:p>
          <a:p>
            <a:r>
              <a:rPr lang="en-IN" dirty="0"/>
              <a:t>Change Request: created in response to one or more problem reports, details the changes necessary to correct the problem or provide the enhancement so that the appropriate people can make the business decision to proceed with or cancel the proposed change</a:t>
            </a:r>
          </a:p>
          <a:p>
            <a:r>
              <a:rPr lang="en-IN" dirty="0"/>
              <a:t>Change Notice:</a:t>
            </a:r>
            <a:r>
              <a:rPr lang="en-IN" b="0" i="0" dirty="0">
                <a:solidFill>
                  <a:srgbClr val="272728"/>
                </a:solidFill>
                <a:effectLst/>
                <a:latin typeface="Roboto" panose="02000000000000000000" pitchFamily="2" charset="0"/>
              </a:rPr>
              <a:t> </a:t>
            </a:r>
            <a:r>
              <a:rPr lang="en-IN" dirty="0"/>
              <a:t>represents a work authorization to resolve a problem, often identified by an approved change request</a:t>
            </a:r>
          </a:p>
          <a:p>
            <a:r>
              <a:rPr lang="en-IN" dirty="0"/>
              <a:t>Variance: </a:t>
            </a:r>
            <a:r>
              <a:rPr lang="en-IN" b="0" i="0" dirty="0">
                <a:solidFill>
                  <a:srgbClr val="272728"/>
                </a:solidFill>
                <a:effectLst/>
                <a:latin typeface="Roboto" panose="02000000000000000000" pitchFamily="2" charset="0"/>
              </a:rPr>
              <a:t> </a:t>
            </a:r>
            <a:r>
              <a:rPr lang="en-IN" dirty="0"/>
              <a:t>an authorization to depart from the as-designed configuration for a specific number of units and or for a specified time period</a:t>
            </a:r>
          </a:p>
        </p:txBody>
      </p:sp>
      <p:sp>
        <p:nvSpPr>
          <p:cNvPr id="3" name="Title 2">
            <a:extLst>
              <a:ext uri="{FF2B5EF4-FFF2-40B4-BE49-F238E27FC236}">
                <a16:creationId xmlns:a16="http://schemas.microsoft.com/office/drawing/2014/main" id="{3465EB9B-F6FF-95C7-A5D5-44911D0372C6}"/>
              </a:ext>
            </a:extLst>
          </p:cNvPr>
          <p:cNvSpPr>
            <a:spLocks noGrp="1"/>
          </p:cNvSpPr>
          <p:nvPr>
            <p:ph type="title"/>
          </p:nvPr>
        </p:nvSpPr>
        <p:spPr/>
        <p:txBody>
          <a:bodyPr/>
          <a:lstStyle/>
          <a:p>
            <a:r>
              <a:rPr lang="en-US" dirty="0"/>
              <a:t>terminologies</a:t>
            </a:r>
          </a:p>
        </p:txBody>
      </p:sp>
    </p:spTree>
    <p:extLst>
      <p:ext uri="{BB962C8B-B14F-4D97-AF65-F5344CB8AC3E}">
        <p14:creationId xmlns:p14="http://schemas.microsoft.com/office/powerpoint/2010/main" val="200386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E4FC00D-CE51-12AF-EF00-20E5F8FEA780}"/>
              </a:ext>
            </a:extLst>
          </p:cNvPr>
          <p:cNvSpPr>
            <a:spLocks noGrp="1"/>
          </p:cNvSpPr>
          <p:nvPr>
            <p:ph idx="1"/>
          </p:nvPr>
        </p:nvSpPr>
        <p:spPr/>
        <p:txBody>
          <a:bodyPr/>
          <a:lstStyle/>
          <a:p>
            <a:r>
              <a:rPr lang="en-US" dirty="0"/>
              <a:t>Part – Part</a:t>
            </a:r>
          </a:p>
          <a:p>
            <a:r>
              <a:rPr lang="en-US" dirty="0"/>
              <a:t>Part – Document </a:t>
            </a:r>
            <a:r>
              <a:rPr lang="en-US" dirty="0">
                <a:highlight>
                  <a:srgbClr val="FFFF00"/>
                </a:highlight>
              </a:rPr>
              <a:t>(provide examples)</a:t>
            </a:r>
          </a:p>
          <a:p>
            <a:r>
              <a:rPr lang="en-US" dirty="0"/>
              <a:t>Part – CAD Document</a:t>
            </a:r>
          </a:p>
          <a:p>
            <a:r>
              <a:rPr lang="en-US" dirty="0"/>
              <a:t>Part – Change objects (Change requests, Change notices, deviation, etc.)</a:t>
            </a:r>
          </a:p>
          <a:p>
            <a:r>
              <a:rPr lang="en-US" dirty="0"/>
              <a:t>Part – Quality objects</a:t>
            </a:r>
          </a:p>
          <a:p>
            <a:r>
              <a:rPr lang="en-US" dirty="0"/>
              <a:t>Part – Standard Control Characteristic (</a:t>
            </a:r>
            <a:r>
              <a:rPr lang="en-US" dirty="0">
                <a:highlight>
                  <a:srgbClr val="FFFF00"/>
                </a:highlight>
              </a:rPr>
              <a:t>Provide examples)</a:t>
            </a:r>
          </a:p>
          <a:p>
            <a:r>
              <a:rPr lang="en-US" dirty="0"/>
              <a:t>Manufacturing Process Plan - SCC</a:t>
            </a:r>
          </a:p>
          <a:p>
            <a:pPr marL="0" indent="0">
              <a:buNone/>
            </a:pPr>
            <a:endParaRPr lang="en-US" dirty="0"/>
          </a:p>
        </p:txBody>
      </p:sp>
      <p:sp>
        <p:nvSpPr>
          <p:cNvPr id="3" name="Title 2">
            <a:extLst>
              <a:ext uri="{FF2B5EF4-FFF2-40B4-BE49-F238E27FC236}">
                <a16:creationId xmlns:a16="http://schemas.microsoft.com/office/drawing/2014/main" id="{6D18A12E-8A14-1176-DF18-A4168775C86D}"/>
              </a:ext>
            </a:extLst>
          </p:cNvPr>
          <p:cNvSpPr>
            <a:spLocks noGrp="1"/>
          </p:cNvSpPr>
          <p:nvPr>
            <p:ph type="title"/>
          </p:nvPr>
        </p:nvSpPr>
        <p:spPr>
          <a:xfrm>
            <a:off x="490760" y="547539"/>
            <a:ext cx="10789920" cy="369332"/>
          </a:xfrm>
        </p:spPr>
        <p:txBody>
          <a:bodyPr/>
          <a:lstStyle/>
          <a:p>
            <a:r>
              <a:rPr lang="en-US" dirty="0"/>
              <a:t>Relationships to other resources</a:t>
            </a:r>
          </a:p>
        </p:txBody>
      </p:sp>
    </p:spTree>
    <p:extLst>
      <p:ext uri="{BB962C8B-B14F-4D97-AF65-F5344CB8AC3E}">
        <p14:creationId xmlns:p14="http://schemas.microsoft.com/office/powerpoint/2010/main" val="88966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0D6C8F4-36D0-2741-4562-C8CF8F676142}"/>
              </a:ext>
            </a:extLst>
          </p:cNvPr>
          <p:cNvSpPr>
            <a:spLocks noGrp="1"/>
          </p:cNvSpPr>
          <p:nvPr>
            <p:ph idx="1"/>
          </p:nvPr>
        </p:nvSpPr>
        <p:spPr/>
        <p:txBody>
          <a:bodyPr/>
          <a:lstStyle/>
          <a:p>
            <a:r>
              <a:rPr lang="en-US" dirty="0"/>
              <a:t>Standard Control Characteristics: f</a:t>
            </a:r>
            <a:r>
              <a:rPr lang="en-IN" dirty="0"/>
              <a:t>functional features, geometrical or material properties, that can be qualified, measured, or quantified and for which variation or deviation control is necessary.</a:t>
            </a:r>
            <a:endParaRPr lang="en-US" dirty="0"/>
          </a:p>
        </p:txBody>
      </p:sp>
      <p:sp>
        <p:nvSpPr>
          <p:cNvPr id="3" name="Title 2">
            <a:extLst>
              <a:ext uri="{FF2B5EF4-FFF2-40B4-BE49-F238E27FC236}">
                <a16:creationId xmlns:a16="http://schemas.microsoft.com/office/drawing/2014/main" id="{B2057B3C-B937-06D2-E7F2-D16499789C9A}"/>
              </a:ext>
            </a:extLst>
          </p:cNvPr>
          <p:cNvSpPr>
            <a:spLocks noGrp="1"/>
          </p:cNvSpPr>
          <p:nvPr>
            <p:ph type="title"/>
          </p:nvPr>
        </p:nvSpPr>
        <p:spPr/>
        <p:txBody>
          <a:bodyPr/>
          <a:lstStyle/>
          <a:p>
            <a:r>
              <a:rPr lang="en-US" dirty="0"/>
              <a:t>terminologies</a:t>
            </a:r>
          </a:p>
        </p:txBody>
      </p:sp>
    </p:spTree>
    <p:extLst>
      <p:ext uri="{BB962C8B-B14F-4D97-AF65-F5344CB8AC3E}">
        <p14:creationId xmlns:p14="http://schemas.microsoft.com/office/powerpoint/2010/main" val="340650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6E71E6C-F7D7-5C00-76FA-21C853314437}"/>
              </a:ext>
            </a:extLst>
          </p:cNvPr>
          <p:cNvSpPr>
            <a:spLocks noGrp="1"/>
          </p:cNvSpPr>
          <p:nvPr>
            <p:ph idx="1"/>
          </p:nvPr>
        </p:nvSpPr>
        <p:spPr/>
        <p:txBody>
          <a:bodyPr/>
          <a:lstStyle/>
          <a:p>
            <a:r>
              <a:rPr lang="en-US" dirty="0"/>
              <a:t>Attributes on Part (Identity)</a:t>
            </a:r>
          </a:p>
          <a:p>
            <a:r>
              <a:rPr lang="en-US" dirty="0"/>
              <a:t>Attributes on Usage Link</a:t>
            </a:r>
          </a:p>
          <a:p>
            <a:r>
              <a:rPr lang="en-US" strike="sngStrike" dirty="0"/>
              <a:t>Link models</a:t>
            </a:r>
          </a:p>
          <a:p>
            <a:r>
              <a:rPr lang="en-US" strike="sngStrike" dirty="0"/>
              <a:t>Standardized approach to reverse lookup</a:t>
            </a:r>
          </a:p>
        </p:txBody>
      </p:sp>
      <p:sp>
        <p:nvSpPr>
          <p:cNvPr id="3" name="Title 2">
            <a:extLst>
              <a:ext uri="{FF2B5EF4-FFF2-40B4-BE49-F238E27FC236}">
                <a16:creationId xmlns:a16="http://schemas.microsoft.com/office/drawing/2014/main" id="{29B410A3-8055-E5D4-2070-C314BCA8C094}"/>
              </a:ext>
            </a:extLst>
          </p:cNvPr>
          <p:cNvSpPr>
            <a:spLocks noGrp="1"/>
          </p:cNvSpPr>
          <p:nvPr>
            <p:ph type="title"/>
          </p:nvPr>
        </p:nvSpPr>
        <p:spPr/>
        <p:txBody>
          <a:bodyPr/>
          <a:lstStyle/>
          <a:p>
            <a:r>
              <a:rPr lang="en-US" dirty="0"/>
              <a:t>properties</a:t>
            </a:r>
          </a:p>
        </p:txBody>
      </p:sp>
    </p:spTree>
    <p:extLst>
      <p:ext uri="{BB962C8B-B14F-4D97-AF65-F5344CB8AC3E}">
        <p14:creationId xmlns:p14="http://schemas.microsoft.com/office/powerpoint/2010/main" val="392102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4C1819-E366-82E4-2D67-25726E014141}"/>
              </a:ext>
            </a:extLst>
          </p:cNvPr>
          <p:cNvSpPr>
            <a:spLocks noGrp="1"/>
          </p:cNvSpPr>
          <p:nvPr>
            <p:ph idx="1"/>
          </p:nvPr>
        </p:nvSpPr>
        <p:spPr/>
        <p:txBody>
          <a:bodyPr/>
          <a:lstStyle/>
          <a:p>
            <a:r>
              <a:rPr lang="en-US" dirty="0"/>
              <a:t>Discovery of PLM objects via service Provider (Products, projects, programs)</a:t>
            </a:r>
          </a:p>
          <a:p>
            <a:r>
              <a:rPr lang="en-US" dirty="0"/>
              <a:t>Creation Factory</a:t>
            </a:r>
          </a:p>
          <a:p>
            <a:pPr lvl="1"/>
            <a:r>
              <a:rPr lang="en-US" dirty="0"/>
              <a:t>Create CAD Data and Parts</a:t>
            </a:r>
          </a:p>
          <a:p>
            <a:r>
              <a:rPr lang="en-US" dirty="0"/>
              <a:t>Query Capability</a:t>
            </a:r>
          </a:p>
          <a:p>
            <a:r>
              <a:rPr lang="en-US" dirty="0"/>
              <a:t>Delegated UI Dialog</a:t>
            </a:r>
          </a:p>
          <a:p>
            <a:r>
              <a:rPr lang="en-US" dirty="0"/>
              <a:t>Previews</a:t>
            </a:r>
          </a:p>
          <a:p>
            <a:r>
              <a:rPr lang="en-US" dirty="0"/>
              <a:t>Pagination</a:t>
            </a:r>
          </a:p>
          <a:p>
            <a:r>
              <a:rPr lang="en-US" dirty="0"/>
              <a:t>Requesting a subset of oslc selected properties</a:t>
            </a:r>
          </a:p>
          <a:p>
            <a:r>
              <a:rPr lang="en-US" dirty="0"/>
              <a:t>Multi level link navigation (Part – CAD – Change)</a:t>
            </a:r>
          </a:p>
          <a:p>
            <a:r>
              <a:rPr lang="en-US" dirty="0"/>
              <a:t>Authentication</a:t>
            </a:r>
          </a:p>
          <a:p>
            <a:pPr lvl="1"/>
            <a:r>
              <a:rPr lang="en-US" dirty="0"/>
              <a:t>Basic</a:t>
            </a:r>
          </a:p>
          <a:p>
            <a:pPr lvl="1"/>
            <a:r>
              <a:rPr lang="en-US" dirty="0"/>
              <a:t>OAuth</a:t>
            </a:r>
          </a:p>
        </p:txBody>
      </p:sp>
      <p:sp>
        <p:nvSpPr>
          <p:cNvPr id="3" name="Title 2">
            <a:extLst>
              <a:ext uri="{FF2B5EF4-FFF2-40B4-BE49-F238E27FC236}">
                <a16:creationId xmlns:a16="http://schemas.microsoft.com/office/drawing/2014/main" id="{50644E3E-C088-665C-BAA8-55C4799CE160}"/>
              </a:ext>
            </a:extLst>
          </p:cNvPr>
          <p:cNvSpPr>
            <a:spLocks noGrp="1"/>
          </p:cNvSpPr>
          <p:nvPr>
            <p:ph type="title"/>
          </p:nvPr>
        </p:nvSpPr>
        <p:spPr/>
        <p:txBody>
          <a:bodyPr/>
          <a:lstStyle/>
          <a:p>
            <a:r>
              <a:rPr lang="en-US" dirty="0"/>
              <a:t>operations</a:t>
            </a:r>
          </a:p>
        </p:txBody>
      </p:sp>
    </p:spTree>
    <p:extLst>
      <p:ext uri="{BB962C8B-B14F-4D97-AF65-F5344CB8AC3E}">
        <p14:creationId xmlns:p14="http://schemas.microsoft.com/office/powerpoint/2010/main" val="356834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v32lStPzbKjeVqUbCWn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XfE9v86RQrOvrodLv8C5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XfE9v86RQrOvrodLv8C5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5XfE9v86RQrOvrodLv8C5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IV2maKZdWQUudon1RGby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v32lStPzbKjeVqUbCWn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IV2maKZdWQUudon1RGb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XfE9v86RQrOvrodLv8C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IV2maKZdWQUudon1RGb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IV2maKZdWQUudon1RGby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TC PowerPoint Template">
  <a:themeElements>
    <a:clrScheme name="PTC June 2023">
      <a:dk1>
        <a:srgbClr val="3D4647"/>
      </a:dk1>
      <a:lt1>
        <a:srgbClr val="FFFFFF"/>
      </a:lt1>
      <a:dk2>
        <a:srgbClr val="C8C9C7"/>
      </a:dk2>
      <a:lt2>
        <a:srgbClr val="40AA1D"/>
      </a:lt2>
      <a:accent1>
        <a:srgbClr val="40AA1D"/>
      </a:accent1>
      <a:accent2>
        <a:srgbClr val="617480"/>
      </a:accent2>
      <a:accent3>
        <a:srgbClr val="26481F"/>
      </a:accent3>
      <a:accent4>
        <a:srgbClr val="197BC0"/>
      </a:accent4>
      <a:accent5>
        <a:srgbClr val="EB6D00"/>
      </a:accent5>
      <a:accent6>
        <a:srgbClr val="1D496E"/>
      </a:accent6>
      <a:hlink>
        <a:srgbClr val="197BC0"/>
      </a:hlink>
      <a:folHlink>
        <a:srgbClr val="197BC0"/>
      </a:folHlink>
    </a:clrScheme>
    <a:fontScheme name="PTC Newsletter">
      <a:majorFont>
        <a:latin typeface="PTCRaleway"/>
        <a:ea typeface=""/>
        <a:cs typeface=""/>
      </a:majorFont>
      <a:minorFont>
        <a:latin typeface="PTCRalewa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lnSpc>
            <a:spcPct val="90000"/>
          </a:lnSpc>
          <a:spcBef>
            <a:spcPts val="800"/>
          </a:spcBef>
          <a:defRPr>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ln w="9525">
          <a:noFill/>
        </a:ln>
      </a:spPr>
      <a:bodyPr vert="horz" wrap="square" lIns="91440" tIns="45720" rIns="91440" bIns="45720" rtlCol="0">
        <a:spAutoFit/>
      </a:bodyPr>
      <a:lstStyle>
        <a:defPPr algn="l">
          <a:lnSpc>
            <a:spcPct val="90000"/>
          </a:lnSpc>
          <a:spcBef>
            <a:spcPts val="800"/>
          </a:spcBef>
          <a:defRPr dirty="0" err="1" smtClean="0"/>
        </a:defPPr>
      </a:lstStyle>
    </a:txDef>
  </a:objectDefaults>
  <a:extraClrSchemeLst/>
  <a:extLst>
    <a:ext uri="{05A4C25C-085E-4340-85A3-A5531E510DB2}">
      <thm15:themeFamily xmlns:thm15="http://schemas.microsoft.com/office/thememl/2012/main" name="PTC Corporate Template FY'25_TEST..pptx" id="{A4FDF78B-8B8C-436F-BB8D-4EA158817A91}" vid="{F46B010D-1C9D-4E1B-B468-E96BD2B1A7D5}"/>
    </a:ext>
  </a:extLst>
</a:theme>
</file>

<file path=ppt/theme/theme2.xml><?xml version="1.0" encoding="utf-8"?>
<a:theme xmlns:a="http://schemas.openxmlformats.org/drawingml/2006/main" name="PTC PPT Temp (Rely On) ">
  <a:themeElements>
    <a:clrScheme name="PTC June 2023">
      <a:dk1>
        <a:srgbClr val="3D4647"/>
      </a:dk1>
      <a:lt1>
        <a:srgbClr val="FFFFFF"/>
      </a:lt1>
      <a:dk2>
        <a:srgbClr val="C8C9C7"/>
      </a:dk2>
      <a:lt2>
        <a:srgbClr val="40AA1D"/>
      </a:lt2>
      <a:accent1>
        <a:srgbClr val="40AA1D"/>
      </a:accent1>
      <a:accent2>
        <a:srgbClr val="617480"/>
      </a:accent2>
      <a:accent3>
        <a:srgbClr val="26481F"/>
      </a:accent3>
      <a:accent4>
        <a:srgbClr val="197BC0"/>
      </a:accent4>
      <a:accent5>
        <a:srgbClr val="EB6D00"/>
      </a:accent5>
      <a:accent6>
        <a:srgbClr val="1D496E"/>
      </a:accent6>
      <a:hlink>
        <a:srgbClr val="197BC0"/>
      </a:hlink>
      <a:folHlink>
        <a:srgbClr val="197BC0"/>
      </a:folHlink>
    </a:clrScheme>
    <a:fontScheme name="PTC Newsletter">
      <a:majorFont>
        <a:latin typeface="PTCRaleway"/>
        <a:ea typeface=""/>
        <a:cs typeface=""/>
      </a:majorFont>
      <a:minorFont>
        <a:latin typeface="PTCRalewa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lnSpc>
            <a:spcPct val="90000"/>
          </a:lnSpc>
          <a:spcBef>
            <a:spcPts val="800"/>
          </a:spcBef>
          <a:defRPr>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ln w="9525">
          <a:noFill/>
        </a:ln>
      </a:spPr>
      <a:bodyPr vert="horz" wrap="square" lIns="91440" tIns="45720" rIns="91440" bIns="45720" rtlCol="0">
        <a:spAutoFit/>
      </a:bodyPr>
      <a:lstStyle>
        <a:defPPr algn="l">
          <a:lnSpc>
            <a:spcPct val="90000"/>
          </a:lnSpc>
          <a:spcBef>
            <a:spcPts val="800"/>
          </a:spcBef>
          <a:defRPr dirty="0" err="1" smtClean="0"/>
        </a:defPPr>
      </a:lstStyle>
    </a:txDef>
  </a:objectDefaults>
  <a:extraClrSchemeLst/>
  <a:extLst>
    <a:ext uri="{05A4C25C-085E-4340-85A3-A5531E510DB2}">
      <thm15:themeFamily xmlns:thm15="http://schemas.microsoft.com/office/thememl/2012/main" name="PTC Corporate Template FY'25_TEST..pptx" id="{A4FDF78B-8B8C-436F-BB8D-4EA158817A91}" vid="{EB1E8F28-504F-469B-ACD8-AB987D065FD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b9921086-ff77-4d0d-828a-cb3381f678e2}" enabled="0" method="" siteId="{b9921086-ff77-4d0d-828a-cb3381f678e2}" removed="1"/>
</clbl:labelList>
</file>

<file path=docProps/app.xml><?xml version="1.0" encoding="utf-8"?>
<Properties xmlns="http://schemas.openxmlformats.org/officeDocument/2006/extended-properties" xmlns:vt="http://schemas.openxmlformats.org/officeDocument/2006/docPropsVTypes">
  <Template>blank</Template>
  <TotalTime>1337</TotalTime>
  <Words>1976</Words>
  <Application>Microsoft Office PowerPoint</Application>
  <PresentationFormat>Widescreen</PresentationFormat>
  <Paragraphs>544</Paragraphs>
  <Slides>32</Slides>
  <Notes>19</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42" baseType="lpstr">
      <vt:lpstr>Roboto</vt:lpstr>
      <vt:lpstr>Calibri Light</vt:lpstr>
      <vt:lpstr>Arial</vt:lpstr>
      <vt:lpstr>Wingdings</vt:lpstr>
      <vt:lpstr>MS PGothic</vt:lpstr>
      <vt:lpstr>Calibri</vt:lpstr>
      <vt:lpstr>PTCRaleway</vt:lpstr>
      <vt:lpstr>PTC PowerPoint Template</vt:lpstr>
      <vt:lpstr>PTC PPT Temp (Rely On) </vt:lpstr>
      <vt:lpstr>think-cell Slide</vt:lpstr>
      <vt:lpstr>Plm domain</vt:lpstr>
      <vt:lpstr>introduction</vt:lpstr>
      <vt:lpstr>Oslc plm server</vt:lpstr>
      <vt:lpstr>Resources (Support soft types for all objects types and each with specific constraints)</vt:lpstr>
      <vt:lpstr>terminologies</vt:lpstr>
      <vt:lpstr>Relationships to other resources</vt:lpstr>
      <vt:lpstr>terminologies</vt:lpstr>
      <vt:lpstr>properties</vt:lpstr>
      <vt:lpstr>operations</vt:lpstr>
      <vt:lpstr>PLM as a resources</vt:lpstr>
      <vt:lpstr>parts</vt:lpstr>
      <vt:lpstr>terminologies</vt:lpstr>
      <vt:lpstr>PowerPoint Presentation</vt:lpstr>
      <vt:lpstr>PowerPoint Presentation</vt:lpstr>
      <vt:lpstr>quote styleS</vt:lpstr>
      <vt:lpstr>Ptc imagery</vt:lpstr>
      <vt:lpstr>Image style</vt:lpstr>
      <vt:lpstr>Images ARE CONENT AND CAN HELP TELL A STORY</vt:lpstr>
      <vt:lpstr>Images ARE CONENT AND CAN HELP TELL A STORY</vt:lpstr>
      <vt:lpstr>Ptc icon library</vt:lpstr>
      <vt:lpstr>PTC ICONS</vt:lpstr>
      <vt:lpstr>PTC Icons</vt:lpstr>
      <vt:lpstr>PTC Icons</vt:lpstr>
      <vt:lpstr>PTC Icons</vt:lpstr>
      <vt:lpstr>PTC ICONS</vt:lpstr>
      <vt:lpstr>PTC ICONS  </vt:lpstr>
      <vt:lpstr>PTC ICONS</vt:lpstr>
      <vt:lpstr>PTC ICONS  </vt:lpstr>
      <vt:lpstr>PTC ICONS</vt:lpstr>
      <vt:lpstr>PTC ICONS</vt:lpstr>
      <vt:lpstr>PTC Icons</vt:lpstr>
      <vt:lpstr>PTC IC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olly, Tanupreet</dc:creator>
  <cp:lastModifiedBy>Jolly, Tanupreet</cp:lastModifiedBy>
  <cp:revision>3</cp:revision>
  <dcterms:created xsi:type="dcterms:W3CDTF">2025-04-15T03:37:13Z</dcterms:created>
  <dcterms:modified xsi:type="dcterms:W3CDTF">2025-05-28T12:40:33Z</dcterms:modified>
</cp:coreProperties>
</file>